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embeddings/Microsoft_Excel_Worksheet1111222112211999119999119993332211222222221111222222222.xlsx" ContentType="application/haansoftxlsx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embeddings/Microsoft_Excel_Worksheet114444444444444444444116611116661166111313131113131313111313137773311333333331111333333333.xlsx" ContentType="application/haansoftxlsx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40.xml" ContentType="application/vnd.openxmlformats-officedocument.presentationml.notesSlide+xml"/>
  <Override PartName="/ppt/theme/themeOverride2.xml" ContentType="application/vnd.openxmlformats-officedocument.themeOverr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charts/chart9.xml" ContentType="application/vnd.openxmlformats-officedocument.drawingml.chart+xml"/>
  <Override PartName="/ppt/notesSlides/notesSlide65.xml" ContentType="application/vnd.openxmlformats-officedocument.presentationml.notesSlide+xml"/>
  <Override PartName="/ppt/media/image349.jpg" ContentType="image/jpeg"/>
  <Override PartName="/ppt/media/image359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>
  <p:sldMasterIdLst>
    <p:sldMasterId id="2147483915" r:id="rId4"/>
    <p:sldMasterId id="2147483981" r:id="rId5"/>
    <p:sldMasterId id="2147483976" r:id="rId6"/>
    <p:sldMasterId id="2147483978" r:id="rId7"/>
    <p:sldMasterId id="2147483973" r:id="rId8"/>
  </p:sldMasterIdLst>
  <p:notesMasterIdLst>
    <p:notesMasterId r:id="rId462"/>
  </p:notesMasterIdLst>
  <p:handoutMasterIdLst>
    <p:handoutMasterId r:id="rId463"/>
  </p:handoutMasterIdLst>
  <p:sldIdLst>
    <p:sldId id="5076" r:id="rId9"/>
    <p:sldId id="3763" r:id="rId10"/>
    <p:sldId id="5077" r:id="rId11"/>
    <p:sldId id="6780" r:id="rId12"/>
    <p:sldId id="6850" r:id="rId13"/>
    <p:sldId id="6687" r:id="rId14"/>
    <p:sldId id="6849" r:id="rId15"/>
    <p:sldId id="6689" r:id="rId16"/>
    <p:sldId id="6690" r:id="rId17"/>
    <p:sldId id="6691" r:id="rId18"/>
    <p:sldId id="6692" r:id="rId19"/>
    <p:sldId id="6693" r:id="rId20"/>
    <p:sldId id="6694" r:id="rId21"/>
    <p:sldId id="6695" r:id="rId22"/>
    <p:sldId id="6696" r:id="rId23"/>
    <p:sldId id="6697" r:id="rId24"/>
    <p:sldId id="6698" r:id="rId25"/>
    <p:sldId id="6781" r:id="rId26"/>
    <p:sldId id="6700" r:id="rId27"/>
    <p:sldId id="6701" r:id="rId28"/>
    <p:sldId id="6702" r:id="rId29"/>
    <p:sldId id="6757" r:id="rId30"/>
    <p:sldId id="6704" r:id="rId31"/>
    <p:sldId id="6705" r:id="rId32"/>
    <p:sldId id="6706" r:id="rId33"/>
    <p:sldId id="6707" r:id="rId34"/>
    <p:sldId id="6708" r:id="rId35"/>
    <p:sldId id="6709" r:id="rId36"/>
    <p:sldId id="6710" r:id="rId37"/>
    <p:sldId id="6782" r:id="rId38"/>
    <p:sldId id="6712" r:id="rId39"/>
    <p:sldId id="6713" r:id="rId40"/>
    <p:sldId id="6714" r:id="rId41"/>
    <p:sldId id="6715" r:id="rId42"/>
    <p:sldId id="6716" r:id="rId43"/>
    <p:sldId id="6783" r:id="rId44"/>
    <p:sldId id="6718" r:id="rId45"/>
    <p:sldId id="6845" r:id="rId46"/>
    <p:sldId id="6846" r:id="rId47"/>
    <p:sldId id="6721" r:id="rId48"/>
    <p:sldId id="6848" r:id="rId49"/>
    <p:sldId id="6165" r:id="rId50"/>
    <p:sldId id="6570" r:id="rId51"/>
    <p:sldId id="6167" r:id="rId52"/>
    <p:sldId id="6168" r:id="rId53"/>
    <p:sldId id="6169" r:id="rId54"/>
    <p:sldId id="6170" r:id="rId55"/>
    <p:sldId id="6784" r:id="rId56"/>
    <p:sldId id="6790" r:id="rId57"/>
    <p:sldId id="6630" r:id="rId58"/>
    <p:sldId id="6791" r:id="rId59"/>
    <p:sldId id="6792" r:id="rId60"/>
    <p:sldId id="6578" r:id="rId61"/>
    <p:sldId id="6785" r:id="rId62"/>
    <p:sldId id="6786" r:id="rId63"/>
    <p:sldId id="6634" r:id="rId64"/>
    <p:sldId id="6579" r:id="rId65"/>
    <p:sldId id="6787" r:id="rId66"/>
    <p:sldId id="6177" r:id="rId67"/>
    <p:sldId id="6178" r:id="rId68"/>
    <p:sldId id="6179" r:id="rId69"/>
    <p:sldId id="6180" r:id="rId70"/>
    <p:sldId id="6181" r:id="rId71"/>
    <p:sldId id="6182" r:id="rId72"/>
    <p:sldId id="6183" r:id="rId73"/>
    <p:sldId id="6184" r:id="rId74"/>
    <p:sldId id="6200" r:id="rId75"/>
    <p:sldId id="6201" r:id="rId76"/>
    <p:sldId id="6202" r:id="rId77"/>
    <p:sldId id="6203" r:id="rId78"/>
    <p:sldId id="6204" r:id="rId79"/>
    <p:sldId id="6205" r:id="rId80"/>
    <p:sldId id="6206" r:id="rId81"/>
    <p:sldId id="6207" r:id="rId82"/>
    <p:sldId id="6232" r:id="rId83"/>
    <p:sldId id="6748" r:id="rId84"/>
    <p:sldId id="6749" r:id="rId85"/>
    <p:sldId id="6750" r:id="rId86"/>
    <p:sldId id="6751" r:id="rId87"/>
    <p:sldId id="6752" r:id="rId88"/>
    <p:sldId id="6753" r:id="rId89"/>
    <p:sldId id="6754" r:id="rId90"/>
    <p:sldId id="6755" r:id="rId91"/>
    <p:sldId id="6241" r:id="rId92"/>
    <p:sldId id="6788" r:id="rId93"/>
    <p:sldId id="6789" r:id="rId94"/>
    <p:sldId id="6244" r:id="rId95"/>
    <p:sldId id="6793" r:id="rId96"/>
    <p:sldId id="6246" r:id="rId97"/>
    <p:sldId id="6247" r:id="rId98"/>
    <p:sldId id="6248" r:id="rId99"/>
    <p:sldId id="6249" r:id="rId100"/>
    <p:sldId id="6250" r:id="rId101"/>
    <p:sldId id="6251" r:id="rId102"/>
    <p:sldId id="6252" r:id="rId103"/>
    <p:sldId id="6253" r:id="rId104"/>
    <p:sldId id="6254" r:id="rId105"/>
    <p:sldId id="6255" r:id="rId106"/>
    <p:sldId id="6794" r:id="rId107"/>
    <p:sldId id="6257" r:id="rId108"/>
    <p:sldId id="6258" r:id="rId109"/>
    <p:sldId id="6259" r:id="rId110"/>
    <p:sldId id="6260" r:id="rId111"/>
    <p:sldId id="6261" r:id="rId112"/>
    <p:sldId id="6262" r:id="rId113"/>
    <p:sldId id="6263" r:id="rId114"/>
    <p:sldId id="6264" r:id="rId115"/>
    <p:sldId id="6265" r:id="rId116"/>
    <p:sldId id="6266" r:id="rId117"/>
    <p:sldId id="6795" r:id="rId118"/>
    <p:sldId id="6796" r:id="rId119"/>
    <p:sldId id="6464" r:id="rId120"/>
    <p:sldId id="6465" r:id="rId121"/>
    <p:sldId id="6466" r:id="rId122"/>
    <p:sldId id="6467" r:id="rId123"/>
    <p:sldId id="6797" r:id="rId124"/>
    <p:sldId id="6469" r:id="rId125"/>
    <p:sldId id="6470" r:id="rId126"/>
    <p:sldId id="6798" r:id="rId127"/>
    <p:sldId id="6799" r:id="rId128"/>
    <p:sldId id="6269" r:id="rId129"/>
    <p:sldId id="6270" r:id="rId130"/>
    <p:sldId id="6271" r:id="rId131"/>
    <p:sldId id="6272" r:id="rId132"/>
    <p:sldId id="6273" r:id="rId133"/>
    <p:sldId id="6274" r:id="rId134"/>
    <p:sldId id="6275" r:id="rId135"/>
    <p:sldId id="6800" r:id="rId136"/>
    <p:sldId id="6277" r:id="rId137"/>
    <p:sldId id="6278" r:id="rId138"/>
    <p:sldId id="6279" r:id="rId139"/>
    <p:sldId id="6280" r:id="rId140"/>
    <p:sldId id="6281" r:id="rId141"/>
    <p:sldId id="6282" r:id="rId142"/>
    <p:sldId id="6283" r:id="rId143"/>
    <p:sldId id="6284" r:id="rId144"/>
    <p:sldId id="6801" r:id="rId145"/>
    <p:sldId id="6286" r:id="rId146"/>
    <p:sldId id="6287" r:id="rId147"/>
    <p:sldId id="6288" r:id="rId148"/>
    <p:sldId id="6802" r:id="rId149"/>
    <p:sldId id="6803" r:id="rId150"/>
    <p:sldId id="6804" r:id="rId151"/>
    <p:sldId id="6292" r:id="rId152"/>
    <p:sldId id="6293" r:id="rId153"/>
    <p:sldId id="6294" r:id="rId154"/>
    <p:sldId id="6805" r:id="rId155"/>
    <p:sldId id="6296" r:id="rId156"/>
    <p:sldId id="6297" r:id="rId157"/>
    <p:sldId id="6806" r:id="rId158"/>
    <p:sldId id="6807" r:id="rId159"/>
    <p:sldId id="6300" r:id="rId160"/>
    <p:sldId id="6301" r:id="rId161"/>
    <p:sldId id="6808" r:id="rId162"/>
    <p:sldId id="6303" r:id="rId163"/>
    <p:sldId id="6304" r:id="rId164"/>
    <p:sldId id="6809" r:id="rId165"/>
    <p:sldId id="6810" r:id="rId166"/>
    <p:sldId id="6307" r:id="rId167"/>
    <p:sldId id="6308" r:id="rId168"/>
    <p:sldId id="6811" r:id="rId169"/>
    <p:sldId id="6310" r:id="rId170"/>
    <p:sldId id="6311" r:id="rId171"/>
    <p:sldId id="6812" r:id="rId172"/>
    <p:sldId id="6813" r:id="rId173"/>
    <p:sldId id="6314" r:id="rId174"/>
    <p:sldId id="6315" r:id="rId175"/>
    <p:sldId id="6316" r:id="rId176"/>
    <p:sldId id="6317" r:id="rId177"/>
    <p:sldId id="6318" r:id="rId178"/>
    <p:sldId id="6814" r:id="rId179"/>
    <p:sldId id="6320" r:id="rId180"/>
    <p:sldId id="6321" r:id="rId181"/>
    <p:sldId id="6815" r:id="rId182"/>
    <p:sldId id="6323" r:id="rId183"/>
    <p:sldId id="6324" r:id="rId184"/>
    <p:sldId id="6816" r:id="rId185"/>
    <p:sldId id="6817" r:id="rId186"/>
    <p:sldId id="6327" r:id="rId187"/>
    <p:sldId id="6328" r:id="rId188"/>
    <p:sldId id="6329" r:id="rId189"/>
    <p:sldId id="6330" r:id="rId190"/>
    <p:sldId id="6331" r:id="rId191"/>
    <p:sldId id="6332" r:id="rId192"/>
    <p:sldId id="6818" r:id="rId193"/>
    <p:sldId id="6819" r:id="rId194"/>
    <p:sldId id="6335" r:id="rId195"/>
    <p:sldId id="6336" r:id="rId196"/>
    <p:sldId id="6337" r:id="rId197"/>
    <p:sldId id="6338" r:id="rId198"/>
    <p:sldId id="6339" r:id="rId199"/>
    <p:sldId id="6340" r:id="rId200"/>
    <p:sldId id="6341" r:id="rId201"/>
    <p:sldId id="6342" r:id="rId202"/>
    <p:sldId id="6343" r:id="rId203"/>
    <p:sldId id="6820" r:id="rId204"/>
    <p:sldId id="6821" r:id="rId205"/>
    <p:sldId id="6725" r:id="rId206"/>
    <p:sldId id="6726" r:id="rId207"/>
    <p:sldId id="6727" r:id="rId208"/>
    <p:sldId id="6728" r:id="rId209"/>
    <p:sldId id="6729" r:id="rId210"/>
    <p:sldId id="6822" r:id="rId211"/>
    <p:sldId id="6731" r:id="rId212"/>
    <p:sldId id="6732" r:id="rId213"/>
    <p:sldId id="6733" r:id="rId214"/>
    <p:sldId id="6734" r:id="rId215"/>
    <p:sldId id="6823" r:id="rId216"/>
    <p:sldId id="6736" r:id="rId217"/>
    <p:sldId id="6737" r:id="rId218"/>
    <p:sldId id="6738" r:id="rId219"/>
    <p:sldId id="6739" r:id="rId220"/>
    <p:sldId id="6740" r:id="rId221"/>
    <p:sldId id="6824" r:id="rId222"/>
    <p:sldId id="6742" r:id="rId223"/>
    <p:sldId id="6743" r:id="rId224"/>
    <p:sldId id="6744" r:id="rId225"/>
    <p:sldId id="6745" r:id="rId226"/>
    <p:sldId id="6746" r:id="rId227"/>
    <p:sldId id="6747" r:id="rId228"/>
    <p:sldId id="6825" r:id="rId229"/>
    <p:sldId id="6826" r:id="rId230"/>
    <p:sldId id="6346" r:id="rId231"/>
    <p:sldId id="6347" r:id="rId232"/>
    <p:sldId id="6348" r:id="rId233"/>
    <p:sldId id="6349" r:id="rId234"/>
    <p:sldId id="6350" r:id="rId235"/>
    <p:sldId id="6351" r:id="rId236"/>
    <p:sldId id="6827" r:id="rId237"/>
    <p:sldId id="6353" r:id="rId238"/>
    <p:sldId id="6354" r:id="rId239"/>
    <p:sldId id="6828" r:id="rId240"/>
    <p:sldId id="6383" r:id="rId241"/>
    <p:sldId id="6358" r:id="rId242"/>
    <p:sldId id="6359" r:id="rId243"/>
    <p:sldId id="6829" r:id="rId244"/>
    <p:sldId id="6830" r:id="rId245"/>
    <p:sldId id="6589" r:id="rId246"/>
    <p:sldId id="6590" r:id="rId247"/>
    <p:sldId id="6591" r:id="rId248"/>
    <p:sldId id="6592" r:id="rId249"/>
    <p:sldId id="6593" r:id="rId250"/>
    <p:sldId id="6594" r:id="rId251"/>
    <p:sldId id="6595" r:id="rId252"/>
    <p:sldId id="6596" r:id="rId253"/>
    <p:sldId id="6831" r:id="rId254"/>
    <p:sldId id="6598" r:id="rId255"/>
    <p:sldId id="6599" r:id="rId256"/>
    <p:sldId id="6832" r:id="rId257"/>
    <p:sldId id="6601" r:id="rId258"/>
    <p:sldId id="6602" r:id="rId259"/>
    <p:sldId id="6603" r:id="rId260"/>
    <p:sldId id="6833" r:id="rId261"/>
    <p:sldId id="6605" r:id="rId262"/>
    <p:sldId id="6606" r:id="rId263"/>
    <p:sldId id="6607" r:id="rId264"/>
    <p:sldId id="6608" r:id="rId265"/>
    <p:sldId id="6609" r:id="rId266"/>
    <p:sldId id="6610" r:id="rId267"/>
    <p:sldId id="6611" r:id="rId268"/>
    <p:sldId id="6834" r:id="rId269"/>
    <p:sldId id="6614" r:id="rId270"/>
    <p:sldId id="6615" r:id="rId271"/>
    <p:sldId id="6616" r:id="rId272"/>
    <p:sldId id="6617" r:id="rId273"/>
    <p:sldId id="6618" r:id="rId274"/>
    <p:sldId id="6380" r:id="rId275"/>
    <p:sldId id="6847" r:id="rId276"/>
    <p:sldId id="5080" r:id="rId277"/>
    <p:sldId id="6836" r:id="rId278"/>
    <p:sldId id="6837" r:id="rId279"/>
    <p:sldId id="5208" r:id="rId280"/>
    <p:sldId id="6838" r:id="rId281"/>
    <p:sldId id="6839" r:id="rId282"/>
    <p:sldId id="5367" r:id="rId283"/>
    <p:sldId id="5368" r:id="rId284"/>
    <p:sldId id="5369" r:id="rId285"/>
    <p:sldId id="5370" r:id="rId286"/>
    <p:sldId id="5371" r:id="rId287"/>
    <p:sldId id="5372" r:id="rId288"/>
    <p:sldId id="5373" r:id="rId289"/>
    <p:sldId id="5374" r:id="rId290"/>
    <p:sldId id="5375" r:id="rId291"/>
    <p:sldId id="5376" r:id="rId292"/>
    <p:sldId id="5377" r:id="rId293"/>
    <p:sldId id="5844" r:id="rId294"/>
    <p:sldId id="5589" r:id="rId295"/>
    <p:sldId id="5590" r:id="rId296"/>
    <p:sldId id="5847" r:id="rId297"/>
    <p:sldId id="5848" r:id="rId298"/>
    <p:sldId id="5849" r:id="rId299"/>
    <p:sldId id="5850" r:id="rId300"/>
    <p:sldId id="5851" r:id="rId301"/>
    <p:sldId id="5852" r:id="rId302"/>
    <p:sldId id="5853" r:id="rId303"/>
    <p:sldId id="5854" r:id="rId304"/>
    <p:sldId id="5573" r:id="rId305"/>
    <p:sldId id="5383" r:id="rId306"/>
    <p:sldId id="5384" r:id="rId307"/>
    <p:sldId id="5385" r:id="rId308"/>
    <p:sldId id="5386" r:id="rId309"/>
    <p:sldId id="5387" r:id="rId310"/>
    <p:sldId id="5388" r:id="rId311"/>
    <p:sldId id="5592" r:id="rId312"/>
    <p:sldId id="5593" r:id="rId313"/>
    <p:sldId id="5855" r:id="rId314"/>
    <p:sldId id="5856" r:id="rId315"/>
    <p:sldId id="5857" r:id="rId316"/>
    <p:sldId id="5574" r:id="rId317"/>
    <p:sldId id="5576" r:id="rId318"/>
    <p:sldId id="5577" r:id="rId319"/>
    <p:sldId id="5578" r:id="rId320"/>
    <p:sldId id="5579" r:id="rId321"/>
    <p:sldId id="6635" r:id="rId322"/>
    <p:sldId id="6636" r:id="rId323"/>
    <p:sldId id="6637" r:id="rId324"/>
    <p:sldId id="6638" r:id="rId325"/>
    <p:sldId id="5584" r:id="rId326"/>
    <p:sldId id="5585" r:id="rId327"/>
    <p:sldId id="5586" r:id="rId328"/>
    <p:sldId id="5594" r:id="rId329"/>
    <p:sldId id="6022" r:id="rId330"/>
    <p:sldId id="5595" r:id="rId331"/>
    <p:sldId id="6023" r:id="rId332"/>
    <p:sldId id="6024" r:id="rId333"/>
    <p:sldId id="6025" r:id="rId334"/>
    <p:sldId id="6027" r:id="rId335"/>
    <p:sldId id="6028" r:id="rId336"/>
    <p:sldId id="6029" r:id="rId337"/>
    <p:sldId id="6030" r:id="rId338"/>
    <p:sldId id="6031" r:id="rId339"/>
    <p:sldId id="6032" r:id="rId340"/>
    <p:sldId id="6033" r:id="rId341"/>
    <p:sldId id="6034" r:id="rId342"/>
    <p:sldId id="6035" r:id="rId343"/>
    <p:sldId id="6036" r:id="rId344"/>
    <p:sldId id="6037" r:id="rId345"/>
    <p:sldId id="5599" r:id="rId346"/>
    <p:sldId id="5600" r:id="rId347"/>
    <p:sldId id="6038" r:id="rId348"/>
    <p:sldId id="6039" r:id="rId349"/>
    <p:sldId id="6041" r:id="rId350"/>
    <p:sldId id="6042" r:id="rId351"/>
    <p:sldId id="6043" r:id="rId352"/>
    <p:sldId id="6044" r:id="rId353"/>
    <p:sldId id="5418" r:id="rId354"/>
    <p:sldId id="5419" r:id="rId355"/>
    <p:sldId id="5420" r:id="rId356"/>
    <p:sldId id="5421" r:id="rId357"/>
    <p:sldId id="5422" r:id="rId358"/>
    <p:sldId id="5499" r:id="rId359"/>
    <p:sldId id="5500" r:id="rId360"/>
    <p:sldId id="6045" r:id="rId361"/>
    <p:sldId id="5423" r:id="rId362"/>
    <p:sldId id="5424" r:id="rId363"/>
    <p:sldId id="5425" r:id="rId364"/>
    <p:sldId id="5603" r:id="rId365"/>
    <p:sldId id="6643" r:id="rId366"/>
    <p:sldId id="6640" r:id="rId367"/>
    <p:sldId id="6641" r:id="rId368"/>
    <p:sldId id="6866" r:id="rId369"/>
    <p:sldId id="5081" r:id="rId370"/>
    <p:sldId id="6586" r:id="rId371"/>
    <p:sldId id="5122" r:id="rId372"/>
    <p:sldId id="5124" r:id="rId373"/>
    <p:sldId id="5315" r:id="rId374"/>
    <p:sldId id="5123" r:id="rId375"/>
    <p:sldId id="5125" r:id="rId376"/>
    <p:sldId id="5313" r:id="rId377"/>
    <p:sldId id="5126" r:id="rId378"/>
    <p:sldId id="5314" r:id="rId379"/>
    <p:sldId id="5127" r:id="rId380"/>
    <p:sldId id="5128" r:id="rId381"/>
    <p:sldId id="5082" r:id="rId382"/>
    <p:sldId id="5075" r:id="rId383"/>
    <p:sldId id="5083" r:id="rId384"/>
    <p:sldId id="6867" r:id="rId385"/>
    <p:sldId id="6868" r:id="rId386"/>
    <p:sldId id="6869" r:id="rId387"/>
    <p:sldId id="6870" r:id="rId388"/>
    <p:sldId id="6871" r:id="rId389"/>
    <p:sldId id="6872" r:id="rId390"/>
    <p:sldId id="6873" r:id="rId391"/>
    <p:sldId id="6874" r:id="rId392"/>
    <p:sldId id="6875" r:id="rId393"/>
    <p:sldId id="6876" r:id="rId394"/>
    <p:sldId id="6877" r:id="rId395"/>
    <p:sldId id="6878" r:id="rId396"/>
    <p:sldId id="6879" r:id="rId397"/>
    <p:sldId id="6880" r:id="rId398"/>
    <p:sldId id="6881" r:id="rId399"/>
    <p:sldId id="6882" r:id="rId400"/>
    <p:sldId id="6883" r:id="rId401"/>
    <p:sldId id="6884" r:id="rId402"/>
    <p:sldId id="6885" r:id="rId403"/>
    <p:sldId id="6886" r:id="rId404"/>
    <p:sldId id="6887" r:id="rId405"/>
    <p:sldId id="6888" r:id="rId406"/>
    <p:sldId id="6889" r:id="rId407"/>
    <p:sldId id="6890" r:id="rId408"/>
    <p:sldId id="6891" r:id="rId409"/>
    <p:sldId id="6892" r:id="rId410"/>
    <p:sldId id="6893" r:id="rId411"/>
    <p:sldId id="6894" r:id="rId412"/>
    <p:sldId id="6895" r:id="rId413"/>
    <p:sldId id="6896" r:id="rId414"/>
    <p:sldId id="6897" r:id="rId415"/>
    <p:sldId id="6898" r:id="rId416"/>
    <p:sldId id="6899" r:id="rId417"/>
    <p:sldId id="6900" r:id="rId418"/>
    <p:sldId id="6901" r:id="rId419"/>
    <p:sldId id="6902" r:id="rId420"/>
    <p:sldId id="6903" r:id="rId421"/>
    <p:sldId id="6904" r:id="rId422"/>
    <p:sldId id="6905" r:id="rId423"/>
    <p:sldId id="6906" r:id="rId424"/>
    <p:sldId id="6907" r:id="rId425"/>
    <p:sldId id="6908" r:id="rId426"/>
    <p:sldId id="6909" r:id="rId427"/>
    <p:sldId id="6910" r:id="rId428"/>
    <p:sldId id="6911" r:id="rId429"/>
    <p:sldId id="6912" r:id="rId430"/>
    <p:sldId id="6913" r:id="rId431"/>
    <p:sldId id="6914" r:id="rId432"/>
    <p:sldId id="6915" r:id="rId433"/>
    <p:sldId id="6916" r:id="rId434"/>
    <p:sldId id="6917" r:id="rId435"/>
    <p:sldId id="6918" r:id="rId436"/>
    <p:sldId id="6919" r:id="rId437"/>
    <p:sldId id="6920" r:id="rId438"/>
    <p:sldId id="6921" r:id="rId439"/>
    <p:sldId id="6922" r:id="rId440"/>
    <p:sldId id="6923" r:id="rId441"/>
    <p:sldId id="6924" r:id="rId442"/>
    <p:sldId id="6925" r:id="rId443"/>
    <p:sldId id="6926" r:id="rId444"/>
    <p:sldId id="6927" r:id="rId445"/>
    <p:sldId id="6928" r:id="rId446"/>
    <p:sldId id="6929" r:id="rId447"/>
    <p:sldId id="6930" r:id="rId448"/>
    <p:sldId id="6931" r:id="rId449"/>
    <p:sldId id="6932" r:id="rId450"/>
    <p:sldId id="6933" r:id="rId451"/>
    <p:sldId id="6934" r:id="rId452"/>
    <p:sldId id="6935" r:id="rId453"/>
    <p:sldId id="6936" r:id="rId454"/>
    <p:sldId id="6937" r:id="rId455"/>
    <p:sldId id="6938" r:id="rId456"/>
    <p:sldId id="6939" r:id="rId457"/>
    <p:sldId id="6940" r:id="rId458"/>
    <p:sldId id="6941" r:id="rId459"/>
    <p:sldId id="5003" r:id="rId460"/>
    <p:sldId id="5004" r:id="rId461"/>
  </p:sldIdLst>
  <p:sldSz cx="9906000" cy="6858000" type="A4"/>
  <p:notesSz cx="6797675" cy="9928225"/>
  <p:embeddedFontLst>
    <p:embeddedFont>
      <p:font typeface="Wingdings 2" panose="05020102010507070707" pitchFamily="18" charset="2"/>
      <p:regular r:id="rId464"/>
    </p:embeddedFont>
    <p:embeddedFont>
      <p:font typeface="Verdana" panose="020B0604030504040204" pitchFamily="34" charset="0"/>
      <p:regular r:id="rId465"/>
      <p:bold r:id="rId466"/>
      <p:italic r:id="rId467"/>
      <p:boldItalic r:id="rId468"/>
    </p:embeddedFont>
    <p:embeddedFont>
      <p:font typeface="맑은 고딕" panose="020B0503020000020004" pitchFamily="50" charset="-127"/>
      <p:regular r:id="rId469"/>
      <p:bold r:id="rId470"/>
    </p:embeddedFont>
    <p:embeddedFont>
      <p:font typeface="Optima" panose="05000000000000000000" charset="2"/>
      <p:regular r:id="rId471"/>
      <p:bold r:id="rId472"/>
    </p:embeddedFont>
    <p:embeddedFont>
      <p:font typeface="HY견고딕" panose="02030600000101010101" pitchFamily="18" charset="-127"/>
      <p:regular r:id="rId473"/>
    </p:embeddedFont>
    <p:embeddedFont>
      <p:font typeface="Times" panose="02020603050405020304" pitchFamily="18" charset="0"/>
      <p:regular r:id="rId474"/>
      <p:bold r:id="rId475"/>
      <p:italic r:id="rId476"/>
      <p:boldItalic r:id="rId477"/>
    </p:embeddedFont>
    <p:embeddedFont>
      <p:font typeface="Arial Narrow" panose="020B0606020202030204" pitchFamily="34" charset="0"/>
      <p:regular r:id="rId478"/>
      <p:bold r:id="rId479"/>
      <p:italic r:id="rId480"/>
      <p:boldItalic r:id="rId481"/>
    </p:embeddedFont>
    <p:embeddedFont>
      <p:font typeface="Univers 45 Light" pitchFamily="2" charset="0"/>
      <p:regular r:id="rId482"/>
      <p:bold r:id="rId483"/>
      <p:italic r:id="rId484"/>
      <p:boldItalic r:id="rId485"/>
    </p:embeddedFont>
    <p:embeddedFont>
      <p:font typeface="Webdings" panose="05030102010509060703" pitchFamily="18" charset="2"/>
      <p:regular r:id="rId486"/>
    </p:embeddedFont>
    <p:embeddedFont>
      <p:font typeface="Wingdings 3" panose="05040102010807070707" pitchFamily="18" charset="2"/>
      <p:regular r:id="rId487"/>
    </p:embeddedFont>
    <p:embeddedFont>
      <p:font typeface="가는각진제목체" panose="020B0600000101010101" charset="-127"/>
      <p:regular r:id="rId488"/>
    </p:embeddedFont>
  </p:embeddedFontLst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5pPr>
    <a:lvl6pPr marL="2286000" algn="l" defTabSz="914400" rtl="0" eaLnBrk="1" latinLnBrk="1" hangingPunct="1"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6pPr>
    <a:lvl7pPr marL="2743200" algn="l" defTabSz="914400" rtl="0" eaLnBrk="1" latinLnBrk="1" hangingPunct="1"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7pPr>
    <a:lvl8pPr marL="3200400" algn="l" defTabSz="914400" rtl="0" eaLnBrk="1" latinLnBrk="1" hangingPunct="1"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8pPr>
    <a:lvl9pPr marL="3657600" algn="l" defTabSz="914400" rtl="0" eaLnBrk="1" latinLnBrk="1" hangingPunct="1">
      <a:defRPr sz="1600" b="1" kern="1200">
        <a:solidFill>
          <a:schemeClr val="bg1"/>
        </a:solidFill>
        <a:latin typeface="Optima" pitchFamily="2" charset="2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799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7" pos="6114" userDrawn="1">
          <p15:clr>
            <a:srgbClr val="A4A3A4"/>
          </p15:clr>
        </p15:guide>
        <p15:guide id="10" orient="horz" pos="1207" userDrawn="1">
          <p15:clr>
            <a:srgbClr val="A4A3A4"/>
          </p15:clr>
        </p15:guide>
        <p15:guide id="11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1B3A87"/>
    <a:srgbClr val="D6EBF6"/>
    <a:srgbClr val="A2B7EC"/>
    <a:srgbClr val="C0C0C0"/>
    <a:srgbClr val="4E76DA"/>
    <a:srgbClr val="F8F8F8"/>
    <a:srgbClr val="FFFFCC"/>
    <a:srgbClr val="FFFFFF"/>
    <a:srgbClr val="4D89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51" autoAdjust="0"/>
    <p:restoredTop sz="94552" autoAdjust="0"/>
  </p:normalViewPr>
  <p:slideViewPr>
    <p:cSldViewPr>
      <p:cViewPr varScale="1">
        <p:scale>
          <a:sx n="72" d="100"/>
          <a:sy n="72" d="100"/>
        </p:scale>
        <p:origin x="1002" y="72"/>
      </p:cViewPr>
      <p:guideLst>
        <p:guide orient="horz" pos="436"/>
        <p:guide orient="horz" pos="799"/>
        <p:guide orient="horz"/>
        <p:guide pos="6114"/>
        <p:guide orient="horz" pos="1207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2538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99" Type="http://schemas.openxmlformats.org/officeDocument/2006/relationships/slide" Target="slides/slide291.xml"/><Relationship Id="rId21" Type="http://schemas.openxmlformats.org/officeDocument/2006/relationships/slide" Target="slides/slide13.xml"/><Relationship Id="rId63" Type="http://schemas.openxmlformats.org/officeDocument/2006/relationships/slide" Target="slides/slide55.xml"/><Relationship Id="rId159" Type="http://schemas.openxmlformats.org/officeDocument/2006/relationships/slide" Target="slides/slide151.xml"/><Relationship Id="rId324" Type="http://schemas.openxmlformats.org/officeDocument/2006/relationships/slide" Target="slides/slide316.xml"/><Relationship Id="rId366" Type="http://schemas.openxmlformats.org/officeDocument/2006/relationships/slide" Target="slides/slide358.xml"/><Relationship Id="rId170" Type="http://schemas.openxmlformats.org/officeDocument/2006/relationships/slide" Target="slides/slide162.xml"/><Relationship Id="rId226" Type="http://schemas.openxmlformats.org/officeDocument/2006/relationships/slide" Target="slides/slide218.xml"/><Relationship Id="rId433" Type="http://schemas.openxmlformats.org/officeDocument/2006/relationships/slide" Target="slides/slide425.xml"/><Relationship Id="rId268" Type="http://schemas.openxmlformats.org/officeDocument/2006/relationships/slide" Target="slides/slide260.xml"/><Relationship Id="rId475" Type="http://schemas.openxmlformats.org/officeDocument/2006/relationships/font" Target="fonts/font12.fntdata"/><Relationship Id="rId32" Type="http://schemas.openxmlformats.org/officeDocument/2006/relationships/slide" Target="slides/slide24.xml"/><Relationship Id="rId74" Type="http://schemas.openxmlformats.org/officeDocument/2006/relationships/slide" Target="slides/slide66.xml"/><Relationship Id="rId128" Type="http://schemas.openxmlformats.org/officeDocument/2006/relationships/slide" Target="slides/slide120.xml"/><Relationship Id="rId335" Type="http://schemas.openxmlformats.org/officeDocument/2006/relationships/slide" Target="slides/slide327.xml"/><Relationship Id="rId377" Type="http://schemas.openxmlformats.org/officeDocument/2006/relationships/slide" Target="slides/slide369.xml"/><Relationship Id="rId5" Type="http://schemas.openxmlformats.org/officeDocument/2006/relationships/slideMaster" Target="slideMasters/slideMaster2.xml"/><Relationship Id="rId181" Type="http://schemas.openxmlformats.org/officeDocument/2006/relationships/slide" Target="slides/slide173.xml"/><Relationship Id="rId237" Type="http://schemas.openxmlformats.org/officeDocument/2006/relationships/slide" Target="slides/slide229.xml"/><Relationship Id="rId402" Type="http://schemas.openxmlformats.org/officeDocument/2006/relationships/slide" Target="slides/slide394.xml"/><Relationship Id="rId279" Type="http://schemas.openxmlformats.org/officeDocument/2006/relationships/slide" Target="slides/slide271.xml"/><Relationship Id="rId444" Type="http://schemas.openxmlformats.org/officeDocument/2006/relationships/slide" Target="slides/slide436.xml"/><Relationship Id="rId486" Type="http://schemas.openxmlformats.org/officeDocument/2006/relationships/font" Target="fonts/font23.fntdata"/><Relationship Id="rId43" Type="http://schemas.openxmlformats.org/officeDocument/2006/relationships/slide" Target="slides/slide35.xml"/><Relationship Id="rId139" Type="http://schemas.openxmlformats.org/officeDocument/2006/relationships/slide" Target="slides/slide131.xml"/><Relationship Id="rId290" Type="http://schemas.openxmlformats.org/officeDocument/2006/relationships/slide" Target="slides/slide282.xml"/><Relationship Id="rId304" Type="http://schemas.openxmlformats.org/officeDocument/2006/relationships/slide" Target="slides/slide296.xml"/><Relationship Id="rId346" Type="http://schemas.openxmlformats.org/officeDocument/2006/relationships/slide" Target="slides/slide338.xml"/><Relationship Id="rId388" Type="http://schemas.openxmlformats.org/officeDocument/2006/relationships/slide" Target="slides/slide380.xml"/><Relationship Id="rId85" Type="http://schemas.openxmlformats.org/officeDocument/2006/relationships/slide" Target="slides/slide77.xml"/><Relationship Id="rId150" Type="http://schemas.openxmlformats.org/officeDocument/2006/relationships/slide" Target="slides/slide142.xml"/><Relationship Id="rId192" Type="http://schemas.openxmlformats.org/officeDocument/2006/relationships/slide" Target="slides/slide184.xml"/><Relationship Id="rId206" Type="http://schemas.openxmlformats.org/officeDocument/2006/relationships/slide" Target="slides/slide198.xml"/><Relationship Id="rId413" Type="http://schemas.openxmlformats.org/officeDocument/2006/relationships/slide" Target="slides/slide405.xml"/><Relationship Id="rId248" Type="http://schemas.openxmlformats.org/officeDocument/2006/relationships/slide" Target="slides/slide240.xml"/><Relationship Id="rId455" Type="http://schemas.openxmlformats.org/officeDocument/2006/relationships/slide" Target="slides/slide447.xml"/><Relationship Id="rId12" Type="http://schemas.openxmlformats.org/officeDocument/2006/relationships/slide" Target="slides/slide4.xml"/><Relationship Id="rId108" Type="http://schemas.openxmlformats.org/officeDocument/2006/relationships/slide" Target="slides/slide100.xml"/><Relationship Id="rId315" Type="http://schemas.openxmlformats.org/officeDocument/2006/relationships/slide" Target="slides/slide307.xml"/><Relationship Id="rId357" Type="http://schemas.openxmlformats.org/officeDocument/2006/relationships/slide" Target="slides/slide349.xml"/><Relationship Id="rId54" Type="http://schemas.openxmlformats.org/officeDocument/2006/relationships/slide" Target="slides/slide46.xml"/><Relationship Id="rId96" Type="http://schemas.openxmlformats.org/officeDocument/2006/relationships/slide" Target="slides/slide88.xml"/><Relationship Id="rId161" Type="http://schemas.openxmlformats.org/officeDocument/2006/relationships/slide" Target="slides/slide153.xml"/><Relationship Id="rId217" Type="http://schemas.openxmlformats.org/officeDocument/2006/relationships/slide" Target="slides/slide209.xml"/><Relationship Id="rId399" Type="http://schemas.openxmlformats.org/officeDocument/2006/relationships/slide" Target="slides/slide391.xml"/><Relationship Id="rId259" Type="http://schemas.openxmlformats.org/officeDocument/2006/relationships/slide" Target="slides/slide251.xml"/><Relationship Id="rId424" Type="http://schemas.openxmlformats.org/officeDocument/2006/relationships/slide" Target="slides/slide416.xml"/><Relationship Id="rId466" Type="http://schemas.openxmlformats.org/officeDocument/2006/relationships/font" Target="fonts/font3.fntdata"/><Relationship Id="rId23" Type="http://schemas.openxmlformats.org/officeDocument/2006/relationships/slide" Target="slides/slide15.xml"/><Relationship Id="rId119" Type="http://schemas.openxmlformats.org/officeDocument/2006/relationships/slide" Target="slides/slide111.xml"/><Relationship Id="rId270" Type="http://schemas.openxmlformats.org/officeDocument/2006/relationships/slide" Target="slides/slide262.xml"/><Relationship Id="rId326" Type="http://schemas.openxmlformats.org/officeDocument/2006/relationships/slide" Target="slides/slide318.xml"/><Relationship Id="rId65" Type="http://schemas.openxmlformats.org/officeDocument/2006/relationships/slide" Target="slides/slide57.xml"/><Relationship Id="rId130" Type="http://schemas.openxmlformats.org/officeDocument/2006/relationships/slide" Target="slides/slide122.xml"/><Relationship Id="rId368" Type="http://schemas.openxmlformats.org/officeDocument/2006/relationships/slide" Target="slides/slide360.xml"/><Relationship Id="rId172" Type="http://schemas.openxmlformats.org/officeDocument/2006/relationships/slide" Target="slides/slide164.xml"/><Relationship Id="rId228" Type="http://schemas.openxmlformats.org/officeDocument/2006/relationships/slide" Target="slides/slide220.xml"/><Relationship Id="rId435" Type="http://schemas.openxmlformats.org/officeDocument/2006/relationships/slide" Target="slides/slide427.xml"/><Relationship Id="rId477" Type="http://schemas.openxmlformats.org/officeDocument/2006/relationships/font" Target="fonts/font14.fntdata"/><Relationship Id="rId281" Type="http://schemas.openxmlformats.org/officeDocument/2006/relationships/slide" Target="slides/slide273.xml"/><Relationship Id="rId337" Type="http://schemas.openxmlformats.org/officeDocument/2006/relationships/slide" Target="slides/slide329.xml"/><Relationship Id="rId34" Type="http://schemas.openxmlformats.org/officeDocument/2006/relationships/slide" Target="slides/slide26.xml"/><Relationship Id="rId76" Type="http://schemas.openxmlformats.org/officeDocument/2006/relationships/slide" Target="slides/slide68.xml"/><Relationship Id="rId141" Type="http://schemas.openxmlformats.org/officeDocument/2006/relationships/slide" Target="slides/slide133.xml"/><Relationship Id="rId379" Type="http://schemas.openxmlformats.org/officeDocument/2006/relationships/slide" Target="slides/slide371.xml"/><Relationship Id="rId7" Type="http://schemas.openxmlformats.org/officeDocument/2006/relationships/slideMaster" Target="slideMasters/slideMaster4.xml"/><Relationship Id="rId162" Type="http://schemas.openxmlformats.org/officeDocument/2006/relationships/slide" Target="slides/slide154.xml"/><Relationship Id="rId183" Type="http://schemas.openxmlformats.org/officeDocument/2006/relationships/slide" Target="slides/slide175.xml"/><Relationship Id="rId218" Type="http://schemas.openxmlformats.org/officeDocument/2006/relationships/slide" Target="slides/slide210.xml"/><Relationship Id="rId239" Type="http://schemas.openxmlformats.org/officeDocument/2006/relationships/slide" Target="slides/slide231.xml"/><Relationship Id="rId390" Type="http://schemas.openxmlformats.org/officeDocument/2006/relationships/slide" Target="slides/slide382.xml"/><Relationship Id="rId404" Type="http://schemas.openxmlformats.org/officeDocument/2006/relationships/slide" Target="slides/slide396.xml"/><Relationship Id="rId425" Type="http://schemas.openxmlformats.org/officeDocument/2006/relationships/slide" Target="slides/slide417.xml"/><Relationship Id="rId446" Type="http://schemas.openxmlformats.org/officeDocument/2006/relationships/slide" Target="slides/slide438.xml"/><Relationship Id="rId467" Type="http://schemas.openxmlformats.org/officeDocument/2006/relationships/font" Target="fonts/font4.fntdata"/><Relationship Id="rId250" Type="http://schemas.openxmlformats.org/officeDocument/2006/relationships/slide" Target="slides/slide242.xml"/><Relationship Id="rId271" Type="http://schemas.openxmlformats.org/officeDocument/2006/relationships/slide" Target="slides/slide263.xml"/><Relationship Id="rId292" Type="http://schemas.openxmlformats.org/officeDocument/2006/relationships/slide" Target="slides/slide284.xml"/><Relationship Id="rId306" Type="http://schemas.openxmlformats.org/officeDocument/2006/relationships/slide" Target="slides/slide298.xml"/><Relationship Id="rId488" Type="http://schemas.openxmlformats.org/officeDocument/2006/relationships/font" Target="fonts/font25.fntdata"/><Relationship Id="rId24" Type="http://schemas.openxmlformats.org/officeDocument/2006/relationships/slide" Target="slides/slide16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31" Type="http://schemas.openxmlformats.org/officeDocument/2006/relationships/slide" Target="slides/slide123.xml"/><Relationship Id="rId327" Type="http://schemas.openxmlformats.org/officeDocument/2006/relationships/slide" Target="slides/slide319.xml"/><Relationship Id="rId348" Type="http://schemas.openxmlformats.org/officeDocument/2006/relationships/slide" Target="slides/slide340.xml"/><Relationship Id="rId369" Type="http://schemas.openxmlformats.org/officeDocument/2006/relationships/slide" Target="slides/slide361.xml"/><Relationship Id="rId152" Type="http://schemas.openxmlformats.org/officeDocument/2006/relationships/slide" Target="slides/slide144.xml"/><Relationship Id="rId173" Type="http://schemas.openxmlformats.org/officeDocument/2006/relationships/slide" Target="slides/slide165.xml"/><Relationship Id="rId194" Type="http://schemas.openxmlformats.org/officeDocument/2006/relationships/slide" Target="slides/slide186.xml"/><Relationship Id="rId208" Type="http://schemas.openxmlformats.org/officeDocument/2006/relationships/slide" Target="slides/slide200.xml"/><Relationship Id="rId229" Type="http://schemas.openxmlformats.org/officeDocument/2006/relationships/slide" Target="slides/slide221.xml"/><Relationship Id="rId380" Type="http://schemas.openxmlformats.org/officeDocument/2006/relationships/slide" Target="slides/slide372.xml"/><Relationship Id="rId415" Type="http://schemas.openxmlformats.org/officeDocument/2006/relationships/slide" Target="slides/slide407.xml"/><Relationship Id="rId436" Type="http://schemas.openxmlformats.org/officeDocument/2006/relationships/slide" Target="slides/slide428.xml"/><Relationship Id="rId457" Type="http://schemas.openxmlformats.org/officeDocument/2006/relationships/slide" Target="slides/slide449.xml"/><Relationship Id="rId240" Type="http://schemas.openxmlformats.org/officeDocument/2006/relationships/slide" Target="slides/slide232.xml"/><Relationship Id="rId261" Type="http://schemas.openxmlformats.org/officeDocument/2006/relationships/slide" Target="slides/slide253.xml"/><Relationship Id="rId478" Type="http://schemas.openxmlformats.org/officeDocument/2006/relationships/font" Target="fonts/font15.fntdata"/><Relationship Id="rId14" Type="http://schemas.openxmlformats.org/officeDocument/2006/relationships/slide" Target="slides/slide6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282" Type="http://schemas.openxmlformats.org/officeDocument/2006/relationships/slide" Target="slides/slide274.xml"/><Relationship Id="rId317" Type="http://schemas.openxmlformats.org/officeDocument/2006/relationships/slide" Target="slides/slide309.xml"/><Relationship Id="rId338" Type="http://schemas.openxmlformats.org/officeDocument/2006/relationships/slide" Target="slides/slide330.xml"/><Relationship Id="rId359" Type="http://schemas.openxmlformats.org/officeDocument/2006/relationships/slide" Target="slides/slide351.xml"/><Relationship Id="rId8" Type="http://schemas.openxmlformats.org/officeDocument/2006/relationships/slideMaster" Target="slideMasters/slideMaster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142" Type="http://schemas.openxmlformats.org/officeDocument/2006/relationships/slide" Target="slides/slide134.xml"/><Relationship Id="rId163" Type="http://schemas.openxmlformats.org/officeDocument/2006/relationships/slide" Target="slides/slide155.xml"/><Relationship Id="rId184" Type="http://schemas.openxmlformats.org/officeDocument/2006/relationships/slide" Target="slides/slide176.xml"/><Relationship Id="rId219" Type="http://schemas.openxmlformats.org/officeDocument/2006/relationships/slide" Target="slides/slide211.xml"/><Relationship Id="rId370" Type="http://schemas.openxmlformats.org/officeDocument/2006/relationships/slide" Target="slides/slide362.xml"/><Relationship Id="rId391" Type="http://schemas.openxmlformats.org/officeDocument/2006/relationships/slide" Target="slides/slide383.xml"/><Relationship Id="rId405" Type="http://schemas.openxmlformats.org/officeDocument/2006/relationships/slide" Target="slides/slide397.xml"/><Relationship Id="rId426" Type="http://schemas.openxmlformats.org/officeDocument/2006/relationships/slide" Target="slides/slide418.xml"/><Relationship Id="rId447" Type="http://schemas.openxmlformats.org/officeDocument/2006/relationships/slide" Target="slides/slide439.xml"/><Relationship Id="rId230" Type="http://schemas.openxmlformats.org/officeDocument/2006/relationships/slide" Target="slides/slide222.xml"/><Relationship Id="rId251" Type="http://schemas.openxmlformats.org/officeDocument/2006/relationships/slide" Target="slides/slide243.xml"/><Relationship Id="rId468" Type="http://schemas.openxmlformats.org/officeDocument/2006/relationships/font" Target="fonts/font5.fntdata"/><Relationship Id="rId489" Type="http://schemas.openxmlformats.org/officeDocument/2006/relationships/presProps" Target="presProps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272" Type="http://schemas.openxmlformats.org/officeDocument/2006/relationships/slide" Target="slides/slide264.xml"/><Relationship Id="rId293" Type="http://schemas.openxmlformats.org/officeDocument/2006/relationships/slide" Target="slides/slide285.xml"/><Relationship Id="rId307" Type="http://schemas.openxmlformats.org/officeDocument/2006/relationships/slide" Target="slides/slide299.xml"/><Relationship Id="rId328" Type="http://schemas.openxmlformats.org/officeDocument/2006/relationships/slide" Target="slides/slide320.xml"/><Relationship Id="rId349" Type="http://schemas.openxmlformats.org/officeDocument/2006/relationships/slide" Target="slides/slide341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32" Type="http://schemas.openxmlformats.org/officeDocument/2006/relationships/slide" Target="slides/slide124.xml"/><Relationship Id="rId153" Type="http://schemas.openxmlformats.org/officeDocument/2006/relationships/slide" Target="slides/slide145.xml"/><Relationship Id="rId174" Type="http://schemas.openxmlformats.org/officeDocument/2006/relationships/slide" Target="slides/slide166.xml"/><Relationship Id="rId195" Type="http://schemas.openxmlformats.org/officeDocument/2006/relationships/slide" Target="slides/slide187.xml"/><Relationship Id="rId209" Type="http://schemas.openxmlformats.org/officeDocument/2006/relationships/slide" Target="slides/slide201.xml"/><Relationship Id="rId360" Type="http://schemas.openxmlformats.org/officeDocument/2006/relationships/slide" Target="slides/slide352.xml"/><Relationship Id="rId381" Type="http://schemas.openxmlformats.org/officeDocument/2006/relationships/slide" Target="slides/slide373.xml"/><Relationship Id="rId416" Type="http://schemas.openxmlformats.org/officeDocument/2006/relationships/slide" Target="slides/slide408.xml"/><Relationship Id="rId220" Type="http://schemas.openxmlformats.org/officeDocument/2006/relationships/slide" Target="slides/slide212.xml"/><Relationship Id="rId241" Type="http://schemas.openxmlformats.org/officeDocument/2006/relationships/slide" Target="slides/slide233.xml"/><Relationship Id="rId437" Type="http://schemas.openxmlformats.org/officeDocument/2006/relationships/slide" Target="slides/slide429.xml"/><Relationship Id="rId458" Type="http://schemas.openxmlformats.org/officeDocument/2006/relationships/slide" Target="slides/slide450.xml"/><Relationship Id="rId479" Type="http://schemas.openxmlformats.org/officeDocument/2006/relationships/font" Target="fonts/font16.fntdata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262" Type="http://schemas.openxmlformats.org/officeDocument/2006/relationships/slide" Target="slides/slide254.xml"/><Relationship Id="rId283" Type="http://schemas.openxmlformats.org/officeDocument/2006/relationships/slide" Target="slides/slide275.xml"/><Relationship Id="rId318" Type="http://schemas.openxmlformats.org/officeDocument/2006/relationships/slide" Target="slides/slide310.xml"/><Relationship Id="rId339" Type="http://schemas.openxmlformats.org/officeDocument/2006/relationships/slide" Target="slides/slide331.xml"/><Relationship Id="rId490" Type="http://schemas.openxmlformats.org/officeDocument/2006/relationships/viewProps" Target="viewProps.xml"/><Relationship Id="rId78" Type="http://schemas.openxmlformats.org/officeDocument/2006/relationships/slide" Target="slides/slide70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slide" Target="slides/slide114.xml"/><Relationship Id="rId143" Type="http://schemas.openxmlformats.org/officeDocument/2006/relationships/slide" Target="slides/slide135.xml"/><Relationship Id="rId164" Type="http://schemas.openxmlformats.org/officeDocument/2006/relationships/slide" Target="slides/slide156.xml"/><Relationship Id="rId185" Type="http://schemas.openxmlformats.org/officeDocument/2006/relationships/slide" Target="slides/slide177.xml"/><Relationship Id="rId350" Type="http://schemas.openxmlformats.org/officeDocument/2006/relationships/slide" Target="slides/slide342.xml"/><Relationship Id="rId371" Type="http://schemas.openxmlformats.org/officeDocument/2006/relationships/slide" Target="slides/slide363.xml"/><Relationship Id="rId406" Type="http://schemas.openxmlformats.org/officeDocument/2006/relationships/slide" Target="slides/slide398.xml"/><Relationship Id="rId9" Type="http://schemas.openxmlformats.org/officeDocument/2006/relationships/slide" Target="slides/slide1.xml"/><Relationship Id="rId210" Type="http://schemas.openxmlformats.org/officeDocument/2006/relationships/slide" Target="slides/slide202.xml"/><Relationship Id="rId392" Type="http://schemas.openxmlformats.org/officeDocument/2006/relationships/slide" Target="slides/slide384.xml"/><Relationship Id="rId427" Type="http://schemas.openxmlformats.org/officeDocument/2006/relationships/slide" Target="slides/slide419.xml"/><Relationship Id="rId448" Type="http://schemas.openxmlformats.org/officeDocument/2006/relationships/slide" Target="slides/slide440.xml"/><Relationship Id="rId469" Type="http://schemas.openxmlformats.org/officeDocument/2006/relationships/font" Target="fonts/font6.fntdata"/><Relationship Id="rId26" Type="http://schemas.openxmlformats.org/officeDocument/2006/relationships/slide" Target="slides/slide18.xml"/><Relationship Id="rId231" Type="http://schemas.openxmlformats.org/officeDocument/2006/relationships/slide" Target="slides/slide223.xml"/><Relationship Id="rId252" Type="http://schemas.openxmlformats.org/officeDocument/2006/relationships/slide" Target="slides/slide244.xml"/><Relationship Id="rId273" Type="http://schemas.openxmlformats.org/officeDocument/2006/relationships/slide" Target="slides/slide265.xml"/><Relationship Id="rId294" Type="http://schemas.openxmlformats.org/officeDocument/2006/relationships/slide" Target="slides/slide286.xml"/><Relationship Id="rId308" Type="http://schemas.openxmlformats.org/officeDocument/2006/relationships/slide" Target="slides/slide300.xml"/><Relationship Id="rId329" Type="http://schemas.openxmlformats.org/officeDocument/2006/relationships/slide" Target="slides/slide321.xml"/><Relationship Id="rId480" Type="http://schemas.openxmlformats.org/officeDocument/2006/relationships/font" Target="fonts/font17.fntdata"/><Relationship Id="rId47" Type="http://schemas.openxmlformats.org/officeDocument/2006/relationships/slide" Target="slides/slide39.xml"/><Relationship Id="rId68" Type="http://schemas.openxmlformats.org/officeDocument/2006/relationships/slide" Target="slides/slide60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33" Type="http://schemas.openxmlformats.org/officeDocument/2006/relationships/slide" Target="slides/slide125.xml"/><Relationship Id="rId154" Type="http://schemas.openxmlformats.org/officeDocument/2006/relationships/slide" Target="slides/slide146.xml"/><Relationship Id="rId175" Type="http://schemas.openxmlformats.org/officeDocument/2006/relationships/slide" Target="slides/slide167.xml"/><Relationship Id="rId340" Type="http://schemas.openxmlformats.org/officeDocument/2006/relationships/slide" Target="slides/slide332.xml"/><Relationship Id="rId361" Type="http://schemas.openxmlformats.org/officeDocument/2006/relationships/slide" Target="slides/slide353.xml"/><Relationship Id="rId196" Type="http://schemas.openxmlformats.org/officeDocument/2006/relationships/slide" Target="slides/slide188.xml"/><Relationship Id="rId200" Type="http://schemas.openxmlformats.org/officeDocument/2006/relationships/slide" Target="slides/slide192.xml"/><Relationship Id="rId382" Type="http://schemas.openxmlformats.org/officeDocument/2006/relationships/slide" Target="slides/slide374.xml"/><Relationship Id="rId417" Type="http://schemas.openxmlformats.org/officeDocument/2006/relationships/slide" Target="slides/slide409.xml"/><Relationship Id="rId438" Type="http://schemas.openxmlformats.org/officeDocument/2006/relationships/slide" Target="slides/slide430.xml"/><Relationship Id="rId459" Type="http://schemas.openxmlformats.org/officeDocument/2006/relationships/slide" Target="slides/slide451.xml"/><Relationship Id="rId16" Type="http://schemas.openxmlformats.org/officeDocument/2006/relationships/slide" Target="slides/slide8.xml"/><Relationship Id="rId221" Type="http://schemas.openxmlformats.org/officeDocument/2006/relationships/slide" Target="slides/slide213.xml"/><Relationship Id="rId242" Type="http://schemas.openxmlformats.org/officeDocument/2006/relationships/slide" Target="slides/slide234.xml"/><Relationship Id="rId263" Type="http://schemas.openxmlformats.org/officeDocument/2006/relationships/slide" Target="slides/slide255.xml"/><Relationship Id="rId284" Type="http://schemas.openxmlformats.org/officeDocument/2006/relationships/slide" Target="slides/slide276.xml"/><Relationship Id="rId319" Type="http://schemas.openxmlformats.org/officeDocument/2006/relationships/slide" Target="slides/slide311.xml"/><Relationship Id="rId470" Type="http://schemas.openxmlformats.org/officeDocument/2006/relationships/font" Target="fonts/font7.fntdata"/><Relationship Id="rId491" Type="http://schemas.openxmlformats.org/officeDocument/2006/relationships/theme" Target="theme/theme1.xml"/><Relationship Id="rId37" Type="http://schemas.openxmlformats.org/officeDocument/2006/relationships/slide" Target="slides/slide29.xml"/><Relationship Id="rId58" Type="http://schemas.openxmlformats.org/officeDocument/2006/relationships/slide" Target="slides/slide50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slide" Target="slides/slide115.xml"/><Relationship Id="rId144" Type="http://schemas.openxmlformats.org/officeDocument/2006/relationships/slide" Target="slides/slide136.xml"/><Relationship Id="rId330" Type="http://schemas.openxmlformats.org/officeDocument/2006/relationships/slide" Target="slides/slide322.xml"/><Relationship Id="rId90" Type="http://schemas.openxmlformats.org/officeDocument/2006/relationships/slide" Target="slides/slide82.xml"/><Relationship Id="rId165" Type="http://schemas.openxmlformats.org/officeDocument/2006/relationships/slide" Target="slides/slide157.xml"/><Relationship Id="rId186" Type="http://schemas.openxmlformats.org/officeDocument/2006/relationships/slide" Target="slides/slide178.xml"/><Relationship Id="rId351" Type="http://schemas.openxmlformats.org/officeDocument/2006/relationships/slide" Target="slides/slide343.xml"/><Relationship Id="rId372" Type="http://schemas.openxmlformats.org/officeDocument/2006/relationships/slide" Target="slides/slide364.xml"/><Relationship Id="rId393" Type="http://schemas.openxmlformats.org/officeDocument/2006/relationships/slide" Target="slides/slide385.xml"/><Relationship Id="rId407" Type="http://schemas.openxmlformats.org/officeDocument/2006/relationships/slide" Target="slides/slide399.xml"/><Relationship Id="rId428" Type="http://schemas.openxmlformats.org/officeDocument/2006/relationships/slide" Target="slides/slide420.xml"/><Relationship Id="rId449" Type="http://schemas.openxmlformats.org/officeDocument/2006/relationships/slide" Target="slides/slide441.xml"/><Relationship Id="rId211" Type="http://schemas.openxmlformats.org/officeDocument/2006/relationships/slide" Target="slides/slide203.xml"/><Relationship Id="rId232" Type="http://schemas.openxmlformats.org/officeDocument/2006/relationships/slide" Target="slides/slide224.xml"/><Relationship Id="rId253" Type="http://schemas.openxmlformats.org/officeDocument/2006/relationships/slide" Target="slides/slide245.xml"/><Relationship Id="rId274" Type="http://schemas.openxmlformats.org/officeDocument/2006/relationships/slide" Target="slides/slide266.xml"/><Relationship Id="rId295" Type="http://schemas.openxmlformats.org/officeDocument/2006/relationships/slide" Target="slides/slide287.xml"/><Relationship Id="rId309" Type="http://schemas.openxmlformats.org/officeDocument/2006/relationships/slide" Target="slides/slide301.xml"/><Relationship Id="rId460" Type="http://schemas.openxmlformats.org/officeDocument/2006/relationships/slide" Target="slides/slide452.xml"/><Relationship Id="rId481" Type="http://schemas.openxmlformats.org/officeDocument/2006/relationships/font" Target="fonts/font18.fntdata"/><Relationship Id="rId27" Type="http://schemas.openxmlformats.org/officeDocument/2006/relationships/slide" Target="slides/slide19.xml"/><Relationship Id="rId48" Type="http://schemas.openxmlformats.org/officeDocument/2006/relationships/slide" Target="slides/slide40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34" Type="http://schemas.openxmlformats.org/officeDocument/2006/relationships/slide" Target="slides/slide126.xml"/><Relationship Id="rId320" Type="http://schemas.openxmlformats.org/officeDocument/2006/relationships/slide" Target="slides/slide312.xml"/><Relationship Id="rId80" Type="http://schemas.openxmlformats.org/officeDocument/2006/relationships/slide" Target="slides/slide72.xml"/><Relationship Id="rId155" Type="http://schemas.openxmlformats.org/officeDocument/2006/relationships/slide" Target="slides/slide147.xml"/><Relationship Id="rId176" Type="http://schemas.openxmlformats.org/officeDocument/2006/relationships/slide" Target="slides/slide168.xml"/><Relationship Id="rId197" Type="http://schemas.openxmlformats.org/officeDocument/2006/relationships/slide" Target="slides/slide189.xml"/><Relationship Id="rId341" Type="http://schemas.openxmlformats.org/officeDocument/2006/relationships/slide" Target="slides/slide333.xml"/><Relationship Id="rId362" Type="http://schemas.openxmlformats.org/officeDocument/2006/relationships/slide" Target="slides/slide354.xml"/><Relationship Id="rId383" Type="http://schemas.openxmlformats.org/officeDocument/2006/relationships/slide" Target="slides/slide375.xml"/><Relationship Id="rId418" Type="http://schemas.openxmlformats.org/officeDocument/2006/relationships/slide" Target="slides/slide410.xml"/><Relationship Id="rId439" Type="http://schemas.openxmlformats.org/officeDocument/2006/relationships/slide" Target="slides/slide431.xml"/><Relationship Id="rId201" Type="http://schemas.openxmlformats.org/officeDocument/2006/relationships/slide" Target="slides/slide193.xml"/><Relationship Id="rId222" Type="http://schemas.openxmlformats.org/officeDocument/2006/relationships/slide" Target="slides/slide214.xml"/><Relationship Id="rId243" Type="http://schemas.openxmlformats.org/officeDocument/2006/relationships/slide" Target="slides/slide235.xml"/><Relationship Id="rId264" Type="http://schemas.openxmlformats.org/officeDocument/2006/relationships/slide" Target="slides/slide256.xml"/><Relationship Id="rId285" Type="http://schemas.openxmlformats.org/officeDocument/2006/relationships/slide" Target="slides/slide277.xml"/><Relationship Id="rId450" Type="http://schemas.openxmlformats.org/officeDocument/2006/relationships/slide" Target="slides/slide442.xml"/><Relationship Id="rId471" Type="http://schemas.openxmlformats.org/officeDocument/2006/relationships/font" Target="fonts/font8.fntdata"/><Relationship Id="rId17" Type="http://schemas.openxmlformats.org/officeDocument/2006/relationships/slide" Target="slides/slide9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24" Type="http://schemas.openxmlformats.org/officeDocument/2006/relationships/slide" Target="slides/slide116.xml"/><Relationship Id="rId310" Type="http://schemas.openxmlformats.org/officeDocument/2006/relationships/slide" Target="slides/slide302.xml"/><Relationship Id="rId492" Type="http://schemas.openxmlformats.org/officeDocument/2006/relationships/tableStyles" Target="tableStyles.xml"/><Relationship Id="rId70" Type="http://schemas.openxmlformats.org/officeDocument/2006/relationships/slide" Target="slides/slide62.xml"/><Relationship Id="rId91" Type="http://schemas.openxmlformats.org/officeDocument/2006/relationships/slide" Target="slides/slide83.xml"/><Relationship Id="rId145" Type="http://schemas.openxmlformats.org/officeDocument/2006/relationships/slide" Target="slides/slide137.xml"/><Relationship Id="rId166" Type="http://schemas.openxmlformats.org/officeDocument/2006/relationships/slide" Target="slides/slide158.xml"/><Relationship Id="rId187" Type="http://schemas.openxmlformats.org/officeDocument/2006/relationships/slide" Target="slides/slide179.xml"/><Relationship Id="rId331" Type="http://schemas.openxmlformats.org/officeDocument/2006/relationships/slide" Target="slides/slide323.xml"/><Relationship Id="rId352" Type="http://schemas.openxmlformats.org/officeDocument/2006/relationships/slide" Target="slides/slide344.xml"/><Relationship Id="rId373" Type="http://schemas.openxmlformats.org/officeDocument/2006/relationships/slide" Target="slides/slide365.xml"/><Relationship Id="rId394" Type="http://schemas.openxmlformats.org/officeDocument/2006/relationships/slide" Target="slides/slide386.xml"/><Relationship Id="rId408" Type="http://schemas.openxmlformats.org/officeDocument/2006/relationships/slide" Target="slides/slide400.xml"/><Relationship Id="rId429" Type="http://schemas.openxmlformats.org/officeDocument/2006/relationships/slide" Target="slides/slide421.xml"/><Relationship Id="rId1" Type="http://schemas.openxmlformats.org/officeDocument/2006/relationships/customXml" Target="../customXml/item1.xml"/><Relationship Id="rId212" Type="http://schemas.openxmlformats.org/officeDocument/2006/relationships/slide" Target="slides/slide204.xml"/><Relationship Id="rId233" Type="http://schemas.openxmlformats.org/officeDocument/2006/relationships/slide" Target="slides/slide225.xml"/><Relationship Id="rId254" Type="http://schemas.openxmlformats.org/officeDocument/2006/relationships/slide" Target="slides/slide246.xml"/><Relationship Id="rId440" Type="http://schemas.openxmlformats.org/officeDocument/2006/relationships/slide" Target="slides/slide432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275" Type="http://schemas.openxmlformats.org/officeDocument/2006/relationships/slide" Target="slides/slide267.xml"/><Relationship Id="rId296" Type="http://schemas.openxmlformats.org/officeDocument/2006/relationships/slide" Target="slides/slide288.xml"/><Relationship Id="rId300" Type="http://schemas.openxmlformats.org/officeDocument/2006/relationships/slide" Target="slides/slide292.xml"/><Relationship Id="rId461" Type="http://schemas.openxmlformats.org/officeDocument/2006/relationships/slide" Target="slides/slide453.xml"/><Relationship Id="rId482" Type="http://schemas.openxmlformats.org/officeDocument/2006/relationships/font" Target="fonts/font19.fntdata"/><Relationship Id="rId60" Type="http://schemas.openxmlformats.org/officeDocument/2006/relationships/slide" Target="slides/slide52.xml"/><Relationship Id="rId81" Type="http://schemas.openxmlformats.org/officeDocument/2006/relationships/slide" Target="slides/slide73.xml"/><Relationship Id="rId135" Type="http://schemas.openxmlformats.org/officeDocument/2006/relationships/slide" Target="slides/slide127.xml"/><Relationship Id="rId156" Type="http://schemas.openxmlformats.org/officeDocument/2006/relationships/slide" Target="slides/slide148.xml"/><Relationship Id="rId177" Type="http://schemas.openxmlformats.org/officeDocument/2006/relationships/slide" Target="slides/slide169.xml"/><Relationship Id="rId198" Type="http://schemas.openxmlformats.org/officeDocument/2006/relationships/slide" Target="slides/slide190.xml"/><Relationship Id="rId321" Type="http://schemas.openxmlformats.org/officeDocument/2006/relationships/slide" Target="slides/slide313.xml"/><Relationship Id="rId342" Type="http://schemas.openxmlformats.org/officeDocument/2006/relationships/slide" Target="slides/slide334.xml"/><Relationship Id="rId363" Type="http://schemas.openxmlformats.org/officeDocument/2006/relationships/slide" Target="slides/slide355.xml"/><Relationship Id="rId384" Type="http://schemas.openxmlformats.org/officeDocument/2006/relationships/slide" Target="slides/slide376.xml"/><Relationship Id="rId419" Type="http://schemas.openxmlformats.org/officeDocument/2006/relationships/slide" Target="slides/slide411.xml"/><Relationship Id="rId202" Type="http://schemas.openxmlformats.org/officeDocument/2006/relationships/slide" Target="slides/slide194.xml"/><Relationship Id="rId223" Type="http://schemas.openxmlformats.org/officeDocument/2006/relationships/slide" Target="slides/slide215.xml"/><Relationship Id="rId244" Type="http://schemas.openxmlformats.org/officeDocument/2006/relationships/slide" Target="slides/slide236.xml"/><Relationship Id="rId430" Type="http://schemas.openxmlformats.org/officeDocument/2006/relationships/slide" Target="slides/slide422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265" Type="http://schemas.openxmlformats.org/officeDocument/2006/relationships/slide" Target="slides/slide257.xml"/><Relationship Id="rId286" Type="http://schemas.openxmlformats.org/officeDocument/2006/relationships/slide" Target="slides/slide278.xml"/><Relationship Id="rId451" Type="http://schemas.openxmlformats.org/officeDocument/2006/relationships/slide" Target="slides/slide443.xml"/><Relationship Id="rId472" Type="http://schemas.openxmlformats.org/officeDocument/2006/relationships/font" Target="fonts/font9.fntdata"/><Relationship Id="rId50" Type="http://schemas.openxmlformats.org/officeDocument/2006/relationships/slide" Target="slides/slide42.xml"/><Relationship Id="rId104" Type="http://schemas.openxmlformats.org/officeDocument/2006/relationships/slide" Target="slides/slide96.xml"/><Relationship Id="rId125" Type="http://schemas.openxmlformats.org/officeDocument/2006/relationships/slide" Target="slides/slide117.xml"/><Relationship Id="rId146" Type="http://schemas.openxmlformats.org/officeDocument/2006/relationships/slide" Target="slides/slide138.xml"/><Relationship Id="rId167" Type="http://schemas.openxmlformats.org/officeDocument/2006/relationships/slide" Target="slides/slide159.xml"/><Relationship Id="rId188" Type="http://schemas.openxmlformats.org/officeDocument/2006/relationships/slide" Target="slides/slide180.xml"/><Relationship Id="rId311" Type="http://schemas.openxmlformats.org/officeDocument/2006/relationships/slide" Target="slides/slide303.xml"/><Relationship Id="rId332" Type="http://schemas.openxmlformats.org/officeDocument/2006/relationships/slide" Target="slides/slide324.xml"/><Relationship Id="rId353" Type="http://schemas.openxmlformats.org/officeDocument/2006/relationships/slide" Target="slides/slide345.xml"/><Relationship Id="rId374" Type="http://schemas.openxmlformats.org/officeDocument/2006/relationships/slide" Target="slides/slide366.xml"/><Relationship Id="rId395" Type="http://schemas.openxmlformats.org/officeDocument/2006/relationships/slide" Target="slides/slide387.xml"/><Relationship Id="rId409" Type="http://schemas.openxmlformats.org/officeDocument/2006/relationships/slide" Target="slides/slide401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13" Type="http://schemas.openxmlformats.org/officeDocument/2006/relationships/slide" Target="slides/slide205.xml"/><Relationship Id="rId234" Type="http://schemas.openxmlformats.org/officeDocument/2006/relationships/slide" Target="slides/slide226.xml"/><Relationship Id="rId420" Type="http://schemas.openxmlformats.org/officeDocument/2006/relationships/slide" Target="slides/slide412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55" Type="http://schemas.openxmlformats.org/officeDocument/2006/relationships/slide" Target="slides/slide247.xml"/><Relationship Id="rId276" Type="http://schemas.openxmlformats.org/officeDocument/2006/relationships/slide" Target="slides/slide268.xml"/><Relationship Id="rId297" Type="http://schemas.openxmlformats.org/officeDocument/2006/relationships/slide" Target="slides/slide289.xml"/><Relationship Id="rId441" Type="http://schemas.openxmlformats.org/officeDocument/2006/relationships/slide" Target="slides/slide433.xml"/><Relationship Id="rId462" Type="http://schemas.openxmlformats.org/officeDocument/2006/relationships/notesMaster" Target="notesMasters/notesMaster1.xml"/><Relationship Id="rId483" Type="http://schemas.openxmlformats.org/officeDocument/2006/relationships/font" Target="fonts/font20.fntdata"/><Relationship Id="rId40" Type="http://schemas.openxmlformats.org/officeDocument/2006/relationships/slide" Target="slides/slide32.xml"/><Relationship Id="rId115" Type="http://schemas.openxmlformats.org/officeDocument/2006/relationships/slide" Target="slides/slide107.xml"/><Relationship Id="rId136" Type="http://schemas.openxmlformats.org/officeDocument/2006/relationships/slide" Target="slides/slide128.xml"/><Relationship Id="rId157" Type="http://schemas.openxmlformats.org/officeDocument/2006/relationships/slide" Target="slides/slide149.xml"/><Relationship Id="rId178" Type="http://schemas.openxmlformats.org/officeDocument/2006/relationships/slide" Target="slides/slide170.xml"/><Relationship Id="rId301" Type="http://schemas.openxmlformats.org/officeDocument/2006/relationships/slide" Target="slides/slide293.xml"/><Relationship Id="rId322" Type="http://schemas.openxmlformats.org/officeDocument/2006/relationships/slide" Target="slides/slide314.xml"/><Relationship Id="rId343" Type="http://schemas.openxmlformats.org/officeDocument/2006/relationships/slide" Target="slides/slide335.xml"/><Relationship Id="rId364" Type="http://schemas.openxmlformats.org/officeDocument/2006/relationships/slide" Target="slides/slide356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9" Type="http://schemas.openxmlformats.org/officeDocument/2006/relationships/slide" Target="slides/slide191.xml"/><Relationship Id="rId203" Type="http://schemas.openxmlformats.org/officeDocument/2006/relationships/slide" Target="slides/slide195.xml"/><Relationship Id="rId385" Type="http://schemas.openxmlformats.org/officeDocument/2006/relationships/slide" Target="slides/slide377.xml"/><Relationship Id="rId19" Type="http://schemas.openxmlformats.org/officeDocument/2006/relationships/slide" Target="slides/slide11.xml"/><Relationship Id="rId224" Type="http://schemas.openxmlformats.org/officeDocument/2006/relationships/slide" Target="slides/slide216.xml"/><Relationship Id="rId245" Type="http://schemas.openxmlformats.org/officeDocument/2006/relationships/slide" Target="slides/slide237.xml"/><Relationship Id="rId266" Type="http://schemas.openxmlformats.org/officeDocument/2006/relationships/slide" Target="slides/slide258.xml"/><Relationship Id="rId287" Type="http://schemas.openxmlformats.org/officeDocument/2006/relationships/slide" Target="slides/slide279.xml"/><Relationship Id="rId410" Type="http://schemas.openxmlformats.org/officeDocument/2006/relationships/slide" Target="slides/slide402.xml"/><Relationship Id="rId431" Type="http://schemas.openxmlformats.org/officeDocument/2006/relationships/slide" Target="slides/slide423.xml"/><Relationship Id="rId452" Type="http://schemas.openxmlformats.org/officeDocument/2006/relationships/slide" Target="slides/slide444.xml"/><Relationship Id="rId473" Type="http://schemas.openxmlformats.org/officeDocument/2006/relationships/font" Target="fonts/font10.fntdata"/><Relationship Id="rId30" Type="http://schemas.openxmlformats.org/officeDocument/2006/relationships/slide" Target="slides/slide22.xml"/><Relationship Id="rId105" Type="http://schemas.openxmlformats.org/officeDocument/2006/relationships/slide" Target="slides/slide97.xml"/><Relationship Id="rId126" Type="http://schemas.openxmlformats.org/officeDocument/2006/relationships/slide" Target="slides/slide118.xml"/><Relationship Id="rId147" Type="http://schemas.openxmlformats.org/officeDocument/2006/relationships/slide" Target="slides/slide139.xml"/><Relationship Id="rId168" Type="http://schemas.openxmlformats.org/officeDocument/2006/relationships/slide" Target="slides/slide160.xml"/><Relationship Id="rId312" Type="http://schemas.openxmlformats.org/officeDocument/2006/relationships/slide" Target="slides/slide304.xml"/><Relationship Id="rId333" Type="http://schemas.openxmlformats.org/officeDocument/2006/relationships/slide" Target="slides/slide325.xml"/><Relationship Id="rId354" Type="http://schemas.openxmlformats.org/officeDocument/2006/relationships/slide" Target="slides/slide346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189" Type="http://schemas.openxmlformats.org/officeDocument/2006/relationships/slide" Target="slides/slide181.xml"/><Relationship Id="rId375" Type="http://schemas.openxmlformats.org/officeDocument/2006/relationships/slide" Target="slides/slide367.xml"/><Relationship Id="rId396" Type="http://schemas.openxmlformats.org/officeDocument/2006/relationships/slide" Target="slides/slide388.xml"/><Relationship Id="rId3" Type="http://schemas.openxmlformats.org/officeDocument/2006/relationships/customXml" Target="../customXml/item3.xml"/><Relationship Id="rId214" Type="http://schemas.openxmlformats.org/officeDocument/2006/relationships/slide" Target="slides/slide206.xml"/><Relationship Id="rId235" Type="http://schemas.openxmlformats.org/officeDocument/2006/relationships/slide" Target="slides/slide227.xml"/><Relationship Id="rId256" Type="http://schemas.openxmlformats.org/officeDocument/2006/relationships/slide" Target="slides/slide248.xml"/><Relationship Id="rId277" Type="http://schemas.openxmlformats.org/officeDocument/2006/relationships/slide" Target="slides/slide269.xml"/><Relationship Id="rId298" Type="http://schemas.openxmlformats.org/officeDocument/2006/relationships/slide" Target="slides/slide290.xml"/><Relationship Id="rId400" Type="http://schemas.openxmlformats.org/officeDocument/2006/relationships/slide" Target="slides/slide392.xml"/><Relationship Id="rId421" Type="http://schemas.openxmlformats.org/officeDocument/2006/relationships/slide" Target="slides/slide413.xml"/><Relationship Id="rId442" Type="http://schemas.openxmlformats.org/officeDocument/2006/relationships/slide" Target="slides/slide434.xml"/><Relationship Id="rId463" Type="http://schemas.openxmlformats.org/officeDocument/2006/relationships/handoutMaster" Target="handoutMasters/handoutMaster1.xml"/><Relationship Id="rId484" Type="http://schemas.openxmlformats.org/officeDocument/2006/relationships/font" Target="fonts/font21.fntdata"/><Relationship Id="rId116" Type="http://schemas.openxmlformats.org/officeDocument/2006/relationships/slide" Target="slides/slide108.xml"/><Relationship Id="rId137" Type="http://schemas.openxmlformats.org/officeDocument/2006/relationships/slide" Target="slides/slide129.xml"/><Relationship Id="rId158" Type="http://schemas.openxmlformats.org/officeDocument/2006/relationships/slide" Target="slides/slide150.xml"/><Relationship Id="rId302" Type="http://schemas.openxmlformats.org/officeDocument/2006/relationships/slide" Target="slides/slide294.xml"/><Relationship Id="rId323" Type="http://schemas.openxmlformats.org/officeDocument/2006/relationships/slide" Target="slides/slide315.xml"/><Relationship Id="rId344" Type="http://schemas.openxmlformats.org/officeDocument/2006/relationships/slide" Target="slides/slide336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179" Type="http://schemas.openxmlformats.org/officeDocument/2006/relationships/slide" Target="slides/slide171.xml"/><Relationship Id="rId365" Type="http://schemas.openxmlformats.org/officeDocument/2006/relationships/slide" Target="slides/slide357.xml"/><Relationship Id="rId386" Type="http://schemas.openxmlformats.org/officeDocument/2006/relationships/slide" Target="slides/slide378.xml"/><Relationship Id="rId190" Type="http://schemas.openxmlformats.org/officeDocument/2006/relationships/slide" Target="slides/slide182.xml"/><Relationship Id="rId204" Type="http://schemas.openxmlformats.org/officeDocument/2006/relationships/slide" Target="slides/slide196.xml"/><Relationship Id="rId225" Type="http://schemas.openxmlformats.org/officeDocument/2006/relationships/slide" Target="slides/slide217.xml"/><Relationship Id="rId246" Type="http://schemas.openxmlformats.org/officeDocument/2006/relationships/slide" Target="slides/slide238.xml"/><Relationship Id="rId267" Type="http://schemas.openxmlformats.org/officeDocument/2006/relationships/slide" Target="slides/slide259.xml"/><Relationship Id="rId288" Type="http://schemas.openxmlformats.org/officeDocument/2006/relationships/slide" Target="slides/slide280.xml"/><Relationship Id="rId411" Type="http://schemas.openxmlformats.org/officeDocument/2006/relationships/slide" Target="slides/slide403.xml"/><Relationship Id="rId432" Type="http://schemas.openxmlformats.org/officeDocument/2006/relationships/slide" Target="slides/slide424.xml"/><Relationship Id="rId453" Type="http://schemas.openxmlformats.org/officeDocument/2006/relationships/slide" Target="slides/slide445.xml"/><Relationship Id="rId474" Type="http://schemas.openxmlformats.org/officeDocument/2006/relationships/font" Target="fonts/font11.fntdata"/><Relationship Id="rId106" Type="http://schemas.openxmlformats.org/officeDocument/2006/relationships/slide" Target="slides/slide98.xml"/><Relationship Id="rId127" Type="http://schemas.openxmlformats.org/officeDocument/2006/relationships/slide" Target="slides/slide119.xml"/><Relationship Id="rId313" Type="http://schemas.openxmlformats.org/officeDocument/2006/relationships/slide" Target="slides/slide305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94" Type="http://schemas.openxmlformats.org/officeDocument/2006/relationships/slide" Target="slides/slide86.xml"/><Relationship Id="rId148" Type="http://schemas.openxmlformats.org/officeDocument/2006/relationships/slide" Target="slides/slide140.xml"/><Relationship Id="rId169" Type="http://schemas.openxmlformats.org/officeDocument/2006/relationships/slide" Target="slides/slide161.xml"/><Relationship Id="rId334" Type="http://schemas.openxmlformats.org/officeDocument/2006/relationships/slide" Target="slides/slide326.xml"/><Relationship Id="rId355" Type="http://schemas.openxmlformats.org/officeDocument/2006/relationships/slide" Target="slides/slide347.xml"/><Relationship Id="rId376" Type="http://schemas.openxmlformats.org/officeDocument/2006/relationships/slide" Target="slides/slide368.xml"/><Relationship Id="rId397" Type="http://schemas.openxmlformats.org/officeDocument/2006/relationships/slide" Target="slides/slide389.xml"/><Relationship Id="rId4" Type="http://schemas.openxmlformats.org/officeDocument/2006/relationships/slideMaster" Target="slideMasters/slideMaster1.xml"/><Relationship Id="rId180" Type="http://schemas.openxmlformats.org/officeDocument/2006/relationships/slide" Target="slides/slide172.xml"/><Relationship Id="rId215" Type="http://schemas.openxmlformats.org/officeDocument/2006/relationships/slide" Target="slides/slide207.xml"/><Relationship Id="rId236" Type="http://schemas.openxmlformats.org/officeDocument/2006/relationships/slide" Target="slides/slide228.xml"/><Relationship Id="rId257" Type="http://schemas.openxmlformats.org/officeDocument/2006/relationships/slide" Target="slides/slide249.xml"/><Relationship Id="rId278" Type="http://schemas.openxmlformats.org/officeDocument/2006/relationships/slide" Target="slides/slide270.xml"/><Relationship Id="rId401" Type="http://schemas.openxmlformats.org/officeDocument/2006/relationships/slide" Target="slides/slide393.xml"/><Relationship Id="rId422" Type="http://schemas.openxmlformats.org/officeDocument/2006/relationships/slide" Target="slides/slide414.xml"/><Relationship Id="rId443" Type="http://schemas.openxmlformats.org/officeDocument/2006/relationships/slide" Target="slides/slide435.xml"/><Relationship Id="rId464" Type="http://schemas.openxmlformats.org/officeDocument/2006/relationships/font" Target="fonts/font1.fntdata"/><Relationship Id="rId303" Type="http://schemas.openxmlformats.org/officeDocument/2006/relationships/slide" Target="slides/slide295.xml"/><Relationship Id="rId485" Type="http://schemas.openxmlformats.org/officeDocument/2006/relationships/font" Target="fonts/font22.fntdata"/><Relationship Id="rId42" Type="http://schemas.openxmlformats.org/officeDocument/2006/relationships/slide" Target="slides/slide34.xml"/><Relationship Id="rId84" Type="http://schemas.openxmlformats.org/officeDocument/2006/relationships/slide" Target="slides/slide76.xml"/><Relationship Id="rId138" Type="http://schemas.openxmlformats.org/officeDocument/2006/relationships/slide" Target="slides/slide130.xml"/><Relationship Id="rId345" Type="http://schemas.openxmlformats.org/officeDocument/2006/relationships/slide" Target="slides/slide337.xml"/><Relationship Id="rId387" Type="http://schemas.openxmlformats.org/officeDocument/2006/relationships/slide" Target="slides/slide379.xml"/><Relationship Id="rId191" Type="http://schemas.openxmlformats.org/officeDocument/2006/relationships/slide" Target="slides/slide183.xml"/><Relationship Id="rId205" Type="http://schemas.openxmlformats.org/officeDocument/2006/relationships/slide" Target="slides/slide197.xml"/><Relationship Id="rId247" Type="http://schemas.openxmlformats.org/officeDocument/2006/relationships/slide" Target="slides/slide239.xml"/><Relationship Id="rId412" Type="http://schemas.openxmlformats.org/officeDocument/2006/relationships/slide" Target="slides/slide404.xml"/><Relationship Id="rId107" Type="http://schemas.openxmlformats.org/officeDocument/2006/relationships/slide" Target="slides/slide99.xml"/><Relationship Id="rId289" Type="http://schemas.openxmlformats.org/officeDocument/2006/relationships/slide" Target="slides/slide281.xml"/><Relationship Id="rId454" Type="http://schemas.openxmlformats.org/officeDocument/2006/relationships/slide" Target="slides/slide446.xml"/><Relationship Id="rId11" Type="http://schemas.openxmlformats.org/officeDocument/2006/relationships/slide" Target="slides/slide3.xml"/><Relationship Id="rId53" Type="http://schemas.openxmlformats.org/officeDocument/2006/relationships/slide" Target="slides/slide45.xml"/><Relationship Id="rId149" Type="http://schemas.openxmlformats.org/officeDocument/2006/relationships/slide" Target="slides/slide141.xml"/><Relationship Id="rId314" Type="http://schemas.openxmlformats.org/officeDocument/2006/relationships/slide" Target="slides/slide306.xml"/><Relationship Id="rId356" Type="http://schemas.openxmlformats.org/officeDocument/2006/relationships/slide" Target="slides/slide348.xml"/><Relationship Id="rId398" Type="http://schemas.openxmlformats.org/officeDocument/2006/relationships/slide" Target="slides/slide390.xml"/><Relationship Id="rId95" Type="http://schemas.openxmlformats.org/officeDocument/2006/relationships/slide" Target="slides/slide87.xml"/><Relationship Id="rId160" Type="http://schemas.openxmlformats.org/officeDocument/2006/relationships/slide" Target="slides/slide152.xml"/><Relationship Id="rId216" Type="http://schemas.openxmlformats.org/officeDocument/2006/relationships/slide" Target="slides/slide208.xml"/><Relationship Id="rId423" Type="http://schemas.openxmlformats.org/officeDocument/2006/relationships/slide" Target="slides/slide415.xml"/><Relationship Id="rId258" Type="http://schemas.openxmlformats.org/officeDocument/2006/relationships/slide" Target="slides/slide250.xml"/><Relationship Id="rId465" Type="http://schemas.openxmlformats.org/officeDocument/2006/relationships/font" Target="fonts/font2.fntdata"/><Relationship Id="rId22" Type="http://schemas.openxmlformats.org/officeDocument/2006/relationships/slide" Target="slides/slide14.xml"/><Relationship Id="rId64" Type="http://schemas.openxmlformats.org/officeDocument/2006/relationships/slide" Target="slides/slide56.xml"/><Relationship Id="rId118" Type="http://schemas.openxmlformats.org/officeDocument/2006/relationships/slide" Target="slides/slide110.xml"/><Relationship Id="rId325" Type="http://schemas.openxmlformats.org/officeDocument/2006/relationships/slide" Target="slides/slide317.xml"/><Relationship Id="rId367" Type="http://schemas.openxmlformats.org/officeDocument/2006/relationships/slide" Target="slides/slide359.xml"/><Relationship Id="rId171" Type="http://schemas.openxmlformats.org/officeDocument/2006/relationships/slide" Target="slides/slide163.xml"/><Relationship Id="rId227" Type="http://schemas.openxmlformats.org/officeDocument/2006/relationships/slide" Target="slides/slide219.xml"/><Relationship Id="rId269" Type="http://schemas.openxmlformats.org/officeDocument/2006/relationships/slide" Target="slides/slide261.xml"/><Relationship Id="rId434" Type="http://schemas.openxmlformats.org/officeDocument/2006/relationships/slide" Target="slides/slide426.xml"/><Relationship Id="rId476" Type="http://schemas.openxmlformats.org/officeDocument/2006/relationships/font" Target="fonts/font13.fntdata"/><Relationship Id="rId33" Type="http://schemas.openxmlformats.org/officeDocument/2006/relationships/slide" Target="slides/slide25.xml"/><Relationship Id="rId129" Type="http://schemas.openxmlformats.org/officeDocument/2006/relationships/slide" Target="slides/slide121.xml"/><Relationship Id="rId280" Type="http://schemas.openxmlformats.org/officeDocument/2006/relationships/slide" Target="slides/slide272.xml"/><Relationship Id="rId336" Type="http://schemas.openxmlformats.org/officeDocument/2006/relationships/slide" Target="slides/slide328.xml"/><Relationship Id="rId75" Type="http://schemas.openxmlformats.org/officeDocument/2006/relationships/slide" Target="slides/slide67.xml"/><Relationship Id="rId140" Type="http://schemas.openxmlformats.org/officeDocument/2006/relationships/slide" Target="slides/slide132.xml"/><Relationship Id="rId182" Type="http://schemas.openxmlformats.org/officeDocument/2006/relationships/slide" Target="slides/slide174.xml"/><Relationship Id="rId378" Type="http://schemas.openxmlformats.org/officeDocument/2006/relationships/slide" Target="slides/slide370.xml"/><Relationship Id="rId403" Type="http://schemas.openxmlformats.org/officeDocument/2006/relationships/slide" Target="slides/slide395.xml"/><Relationship Id="rId6" Type="http://schemas.openxmlformats.org/officeDocument/2006/relationships/slideMaster" Target="slideMasters/slideMaster3.xml"/><Relationship Id="rId238" Type="http://schemas.openxmlformats.org/officeDocument/2006/relationships/slide" Target="slides/slide230.xml"/><Relationship Id="rId445" Type="http://schemas.openxmlformats.org/officeDocument/2006/relationships/slide" Target="slides/slide437.xml"/><Relationship Id="rId487" Type="http://schemas.openxmlformats.org/officeDocument/2006/relationships/font" Target="fonts/font24.fntdata"/><Relationship Id="rId291" Type="http://schemas.openxmlformats.org/officeDocument/2006/relationships/slide" Target="slides/slide283.xml"/><Relationship Id="rId305" Type="http://schemas.openxmlformats.org/officeDocument/2006/relationships/slide" Target="slides/slide297.xml"/><Relationship Id="rId347" Type="http://schemas.openxmlformats.org/officeDocument/2006/relationships/slide" Target="slides/slide339.xml"/><Relationship Id="rId44" Type="http://schemas.openxmlformats.org/officeDocument/2006/relationships/slide" Target="slides/slide36.xml"/><Relationship Id="rId86" Type="http://schemas.openxmlformats.org/officeDocument/2006/relationships/slide" Target="slides/slide78.xml"/><Relationship Id="rId151" Type="http://schemas.openxmlformats.org/officeDocument/2006/relationships/slide" Target="slides/slide143.xml"/><Relationship Id="rId389" Type="http://schemas.openxmlformats.org/officeDocument/2006/relationships/slide" Target="slides/slide381.xml"/><Relationship Id="rId193" Type="http://schemas.openxmlformats.org/officeDocument/2006/relationships/slide" Target="slides/slide185.xml"/><Relationship Id="rId207" Type="http://schemas.openxmlformats.org/officeDocument/2006/relationships/slide" Target="slides/slide199.xml"/><Relationship Id="rId249" Type="http://schemas.openxmlformats.org/officeDocument/2006/relationships/slide" Target="slides/slide241.xml"/><Relationship Id="rId414" Type="http://schemas.openxmlformats.org/officeDocument/2006/relationships/slide" Target="slides/slide406.xml"/><Relationship Id="rId456" Type="http://schemas.openxmlformats.org/officeDocument/2006/relationships/slide" Target="slides/slide448.xml"/><Relationship Id="rId13" Type="http://schemas.openxmlformats.org/officeDocument/2006/relationships/slide" Target="slides/slide5.xml"/><Relationship Id="rId109" Type="http://schemas.openxmlformats.org/officeDocument/2006/relationships/slide" Target="slides/slide101.xml"/><Relationship Id="rId260" Type="http://schemas.openxmlformats.org/officeDocument/2006/relationships/slide" Target="slides/slide252.xml"/><Relationship Id="rId316" Type="http://schemas.openxmlformats.org/officeDocument/2006/relationships/slide" Target="slides/slide308.xml"/><Relationship Id="rId55" Type="http://schemas.openxmlformats.org/officeDocument/2006/relationships/slide" Target="slides/slide47.xml"/><Relationship Id="rId97" Type="http://schemas.openxmlformats.org/officeDocument/2006/relationships/slide" Target="slides/slide89.xml"/><Relationship Id="rId120" Type="http://schemas.openxmlformats.org/officeDocument/2006/relationships/slide" Target="slides/slide112.xml"/><Relationship Id="rId358" Type="http://schemas.openxmlformats.org/officeDocument/2006/relationships/slide" Target="slides/slide35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122211221199911999911999333221122222222111122222222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444444444444444444411661111666116611131313111313131311131313777331133333333111133333333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55555555555579E-2"/>
          <c:y val="5.0925925925925923E-2"/>
          <c:w val="0.92226531058617744"/>
          <c:h val="0.798699693788277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B3A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8:$D$8</c:f>
              <c:numCache>
                <c:formatCode>General</c:formatCode>
                <c:ptCount val="2"/>
                <c:pt idx="0">
                  <c:v>2009</c:v>
                </c:pt>
                <c:pt idx="1">
                  <c:v>2015</c:v>
                </c:pt>
              </c:numCache>
            </c:numRef>
          </c:cat>
          <c:val>
            <c:numRef>
              <c:f>Sheet1!$C$9:$D$9</c:f>
              <c:numCache>
                <c:formatCode>General</c:formatCode>
                <c:ptCount val="2"/>
                <c:pt idx="0">
                  <c:v>35.9</c:v>
                </c:pt>
                <c:pt idx="1">
                  <c:v>6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7F-4524-925C-AAB3004AC2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0226584"/>
        <c:axId val="770226976"/>
      </c:barChart>
      <c:catAx>
        <c:axId val="770226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pPr>
            <a:endParaRPr lang="ko-KR"/>
          </a:p>
        </c:txPr>
        <c:crossAx val="770226976"/>
        <c:crosses val="autoZero"/>
        <c:auto val="1"/>
        <c:lblAlgn val="ctr"/>
        <c:lblOffset val="100"/>
        <c:noMultiLvlLbl val="0"/>
      </c:catAx>
      <c:valAx>
        <c:axId val="7702269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70226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55555555555572E-2"/>
          <c:y val="5.0925925925925923E-2"/>
          <c:w val="0.92226531058617722"/>
          <c:h val="0.79869969378827721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4</c:f>
              <c:strCache>
                <c:ptCount val="1"/>
                <c:pt idx="0">
                  <c:v>신용</c:v>
                </c:pt>
              </c:strCache>
            </c:strRef>
          </c:tx>
          <c:spPr>
            <a:solidFill>
              <a:srgbClr val="1B3A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3:$D$3</c:f>
              <c:numCache>
                <c:formatCode>General</c:formatCode>
                <c:ptCount val="2"/>
                <c:pt idx="0">
                  <c:v>2009</c:v>
                </c:pt>
                <c:pt idx="1">
                  <c:v>2015</c:v>
                </c:pt>
              </c:numCache>
            </c:numRef>
          </c:cat>
          <c:val>
            <c:numRef>
              <c:f>Sheet1!$C$4:$D$4</c:f>
              <c:numCache>
                <c:formatCode>#,##0</c:formatCode>
                <c:ptCount val="2"/>
                <c:pt idx="0">
                  <c:v>4004</c:v>
                </c:pt>
                <c:pt idx="1">
                  <c:v>59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507-446F-B045-E1AD0B696954}"/>
            </c:ext>
          </c:extLst>
        </c:ser>
        <c:ser>
          <c:idx val="2"/>
          <c:order val="1"/>
          <c:tx>
            <c:strRef>
              <c:f>Sheet1!$B$5</c:f>
              <c:strCache>
                <c:ptCount val="1"/>
                <c:pt idx="0">
                  <c:v>체크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3:$D$3</c:f>
              <c:numCache>
                <c:formatCode>General</c:formatCode>
                <c:ptCount val="2"/>
                <c:pt idx="0">
                  <c:v>2009</c:v>
                </c:pt>
                <c:pt idx="1">
                  <c:v>2015</c:v>
                </c:pt>
              </c:numCache>
            </c:numRef>
          </c:cat>
          <c:val>
            <c:numRef>
              <c:f>Sheet1!$C$5:$D$5</c:f>
              <c:numCache>
                <c:formatCode>#,##0</c:formatCode>
                <c:ptCount val="2"/>
                <c:pt idx="0">
                  <c:v>4389</c:v>
                </c:pt>
                <c:pt idx="1">
                  <c:v>95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507-446F-B045-E1AD0B696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0546616"/>
        <c:axId val="770547008"/>
      </c:barChart>
      <c:catAx>
        <c:axId val="770546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pPr>
            <a:endParaRPr lang="ko-KR"/>
          </a:p>
        </c:txPr>
        <c:crossAx val="770547008"/>
        <c:crosses val="autoZero"/>
        <c:auto val="1"/>
        <c:lblAlgn val="ctr"/>
        <c:lblOffset val="100"/>
        <c:noMultiLvlLbl val="0"/>
      </c:catAx>
      <c:valAx>
        <c:axId val="77054700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77054661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15101527777777787"/>
          <c:y val="2.739391951006126E-2"/>
          <c:w val="0.32366165885706022"/>
          <c:h val="9.79899387576552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506944444444464E-2"/>
          <c:y val="5.0925925925925923E-2"/>
          <c:w val="0.90298611111111116"/>
          <c:h val="0.780902960046660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B3A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10:$D$10</c:f>
              <c:numCache>
                <c:formatCode>General</c:formatCode>
                <c:ptCount val="2"/>
                <c:pt idx="0">
                  <c:v>2009</c:v>
                </c:pt>
                <c:pt idx="1">
                  <c:v>2015</c:v>
                </c:pt>
              </c:numCache>
            </c:numRef>
          </c:cat>
          <c:val>
            <c:numRef>
              <c:f>Sheet1!$C$11:$D$11</c:f>
              <c:numCache>
                <c:formatCode>0.0%</c:formatCode>
                <c:ptCount val="2"/>
                <c:pt idx="0">
                  <c:v>8.6000000000000021E-2</c:v>
                </c:pt>
                <c:pt idx="1">
                  <c:v>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06-41A0-9620-0322D218C4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0547792"/>
        <c:axId val="770548184"/>
      </c:barChart>
      <c:catAx>
        <c:axId val="7705477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pPr>
            <a:endParaRPr lang="ko-KR"/>
          </a:p>
        </c:txPr>
        <c:crossAx val="770548184"/>
        <c:crosses val="autoZero"/>
        <c:auto val="1"/>
        <c:lblAlgn val="ctr"/>
        <c:lblOffset val="100"/>
        <c:noMultiLvlLbl val="0"/>
      </c:catAx>
      <c:valAx>
        <c:axId val="77054818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770547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55555555555572E-2"/>
          <c:y val="0.17115647358657499"/>
          <c:w val="0.94009520417853842"/>
          <c:h val="0.65360064193694201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D$15</c:f>
              <c:strCache>
                <c:ptCount val="1"/>
                <c:pt idx="0">
                  <c:v>B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6:$B$17</c:f>
              <c:strCache>
                <c:ptCount val="2"/>
                <c:pt idx="0">
                  <c:v>유효회원수</c:v>
                </c:pt>
                <c:pt idx="1">
                  <c:v>이용액</c:v>
                </c:pt>
              </c:strCache>
            </c:strRef>
          </c:cat>
          <c:val>
            <c:numRef>
              <c:f>Sheet1!$D$16:$D$17</c:f>
              <c:numCache>
                <c:formatCode>0.0%</c:formatCode>
                <c:ptCount val="2"/>
                <c:pt idx="0">
                  <c:v>0.33600000000000013</c:v>
                </c:pt>
                <c:pt idx="1">
                  <c:v>0.38100000000000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D0-415B-A8C4-E64C10AA6F10}"/>
            </c:ext>
          </c:extLst>
        </c:ser>
        <c:ser>
          <c:idx val="0"/>
          <c:order val="1"/>
          <c:tx>
            <c:strRef>
              <c:f>Sheet1!$C$15</c:f>
              <c:strCache>
                <c:ptCount val="1"/>
                <c:pt idx="0">
                  <c:v>채움</c:v>
                </c:pt>
              </c:strCache>
            </c:strRef>
          </c:tx>
          <c:spPr>
            <a:solidFill>
              <a:srgbClr val="1B3A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6:$B$17</c:f>
              <c:strCache>
                <c:ptCount val="2"/>
                <c:pt idx="0">
                  <c:v>유효회원수</c:v>
                </c:pt>
                <c:pt idx="1">
                  <c:v>이용액</c:v>
                </c:pt>
              </c:strCache>
            </c:strRef>
          </c:cat>
          <c:val>
            <c:numRef>
              <c:f>Sheet1!$C$16:$C$17</c:f>
              <c:numCache>
                <c:formatCode>0.0%</c:formatCode>
                <c:ptCount val="2"/>
                <c:pt idx="0">
                  <c:v>0.66400000000000026</c:v>
                </c:pt>
                <c:pt idx="1">
                  <c:v>0.619000000000000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BD0-415B-A8C4-E64C10AA6F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0549360"/>
        <c:axId val="770549752"/>
      </c:barChart>
      <c:catAx>
        <c:axId val="770549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pPr>
            <a:endParaRPr lang="ko-KR"/>
          </a:p>
        </c:txPr>
        <c:crossAx val="770549752"/>
        <c:crosses val="autoZero"/>
        <c:auto val="1"/>
        <c:lblAlgn val="ctr"/>
        <c:lblOffset val="100"/>
        <c:noMultiLvlLbl val="0"/>
      </c:catAx>
      <c:valAx>
        <c:axId val="770549752"/>
        <c:scaling>
          <c:orientation val="minMax"/>
          <c:max val="1"/>
        </c:scaling>
        <c:delete val="1"/>
        <c:axPos val="l"/>
        <c:numFmt formatCode="0.0%" sourceLinked="1"/>
        <c:majorTickMark val="out"/>
        <c:minorTickMark val="none"/>
        <c:tickLblPos val="nextTo"/>
        <c:crossAx val="770549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639319772528439"/>
          <c:y val="3.2405358556239279E-2"/>
          <c:w val="0.34995691163604586"/>
          <c:h val="0.102535803901814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200"/>
      </a:pPr>
      <a:endParaRPr lang="ko-K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55555555555579E-2"/>
          <c:y val="0.17578232422404988"/>
          <c:w val="0.93708000949667625"/>
          <c:h val="0.64897479129946745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D$19</c:f>
              <c:strCache>
                <c:ptCount val="1"/>
                <c:pt idx="0">
                  <c:v>농축협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20:$B$21</c:f>
              <c:strCache>
                <c:ptCount val="2"/>
                <c:pt idx="0">
                  <c:v>유효회원수</c:v>
                </c:pt>
                <c:pt idx="1">
                  <c:v>이용액</c:v>
                </c:pt>
              </c:strCache>
            </c:strRef>
          </c:cat>
          <c:val>
            <c:numRef>
              <c:f>Sheet1!$D$20:$D$21</c:f>
              <c:numCache>
                <c:formatCode>0.0%</c:formatCode>
                <c:ptCount val="2"/>
                <c:pt idx="0">
                  <c:v>0.59200000000000008</c:v>
                </c:pt>
                <c:pt idx="1">
                  <c:v>0.506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44E-432C-AEF6-4312573CD454}"/>
            </c:ext>
          </c:extLst>
        </c:ser>
        <c:ser>
          <c:idx val="0"/>
          <c:order val="1"/>
          <c:tx>
            <c:strRef>
              <c:f>Sheet1!$C$19</c:f>
              <c:strCache>
                <c:ptCount val="1"/>
                <c:pt idx="0">
                  <c:v>농협은행</c:v>
                </c:pt>
              </c:strCache>
            </c:strRef>
          </c:tx>
          <c:spPr>
            <a:solidFill>
              <a:srgbClr val="1B3A8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20:$B$21</c:f>
              <c:strCache>
                <c:ptCount val="2"/>
                <c:pt idx="0">
                  <c:v>유효회원수</c:v>
                </c:pt>
                <c:pt idx="1">
                  <c:v>이용액</c:v>
                </c:pt>
              </c:strCache>
            </c:strRef>
          </c:cat>
          <c:val>
            <c:numRef>
              <c:f>Sheet1!$C$20:$C$21</c:f>
              <c:numCache>
                <c:formatCode>0.0%</c:formatCode>
                <c:ptCount val="2"/>
                <c:pt idx="0">
                  <c:v>0.40800000000000008</c:v>
                </c:pt>
                <c:pt idx="1">
                  <c:v>0.494000000000000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44E-432C-AEF6-4312573CD4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0550536"/>
        <c:axId val="770550928"/>
      </c:barChart>
      <c:catAx>
        <c:axId val="770550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pPr>
            <a:endParaRPr lang="ko-KR"/>
          </a:p>
        </c:txPr>
        <c:crossAx val="770550928"/>
        <c:crosses val="autoZero"/>
        <c:auto val="1"/>
        <c:lblAlgn val="ctr"/>
        <c:lblOffset val="100"/>
        <c:noMultiLvlLbl val="0"/>
      </c:catAx>
      <c:valAx>
        <c:axId val="770550928"/>
        <c:scaling>
          <c:orientation val="minMax"/>
          <c:max val="1"/>
        </c:scaling>
        <c:delete val="1"/>
        <c:axPos val="l"/>
        <c:numFmt formatCode="0.0%" sourceLinked="1"/>
        <c:majorTickMark val="out"/>
        <c:minorTickMark val="none"/>
        <c:tickLblPos val="nextTo"/>
        <c:crossAx val="770550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6393197725284412"/>
          <c:y val="3.2405358556239293E-2"/>
          <c:w val="0.34995691163604598"/>
          <c:h val="0.10253580390181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200"/>
      </a:pPr>
      <a:endParaRPr lang="ko-K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C04-4300-9B96-0E49075D92B6}"/>
              </c:ext>
            </c:extLst>
          </c:dPt>
          <c:dPt>
            <c:idx val="1"/>
            <c:bubble3D val="0"/>
            <c:spPr>
              <a:solidFill>
                <a:srgbClr val="FFFFFF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C04-4300-9B96-0E49075D92B6}"/>
              </c:ext>
            </c:extLst>
          </c:dPt>
          <c:val>
            <c:numRef>
              <c:f>Sheet2!$A$1:$A$2</c:f>
              <c:numCache>
                <c:formatCode>General</c:formatCode>
                <c:ptCount val="2"/>
                <c:pt idx="0">
                  <c:v>111</c:v>
                </c:pt>
                <c:pt idx="1">
                  <c:v>3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C04-4300-9B96-0E49075D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702738983386288"/>
          <c:y val="0"/>
          <c:w val="0.61390778385198652"/>
          <c:h val="0.9208617627206785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판매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</c:spPr>
          </c:dPt>
          <c:dPt>
            <c:idx val="1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chemeClr val="accent5">
                  <a:lumMod val="90000"/>
                </a:schemeClr>
              </a:solidFill>
            </c:spPr>
          </c:dPt>
          <c:cat>
            <c:strRef>
              <c:f>Sheet1!$A$2:$A$6</c:f>
              <c:strCache>
                <c:ptCount val="5"/>
                <c:pt idx="0">
                  <c:v>  Finance &amp; Accounting </c:v>
                </c:pt>
                <c:pt idx="1">
                  <c:v>Risk</c:v>
                </c:pt>
                <c:pt idx="2">
                  <c:v> Strategy </c:v>
                </c:pt>
                <c:pt idx="3">
                  <c:v>  IT &amp; Technology</c:v>
                </c:pt>
                <c:pt idx="4">
                  <c:v> Operatio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8</c:v>
                </c:pt>
                <c:pt idx="1">
                  <c:v>38</c:v>
                </c:pt>
                <c:pt idx="2">
                  <c:v>35</c:v>
                </c:pt>
                <c:pt idx="3">
                  <c:v>88</c:v>
                </c:pt>
                <c:pt idx="4">
                  <c:v>1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H$22:$J$22</c:f>
              <c:strCache>
                <c:ptCount val="3"/>
                <c:pt idx="0">
                  <c:v>2013년</c:v>
                </c:pt>
                <c:pt idx="1">
                  <c:v>2014년</c:v>
                </c:pt>
                <c:pt idx="2">
                  <c:v>2015년</c:v>
                </c:pt>
              </c:strCache>
            </c:strRef>
          </c:cat>
          <c:val>
            <c:numRef>
              <c:f>Sheet1!$H$23:$J$23</c:f>
              <c:numCache>
                <c:formatCode>#,##0</c:formatCode>
                <c:ptCount val="3"/>
                <c:pt idx="0">
                  <c:v>83687</c:v>
                </c:pt>
                <c:pt idx="1">
                  <c:v>70083</c:v>
                </c:pt>
                <c:pt idx="2">
                  <c:v>893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0802912"/>
        <c:axId val="540803304"/>
      </c:barChart>
      <c:catAx>
        <c:axId val="5408029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pPr>
            <a:endParaRPr lang="ko-KR"/>
          </a:p>
        </c:txPr>
        <c:crossAx val="540803304"/>
        <c:crosses val="autoZero"/>
        <c:auto val="1"/>
        <c:lblAlgn val="ctr"/>
        <c:lblOffset val="100"/>
        <c:noMultiLvlLbl val="0"/>
      </c:catAx>
      <c:valAx>
        <c:axId val="540803304"/>
        <c:scaling>
          <c:orientation val="minMax"/>
          <c:min val="10000"/>
        </c:scaling>
        <c:delete val="0"/>
        <c:axPos val="l"/>
        <c:numFmt formatCode="#,##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0802912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ko-K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열1</c:v>
                </c:pt>
              </c:strCache>
            </c:strRef>
          </c:tx>
          <c:dLbls>
            <c:dLbl>
              <c:idx val="0"/>
              <c:layout>
                <c:manualLayout>
                  <c:x val="-0.13347683192149254"/>
                  <c:y val="0.17620059014761194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7948938068365941"/>
                  <c:y val="-8.98736773901416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9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4058611388148962"/>
                  <c:y val="-0.19792147459350745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defRPr>
                  </a:pPr>
                  <a:endParaRPr lang="ko-K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6715439353961781"/>
                  <c:y val="0.208499851775133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pPr>
                <a:endParaRPr lang="ko-K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분석</c:v>
                </c:pt>
                <c:pt idx="1">
                  <c:v>설계</c:v>
                </c:pt>
                <c:pt idx="2">
                  <c:v>개발</c:v>
                </c:pt>
                <c:pt idx="3">
                  <c:v>테스트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9</c:v>
                </c:pt>
                <c:pt idx="1">
                  <c:v>24</c:v>
                </c:pt>
                <c:pt idx="2">
                  <c:v>32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 b="1">
          <a:latin typeface="+mn-ea"/>
          <a:ea typeface="+mn-ea"/>
        </a:defRPr>
      </a:pPr>
      <a:endParaRPr lang="ko-K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7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t" anchorCtr="0" compatLnSpc="1">
            <a:prstTxWarp prst="textNoShape">
              <a:avLst/>
            </a:prstTxWarp>
          </a:bodyPr>
          <a:lstStyle>
            <a:lvl1pPr algn="l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산돌고딕 L" pitchFamily="18" charset="-127"/>
              </a:defRPr>
            </a:lvl1pPr>
          </a:lstStyle>
          <a:p>
            <a:pPr>
              <a:defRPr/>
            </a:pPr>
            <a:endParaRPr lang="en-US" altLang="ko-KR" dirty="0">
              <a:ea typeface="맑은 고딕" pitchFamily="50" charset="-127"/>
            </a:endParaRPr>
          </a:p>
        </p:txBody>
      </p:sp>
      <p:sp>
        <p:nvSpPr>
          <p:cNvPr id="706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t" anchorCtr="0" compatLnSpc="1">
            <a:prstTxWarp prst="textNoShape">
              <a:avLst/>
            </a:prstTxWarp>
          </a:bodyPr>
          <a:lstStyle>
            <a:lvl1pPr algn="r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산돌고딕 L" pitchFamily="18" charset="-127"/>
              </a:defRPr>
            </a:lvl1pPr>
          </a:lstStyle>
          <a:p>
            <a:pPr>
              <a:defRPr/>
            </a:pPr>
            <a:endParaRPr lang="en-US" altLang="ko-KR" dirty="0">
              <a:ea typeface="맑은 고딕" pitchFamily="50" charset="-127"/>
            </a:endParaRP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219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b" anchorCtr="0" compatLnSpc="1">
            <a:prstTxWarp prst="textNoShape">
              <a:avLst/>
            </a:prstTxWarp>
          </a:bodyPr>
          <a:lstStyle>
            <a:lvl1pPr algn="l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산돌고딕 L" pitchFamily="18" charset="-127"/>
              </a:defRPr>
            </a:lvl1pPr>
          </a:lstStyle>
          <a:p>
            <a:pPr>
              <a:defRPr/>
            </a:pPr>
            <a:endParaRPr lang="en-US" altLang="ko-KR" dirty="0">
              <a:ea typeface="맑은 고딕" pitchFamily="50" charset="-127"/>
            </a:endParaRPr>
          </a:p>
        </p:txBody>
      </p:sp>
      <p:sp>
        <p:nvSpPr>
          <p:cNvPr id="706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30219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b" anchorCtr="0" compatLnSpc="1">
            <a:prstTxWarp prst="textNoShape">
              <a:avLst/>
            </a:prstTxWarp>
          </a:bodyPr>
          <a:lstStyle>
            <a:lvl1pPr algn="r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산돌고딕 L" pitchFamily="18" charset="-127"/>
              </a:defRPr>
            </a:lvl1pPr>
          </a:lstStyle>
          <a:p>
            <a:pPr>
              <a:defRPr/>
            </a:pPr>
            <a:fld id="{A5A9B1FB-032D-409B-8763-FAE12777A6A3}" type="slidenum">
              <a:rPr lang="ko-KR" altLang="en-US">
                <a:ea typeface="맑은 고딕" pitchFamily="50" charset="-127"/>
              </a:rPr>
              <a:pPr>
                <a:defRPr/>
              </a:pPr>
              <a:t>‹#›</a:t>
            </a:fld>
            <a:endParaRPr lang="en-US" altLang="ko-KR" dirty="0"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2766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t" anchorCtr="0" compatLnSpc="1">
            <a:prstTxWarp prst="textNoShape">
              <a:avLst/>
            </a:prstTxWarp>
          </a:bodyPr>
          <a:lstStyle>
            <a:lvl1pPr algn="l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269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t" anchorCtr="0" compatLnSpc="1">
            <a:prstTxWarp prst="textNoShape">
              <a:avLst/>
            </a:prstTxWarp>
          </a:bodyPr>
          <a:lstStyle>
            <a:lvl1pPr algn="r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665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721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2" y="4716705"/>
            <a:ext cx="5438775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dirty="0"/>
              <a:t>마스터 텍스트 스타일을 편집합니다</a:t>
            </a:r>
          </a:p>
          <a:p>
            <a:pPr lvl="1"/>
            <a:r>
              <a:rPr lang="ko-KR" altLang="en-US" noProof="0" dirty="0"/>
              <a:t>둘째 수준</a:t>
            </a:r>
          </a:p>
          <a:p>
            <a:pPr lvl="2"/>
            <a:r>
              <a:rPr lang="ko-KR" altLang="en-US" noProof="0" dirty="0"/>
              <a:t>셋째 수준</a:t>
            </a:r>
          </a:p>
          <a:p>
            <a:pPr lvl="3"/>
            <a:r>
              <a:rPr lang="ko-KR" altLang="en-US" noProof="0" dirty="0"/>
              <a:t>넷째 수준</a:t>
            </a:r>
          </a:p>
          <a:p>
            <a:pPr lvl="4"/>
            <a:r>
              <a:rPr lang="ko-KR" altLang="en-US" noProof="0" dirty="0"/>
              <a:t>다섯째 수준</a:t>
            </a:r>
          </a:p>
        </p:txBody>
      </p:sp>
      <p:sp>
        <p:nvSpPr>
          <p:cNvPr id="1269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219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b" anchorCtr="0" compatLnSpc="1">
            <a:prstTxWarp prst="textNoShape">
              <a:avLst/>
            </a:prstTxWarp>
          </a:bodyPr>
          <a:lstStyle>
            <a:lvl1pPr algn="l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269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30219"/>
            <a:ext cx="2946401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20" tIns="45860" rIns="91720" bIns="45860" numCol="1" anchor="b" anchorCtr="0" compatLnSpc="1">
            <a:prstTxWarp prst="textNoShape">
              <a:avLst/>
            </a:prstTxWarp>
          </a:bodyPr>
          <a:lstStyle>
            <a:lvl1pPr algn="r" eaLnBrk="1" latinLnBrk="0">
              <a:spcBef>
                <a:spcPct val="0"/>
              </a:spcBef>
              <a:buClrTx/>
              <a:buFontTx/>
              <a:buNone/>
              <a:defRPr sz="1200" b="0">
                <a:solidFill>
                  <a:schemeClr val="tx1"/>
                </a:solidFill>
                <a:ea typeface="맑은 고딕" pitchFamily="50" charset="-127"/>
              </a:defRPr>
            </a:lvl1pPr>
          </a:lstStyle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333317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tima" pitchFamily="2" charset="2"/>
        <a:ea typeface="맑은 고딕" pitchFamily="50" charset="-127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tima" pitchFamily="2" charset="2"/>
        <a:ea typeface="맑은 고딕" pitchFamily="50" charset="-127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tima" pitchFamily="2" charset="2"/>
        <a:ea typeface="맑은 고딕" pitchFamily="50" charset="-127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tima" pitchFamily="2" charset="2"/>
        <a:ea typeface="맑은 고딕" pitchFamily="50" charset="-127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tima" pitchFamily="2" charset="2"/>
        <a:ea typeface="맑은 고딕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4432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0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86077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1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760540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1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1637562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1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80990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1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636393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2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768181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3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649187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6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661280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7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99597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7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53779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15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04660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7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177387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7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903037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8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642437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8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7902991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9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6467729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19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9717335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02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312960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0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3498257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617602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612270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5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51324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7426196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926987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710714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1281209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817910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1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9707145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2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915358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2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9841202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3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646320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F1B550-978C-4B3E-9225-02702B3429A7}" type="slidenum">
              <a:rPr lang="ko-KR" altLang="en-US" smtClean="0"/>
              <a:pPr>
                <a:defRPr/>
              </a:pPr>
              <a:t>23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38085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8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945510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66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68652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74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58259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75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22849388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78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358923183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80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40047283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82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369846131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86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07802454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296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009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297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96139733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01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170131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42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675711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03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8324874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308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968840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09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46929232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13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33436689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17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47269326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20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41167149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21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58665677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26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387398379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29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129916243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33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860907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52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473959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37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87039065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45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53608866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48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7386266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50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72910864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슬라이드 노트 개체 틀 2"/>
          <p:cNvSpPr txBox="1"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pPr eaLnBrk="1"/>
            <a:endParaRPr altLang="en-US" dirty="0">
              <a:latin typeface="Optima"/>
            </a:endParaRPr>
          </a:p>
        </p:txBody>
      </p:sp>
      <p:sp>
        <p:nvSpPr>
          <p:cNvPr id="43012" name="슬라이드 번호 개체 틀 3"/>
          <p:cNvSpPr txBox="1">
            <a:spLocks noChangeArrowheads="1"/>
          </p:cNvSpPr>
          <p:nvPr/>
        </p:nvSpPr>
        <p:spPr bwMode="auto">
          <a:xfrm>
            <a:off x="3838922" y="9407093"/>
            <a:ext cx="2938160" cy="49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2" tIns="45592" rIns="91192" bIns="45592" anchor="b"/>
          <a:lstStyle/>
          <a:p>
            <a:pPr algn="r"/>
            <a:fld id="{45DCA08F-E810-4CA7-B5AF-1C584AE30533}" type="slidenum">
              <a:rPr lang="en-US" altLang="ko-KR" sz="1200">
                <a:solidFill>
                  <a:srgbClr val="000000"/>
                </a:solidFill>
                <a:latin typeface="Optima"/>
              </a:rPr>
              <a:pPr algn="r"/>
              <a:t>353</a:t>
            </a:fld>
            <a:endParaRPr lang="en-US" altLang="ko-KR" sz="1200" dirty="0">
              <a:solidFill>
                <a:srgbClr val="000000"/>
              </a:solidFill>
              <a:latin typeface="Optima"/>
            </a:endParaRPr>
          </a:p>
        </p:txBody>
      </p:sp>
    </p:spTree>
    <p:extLst>
      <p:ext uri="{BB962C8B-B14F-4D97-AF65-F5344CB8AC3E}">
        <p14:creationId xmlns:p14="http://schemas.microsoft.com/office/powerpoint/2010/main" val="281508655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356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3574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56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6038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75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76161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12A11A-C7AA-48B1-81D4-41A1F7F716B2}" type="slidenum">
              <a:rPr lang="ko-KR" altLang="en-US" smtClean="0">
                <a:solidFill>
                  <a:prstClr val="white"/>
                </a:solidFill>
              </a:rPr>
              <a:pPr/>
              <a:t>83</a:t>
            </a:fld>
            <a:endParaRPr lang="en-US" altLang="ko-KR">
              <a:solidFill>
                <a:prstClr val="white"/>
              </a:solidFill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72100" cy="3721100"/>
          </a:xfrm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9049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H카드_MP제안_기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97750" y="20638"/>
            <a:ext cx="9290750" cy="528637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9327858" cy="605126"/>
          </a:xfrm>
        </p:spPr>
        <p:txBody>
          <a:bodyPr/>
          <a:lstStyle>
            <a:lvl1pPr marL="0" indent="0"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800">
                <a:latin typeface="맑은 고딕" pitchFamily="50" charset="-127"/>
                <a:ea typeface="맑은 고딕" pitchFamily="50" charset="-127"/>
              </a:defRPr>
            </a:lvl2pPr>
            <a:lvl3pPr>
              <a:defRPr sz="18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H카드_MP제안_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9263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H카드_MP제안_기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97750" y="20638"/>
            <a:ext cx="9290750" cy="528637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7763301" cy="605126"/>
          </a:xfrm>
        </p:spPr>
        <p:txBody>
          <a:bodyPr/>
          <a:lstStyle>
            <a:lvl1pPr marL="0" indent="0"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800">
                <a:latin typeface="맑은 고딕" pitchFamily="50" charset="-127"/>
                <a:ea typeface="맑은 고딕" pitchFamily="50" charset="-127"/>
              </a:defRPr>
            </a:lvl2pPr>
            <a:lvl3pPr>
              <a:defRPr sz="18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88179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H카드_MP제안_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19" descr="제목 없음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2065"/>
            <a:ext cx="9906000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9570" name="Picture 18" descr="PowerPoint-Graphics-3_A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240338" cy="5400675"/>
          </a:xfrm>
          <a:prstGeom prst="rect">
            <a:avLst/>
          </a:prstGeom>
          <a:noFill/>
        </p:spPr>
      </p:pic>
      <p:sp>
        <p:nvSpPr>
          <p:cNvPr id="2795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1412875"/>
            <a:ext cx="3836988" cy="2159000"/>
          </a:xfrm>
          <a:prstGeom prst="rect">
            <a:avLst/>
          </a:prstGeom>
        </p:spPr>
        <p:txBody>
          <a:bodyPr anchor="t"/>
          <a:lstStyle>
            <a:lvl1pPr>
              <a:defRPr sz="3000"/>
            </a:lvl1pPr>
          </a:lstStyle>
          <a:p>
            <a:r>
              <a:rPr lang="ko-KR" altLang="en-US" dirty="0"/>
              <a:t>마스터 제목 스타일 편집</a:t>
            </a:r>
            <a:endParaRPr lang="en-GB" dirty="0"/>
          </a:p>
        </p:txBody>
      </p:sp>
      <p:sp>
        <p:nvSpPr>
          <p:cNvPr id="279559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23851" y="3781425"/>
            <a:ext cx="3419475" cy="1079500"/>
          </a:xfrm>
          <a:prstGeom prst="rect">
            <a:avLst/>
          </a:prstGeom>
        </p:spPr>
        <p:txBody>
          <a:bodyPr/>
          <a:lstStyle>
            <a:lvl1pPr>
              <a:defRPr sz="1499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부제목 스타일 편집</a:t>
            </a:r>
            <a:endParaRPr lang="en-GB" dirty="0"/>
          </a:p>
        </p:txBody>
      </p:sp>
      <p:sp>
        <p:nvSpPr>
          <p:cNvPr id="10" name="Text Box 8"/>
          <p:cNvSpPr txBox="1">
            <a:spLocks noChangeArrowheads="1"/>
          </p:cNvSpPr>
          <p:nvPr userDrawn="1"/>
        </p:nvSpPr>
        <p:spPr bwMode="auto">
          <a:xfrm>
            <a:off x="4016897" y="6456626"/>
            <a:ext cx="5592116" cy="36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rIns="0">
            <a:spAutoFit/>
          </a:bodyPr>
          <a:lstStyle/>
          <a:p>
            <a:pPr algn="r">
              <a:lnSpc>
                <a:spcPts val="701"/>
              </a:lnSpc>
              <a:defRPr/>
            </a:pPr>
            <a:r>
              <a:rPr lang="en-US" altLang="ko-KR" sz="70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© 2016 KPMG </a:t>
            </a:r>
            <a:r>
              <a:rPr lang="en-US" altLang="ko-KR" sz="701" dirty="0" err="1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Samjong</a:t>
            </a:r>
            <a:r>
              <a:rPr lang="en-US" altLang="ko-KR" sz="70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Accounting Corp., the Korean member firm of the KPMG network of independent member firms affiliated with KPMG International Cooperative (“KPMG International”), a Swiss entity. All rights reserved. Printed in Korea. The KPMG logo and name are trademarks of KPMG.</a:t>
            </a:r>
            <a:endParaRPr lang="en-US" altLang="ko-KR" sz="70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" name="Picture 12" descr="KPMG-Descriptor-White_150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28497" y="6596230"/>
            <a:ext cx="1981200" cy="10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KPMG-Descriptor-White_150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8497" y="6596230"/>
            <a:ext cx="1981200" cy="10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9"/>
          <p:cNvGrpSpPr>
            <a:grpSpLocks/>
          </p:cNvGrpSpPr>
          <p:nvPr userDrawn="1"/>
        </p:nvGrpSpPr>
        <p:grpSpPr bwMode="gray">
          <a:xfrm>
            <a:off x="154773" y="0"/>
            <a:ext cx="2735264" cy="1530350"/>
            <a:chOff x="68" y="0"/>
            <a:chExt cx="1723" cy="964"/>
          </a:xfrm>
        </p:grpSpPr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00" dirty="0">
                <a:solidFill>
                  <a:srgbClr val="FFFFFF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00" dirty="0">
                <a:solidFill>
                  <a:srgbClr val="FFFFFF"/>
                </a:solidFill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40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H카드_MP제안_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>
                <a:latin typeface="맑은 고딕" pitchFamily="50" charset="-127"/>
              </a:defRPr>
            </a:lvl2pPr>
            <a:lvl3pPr>
              <a:defRPr>
                <a:latin typeface="맑은 고딕" pitchFamily="50" charset="-127"/>
              </a:defRPr>
            </a:lvl3pPr>
            <a:lvl4pPr>
              <a:defRPr>
                <a:latin typeface="맑은 고딕" pitchFamily="50" charset="-127"/>
              </a:defRPr>
            </a:lvl4pPr>
            <a:lvl5pPr>
              <a:defRPr>
                <a:latin typeface="맑은 고딕" pitchFamily="50" charset="-12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819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H카드_MP제안_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H카드_MP제안_기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97750" y="20638"/>
            <a:ext cx="9290750" cy="528637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9327858" cy="605126"/>
          </a:xfrm>
        </p:spPr>
        <p:txBody>
          <a:bodyPr/>
          <a:lstStyle>
            <a:lvl1pPr marL="0" indent="0"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800">
                <a:latin typeface="맑은 고딕" pitchFamily="50" charset="-127"/>
                <a:ea typeface="맑은 고딕" pitchFamily="50" charset="-127"/>
              </a:defRPr>
            </a:lvl2pPr>
            <a:lvl3pPr>
              <a:defRPr sz="18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65230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3" name="Rectangle 1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72" y="650874"/>
            <a:ext cx="9306427" cy="625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>
            <a:off x="325438" y="6373813"/>
            <a:ext cx="9285287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7" name="Rectangle 33"/>
          <p:cNvSpPr/>
          <p:nvPr/>
        </p:nvSpPr>
        <p:spPr bwMode="gray">
          <a:xfrm>
            <a:off x="4525144" y="6577019"/>
            <a:ext cx="503237" cy="2809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>
              <a:spcBef>
                <a:spcPct val="40000"/>
              </a:spcBef>
              <a:defRPr/>
            </a:pPr>
            <a:fld id="{6BA71C0A-9F0F-41ED-AE97-DBF05B351E59}" type="slidenum">
              <a:rPr lang="en-GB" sz="900">
                <a:solidFill>
                  <a:srgbClr val="000000"/>
                </a:solidFill>
                <a:latin typeface="맑은 고딕"/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900" dirty="0">
              <a:solidFill>
                <a:srgbClr val="000000"/>
              </a:solidFill>
              <a:latin typeface="맑은 고딕"/>
            </a:endParaRPr>
          </a:p>
        </p:txBody>
      </p:sp>
      <p:pic>
        <p:nvPicPr>
          <p:cNvPr id="21" name="Picture 15" descr="Banner-4_A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1238" cy="596899"/>
          </a:xfrm>
          <a:prstGeom prst="rect">
            <a:avLst/>
          </a:prstGeom>
          <a:noFill/>
        </p:spPr>
      </p:pic>
      <p:sp>
        <p:nvSpPr>
          <p:cNvPr id="7172" name="Rectangle 124"/>
          <p:cNvSpPr>
            <a:spLocks noGrp="1" noChangeArrowheads="1"/>
          </p:cNvSpPr>
          <p:nvPr>
            <p:ph type="title"/>
          </p:nvPr>
        </p:nvSpPr>
        <p:spPr bwMode="auto">
          <a:xfrm>
            <a:off x="306388" y="20638"/>
            <a:ext cx="930751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마스터 제목 스타일 편집</a:t>
            </a:r>
          </a:p>
        </p:txBody>
      </p:sp>
      <p:sp>
        <p:nvSpPr>
          <p:cNvPr id="12" name="Text Box 8"/>
          <p:cNvSpPr txBox="1">
            <a:spLocks noChangeArrowheads="1"/>
          </p:cNvSpPr>
          <p:nvPr userDrawn="1"/>
        </p:nvSpPr>
        <p:spPr bwMode="auto">
          <a:xfrm>
            <a:off x="1879882" y="6418272"/>
            <a:ext cx="6611441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rIns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© 2016 KPMG </a:t>
            </a:r>
            <a:r>
              <a:rPr lang="en-US" altLang="ko-KR" sz="7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amjong</a:t>
            </a: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Accounting Corp., the Korean member firm of the KPMG network of independent member firms affiliated with KPMG International Cooperative (“KPMG International”), a Swiss entity. All rights reserved. Printed in Korea. The KPMG logo and name are trademarks of KPMG.</a:t>
            </a:r>
            <a:endParaRPr lang="en-US" altLang="ko-KR" sz="7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593" y="6415725"/>
            <a:ext cx="876927" cy="325644"/>
          </a:xfrm>
          <a:prstGeom prst="rect">
            <a:avLst/>
          </a:prstGeom>
        </p:spPr>
      </p:pic>
      <p:pic>
        <p:nvPicPr>
          <p:cNvPr id="11" name="Picture 2" descr="https://pbs.twimg.com/profile_images/499720463698755585/YTqR6o2x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2480" y="6462287"/>
            <a:ext cx="1342131" cy="227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83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bg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defRPr sz="160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817563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2pPr>
      <a:lvl3pPr marL="122555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633538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72" userDrawn="1">
          <p15:clr>
            <a:srgbClr val="F26B43"/>
          </p15:clr>
        </p15:guide>
        <p15:guide id="3" pos="6068" userDrawn="1">
          <p15:clr>
            <a:srgbClr val="F26B43"/>
          </p15:clr>
        </p15:guide>
        <p15:guide id="4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3" name="Rectangle 1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72" y="650874"/>
            <a:ext cx="7826668" cy="625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>
            <a:off x="325438" y="6373813"/>
            <a:ext cx="9285287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7" name="Rectangle 33"/>
          <p:cNvSpPr/>
          <p:nvPr/>
        </p:nvSpPr>
        <p:spPr bwMode="gray">
          <a:xfrm>
            <a:off x="4525144" y="6577019"/>
            <a:ext cx="503237" cy="2809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>
              <a:spcBef>
                <a:spcPct val="40000"/>
              </a:spcBef>
              <a:defRPr/>
            </a:pPr>
            <a:fld id="{6BA71C0A-9F0F-41ED-AE97-DBF05B351E59}" type="slidenum">
              <a:rPr lang="en-GB" sz="900">
                <a:solidFill>
                  <a:srgbClr val="000000"/>
                </a:solidFill>
                <a:latin typeface="맑은 고딕"/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900" dirty="0">
              <a:solidFill>
                <a:srgbClr val="000000"/>
              </a:solidFill>
              <a:latin typeface="맑은 고딕"/>
            </a:endParaRPr>
          </a:p>
        </p:txBody>
      </p:sp>
      <p:pic>
        <p:nvPicPr>
          <p:cNvPr id="21" name="Picture 15" descr="Banner-4_A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1238" cy="596899"/>
          </a:xfrm>
          <a:prstGeom prst="rect">
            <a:avLst/>
          </a:prstGeom>
          <a:noFill/>
        </p:spPr>
      </p:pic>
      <p:sp>
        <p:nvSpPr>
          <p:cNvPr id="7172" name="Rectangle 124"/>
          <p:cNvSpPr>
            <a:spLocks noGrp="1" noChangeArrowheads="1"/>
          </p:cNvSpPr>
          <p:nvPr>
            <p:ph type="title"/>
          </p:nvPr>
        </p:nvSpPr>
        <p:spPr bwMode="auto">
          <a:xfrm>
            <a:off x="306388" y="20638"/>
            <a:ext cx="930751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마스터 제목 스타일 편집</a:t>
            </a: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1879882" y="6418272"/>
            <a:ext cx="6611441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rIns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© 2016 KPMG </a:t>
            </a:r>
            <a:r>
              <a:rPr lang="en-US" altLang="ko-KR" sz="7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amjong</a:t>
            </a: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Accounting Corp., the Korean member firm of the KPMG network of independent member firms affiliated with KPMG International Cooperative (“KPMG International”), a Swiss entity. All rights reserved. Printed in Korea. The KPMG logo and name are trademarks of KPMG.</a:t>
            </a:r>
            <a:endParaRPr lang="en-US" altLang="ko-KR" sz="7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593" y="6415725"/>
            <a:ext cx="876927" cy="325644"/>
          </a:xfrm>
          <a:prstGeom prst="rect">
            <a:avLst/>
          </a:prstGeom>
        </p:spPr>
      </p:pic>
      <p:pic>
        <p:nvPicPr>
          <p:cNvPr id="15" name="Picture 2" descr="https://pbs.twimg.com/profile_images/499720463698755585/YTqR6o2x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2480" y="6462287"/>
            <a:ext cx="1342131" cy="227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481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bg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defRPr sz="160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817563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2pPr>
      <a:lvl3pPr marL="122555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633538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72">
          <p15:clr>
            <a:srgbClr val="F26B43"/>
          </p15:clr>
        </p15:guide>
        <p15:guide id="3" pos="6068">
          <p15:clr>
            <a:srgbClr val="F26B43"/>
          </p15:clr>
        </p15:guide>
        <p15:guide id="4" pos="312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23851" y="1438275"/>
            <a:ext cx="4189413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ko-KR" dirty="0"/>
              <a:t>Click to edit Master title style</a:t>
            </a:r>
          </a:p>
        </p:txBody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1" y="2698751"/>
            <a:ext cx="35083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ko-KR" dirty="0"/>
              <a:t>Click to edit Master text styles</a:t>
            </a:r>
          </a:p>
        </p:txBody>
      </p:sp>
      <p:pic>
        <p:nvPicPr>
          <p:cNvPr id="10243" name="Picture 6" descr="PowerPoint-Graphics-3_A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240338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47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</p:sldLayoutIdLst>
  <p:hf sldNum="0" hdr="0" ftr="0" dt="0"/>
  <p:txStyles>
    <p:titleStyle>
      <a:lvl1pPr algn="l" rtl="0" eaLnBrk="0" fontAlgn="base" hangingPunct="0">
        <a:spcBef>
          <a:spcPct val="40000"/>
        </a:spcBef>
        <a:spcAft>
          <a:spcPct val="0"/>
        </a:spcAft>
        <a:defRPr sz="2700" b="1">
          <a:solidFill>
            <a:schemeClr val="bg1"/>
          </a:solidFill>
          <a:latin typeface="맑은 고딕" pitchFamily="50" charset="-127"/>
          <a:ea typeface="+mj-ea"/>
          <a:cs typeface="+mj-cs"/>
        </a:defRPr>
      </a:lvl1pPr>
      <a:lvl2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457181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6pPr>
      <a:lvl7pPr marL="914362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7pPr>
      <a:lvl8pPr marL="1371543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8pPr>
      <a:lvl9pPr marL="1828723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0" indent="0" algn="l" rtl="0" eaLnBrk="0" fontAlgn="base" hangingPunct="0">
        <a:spcBef>
          <a:spcPct val="40000"/>
        </a:spcBef>
        <a:spcAft>
          <a:spcPct val="0"/>
        </a:spcAft>
        <a:buNone/>
        <a:defRPr sz="1499" b="1">
          <a:solidFill>
            <a:schemeClr val="bg1"/>
          </a:solidFill>
          <a:latin typeface="맑은 고딕" pitchFamily="50" charset="-127"/>
          <a:ea typeface="+mn-ea"/>
          <a:cs typeface="+mn-cs"/>
        </a:defRPr>
      </a:lvl1pPr>
      <a:lvl2pPr marL="1587" indent="455594" algn="l" rtl="0" eaLnBrk="0" fontAlgn="base" hangingPunct="0">
        <a:spcBef>
          <a:spcPct val="4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2pPr>
      <a:lvl3pPr marL="357173" indent="-17620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3pPr>
      <a:lvl4pPr marL="538140" indent="-17779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85000"/>
        <a:buFont typeface="Symbol" pitchFamily="18" charset="2"/>
        <a:buChar char="-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4pPr>
      <a:lvl5pPr marL="722282" indent="-17938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5pPr>
      <a:lvl6pPr marL="1179464" indent="-179380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6pPr>
      <a:lvl7pPr marL="1636644" indent="-179380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7pPr>
      <a:lvl8pPr marL="2093825" indent="-179380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8pPr>
      <a:lvl9pPr marL="2551007" indent="-179380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2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3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5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alphaModFix amt="96000"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6" descr="PowerPoint-Graphics-3_A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40338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23850" y="1438275"/>
            <a:ext cx="4189413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ko-KR" dirty="0"/>
              <a:t>Click to edit Master title style</a:t>
            </a:r>
          </a:p>
        </p:txBody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2698750"/>
            <a:ext cx="35083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4830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</p:sldLayoutIdLst>
  <p:hf hdr="0"/>
  <p:txStyles>
    <p:titleStyle>
      <a:lvl1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+mj-ea"/>
          <a:cs typeface="+mj-cs"/>
        </a:defRPr>
      </a:lvl1pPr>
      <a:lvl2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hangingPunct="0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457200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4000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0"/>
        </a:spcAft>
        <a:buChar char="•"/>
        <a:defRPr sz="1200">
          <a:solidFill>
            <a:schemeClr val="bg1"/>
          </a:solidFill>
          <a:latin typeface="맑은 고딕" pitchFamily="50" charset="-127"/>
          <a:ea typeface="+mn-ea"/>
          <a:cs typeface="+mn-cs"/>
        </a:defRPr>
      </a:lvl1pPr>
      <a:lvl2pPr marL="1588" indent="455613" algn="l" rtl="0" eaLnBrk="0" fontAlgn="base" hangingPunct="0">
        <a:spcBef>
          <a:spcPct val="4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2pPr>
      <a:lvl3pPr marL="357188" indent="-1762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3pPr>
      <a:lvl4pPr marL="538163" indent="-1778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85000"/>
        <a:buFont typeface="Symbol" pitchFamily="18" charset="2"/>
        <a:buChar char="-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4pPr>
      <a:lvl5pPr marL="722313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맑은 고딕" pitchFamily="50" charset="-127"/>
          <a:cs typeface="+mn-cs"/>
        </a:defRPr>
      </a:lvl5pPr>
      <a:lvl6pPr marL="1179513" indent="-179388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6pPr>
      <a:lvl7pPr marL="1636713" indent="-179388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7pPr>
      <a:lvl8pPr marL="2093913" indent="-179388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8pPr>
      <a:lvl9pPr marL="2551113" indent="-179388" algn="l" rtl="0" fontAlgn="base">
        <a:spcBef>
          <a:spcPct val="4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l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6" descr="PowerPoint-Graphics_A4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041900" cy="32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 userDrawn="1"/>
        </p:nvSpPr>
        <p:spPr>
          <a:xfrm>
            <a:off x="414338" y="506413"/>
            <a:ext cx="2232025" cy="46196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altLang="ko-KR" sz="2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Contents</a:t>
            </a:r>
            <a:endParaRPr lang="ko-KR" altLang="en-US" sz="2400" dirty="0" err="1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325438" y="6373813"/>
            <a:ext cx="9285287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" name="Rectangle 33"/>
          <p:cNvSpPr/>
          <p:nvPr userDrawn="1"/>
        </p:nvSpPr>
        <p:spPr bwMode="gray">
          <a:xfrm>
            <a:off x="4525144" y="6577019"/>
            <a:ext cx="503237" cy="2809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>
              <a:spcBef>
                <a:spcPct val="40000"/>
              </a:spcBef>
              <a:defRPr/>
            </a:pPr>
            <a:fld id="{6BA71C0A-9F0F-41ED-AE97-DBF05B351E59}" type="slidenum">
              <a:rPr lang="en-GB" sz="900">
                <a:solidFill>
                  <a:srgbClr val="000000"/>
                </a:solidFill>
                <a:latin typeface="맑은 고딕"/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900" dirty="0">
              <a:solidFill>
                <a:srgbClr val="000000"/>
              </a:solidFill>
              <a:latin typeface="맑은 고딕"/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1879882" y="6418272"/>
            <a:ext cx="6611441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rIns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© 2016 KPMG </a:t>
            </a:r>
            <a:r>
              <a:rPr lang="en-US" altLang="ko-KR" sz="7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amjong</a:t>
            </a:r>
            <a:r>
              <a:rPr lang="en-US" altLang="ko-KR" sz="7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Accounting Corp., the Korean member firm of the KPMG network of independent member firms affiliated with KPMG International Cooperative (“KPMG International”), a Swiss entity. All rights reserved. Printed in Korea. The KPMG logo and name are trademarks of KPMG.</a:t>
            </a:r>
            <a:endParaRPr lang="en-US" altLang="ko-KR" sz="7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593" y="6415725"/>
            <a:ext cx="876927" cy="325644"/>
          </a:xfrm>
          <a:prstGeom prst="rect">
            <a:avLst/>
          </a:prstGeom>
        </p:spPr>
      </p:pic>
      <p:pic>
        <p:nvPicPr>
          <p:cNvPr id="14" name="Picture 2" descr="https://pbs.twimg.com/profile_images/499720463698755585/YTqR6o2x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2480" y="6462287"/>
            <a:ext cx="1342131" cy="227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80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Optima" pitchFamily="2" charset="2"/>
          <a:ea typeface="가는각진제목체" pitchFamily="18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•"/>
        <a:defRPr sz="160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817563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2pPr>
      <a:lvl3pPr marL="122555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633538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gif"/><Relationship Id="rId18" Type="http://schemas.openxmlformats.org/officeDocument/2006/relationships/image" Target="../media/image53.jpeg"/><Relationship Id="rId26" Type="http://schemas.openxmlformats.org/officeDocument/2006/relationships/image" Target="../media/image60.jpeg"/><Relationship Id="rId3" Type="http://schemas.openxmlformats.org/officeDocument/2006/relationships/image" Target="../media/image38.jpeg"/><Relationship Id="rId21" Type="http://schemas.openxmlformats.org/officeDocument/2006/relationships/image" Target="../media/image56.pn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17" Type="http://schemas.openxmlformats.org/officeDocument/2006/relationships/image" Target="../media/image52.jpeg"/><Relationship Id="rId25" Type="http://schemas.openxmlformats.org/officeDocument/2006/relationships/image" Target="../media/image59.png"/><Relationship Id="rId2" Type="http://schemas.openxmlformats.org/officeDocument/2006/relationships/image" Target="../media/image37.jpeg"/><Relationship Id="rId16" Type="http://schemas.openxmlformats.org/officeDocument/2006/relationships/image" Target="../media/image51.jpeg"/><Relationship Id="rId20" Type="http://schemas.openxmlformats.org/officeDocument/2006/relationships/image" Target="../media/image5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24" Type="http://schemas.openxmlformats.org/officeDocument/2006/relationships/image" Target="../media/image58.png"/><Relationship Id="rId5" Type="http://schemas.openxmlformats.org/officeDocument/2006/relationships/image" Target="../media/image40.jpeg"/><Relationship Id="rId15" Type="http://schemas.openxmlformats.org/officeDocument/2006/relationships/image" Target="../media/image50.jpeg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10" Type="http://schemas.openxmlformats.org/officeDocument/2006/relationships/image" Target="../media/image45.jpeg"/><Relationship Id="rId19" Type="http://schemas.openxmlformats.org/officeDocument/2006/relationships/image" Target="../media/image54.png"/><Relationship Id="rId4" Type="http://schemas.openxmlformats.org/officeDocument/2006/relationships/image" Target="../media/image39.jpeg"/><Relationship Id="rId9" Type="http://schemas.openxmlformats.org/officeDocument/2006/relationships/image" Target="../media/image44.gif"/><Relationship Id="rId14" Type="http://schemas.openxmlformats.org/officeDocument/2006/relationships/image" Target="../media/image49.gif"/><Relationship Id="rId22" Type="http://schemas.openxmlformats.org/officeDocument/2006/relationships/hyperlink" Target="http://www.co2online.de/uploads/pics/check24_news.jpg" TargetMode="External"/><Relationship Id="rId27" Type="http://schemas.openxmlformats.org/officeDocument/2006/relationships/image" Target="../media/image61.jpe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emf"/><Relationship Id="rId2" Type="http://schemas.openxmlformats.org/officeDocument/2006/relationships/image" Target="../media/image10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1.png"/><Relationship Id="rId5" Type="http://schemas.openxmlformats.org/officeDocument/2006/relationships/image" Target="../media/image106.png"/><Relationship Id="rId4" Type="http://schemas.openxmlformats.org/officeDocument/2006/relationships/image" Target="../media/image105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9.emf"/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67.pn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.png"/><Relationship Id="rId5" Type="http://schemas.openxmlformats.org/officeDocument/2006/relationships/image" Target="../media/image68.png"/><Relationship Id="rId4" Type="http://schemas.openxmlformats.org/officeDocument/2006/relationships/image" Target="../media/image70.png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1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2.jpeg"/><Relationship Id="rId5" Type="http://schemas.openxmlformats.org/officeDocument/2006/relationships/image" Target="../media/image121.png"/><Relationship Id="rId4" Type="http://schemas.microsoft.com/office/2007/relationships/hdphoto" Target="../media/hdphoto1.wdp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openxmlformats.org/officeDocument/2006/relationships/image" Target="../media/image70.png"/><Relationship Id="rId4" Type="http://schemas.openxmlformats.org/officeDocument/2006/relationships/image" Target="../media/image67.png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emf"/><Relationship Id="rId1" Type="http://schemas.openxmlformats.org/officeDocument/2006/relationships/slideLayout" Target="../slideLayouts/slideLayout1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12.png"/><Relationship Id="rId5" Type="http://schemas.openxmlformats.org/officeDocument/2006/relationships/image" Target="../media/image131.png"/><Relationship Id="rId4" Type="http://schemas.openxmlformats.org/officeDocument/2006/relationships/image" Target="../media/image130.jpe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4" Type="http://schemas.openxmlformats.org/officeDocument/2006/relationships/image" Target="../media/image133.png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1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3" Type="http://schemas.openxmlformats.org/officeDocument/2006/relationships/image" Target="../media/image126.png"/><Relationship Id="rId7" Type="http://schemas.openxmlformats.org/officeDocument/2006/relationships/image" Target="../media/image1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25.png"/><Relationship Id="rId9" Type="http://schemas.openxmlformats.org/officeDocument/2006/relationships/image" Target="../media/image138.png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119.emf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emf"/><Relationship Id="rId1" Type="http://schemas.openxmlformats.org/officeDocument/2006/relationships/slideLayout" Target="../slideLayouts/slideLayout1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19.emf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oleObject" Target="../embeddings/oleObject5.bin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7.bin"/><Relationship Id="rId5" Type="http://schemas.openxmlformats.org/officeDocument/2006/relationships/oleObject" Target="../embeddings/oleObject6.bin"/><Relationship Id="rId10" Type="http://schemas.openxmlformats.org/officeDocument/2006/relationships/oleObject" Target="../embeddings/oleObject11.bin"/><Relationship Id="rId4" Type="http://schemas.openxmlformats.org/officeDocument/2006/relationships/image" Target="../media/image119.emf"/><Relationship Id="rId9" Type="http://schemas.openxmlformats.org/officeDocument/2006/relationships/oleObject" Target="../embeddings/oleObject10.bin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emf"/><Relationship Id="rId1" Type="http://schemas.openxmlformats.org/officeDocument/2006/relationships/slideLayout" Target="../slideLayouts/slideLayout1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.xml"/></Relationships>
</file>

<file path=ppt/slides/_rels/slide1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6.png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5.png"/><Relationship Id="rId5" Type="http://schemas.openxmlformats.org/officeDocument/2006/relationships/image" Target="../media/image113.png"/><Relationship Id="rId4" Type="http://schemas.openxmlformats.org/officeDocument/2006/relationships/image" Target="../media/image126.png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1.png"/><Relationship Id="rId4" Type="http://schemas.openxmlformats.org/officeDocument/2006/relationships/image" Target="../media/image126.png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1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hyperlink" Target="http://www.google.com/url?sa=i&amp;rct=j&amp;q=&amp;esrc=s&amp;source=images&amp;cd=&amp;cad=rja&amp;uact=8&amp;docid=fdyG_1cJ0VB8eM&amp;tbnid=6hfw-gl6-TvrrM:&amp;ved=0CAUQjRw&amp;url=http://www.123rf.com/stock-photo/confused_cartoon.html&amp;ei=KqfZU8ryPNiKuAT_mIGIBg&amp;bvm=bv.72185853,d.c2E&amp;psig=AFQjCNFp2BC1yHgNJp8KWKGj6RIGBkajEQ&amp;ust=1406859407741119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png"/><Relationship Id="rId5" Type="http://schemas.openxmlformats.org/officeDocument/2006/relationships/image" Target="../media/image65.jpeg"/><Relationship Id="rId4" Type="http://schemas.openxmlformats.org/officeDocument/2006/relationships/hyperlink" Target="http://www.google.com/url?sa=i&amp;rct=j&amp;q=&amp;esrc=s&amp;source=images&amp;cd=&amp;cad=rja&amp;uact=8&amp;docid=fPS-O-wggeOuDM&amp;tbnid=ipbS8dnAbULt5M:&amp;ved=0CAUQjRw&amp;url=http://www.123rf.com/stock-photo/thinking.html&amp;ei=F6fZU-uGKcWJuASpjIDACQ&amp;bvm=bv.72185853,d.c2E&amp;psig=AFQjCNFp2BC1yHgNJp8KWKGj6RIGBkajEQ&amp;ust=1406859407741119" TargetMode="Externa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2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2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2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2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2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2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2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w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9.png"/><Relationship Id="rId5" Type="http://schemas.openxmlformats.org/officeDocument/2006/relationships/image" Target="../media/image158.png"/><Relationship Id="rId4" Type="http://schemas.openxmlformats.org/officeDocument/2006/relationships/image" Target="../media/image157.png"/></Relationships>
</file>

<file path=ppt/slides/_rels/slide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3" Type="http://schemas.openxmlformats.org/officeDocument/2006/relationships/tags" Target="../tags/tag12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microsoft.com/office/2007/relationships/hdphoto" Target="../media/hdphoto2.wdp"/><Relationship Id="rId4" Type="http://schemas.openxmlformats.org/officeDocument/2006/relationships/tags" Target="../tags/tag123.xml"/><Relationship Id="rId9" Type="http://schemas.openxmlformats.org/officeDocument/2006/relationships/image" Target="../media/image161.png"/></Relationships>
</file>

<file path=ppt/slides/_rels/slide2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s/_rels/slide2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png"/><Relationship Id="rId3" Type="http://schemas.openxmlformats.org/officeDocument/2006/relationships/image" Target="../media/image163.png"/><Relationship Id="rId7" Type="http://schemas.openxmlformats.org/officeDocument/2006/relationships/image" Target="../media/image167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6.wmf"/><Relationship Id="rId5" Type="http://schemas.openxmlformats.org/officeDocument/2006/relationships/image" Target="../media/image165.png"/><Relationship Id="rId10" Type="http://schemas.openxmlformats.org/officeDocument/2006/relationships/image" Target="../media/image170.png"/><Relationship Id="rId4" Type="http://schemas.openxmlformats.org/officeDocument/2006/relationships/image" Target="../media/image164.png"/><Relationship Id="rId9" Type="http://schemas.openxmlformats.org/officeDocument/2006/relationships/image" Target="../media/image169.png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2.png"/></Relationships>
</file>

<file path=ppt/slides/_rels/slide2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29.xml"/></Relationships>
</file>

<file path=ppt/slides/_rels/slide24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.xml"/></Relationships>
</file>

<file path=ppt/slides/_rels/slide24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.xml"/></Relationships>
</file>

<file path=ppt/slides/_rels/slide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png"/><Relationship Id="rId13" Type="http://schemas.openxmlformats.org/officeDocument/2006/relationships/image" Target="../media/image179.png"/><Relationship Id="rId3" Type="http://schemas.openxmlformats.org/officeDocument/2006/relationships/tags" Target="../tags/tag132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178.w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image" Target="../media/image177.png"/><Relationship Id="rId5" Type="http://schemas.openxmlformats.org/officeDocument/2006/relationships/tags" Target="../tags/tag134.xml"/><Relationship Id="rId15" Type="http://schemas.openxmlformats.org/officeDocument/2006/relationships/image" Target="../media/image181.png"/><Relationship Id="rId10" Type="http://schemas.microsoft.com/office/2007/relationships/hdphoto" Target="../media/hdphoto5.wdp"/><Relationship Id="rId4" Type="http://schemas.openxmlformats.org/officeDocument/2006/relationships/tags" Target="../tags/tag133.xml"/><Relationship Id="rId9" Type="http://schemas.openxmlformats.org/officeDocument/2006/relationships/image" Target="../media/image176.png"/><Relationship Id="rId14" Type="http://schemas.openxmlformats.org/officeDocument/2006/relationships/image" Target="../media/image18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50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tags" Target="../tags/tag161.xml"/><Relationship Id="rId39" Type="http://schemas.openxmlformats.org/officeDocument/2006/relationships/image" Target="../media/image175.png"/><Relationship Id="rId3" Type="http://schemas.openxmlformats.org/officeDocument/2006/relationships/tags" Target="../tags/tag138.xml"/><Relationship Id="rId21" Type="http://schemas.openxmlformats.org/officeDocument/2006/relationships/tags" Target="../tags/tag156.xml"/><Relationship Id="rId34" Type="http://schemas.openxmlformats.org/officeDocument/2006/relationships/tags" Target="../tags/tag169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29" Type="http://schemas.openxmlformats.org/officeDocument/2006/relationships/tags" Target="../tags/tag164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tags" Target="../tags/tag172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tags" Target="../tags/tag171.xml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31" Type="http://schemas.openxmlformats.org/officeDocument/2006/relationships/tags" Target="../tags/tag166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/Relationships>
</file>

<file path=ppt/slides/_rels/slide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png"/><Relationship Id="rId3" Type="http://schemas.openxmlformats.org/officeDocument/2006/relationships/tags" Target="../tags/tag17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microsoft.com/office/2007/relationships/hdphoto" Target="../media/hdphoto5.wdp"/></Relationships>
</file>

<file path=ppt/slides/_rels/slide252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microsoft.com/office/2007/relationships/hdphoto" Target="../media/hdphoto8.wdp"/><Relationship Id="rId3" Type="http://schemas.openxmlformats.org/officeDocument/2006/relationships/image" Target="../media/image181.png"/><Relationship Id="rId7" Type="http://schemas.openxmlformats.org/officeDocument/2006/relationships/image" Target="../media/image176.png"/><Relationship Id="rId12" Type="http://schemas.openxmlformats.org/officeDocument/2006/relationships/image" Target="../media/image186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5.png"/><Relationship Id="rId11" Type="http://schemas.openxmlformats.org/officeDocument/2006/relationships/image" Target="../media/image185.png"/><Relationship Id="rId5" Type="http://schemas.microsoft.com/office/2007/relationships/hdphoto" Target="../media/hdphoto6.wdp"/><Relationship Id="rId10" Type="http://schemas.microsoft.com/office/2007/relationships/hdphoto" Target="../media/hdphoto7.wdp"/><Relationship Id="rId4" Type="http://schemas.openxmlformats.org/officeDocument/2006/relationships/image" Target="../media/image183.png"/><Relationship Id="rId9" Type="http://schemas.openxmlformats.org/officeDocument/2006/relationships/image" Target="../media/image184.png"/></Relationships>
</file>

<file path=ppt/slides/_rels/slide2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4" Type="http://schemas.openxmlformats.org/officeDocument/2006/relationships/tags" Target="../tags/tag182.xml"/></Relationships>
</file>

<file path=ppt/slides/_rels/slide2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8.jpeg"/><Relationship Id="rId13" Type="http://schemas.microsoft.com/office/2007/relationships/hdphoto" Target="../media/hdphoto9.wdp"/><Relationship Id="rId3" Type="http://schemas.openxmlformats.org/officeDocument/2006/relationships/tags" Target="../tags/tag188.xml"/><Relationship Id="rId7" Type="http://schemas.openxmlformats.org/officeDocument/2006/relationships/image" Target="../media/image187.jpeg"/><Relationship Id="rId12" Type="http://schemas.openxmlformats.org/officeDocument/2006/relationships/image" Target="../media/image192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91.png"/><Relationship Id="rId5" Type="http://schemas.openxmlformats.org/officeDocument/2006/relationships/tags" Target="../tags/tag190.xml"/><Relationship Id="rId10" Type="http://schemas.openxmlformats.org/officeDocument/2006/relationships/image" Target="../media/image190.png"/><Relationship Id="rId4" Type="http://schemas.openxmlformats.org/officeDocument/2006/relationships/tags" Target="../tags/tag189.xml"/><Relationship Id="rId9" Type="http://schemas.openxmlformats.org/officeDocument/2006/relationships/image" Target="../media/image189.jpeg"/><Relationship Id="rId14" Type="http://schemas.openxmlformats.org/officeDocument/2006/relationships/image" Target="../media/image193.png"/></Relationships>
</file>

<file path=ppt/slides/_rels/slide2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.xml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194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4.xml"/></Relationships>
</file>

<file path=ppt/slides/_rels/slide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1.xml"/></Relationships>
</file>

<file path=ppt/slides/_rels/slide2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4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.xml"/></Relationships>
</file>

<file path=ppt/slides/_rels/slide2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hyperlink" Target="https://www.google.co.kr/url?sa=i&amp;rct=j&amp;q=&amp;esrc=s&amp;source=images&amp;cd=&amp;cad=rja&amp;uact=8&amp;ved=0ahUKEwiO66LfwtbLAhVCHpQKHU8WCHUQjRwIBw&amp;url=https://www.mastercard.us/en-us/consumers/features-benefits/mobile-payments/samsung-pay.html&amp;psig=AFQjCNFNgDMal9AW7yp1N64Bgdtel6i7jA&amp;ust=1458812635688829" TargetMode="External"/><Relationship Id="rId1" Type="http://schemas.openxmlformats.org/officeDocument/2006/relationships/slideLayout" Target="../slideLayouts/slideLayout1.xml"/></Relationships>
</file>

<file path=ppt/slides/_rels/slide2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2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gif"/><Relationship Id="rId1" Type="http://schemas.openxmlformats.org/officeDocument/2006/relationships/slideLayout" Target="../slideLayouts/slideLayout1.xml"/></Relationships>
</file>

<file path=ppt/slides/_rels/slide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4.png"/><Relationship Id="rId13" Type="http://schemas.openxmlformats.org/officeDocument/2006/relationships/image" Target="../media/image209.png"/><Relationship Id="rId3" Type="http://schemas.openxmlformats.org/officeDocument/2006/relationships/image" Target="../media/image199.emf"/><Relationship Id="rId7" Type="http://schemas.openxmlformats.org/officeDocument/2006/relationships/image" Target="../media/image203.emf"/><Relationship Id="rId12" Type="http://schemas.openxmlformats.org/officeDocument/2006/relationships/image" Target="../media/image208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02.jpeg"/><Relationship Id="rId11" Type="http://schemas.openxmlformats.org/officeDocument/2006/relationships/image" Target="../media/image207.png"/><Relationship Id="rId5" Type="http://schemas.openxmlformats.org/officeDocument/2006/relationships/image" Target="../media/image201.jpeg"/><Relationship Id="rId10" Type="http://schemas.openxmlformats.org/officeDocument/2006/relationships/image" Target="../media/image206.png"/><Relationship Id="rId4" Type="http://schemas.openxmlformats.org/officeDocument/2006/relationships/image" Target="../media/image200.jpeg"/><Relationship Id="rId9" Type="http://schemas.openxmlformats.org/officeDocument/2006/relationships/image" Target="../media/image205.png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jpeg"/><Relationship Id="rId7" Type="http://schemas.openxmlformats.org/officeDocument/2006/relationships/image" Target="../media/image213.jpeg"/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2.jpeg"/><Relationship Id="rId5" Type="http://schemas.openxmlformats.org/officeDocument/2006/relationships/image" Target="../media/image199.emf"/><Relationship Id="rId4" Type="http://schemas.openxmlformats.org/officeDocument/2006/relationships/image" Target="../media/image203.emf"/></Relationships>
</file>

<file path=ppt/slides/_rels/slide274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" Type="http://schemas.openxmlformats.org/officeDocument/2006/relationships/tags" Target="../tags/tag197.xml"/><Relationship Id="rId21" Type="http://schemas.openxmlformats.org/officeDocument/2006/relationships/tags" Target="../tags/tag215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2" Type="http://schemas.openxmlformats.org/officeDocument/2006/relationships/tags" Target="../tags/tag196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29" Type="http://schemas.openxmlformats.org/officeDocument/2006/relationships/tags" Target="../tags/tag223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199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tags" Target="../tags/tag222.xml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tags" Target="../tags/tag225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tags" Target="../tags/tag224.xml"/></Relationships>
</file>

<file path=ppt/slides/_rels/slide2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1.xml"/></Relationships>
</file>

<file path=ppt/slides/_rels/slide2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/Relationships>
</file>

<file path=ppt/slides/_rels/slide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emf"/><Relationship Id="rId1" Type="http://schemas.openxmlformats.org/officeDocument/2006/relationships/slideLayout" Target="../slideLayouts/slideLayout1.xml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1.png"/><Relationship Id="rId4" Type="http://schemas.openxmlformats.org/officeDocument/2006/relationships/image" Target="../media/image220.png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4.png"/></Relationships>
</file>

<file path=ppt/slides/_rels/slide2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jpeg"/><Relationship Id="rId1" Type="http://schemas.openxmlformats.org/officeDocument/2006/relationships/slideLayout" Target="../slideLayouts/slideLayout1.xml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image" Target="../media/image2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0.png"/><Relationship Id="rId5" Type="http://schemas.openxmlformats.org/officeDocument/2006/relationships/image" Target="../media/image229.png"/><Relationship Id="rId4" Type="http://schemas.openxmlformats.org/officeDocument/2006/relationships/image" Target="../media/image228.png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png"/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6.png"/><Relationship Id="rId4" Type="http://schemas.openxmlformats.org/officeDocument/2006/relationships/image" Target="../media/image235.png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9.png"/></Relationships>
</file>

<file path=ppt/slides/_rels/slide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1.xml"/></Relationships>
</file>

<file path=ppt/slides/_rels/slide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1.xml"/></Relationships>
</file>

<file path=ppt/slides/_rels/slide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jpeg"/><Relationship Id="rId1" Type="http://schemas.openxmlformats.org/officeDocument/2006/relationships/slideLayout" Target="../slideLayouts/slideLayout1.xml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.xml"/></Relationships>
</file>

<file path=ppt/slides/_rels/slide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5.png"/><Relationship Id="rId1" Type="http://schemas.openxmlformats.org/officeDocument/2006/relationships/slideLayout" Target="../slideLayouts/slideLayout1.xml"/></Relationships>
</file>

<file path=ppt/slides/_rels/slide2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6.xml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3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image" Target="../media/image246.png"/><Relationship Id="rId1" Type="http://schemas.openxmlformats.org/officeDocument/2006/relationships/slideLayout" Target="../slideLayouts/slideLayout1.xml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image" Target="../media/image248.png"/><Relationship Id="rId1" Type="http://schemas.openxmlformats.org/officeDocument/2006/relationships/slideLayout" Target="../slideLayouts/slideLayout1.xml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305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1.xml"/></Relationships>
</file>

<file path=ppt/slides/_rels/slide306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25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2.png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7" Type="http://schemas.openxmlformats.org/officeDocument/2006/relationships/image" Target="../media/image258.png"/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7.png"/><Relationship Id="rId5" Type="http://schemas.openxmlformats.org/officeDocument/2006/relationships/image" Target="../media/image256.png"/><Relationship Id="rId4" Type="http://schemas.openxmlformats.org/officeDocument/2006/relationships/image" Target="../media/image255.png"/></Relationships>
</file>

<file path=ppt/slides/_rels/slide308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1.xml"/></Relationships>
</file>

<file path=ppt/slides/_rels/slide30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3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jpeg"/><Relationship Id="rId2" Type="http://schemas.openxmlformats.org/officeDocument/2006/relationships/image" Target="../media/image260.jpeg"/><Relationship Id="rId1" Type="http://schemas.openxmlformats.org/officeDocument/2006/relationships/slideLayout" Target="../slideLayouts/slideLayout1.xml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.wmf"/><Relationship Id="rId2" Type="http://schemas.openxmlformats.org/officeDocument/2006/relationships/image" Target="../media/image262.wmf"/><Relationship Id="rId1" Type="http://schemas.openxmlformats.org/officeDocument/2006/relationships/slideLayout" Target="../slideLayouts/slideLayout1.xml"/></Relationships>
</file>

<file path=ppt/slides/_rels/slide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4.emf"/><Relationship Id="rId1" Type="http://schemas.openxmlformats.org/officeDocument/2006/relationships/slideLayout" Target="../slideLayouts/slideLayout1.xml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image" Target="../media/image265.png"/><Relationship Id="rId1" Type="http://schemas.openxmlformats.org/officeDocument/2006/relationships/slideLayout" Target="../slideLayouts/slideLayout1.xml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jpeg"/><Relationship Id="rId2" Type="http://schemas.openxmlformats.org/officeDocument/2006/relationships/image" Target="../media/image267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image" Target="../media/image269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4.wdp"/></Relationships>
</file>

<file path=ppt/slides/_rels/slide324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7" Type="http://schemas.microsoft.com/office/2007/relationships/hdphoto" Target="../media/hdphoto17.wdp"/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3.png"/><Relationship Id="rId5" Type="http://schemas.microsoft.com/office/2007/relationships/hdphoto" Target="../media/hdphoto16.wdp"/><Relationship Id="rId4" Type="http://schemas.openxmlformats.org/officeDocument/2006/relationships/image" Target="../media/image272.png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5.png"/><Relationship Id="rId2" Type="http://schemas.openxmlformats.org/officeDocument/2006/relationships/image" Target="../media/image27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8.png"/><Relationship Id="rId5" Type="http://schemas.openxmlformats.org/officeDocument/2006/relationships/image" Target="../media/image277.emf"/><Relationship Id="rId4" Type="http://schemas.openxmlformats.org/officeDocument/2006/relationships/image" Target="../media/image276.png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jpeg"/><Relationship Id="rId2" Type="http://schemas.openxmlformats.org/officeDocument/2006/relationships/image" Target="../media/image26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9.png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2.png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4.png"/><Relationship Id="rId2" Type="http://schemas.openxmlformats.org/officeDocument/2006/relationships/image" Target="../media/image28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6.jpeg"/><Relationship Id="rId4" Type="http://schemas.openxmlformats.org/officeDocument/2006/relationships/image" Target="../media/image285.jpe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png"/><Relationship Id="rId2" Type="http://schemas.openxmlformats.org/officeDocument/2006/relationships/image" Target="../media/image28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9.png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1.png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4.png"/><Relationship Id="rId5" Type="http://schemas.openxmlformats.org/officeDocument/2006/relationships/image" Target="../media/image293.png"/><Relationship Id="rId4" Type="http://schemas.openxmlformats.org/officeDocument/2006/relationships/image" Target="../media/image292.png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6.png"/><Relationship Id="rId2" Type="http://schemas.openxmlformats.org/officeDocument/2006/relationships/image" Target="../media/image29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8.png"/><Relationship Id="rId4" Type="http://schemas.openxmlformats.org/officeDocument/2006/relationships/image" Target="../media/image297.png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1.png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3.jpeg"/><Relationship Id="rId2" Type="http://schemas.openxmlformats.org/officeDocument/2006/relationships/image" Target="../media/image30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5.png"/><Relationship Id="rId4" Type="http://schemas.openxmlformats.org/officeDocument/2006/relationships/image" Target="../media/image304.jpeg"/></Relationships>
</file>

<file path=ppt/slides/_rels/slide3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1.png"/><Relationship Id="rId13" Type="http://schemas.openxmlformats.org/officeDocument/2006/relationships/image" Target="../media/image314.png"/><Relationship Id="rId3" Type="http://schemas.openxmlformats.org/officeDocument/2006/relationships/image" Target="../media/image307.png"/><Relationship Id="rId7" Type="http://schemas.microsoft.com/office/2007/relationships/hdphoto" Target="../media/hdphoto18.wdp"/><Relationship Id="rId12" Type="http://schemas.microsoft.com/office/2007/relationships/hdphoto" Target="../media/hdphoto20.wdp"/><Relationship Id="rId17" Type="http://schemas.openxmlformats.org/officeDocument/2006/relationships/image" Target="../media/image317.emf"/><Relationship Id="rId2" Type="http://schemas.openxmlformats.org/officeDocument/2006/relationships/image" Target="../media/image306.png"/><Relationship Id="rId16" Type="http://schemas.openxmlformats.org/officeDocument/2006/relationships/image" Target="../media/image31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0.png"/><Relationship Id="rId11" Type="http://schemas.openxmlformats.org/officeDocument/2006/relationships/image" Target="../media/image313.png"/><Relationship Id="rId5" Type="http://schemas.openxmlformats.org/officeDocument/2006/relationships/image" Target="../media/image309.png"/><Relationship Id="rId15" Type="http://schemas.openxmlformats.org/officeDocument/2006/relationships/image" Target="../media/image315.png"/><Relationship Id="rId10" Type="http://schemas.openxmlformats.org/officeDocument/2006/relationships/image" Target="../media/image312.png"/><Relationship Id="rId4" Type="http://schemas.openxmlformats.org/officeDocument/2006/relationships/image" Target="../media/image308.png"/><Relationship Id="rId9" Type="http://schemas.microsoft.com/office/2007/relationships/hdphoto" Target="../media/hdphoto19.wdp"/><Relationship Id="rId14" Type="http://schemas.microsoft.com/office/2007/relationships/hdphoto" Target="../media/hdphoto21.wdp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9.png"/><Relationship Id="rId2" Type="http://schemas.openxmlformats.org/officeDocument/2006/relationships/image" Target="../media/image318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1.png"/><Relationship Id="rId2" Type="http://schemas.openxmlformats.org/officeDocument/2006/relationships/image" Target="../media/image32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2.png"/></Relationships>
</file>

<file path=ppt/slides/_rels/slide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3.png"/><Relationship Id="rId1" Type="http://schemas.openxmlformats.org/officeDocument/2006/relationships/slideLayout" Target="../slideLayouts/slideLayout1.xml"/></Relationships>
</file>

<file path=ppt/slides/_rels/slide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3.png"/><Relationship Id="rId1" Type="http://schemas.openxmlformats.org/officeDocument/2006/relationships/slideLayout" Target="../slideLayouts/slideLayout1.xml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jpeg"/><Relationship Id="rId2" Type="http://schemas.openxmlformats.org/officeDocument/2006/relationships/image" Target="../media/image32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6.jpeg"/><Relationship Id="rId4" Type="http://schemas.openxmlformats.org/officeDocument/2006/relationships/image" Target="../media/image325.png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8.png"/><Relationship Id="rId2" Type="http://schemas.openxmlformats.org/officeDocument/2006/relationships/image" Target="../media/image32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9.png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1.png"/><Relationship Id="rId2" Type="http://schemas.openxmlformats.org/officeDocument/2006/relationships/image" Target="../media/image3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4.png"/><Relationship Id="rId5" Type="http://schemas.openxmlformats.org/officeDocument/2006/relationships/image" Target="../media/image333.png"/><Relationship Id="rId4" Type="http://schemas.openxmlformats.org/officeDocument/2006/relationships/image" Target="../media/image332.png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/Relationships>
</file>

<file path=ppt/slides/_rels/slide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5.png"/><Relationship Id="rId1" Type="http://schemas.openxmlformats.org/officeDocument/2006/relationships/slideLayout" Target="../slideLayouts/slideLayout1.xml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7.png"/><Relationship Id="rId2" Type="http://schemas.openxmlformats.org/officeDocument/2006/relationships/image" Target="../media/image336.png"/><Relationship Id="rId1" Type="http://schemas.openxmlformats.org/officeDocument/2006/relationships/slideLayout" Target="../slideLayouts/slideLayout1.xml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7.png"/><Relationship Id="rId2" Type="http://schemas.openxmlformats.org/officeDocument/2006/relationships/image" Target="../media/image338.png"/><Relationship Id="rId1" Type="http://schemas.openxmlformats.org/officeDocument/2006/relationships/slideLayout" Target="../slideLayouts/slideLayout1.xml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9.png"/><Relationship Id="rId2" Type="http://schemas.openxmlformats.org/officeDocument/2006/relationships/image" Target="../media/image28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0.png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2.png"/><Relationship Id="rId2" Type="http://schemas.openxmlformats.org/officeDocument/2006/relationships/image" Target="../media/image34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3.png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4.png"/><Relationship Id="rId1" Type="http://schemas.openxmlformats.org/officeDocument/2006/relationships/slideLayout" Target="../slideLayouts/slideLayout1.xml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345.png"/><Relationship Id="rId1" Type="http://schemas.openxmlformats.org/officeDocument/2006/relationships/slideLayout" Target="../slideLayouts/slideLayout1.xml"/></Relationships>
</file>

<file path=ppt/slides/_rels/slide3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6.xml"/></Relationships>
</file>

<file path=ppt/slides/_rels/slide3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hyperlink" Target="//upload.wikimedia.org/wikipedia/en/9/97/Pwc_logo.svg" TargetMode="External"/><Relationship Id="rId4" Type="http://schemas.openxmlformats.org/officeDocument/2006/relationships/image" Target="../media/image77.png"/></Relationships>
</file>

<file path=ppt/slides/_rels/slide3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7.emf"/><Relationship Id="rId2" Type="http://schemas.openxmlformats.org/officeDocument/2006/relationships/image" Target="../media/image34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8.png"/></Relationships>
</file>

<file path=ppt/slides/_rels/slide3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/Relationships>
</file>

<file path=ppt/slides/_rels/slide3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/Relationships>
</file>

<file path=ppt/slides/_rels/slide3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3.PNG"/></Relationships>
</file>

<file path=ppt/slides/_rels/slide3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9.jpg"/><Relationship Id="rId1" Type="http://schemas.openxmlformats.org/officeDocument/2006/relationships/slideLayout" Target="../slideLayouts/slideLayout1.xml"/></Relationships>
</file>

<file path=ppt/slides/_rels/slide3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0.png"/><Relationship Id="rId1" Type="http://schemas.openxmlformats.org/officeDocument/2006/relationships/slideLayout" Target="../slideLayouts/slideLayout1.xml"/></Relationships>
</file>

<file path=ppt/slides/_rels/slide3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1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6.png"/></Relationships>
</file>

<file path=ppt/slides/_rels/slide3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2.png"/><Relationship Id="rId1" Type="http://schemas.openxmlformats.org/officeDocument/2006/relationships/slideLayout" Target="../slideLayouts/slideLayout1.xml"/></Relationships>
</file>

<file path=ppt/slides/_rels/slide3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3.PNG"/><Relationship Id="rId1" Type="http://schemas.openxmlformats.org/officeDocument/2006/relationships/slideLayout" Target="../slideLayouts/slideLayout1.xml"/></Relationships>
</file>

<file path=ppt/slides/_rels/slide3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4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/Relationships>
</file>

<file path=ppt/slides/_rels/slide4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5.gif"/><Relationship Id="rId1" Type="http://schemas.openxmlformats.org/officeDocument/2006/relationships/slideLayout" Target="../slideLayouts/slideLayout1.xml"/></Relationships>
</file>

<file path=ppt/slides/_rels/slide4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.xml"/></Relationships>
</file>

<file path=ppt/slides/_rels/slide4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6.PNG"/><Relationship Id="rId1" Type="http://schemas.openxmlformats.org/officeDocument/2006/relationships/slideLayout" Target="../slideLayouts/slideLayout1.xml"/></Relationships>
</file>

<file path=ppt/slides/_rels/slide4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3.jpeg"/><Relationship Id="rId5" Type="http://schemas.openxmlformats.org/officeDocument/2006/relationships/image" Target="../media/image92.png"/><Relationship Id="rId4" Type="http://schemas.openxmlformats.org/officeDocument/2006/relationships/image" Target="../media/image91.jpeg"/></Relationships>
</file>

<file path=ppt/slides/_rels/slide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7.PNG"/><Relationship Id="rId1" Type="http://schemas.openxmlformats.org/officeDocument/2006/relationships/slideLayout" Target="../slideLayouts/slideLayout1.xml"/></Relationships>
</file>

<file path=ppt/slides/_rels/slide4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4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8.png"/><Relationship Id="rId1" Type="http://schemas.openxmlformats.org/officeDocument/2006/relationships/slideLayout" Target="../slideLayouts/slideLayout1.xml"/></Relationships>
</file>

<file path=ppt/slides/_rels/slide4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9.jpg"/><Relationship Id="rId1" Type="http://schemas.openxmlformats.org/officeDocument/2006/relationships/slideLayout" Target="../slideLayouts/slideLayout1.xml"/></Relationships>
</file>

<file path=ppt/slides/_rels/slide4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0.png"/><Relationship Id="rId1" Type="http://schemas.openxmlformats.org/officeDocument/2006/relationships/slideLayout" Target="../slideLayouts/slideLayout1.xml"/></Relationships>
</file>

<file path=ppt/slides/_rels/slide4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1.png"/><Relationship Id="rId1" Type="http://schemas.openxmlformats.org/officeDocument/2006/relationships/slideLayout" Target="../slideLayouts/slideLayout1.xml"/></Relationships>
</file>

<file path=ppt/slides/_rels/slide4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4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2.PNG"/><Relationship Id="rId1" Type="http://schemas.openxmlformats.org/officeDocument/2006/relationships/slideLayout" Target="../slideLayouts/slideLayout1.xml"/></Relationships>
</file>

<file path=ppt/slides/_rels/slide4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3.jpeg"/><Relationship Id="rId1" Type="http://schemas.openxmlformats.org/officeDocument/2006/relationships/slideLayout" Target="../slideLayouts/slideLayout1.xml"/></Relationships>
</file>

<file path=ppt/slides/_rels/slide4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4.PNG"/><Relationship Id="rId1" Type="http://schemas.openxmlformats.org/officeDocument/2006/relationships/slideLayout" Target="../slideLayouts/slideLayout1.xml"/></Relationships>
</file>

<file path=ppt/slides/_rels/slide4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5.PNG"/><Relationship Id="rId1" Type="http://schemas.openxmlformats.org/officeDocument/2006/relationships/slideLayout" Target="../slideLayouts/slideLayout1.xml"/></Relationships>
</file>

<file path=ppt/slides/_rels/slide4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6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94.png"/><Relationship Id="rId4" Type="http://schemas.openxmlformats.org/officeDocument/2006/relationships/slideLayout" Target="../slideLayouts/slideLayout1.xml"/></Relationships>
</file>

<file path=ppt/slides/_rels/slide4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7.jpeg"/><Relationship Id="rId1" Type="http://schemas.openxmlformats.org/officeDocument/2006/relationships/slideLayout" Target="../slideLayouts/slideLayout1.xml"/></Relationships>
</file>

<file path=ppt/slides/_rels/slide4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8.jpeg"/><Relationship Id="rId1" Type="http://schemas.openxmlformats.org/officeDocument/2006/relationships/slideLayout" Target="../slideLayouts/slideLayout1.xml"/></Relationships>
</file>

<file path=ppt/slides/_rels/slide4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8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369.jpeg"/><Relationship Id="rId1" Type="http://schemas.openxmlformats.org/officeDocument/2006/relationships/slideLayout" Target="../slideLayouts/slideLayout1.xml"/></Relationships>
</file>

<file path=ppt/slides/_rels/slide4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.xml"/></Relationships>
</file>

<file path=ppt/slides/_rels/slide4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7" Type="http://schemas.openxmlformats.org/officeDocument/2006/relationships/image" Target="../media/image101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jpeg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jpg"/><Relationship Id="rId7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png"/><Relationship Id="rId9" Type="http://schemas.openxmlformats.org/officeDocument/2006/relationships/image" Target="../media/image18.jp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wmf"/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image" Target="../media/image20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g"/><Relationship Id="rId7" Type="http://schemas.openxmlformats.org/officeDocument/2006/relationships/image" Target="../media/image26.jpg"/><Relationship Id="rId12" Type="http://schemas.openxmlformats.org/officeDocument/2006/relationships/image" Target="../media/image31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jpg"/><Relationship Id="rId11" Type="http://schemas.openxmlformats.org/officeDocument/2006/relationships/image" Target="../media/image30.png"/><Relationship Id="rId5" Type="http://schemas.openxmlformats.org/officeDocument/2006/relationships/image" Target="../media/image24.jpg"/><Relationship Id="rId10" Type="http://schemas.openxmlformats.org/officeDocument/2006/relationships/image" Target="../media/image29.png"/><Relationship Id="rId4" Type="http://schemas.openxmlformats.org/officeDocument/2006/relationships/image" Target="../media/image23.jpg"/><Relationship Id="rId9" Type="http://schemas.openxmlformats.org/officeDocument/2006/relationships/image" Target="../media/image28.jp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tags" Target="../tags/tag107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tags" Target="../tags/tag109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04.png"/><Relationship Id="rId4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4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emf"/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부제목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endParaRPr kumimoji="1" lang="en-US" altLang="ko-KR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lvl="0"/>
            <a:r>
              <a:rPr kumimoji="1"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2016. </a:t>
            </a:r>
            <a:r>
              <a:rPr kumimoji="1"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0. 17</a:t>
            </a:r>
            <a:endParaRPr lang="en-GB" altLang="ko-KR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lvl="0"/>
            <a:endParaRPr lang="ko-KR" altLang="en-US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ctrTitle"/>
          </p:nvPr>
        </p:nvSpPr>
        <p:spPr>
          <a:xfrm>
            <a:off x="323850" y="1412875"/>
            <a:ext cx="4269110" cy="2159000"/>
          </a:xfrm>
        </p:spPr>
        <p:txBody>
          <a:bodyPr/>
          <a:lstStyle/>
          <a:p>
            <a:pPr lvl="0" eaLnBrk="1" hangingPunct="1">
              <a:spcBef>
                <a:spcPct val="0"/>
              </a:spcBef>
            </a:pPr>
            <a:r>
              <a:rPr kumimoji="1" lang="en-US" altLang="ko-KR" sz="20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NH</a:t>
            </a:r>
            <a:r>
              <a:rPr kumimoji="1" lang="ko-KR" altLang="en-US" sz="20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농협은행</a:t>
            </a:r>
            <a:r>
              <a:rPr kumimoji="1" lang="en-US" altLang="ko-KR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kumimoji="1" lang="en-US" altLang="ko-KR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kumimoji="1" lang="ko-KR" altLang="en-US" sz="2400" kern="1200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카드차세대시스템</a:t>
            </a:r>
            <a:r>
              <a:rPr kumimoji="1" lang="ko-KR" altLang="en-US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개발을 위한 </a:t>
            </a:r>
            <a:r>
              <a:rPr kumimoji="1" lang="en-US" altLang="ko-KR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I </a:t>
            </a:r>
            <a:r>
              <a:rPr kumimoji="1" lang="en-US" altLang="ko-KR" sz="18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Process Innovation)</a:t>
            </a:r>
            <a:r>
              <a:rPr kumimoji="1" lang="en-US" altLang="ko-KR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kumimoji="1" lang="ko-KR" altLang="en-US" sz="2400" kern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컨설팅</a:t>
            </a:r>
            <a:r>
              <a:rPr kumimoji="1" lang="en-US" altLang="ko-KR" sz="2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kumimoji="1" lang="en-US" altLang="ko-KR" sz="2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kumimoji="1" lang="ko-KR" altLang="en-US" sz="2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제안서</a:t>
            </a:r>
            <a:r>
              <a:rPr lang="ko-KR" altLang="en-US" sz="16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ko-KR" altLang="en-US" sz="16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9242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환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커뮤니케이션 채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디지털化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/>
              <a:t>스마트폰</a:t>
            </a:r>
            <a:r>
              <a:rPr lang="ko-KR" altLang="en-US" dirty="0"/>
              <a:t> 기반 상시 접속과 </a:t>
            </a:r>
            <a:r>
              <a:rPr lang="ko-KR" altLang="en-US" dirty="0" err="1"/>
              <a:t>소셜미디어</a:t>
            </a:r>
            <a:r>
              <a:rPr lang="ko-KR" altLang="en-US" dirty="0"/>
              <a:t> 등 다양한 채널 활용</a:t>
            </a:r>
            <a:r>
              <a:rPr lang="en-US" altLang="ko-KR" dirty="0"/>
              <a:t>, O2O (Online to Offline) </a:t>
            </a:r>
            <a:r>
              <a:rPr lang="ko-KR" altLang="en-US" dirty="0"/>
              <a:t>연계 등에 따라 고객의 카드 가입 및 사용 행태가 근본적으로 변화하고 있음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64120" y="1977425"/>
            <a:ext cx="8964496" cy="4187879"/>
            <a:chOff x="463400" y="2368291"/>
            <a:chExt cx="8641974" cy="3583099"/>
          </a:xfrm>
        </p:grpSpPr>
        <p:sp>
          <p:nvSpPr>
            <p:cNvPr id="120" name="Freeform 174"/>
            <p:cNvSpPr/>
            <p:nvPr/>
          </p:nvSpPr>
          <p:spPr>
            <a:xfrm>
              <a:off x="1274899" y="4366128"/>
              <a:ext cx="4733117" cy="1089153"/>
            </a:xfrm>
            <a:custGeom>
              <a:avLst/>
              <a:gdLst>
                <a:gd name="connsiteX0" fmla="*/ 0 w 6858000"/>
                <a:gd name="connsiteY0" fmla="*/ 2573079 h 2573079"/>
                <a:gd name="connsiteX1" fmla="*/ 510363 w 6858000"/>
                <a:gd name="connsiteY1" fmla="*/ 829339 h 2573079"/>
                <a:gd name="connsiteX2" fmla="*/ 1233377 w 6858000"/>
                <a:gd name="connsiteY2" fmla="*/ 1297172 h 2573079"/>
                <a:gd name="connsiteX3" fmla="*/ 1935126 w 6858000"/>
                <a:gd name="connsiteY3" fmla="*/ 191386 h 2573079"/>
                <a:gd name="connsiteX4" fmla="*/ 2604977 w 6858000"/>
                <a:gd name="connsiteY4" fmla="*/ 233916 h 2573079"/>
                <a:gd name="connsiteX5" fmla="*/ 3593805 w 6858000"/>
                <a:gd name="connsiteY5" fmla="*/ 1594884 h 2573079"/>
                <a:gd name="connsiteX6" fmla="*/ 4763386 w 6858000"/>
                <a:gd name="connsiteY6" fmla="*/ 2232837 h 2573079"/>
                <a:gd name="connsiteX7" fmla="*/ 6007396 w 6858000"/>
                <a:gd name="connsiteY7" fmla="*/ 1275907 h 2573079"/>
                <a:gd name="connsiteX8" fmla="*/ 6858000 w 6858000"/>
                <a:gd name="connsiteY8" fmla="*/ 1063256 h 257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58000" h="2573079">
                  <a:moveTo>
                    <a:pt x="0" y="2573079"/>
                  </a:moveTo>
                  <a:cubicBezTo>
                    <a:pt x="152400" y="1807534"/>
                    <a:pt x="304800" y="1041990"/>
                    <a:pt x="510363" y="829339"/>
                  </a:cubicBezTo>
                  <a:cubicBezTo>
                    <a:pt x="715926" y="616688"/>
                    <a:pt x="995917" y="1403497"/>
                    <a:pt x="1233377" y="1297172"/>
                  </a:cubicBezTo>
                  <a:cubicBezTo>
                    <a:pt x="1470837" y="1190847"/>
                    <a:pt x="1706526" y="368595"/>
                    <a:pt x="1935126" y="191386"/>
                  </a:cubicBezTo>
                  <a:cubicBezTo>
                    <a:pt x="2163726" y="14177"/>
                    <a:pt x="2328531" y="0"/>
                    <a:pt x="2604977" y="233916"/>
                  </a:cubicBezTo>
                  <a:cubicBezTo>
                    <a:pt x="2881424" y="467832"/>
                    <a:pt x="3234070" y="1261731"/>
                    <a:pt x="3593805" y="1594884"/>
                  </a:cubicBezTo>
                  <a:cubicBezTo>
                    <a:pt x="3953540" y="1928037"/>
                    <a:pt x="4361121" y="2286000"/>
                    <a:pt x="4763386" y="2232837"/>
                  </a:cubicBezTo>
                  <a:cubicBezTo>
                    <a:pt x="5165651" y="2179674"/>
                    <a:pt x="5658294" y="1470837"/>
                    <a:pt x="6007396" y="1275907"/>
                  </a:cubicBezTo>
                  <a:cubicBezTo>
                    <a:pt x="6356498" y="1080977"/>
                    <a:pt x="6607249" y="1072116"/>
                    <a:pt x="6858000" y="1063256"/>
                  </a:cubicBezTo>
                </a:path>
              </a:pathLst>
            </a:cu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endParaRPr 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1" name="Freeform 167"/>
            <p:cNvSpPr/>
            <p:nvPr/>
          </p:nvSpPr>
          <p:spPr>
            <a:xfrm>
              <a:off x="1226919" y="2899834"/>
              <a:ext cx="4720404" cy="849215"/>
            </a:xfrm>
            <a:custGeom>
              <a:avLst/>
              <a:gdLst>
                <a:gd name="connsiteX0" fmla="*/ 0 w 6261100"/>
                <a:gd name="connsiteY0" fmla="*/ 1115483 h 1225550"/>
                <a:gd name="connsiteX1" fmla="*/ 1943100 w 6261100"/>
                <a:gd name="connsiteY1" fmla="*/ 1064683 h 1225550"/>
                <a:gd name="connsiteX2" fmla="*/ 3314700 w 6261100"/>
                <a:gd name="connsiteY2" fmla="*/ 150283 h 1225550"/>
                <a:gd name="connsiteX3" fmla="*/ 4222750 w 6261100"/>
                <a:gd name="connsiteY3" fmla="*/ 162983 h 1225550"/>
                <a:gd name="connsiteX4" fmla="*/ 5187950 w 6261100"/>
                <a:gd name="connsiteY4" fmla="*/ 963083 h 1225550"/>
                <a:gd name="connsiteX5" fmla="*/ 6261100 w 6261100"/>
                <a:gd name="connsiteY5" fmla="*/ 975783 h 1225550"/>
                <a:gd name="connsiteX0" fmla="*/ 0 w 6261100"/>
                <a:gd name="connsiteY0" fmla="*/ 1225550 h 1280583"/>
                <a:gd name="connsiteX1" fmla="*/ 1943100 w 6261100"/>
                <a:gd name="connsiteY1" fmla="*/ 1064683 h 1280583"/>
                <a:gd name="connsiteX2" fmla="*/ 3314700 w 6261100"/>
                <a:gd name="connsiteY2" fmla="*/ 150283 h 1280583"/>
                <a:gd name="connsiteX3" fmla="*/ 4222750 w 6261100"/>
                <a:gd name="connsiteY3" fmla="*/ 162983 h 1280583"/>
                <a:gd name="connsiteX4" fmla="*/ 5187950 w 6261100"/>
                <a:gd name="connsiteY4" fmla="*/ 963083 h 1280583"/>
                <a:gd name="connsiteX5" fmla="*/ 6261100 w 6261100"/>
                <a:gd name="connsiteY5" fmla="*/ 975783 h 1280583"/>
                <a:gd name="connsiteX0" fmla="*/ 0 w 6584467"/>
                <a:gd name="connsiteY0" fmla="*/ 1225550 h 1280583"/>
                <a:gd name="connsiteX1" fmla="*/ 1943100 w 6584467"/>
                <a:gd name="connsiteY1" fmla="*/ 1064683 h 1280583"/>
                <a:gd name="connsiteX2" fmla="*/ 3314700 w 6584467"/>
                <a:gd name="connsiteY2" fmla="*/ 150283 h 1280583"/>
                <a:gd name="connsiteX3" fmla="*/ 4222750 w 6584467"/>
                <a:gd name="connsiteY3" fmla="*/ 162983 h 1280583"/>
                <a:gd name="connsiteX4" fmla="*/ 5187950 w 6584467"/>
                <a:gd name="connsiteY4" fmla="*/ 963083 h 1280583"/>
                <a:gd name="connsiteX5" fmla="*/ 6584467 w 6584467"/>
                <a:gd name="connsiteY5" fmla="*/ 997886 h 1280583"/>
                <a:gd name="connsiteX0" fmla="*/ 0 w 6584467"/>
                <a:gd name="connsiteY0" fmla="*/ 1375833 h 1430866"/>
                <a:gd name="connsiteX1" fmla="*/ 1943100 w 6584467"/>
                <a:gd name="connsiteY1" fmla="*/ 1214966 h 1430866"/>
                <a:gd name="connsiteX2" fmla="*/ 3150708 w 6584467"/>
                <a:gd name="connsiteY2" fmla="*/ 150283 h 1430866"/>
                <a:gd name="connsiteX3" fmla="*/ 4222750 w 6584467"/>
                <a:gd name="connsiteY3" fmla="*/ 313266 h 1430866"/>
                <a:gd name="connsiteX4" fmla="*/ 5187950 w 6584467"/>
                <a:gd name="connsiteY4" fmla="*/ 1113366 h 1430866"/>
                <a:gd name="connsiteX5" fmla="*/ 6584467 w 6584467"/>
                <a:gd name="connsiteY5" fmla="*/ 1148169 h 1430866"/>
                <a:gd name="connsiteX0" fmla="*/ 0 w 6584467"/>
                <a:gd name="connsiteY0" fmla="*/ 1373779 h 1428812"/>
                <a:gd name="connsiteX1" fmla="*/ 1943100 w 6584467"/>
                <a:gd name="connsiteY1" fmla="*/ 1212912 h 1428812"/>
                <a:gd name="connsiteX2" fmla="*/ 3150708 w 6584467"/>
                <a:gd name="connsiteY2" fmla="*/ 148229 h 1428812"/>
                <a:gd name="connsiteX3" fmla="*/ 4107752 w 6584467"/>
                <a:gd name="connsiteY3" fmla="*/ 323540 h 1428812"/>
                <a:gd name="connsiteX4" fmla="*/ 5187950 w 6584467"/>
                <a:gd name="connsiteY4" fmla="*/ 1111312 h 1428812"/>
                <a:gd name="connsiteX5" fmla="*/ 6584467 w 6584467"/>
                <a:gd name="connsiteY5" fmla="*/ 1146115 h 1428812"/>
                <a:gd name="connsiteX0" fmla="*/ 0 w 6584467"/>
                <a:gd name="connsiteY0" fmla="*/ 1373779 h 1428812"/>
                <a:gd name="connsiteX1" fmla="*/ 1943100 w 6584467"/>
                <a:gd name="connsiteY1" fmla="*/ 1212912 h 1428812"/>
                <a:gd name="connsiteX2" fmla="*/ 3150708 w 6584467"/>
                <a:gd name="connsiteY2" fmla="*/ 148229 h 1428812"/>
                <a:gd name="connsiteX3" fmla="*/ 4107752 w 6584467"/>
                <a:gd name="connsiteY3" fmla="*/ 323540 h 1428812"/>
                <a:gd name="connsiteX4" fmla="*/ 5187950 w 6584467"/>
                <a:gd name="connsiteY4" fmla="*/ 1111312 h 1428812"/>
                <a:gd name="connsiteX5" fmla="*/ 6584467 w 6584467"/>
                <a:gd name="connsiteY5" fmla="*/ 1146115 h 1428812"/>
                <a:gd name="connsiteX0" fmla="*/ 0 w 6584467"/>
                <a:gd name="connsiteY0" fmla="*/ 1368954 h 1423987"/>
                <a:gd name="connsiteX1" fmla="*/ 1943100 w 6584467"/>
                <a:gd name="connsiteY1" fmla="*/ 1208087 h 1423987"/>
                <a:gd name="connsiteX2" fmla="*/ 3150708 w 6584467"/>
                <a:gd name="connsiteY2" fmla="*/ 143404 h 1423987"/>
                <a:gd name="connsiteX3" fmla="*/ 4081179 w 6584467"/>
                <a:gd name="connsiteY3" fmla="*/ 347662 h 1423987"/>
                <a:gd name="connsiteX4" fmla="*/ 5187950 w 6584467"/>
                <a:gd name="connsiteY4" fmla="*/ 1106487 h 1423987"/>
                <a:gd name="connsiteX5" fmla="*/ 6584467 w 6584467"/>
                <a:gd name="connsiteY5" fmla="*/ 1141290 h 1423987"/>
                <a:gd name="connsiteX0" fmla="*/ 0 w 6584467"/>
                <a:gd name="connsiteY0" fmla="*/ 1368160 h 1423193"/>
                <a:gd name="connsiteX1" fmla="*/ 1943100 w 6584467"/>
                <a:gd name="connsiteY1" fmla="*/ 1207293 h 1423193"/>
                <a:gd name="connsiteX2" fmla="*/ 3150708 w 6584467"/>
                <a:gd name="connsiteY2" fmla="*/ 142610 h 1423193"/>
                <a:gd name="connsiteX3" fmla="*/ 4063095 w 6584467"/>
                <a:gd name="connsiteY3" fmla="*/ 351631 h 1423193"/>
                <a:gd name="connsiteX4" fmla="*/ 5187950 w 6584467"/>
                <a:gd name="connsiteY4" fmla="*/ 1105693 h 1423193"/>
                <a:gd name="connsiteX5" fmla="*/ 6584467 w 6584467"/>
                <a:gd name="connsiteY5" fmla="*/ 1140496 h 1423193"/>
                <a:gd name="connsiteX0" fmla="*/ 0 w 6584467"/>
                <a:gd name="connsiteY0" fmla="*/ 1368160 h 1423193"/>
                <a:gd name="connsiteX1" fmla="*/ 1943100 w 6584467"/>
                <a:gd name="connsiteY1" fmla="*/ 1207293 h 1423193"/>
                <a:gd name="connsiteX2" fmla="*/ 3150708 w 6584467"/>
                <a:gd name="connsiteY2" fmla="*/ 142610 h 1423193"/>
                <a:gd name="connsiteX3" fmla="*/ 4063095 w 6584467"/>
                <a:gd name="connsiteY3" fmla="*/ 351631 h 1423193"/>
                <a:gd name="connsiteX4" fmla="*/ 5187950 w 6584467"/>
                <a:gd name="connsiteY4" fmla="*/ 1105693 h 1423193"/>
                <a:gd name="connsiteX5" fmla="*/ 6584467 w 6584467"/>
                <a:gd name="connsiteY5" fmla="*/ 1140496 h 142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84467" h="1423193">
                  <a:moveTo>
                    <a:pt x="0" y="1368160"/>
                  </a:moveTo>
                  <a:cubicBezTo>
                    <a:pt x="695325" y="1423193"/>
                    <a:pt x="1417982" y="1411551"/>
                    <a:pt x="1943100" y="1207293"/>
                  </a:cubicBezTo>
                  <a:cubicBezTo>
                    <a:pt x="2468218" y="1003035"/>
                    <a:pt x="2797376" y="285220"/>
                    <a:pt x="3150708" y="142610"/>
                  </a:cubicBezTo>
                  <a:cubicBezTo>
                    <a:pt x="3504040" y="0"/>
                    <a:pt x="3763337" y="132814"/>
                    <a:pt x="4063095" y="351631"/>
                  </a:cubicBezTo>
                  <a:cubicBezTo>
                    <a:pt x="4365015" y="606817"/>
                    <a:pt x="4767721" y="974216"/>
                    <a:pt x="5187950" y="1105693"/>
                  </a:cubicBezTo>
                  <a:cubicBezTo>
                    <a:pt x="5608179" y="1237171"/>
                    <a:pt x="6352692" y="1130971"/>
                    <a:pt x="6584467" y="1140496"/>
                  </a:cubicBezTo>
                </a:path>
              </a:pathLst>
            </a:cu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2" name="Right Arrow 9"/>
            <p:cNvSpPr/>
            <p:nvPr/>
          </p:nvSpPr>
          <p:spPr>
            <a:xfrm>
              <a:off x="5054026" y="2368291"/>
              <a:ext cx="1127047" cy="390794"/>
            </a:xfrm>
            <a:prstGeom prst="rightArrow">
              <a:avLst>
                <a:gd name="adj1" fmla="val 100000"/>
                <a:gd name="adj2" fmla="val 32242"/>
              </a:avLst>
            </a:prstGeom>
            <a:solidFill>
              <a:srgbClr val="858274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en-US" sz="105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Usage</a:t>
              </a:r>
            </a:p>
          </p:txBody>
        </p:sp>
        <p:sp>
          <p:nvSpPr>
            <p:cNvPr id="123" name="Right Arrow 8"/>
            <p:cNvSpPr/>
            <p:nvPr/>
          </p:nvSpPr>
          <p:spPr>
            <a:xfrm>
              <a:off x="4049373" y="2368291"/>
              <a:ext cx="1127047" cy="390794"/>
            </a:xfrm>
            <a:prstGeom prst="rightArrow">
              <a:avLst>
                <a:gd name="adj1" fmla="val 100000"/>
                <a:gd name="adj2" fmla="val 32242"/>
              </a:avLst>
            </a:prstGeom>
            <a:solidFill>
              <a:srgbClr val="ADABA1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en-US" sz="105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Closings</a:t>
              </a:r>
            </a:p>
          </p:txBody>
        </p:sp>
        <p:sp>
          <p:nvSpPr>
            <p:cNvPr id="124" name="Right Arrow 7"/>
            <p:cNvSpPr/>
            <p:nvPr/>
          </p:nvSpPr>
          <p:spPr>
            <a:xfrm>
              <a:off x="3044720" y="2368291"/>
              <a:ext cx="1127047" cy="390794"/>
            </a:xfrm>
            <a:prstGeom prst="rightArrow">
              <a:avLst>
                <a:gd name="adj1" fmla="val 100000"/>
                <a:gd name="adj2" fmla="val 32242"/>
              </a:avLst>
            </a:prstGeom>
            <a:solidFill>
              <a:srgbClr val="ADABA1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en-US" sz="105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Counseling </a:t>
              </a:r>
            </a:p>
          </p:txBody>
        </p:sp>
        <p:sp>
          <p:nvSpPr>
            <p:cNvPr id="125" name="Right Arrow 5"/>
            <p:cNvSpPr/>
            <p:nvPr/>
          </p:nvSpPr>
          <p:spPr>
            <a:xfrm>
              <a:off x="2040058" y="2368291"/>
              <a:ext cx="1127047" cy="390794"/>
            </a:xfrm>
            <a:prstGeom prst="rightArrow">
              <a:avLst>
                <a:gd name="adj1" fmla="val 100000"/>
                <a:gd name="adj2" fmla="val 32242"/>
              </a:avLst>
            </a:prstGeom>
            <a:solidFill>
              <a:srgbClr val="ADABA1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en-US" sz="105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Initiation</a:t>
              </a:r>
            </a:p>
          </p:txBody>
        </p:sp>
        <p:sp>
          <p:nvSpPr>
            <p:cNvPr id="126" name="Right Arrow 4"/>
            <p:cNvSpPr/>
            <p:nvPr/>
          </p:nvSpPr>
          <p:spPr>
            <a:xfrm>
              <a:off x="1170129" y="2368291"/>
              <a:ext cx="963267" cy="390794"/>
            </a:xfrm>
            <a:prstGeom prst="rightArrow">
              <a:avLst>
                <a:gd name="adj1" fmla="val 100000"/>
                <a:gd name="adj2" fmla="val 25583"/>
              </a:avLst>
            </a:prstGeom>
            <a:solidFill>
              <a:srgbClr val="FFFFFF">
                <a:lumMod val="85000"/>
              </a:srgbClr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Customer Demand</a:t>
              </a:r>
            </a:p>
          </p:txBody>
        </p:sp>
        <p:cxnSp>
          <p:nvCxnSpPr>
            <p:cNvPr id="127" name="Straight Connector 11"/>
            <p:cNvCxnSpPr/>
            <p:nvPr/>
          </p:nvCxnSpPr>
          <p:spPr>
            <a:xfrm>
              <a:off x="1146597" y="4191410"/>
              <a:ext cx="5001478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pic>
          <p:nvPicPr>
            <p:cNvPr id="128" name="Picture 23" descr="http://de.colourbox.com/preview/2483629-490370-.jpg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7836" y="3408403"/>
              <a:ext cx="392060" cy="335701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29" name="Picture 27" descr="http://blogs.taz.de/arabesken/files/2010/06/fragezeichen1.jpg"/>
            <p:cNvPicPr>
              <a:picLocks noChangeAspect="1" noChangeArrowheads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0226" y="3425292"/>
              <a:ext cx="256512" cy="332403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30" name="Picture 29" descr="Frau telefoniert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6461" y="3388576"/>
              <a:ext cx="331195" cy="375354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131" name="TextBox 130"/>
            <p:cNvSpPr txBox="1"/>
            <p:nvPr/>
          </p:nvSpPr>
          <p:spPr>
            <a:xfrm>
              <a:off x="2114761" y="3827575"/>
              <a:ext cx="868919" cy="236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인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담 직원과 접촉  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1163042" y="3827575"/>
              <a:ext cx="884534" cy="236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적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매 </a:t>
              </a:r>
              <a:r>
                <a:rPr lang="ko-KR" altLang="en-US" sz="10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욕구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33" name="Picture 21" descr="http://presse.talkabout.de/uploads/tx_txBildmaterial/talk360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9277" y="3417423"/>
              <a:ext cx="476491" cy="317660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134" name="TextBox 133"/>
            <p:cNvSpPr txBox="1"/>
            <p:nvPr/>
          </p:nvSpPr>
          <p:spPr>
            <a:xfrm>
              <a:off x="3067198" y="3827575"/>
              <a:ext cx="960598" cy="35549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상담 및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가입 독려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Push)</a:t>
              </a:r>
              <a:endParaRPr 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4135808" y="3827575"/>
              <a:ext cx="868919" cy="236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 신청서 작성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36" name="Picture 35" descr="http://media.kunst-fuer-alle.de/img/37/m/37_52149~leute-kunden-vor-schalter-bankschalter-sparkasse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7493" y="3405787"/>
              <a:ext cx="339986" cy="340933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137" name="TextBox 136"/>
            <p:cNvSpPr txBox="1"/>
            <p:nvPr/>
          </p:nvSpPr>
          <p:spPr>
            <a:xfrm>
              <a:off x="5103093" y="3827575"/>
              <a:ext cx="868919" cy="35549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인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 중심 커뮤니케이션</a:t>
              </a: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8" name="Straight Arrow Connector 169"/>
            <p:cNvCxnSpPr/>
            <p:nvPr/>
          </p:nvCxnSpPr>
          <p:spPr>
            <a:xfrm>
              <a:off x="1723654" y="3605060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39" name="Straight Arrow Connector 170"/>
            <p:cNvCxnSpPr/>
            <p:nvPr/>
          </p:nvCxnSpPr>
          <p:spPr>
            <a:xfrm>
              <a:off x="2740697" y="3605060"/>
              <a:ext cx="456129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40" name="Straight Arrow Connector 172"/>
            <p:cNvCxnSpPr/>
            <p:nvPr/>
          </p:nvCxnSpPr>
          <p:spPr>
            <a:xfrm>
              <a:off x="3832202" y="3605060"/>
              <a:ext cx="456129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41" name="Straight Arrow Connector 173"/>
            <p:cNvCxnSpPr/>
            <p:nvPr/>
          </p:nvCxnSpPr>
          <p:spPr>
            <a:xfrm>
              <a:off x="4767419" y="3605060"/>
              <a:ext cx="456129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pic>
          <p:nvPicPr>
            <p:cNvPr id="142" name="Picture 3" descr="http://www.b2b-grosshaendleradressen.de/blog/wp-content/uploads/2011/11/Facebook-Like-Button-big.jp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3879" y="4793261"/>
              <a:ext cx="225717" cy="109355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3" name="Picture 5" descr="http://simplyzesty.com/wp-content/uploads/2011/08/Twitter-Logo-300x293.jp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423" y="4405736"/>
              <a:ext cx="150345" cy="146837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4" name="Picture 7" descr="http://www.reich-mit-plan.de/wp-content/uploads/2010/01/Logo_Sharewise_frei.gif"/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2085" y="4906613"/>
              <a:ext cx="512614" cy="183224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5" name="Picture 9" descr="http://www.indianagrain.com/media/images/blog_entries/2084.jpg"/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6910" y="5143776"/>
              <a:ext cx="406469" cy="14470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46" name="Picture 15" descr="http://simplyzesty.com/wp-content/uploads/2011/09/facebook-logo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531823" y="4616336"/>
              <a:ext cx="169831" cy="132503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147" name="TextBox 146"/>
            <p:cNvSpPr txBox="1"/>
            <p:nvPr/>
          </p:nvSpPr>
          <p:spPr>
            <a:xfrm>
              <a:off x="1146597" y="5494969"/>
              <a:ext cx="972987" cy="355495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에 의한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매욕구 자극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sz="1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Pull)</a:t>
              </a:r>
            </a:p>
          </p:txBody>
        </p:sp>
        <p:cxnSp>
          <p:nvCxnSpPr>
            <p:cNvPr id="148" name="Shape 71"/>
            <p:cNvCxnSpPr/>
            <p:nvPr/>
          </p:nvCxnSpPr>
          <p:spPr>
            <a:xfrm rot="5400000" flipH="1" flipV="1">
              <a:off x="1082644" y="5157511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49" name="Shape 72"/>
            <p:cNvCxnSpPr/>
            <p:nvPr/>
          </p:nvCxnSpPr>
          <p:spPr>
            <a:xfrm rot="5400000" flipH="1" flipV="1">
              <a:off x="1205558" y="5231214"/>
              <a:ext cx="121931" cy="77453"/>
            </a:xfrm>
            <a:prstGeom prst="bentConnector3">
              <a:avLst>
                <a:gd name="adj1" fmla="val 103165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50" name="Shape 73"/>
            <p:cNvCxnSpPr/>
            <p:nvPr/>
          </p:nvCxnSpPr>
          <p:spPr>
            <a:xfrm rot="5400000" flipH="1" flipV="1">
              <a:off x="1082644" y="4985782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51" name="Shape 74"/>
            <p:cNvCxnSpPr/>
            <p:nvPr/>
          </p:nvCxnSpPr>
          <p:spPr>
            <a:xfrm rot="5400000" flipH="1" flipV="1">
              <a:off x="1082644" y="4789955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52" name="Shape 75"/>
            <p:cNvCxnSpPr/>
            <p:nvPr/>
          </p:nvCxnSpPr>
          <p:spPr>
            <a:xfrm rot="5400000" flipH="1" flipV="1">
              <a:off x="1082644" y="4593925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53" name="Shape 76"/>
            <p:cNvCxnSpPr/>
            <p:nvPr/>
          </p:nvCxnSpPr>
          <p:spPr>
            <a:xfrm rot="16200000" flipH="1">
              <a:off x="1872410" y="5230448"/>
              <a:ext cx="131315" cy="102671"/>
            </a:xfrm>
            <a:prstGeom prst="bentConnector3">
              <a:avLst>
                <a:gd name="adj1" fmla="val -2658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54" name="Shape 81"/>
            <p:cNvCxnSpPr/>
            <p:nvPr/>
          </p:nvCxnSpPr>
          <p:spPr>
            <a:xfrm rot="16200000" flipH="1">
              <a:off x="1834351" y="5085319"/>
              <a:ext cx="239655" cy="67225"/>
            </a:xfrm>
            <a:prstGeom prst="bentConnector3">
              <a:avLst>
                <a:gd name="adj1" fmla="val 1311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55" name="Shape 82"/>
            <p:cNvCxnSpPr/>
            <p:nvPr/>
          </p:nvCxnSpPr>
          <p:spPr>
            <a:xfrm>
              <a:off x="1923620" y="4822241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56" name="Shape 83"/>
            <p:cNvCxnSpPr/>
            <p:nvPr/>
          </p:nvCxnSpPr>
          <p:spPr>
            <a:xfrm>
              <a:off x="1923620" y="4675251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57" name="Shape 84"/>
            <p:cNvCxnSpPr/>
            <p:nvPr/>
          </p:nvCxnSpPr>
          <p:spPr>
            <a:xfrm>
              <a:off x="1923620" y="4428200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58" name="Straight Arrow Connector 175"/>
            <p:cNvCxnSpPr/>
            <p:nvPr/>
          </p:nvCxnSpPr>
          <p:spPr>
            <a:xfrm>
              <a:off x="1333494" y="5411895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59" name="TextBox 158"/>
            <p:cNvSpPr txBox="1"/>
            <p:nvPr/>
          </p:nvSpPr>
          <p:spPr>
            <a:xfrm>
              <a:off x="3047525" y="5487809"/>
              <a:ext cx="1051211" cy="35549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매 결정 이후 사후 상담을 통한 점검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60" name="Picture 21" descr="http://presse.talkabout.de/uploads/tx_txBildmaterial/talk360.jp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672" y="4619859"/>
              <a:ext cx="357749" cy="238499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61" name="Picture 25" descr="http://imc.rcc.edu/Images/VConf_Monitor2.gif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557" y="4901712"/>
              <a:ext cx="331199" cy="277857"/>
            </a:xfrm>
            <a:prstGeom prst="rect">
              <a:avLst/>
            </a:prstGeom>
            <a:ln>
              <a:noFill/>
            </a:ln>
            <a:effectLst/>
          </p:spPr>
        </p:pic>
        <p:cxnSp>
          <p:nvCxnSpPr>
            <p:cNvPr id="162" name="Shape 118"/>
            <p:cNvCxnSpPr/>
            <p:nvPr/>
          </p:nvCxnSpPr>
          <p:spPr>
            <a:xfrm rot="16200000" flipH="1">
              <a:off x="3706936" y="5173381"/>
              <a:ext cx="351808" cy="67227"/>
            </a:xfrm>
            <a:prstGeom prst="bentConnector3">
              <a:avLst>
                <a:gd name="adj1" fmla="val -673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63" name="Shape 120"/>
            <p:cNvCxnSpPr/>
            <p:nvPr/>
          </p:nvCxnSpPr>
          <p:spPr>
            <a:xfrm>
              <a:off x="3852282" y="4699925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64" name="Straight Arrow Connector 177"/>
            <p:cNvCxnSpPr/>
            <p:nvPr/>
          </p:nvCxnSpPr>
          <p:spPr>
            <a:xfrm>
              <a:off x="3304965" y="5411895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65" name="TextBox 164"/>
            <p:cNvSpPr txBox="1"/>
            <p:nvPr/>
          </p:nvSpPr>
          <p:spPr>
            <a:xfrm>
              <a:off x="4108151" y="5487809"/>
              <a:ext cx="955646" cy="236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등을 활용한 카드 청약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66" name="Picture 31" descr="http://www.ppchero.com/wp-content/uploads/2011/12/click_mouse.gif"/>
            <p:cNvPicPr>
              <a:picLocks noChangeAspect="1" noChangeArrowheads="1"/>
            </p:cNvPicPr>
            <p:nvPr/>
          </p:nvPicPr>
          <p:blipFill>
            <a:blip r:embed="rId14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0933" y="4742799"/>
              <a:ext cx="249363" cy="256725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67" name="Picture 33" descr="http://www.it-news-world.de/news-images/7454_0_1.jpg"/>
            <p:cNvPicPr>
              <a:picLocks noChangeAspect="1" noChangeArrowheads="1"/>
            </p:cNvPicPr>
            <p:nvPr/>
          </p:nvPicPr>
          <p:blipFill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4535" y="5052754"/>
              <a:ext cx="253439" cy="189446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68" name="Picture 23" descr="http://de.colourbox.com/preview/2483629-490370-.jpg"/>
            <p:cNvPicPr>
              <a:picLocks noChangeAspect="1" noChangeArrowheads="1"/>
            </p:cNvPicPr>
            <p:nvPr/>
          </p:nvPicPr>
          <p:blipFill>
            <a:blip r:embed="rId1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0511" y="4459785"/>
              <a:ext cx="226367" cy="193827"/>
            </a:xfrm>
            <a:prstGeom prst="rect">
              <a:avLst/>
            </a:prstGeom>
            <a:ln>
              <a:noFill/>
            </a:ln>
            <a:effectLst/>
          </p:spPr>
        </p:pic>
        <p:cxnSp>
          <p:nvCxnSpPr>
            <p:cNvPr id="169" name="Shape 110"/>
            <p:cNvCxnSpPr/>
            <p:nvPr/>
          </p:nvCxnSpPr>
          <p:spPr>
            <a:xfrm rot="5400000" flipH="1" flipV="1">
              <a:off x="4150294" y="5206417"/>
              <a:ext cx="220534" cy="77453"/>
            </a:xfrm>
            <a:prstGeom prst="bentConnector3">
              <a:avLst>
                <a:gd name="adj1" fmla="val 97767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70" name="Shape 126"/>
            <p:cNvCxnSpPr/>
            <p:nvPr/>
          </p:nvCxnSpPr>
          <p:spPr>
            <a:xfrm rot="5400000" flipH="1" flipV="1">
              <a:off x="4076681" y="5042783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71" name="Shape 118"/>
            <p:cNvCxnSpPr/>
            <p:nvPr/>
          </p:nvCxnSpPr>
          <p:spPr>
            <a:xfrm rot="16200000" flipH="1">
              <a:off x="4771538" y="5225301"/>
              <a:ext cx="247968" cy="67227"/>
            </a:xfrm>
            <a:prstGeom prst="bentConnector3">
              <a:avLst>
                <a:gd name="adj1" fmla="val 329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72" name="Shape 128"/>
            <p:cNvCxnSpPr/>
            <p:nvPr/>
          </p:nvCxnSpPr>
          <p:spPr>
            <a:xfrm>
              <a:off x="4864965" y="4871451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73" name="Shape 129"/>
            <p:cNvCxnSpPr/>
            <p:nvPr/>
          </p:nvCxnSpPr>
          <p:spPr>
            <a:xfrm rot="5400000" flipH="1" flipV="1">
              <a:off x="4076681" y="4715742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74" name="Shape 130"/>
            <p:cNvCxnSpPr/>
            <p:nvPr/>
          </p:nvCxnSpPr>
          <p:spPr>
            <a:xfrm>
              <a:off x="4864965" y="4552200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75" name="Straight Arrow Connector 178"/>
            <p:cNvCxnSpPr/>
            <p:nvPr/>
          </p:nvCxnSpPr>
          <p:spPr>
            <a:xfrm>
              <a:off x="4267226" y="5411895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76" name="TextBox 175"/>
            <p:cNvSpPr txBox="1"/>
            <p:nvPr/>
          </p:nvSpPr>
          <p:spPr>
            <a:xfrm>
              <a:off x="5107916" y="5487809"/>
              <a:ext cx="955646" cy="236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다양한 채널 기반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편리한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mm.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77" name="Picture 3" descr="http://www.b2b-grosshaendleradressen.de/blog/wp-content/uploads/2011/11/Facebook-Like-Button-big.jpg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6172" y="5107750"/>
              <a:ext cx="272104" cy="13183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78" name="Picture 5" descr="http://simplyzesty.com/wp-content/uploads/2011/08/Twitter-Logo-300x293.jpg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9329" y="4636983"/>
              <a:ext cx="157201" cy="153533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79" name="Picture 15" descr="http://simplyzesty.com/wp-content/uploads/2011/09/facebook-logo.png"/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447033" y="4871887"/>
              <a:ext cx="180558" cy="158551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180" name="Picture 19" descr="http://www.psdgraphics.com/wp-content/uploads/2010/05/login-box-html.jpg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4245" y="4335052"/>
              <a:ext cx="332178" cy="267089"/>
            </a:xfrm>
            <a:prstGeom prst="rect">
              <a:avLst/>
            </a:prstGeom>
            <a:ln>
              <a:noFill/>
            </a:ln>
            <a:effectLst/>
          </p:spPr>
        </p:pic>
        <p:cxnSp>
          <p:nvCxnSpPr>
            <p:cNvPr id="181" name="Shape 110"/>
            <p:cNvCxnSpPr/>
            <p:nvPr/>
          </p:nvCxnSpPr>
          <p:spPr>
            <a:xfrm rot="5400000" flipH="1" flipV="1">
              <a:off x="5147611" y="5225485"/>
              <a:ext cx="220533" cy="88325"/>
            </a:xfrm>
            <a:prstGeom prst="bentConnector3">
              <a:avLst>
                <a:gd name="adj1" fmla="val 99972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82" name="Shape 132"/>
            <p:cNvCxnSpPr/>
            <p:nvPr/>
          </p:nvCxnSpPr>
          <p:spPr>
            <a:xfrm rot="5400000" flipH="1" flipV="1">
              <a:off x="5069217" y="4863263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83" name="Shape 118"/>
            <p:cNvCxnSpPr/>
            <p:nvPr/>
          </p:nvCxnSpPr>
          <p:spPr>
            <a:xfrm rot="16200000" flipH="1">
              <a:off x="5781571" y="5239812"/>
              <a:ext cx="212974" cy="67227"/>
            </a:xfrm>
            <a:prstGeom prst="bentConnector3">
              <a:avLst>
                <a:gd name="adj1" fmla="val 538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84" name="Shape 134"/>
            <p:cNvCxnSpPr/>
            <p:nvPr/>
          </p:nvCxnSpPr>
          <p:spPr>
            <a:xfrm>
              <a:off x="5857501" y="4699722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85" name="Shape 135"/>
            <p:cNvCxnSpPr/>
            <p:nvPr/>
          </p:nvCxnSpPr>
          <p:spPr>
            <a:xfrm rot="5400000" flipH="1" flipV="1">
              <a:off x="5069217" y="4618429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86" name="Shape 136"/>
            <p:cNvCxnSpPr/>
            <p:nvPr/>
          </p:nvCxnSpPr>
          <p:spPr>
            <a:xfrm>
              <a:off x="5857501" y="4454685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87" name="Shape 110"/>
            <p:cNvCxnSpPr/>
            <p:nvPr/>
          </p:nvCxnSpPr>
          <p:spPr>
            <a:xfrm rot="5400000" flipH="1" flipV="1">
              <a:off x="5105930" y="5047159"/>
              <a:ext cx="294012" cy="77453"/>
            </a:xfrm>
            <a:prstGeom prst="bentConnector3">
              <a:avLst>
                <a:gd name="adj1" fmla="val 100557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88" name="Shape 138"/>
            <p:cNvCxnSpPr/>
            <p:nvPr/>
          </p:nvCxnSpPr>
          <p:spPr>
            <a:xfrm>
              <a:off x="5857501" y="4920458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189" name="Straight Arrow Connector 179"/>
            <p:cNvCxnSpPr/>
            <p:nvPr/>
          </p:nvCxnSpPr>
          <p:spPr>
            <a:xfrm>
              <a:off x="5288302" y="5411895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90" name="TextBox 189"/>
            <p:cNvSpPr txBox="1"/>
            <p:nvPr/>
          </p:nvSpPr>
          <p:spPr>
            <a:xfrm>
              <a:off x="3816974" y="2834547"/>
              <a:ext cx="537775" cy="11849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매 결정</a:t>
              </a:r>
              <a:endParaRPr lang="en-US" sz="10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6368056" y="2932540"/>
              <a:ext cx="2737318" cy="855822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90000" indent="-90000" eaLnBrk="0" hangingPunct="0">
                <a:buClr>
                  <a:schemeClr val="bg2"/>
                </a:buClr>
                <a:buFont typeface="Arial" pitchFamily="34" charset="0"/>
                <a:buChar char="•"/>
                <a:defRPr sz="1200"/>
              </a:lvl1pPr>
            </a:lstStyle>
            <a:p>
              <a:pPr fontAlgn="auto" latinLnBrk="0">
                <a:spcBef>
                  <a:spcPts val="300"/>
                </a:spcBef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부분 </a:t>
              </a:r>
              <a:r>
                <a:rPr lang="en-US" altLang="ko-KR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적인 구매 프로세스 형태</a:t>
              </a:r>
              <a:endPara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fontAlgn="auto" latinLnBrk="0">
                <a:spcBef>
                  <a:spcPts val="300"/>
                </a:spcBef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상호작용은 지점 직원 및 모집인의 상담</a:t>
              </a:r>
              <a:r>
                <a:rPr lang="en-US" altLang="ko-KR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중심</a:t>
              </a:r>
              <a:endPara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fontAlgn="auto" latinLnBrk="0">
                <a:spcBef>
                  <a:spcPts val="300"/>
                </a:spcBef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인</a:t>
              </a:r>
              <a:r>
                <a:rPr lang="en-US" altLang="ko-KR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직원이 고객에게 구매를 독려하는 </a:t>
              </a:r>
              <a:r>
                <a:rPr lang="en-US" altLang="ko-KR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sh-approach</a:t>
              </a:r>
              <a:endParaRPr lang="en-US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2" name="Isosceles Triangle 185"/>
            <p:cNvSpPr/>
            <p:nvPr/>
          </p:nvSpPr>
          <p:spPr>
            <a:xfrm rot="10800000">
              <a:off x="6908117" y="3928902"/>
              <a:ext cx="1476164" cy="186925"/>
            </a:xfrm>
            <a:prstGeom prst="triangle">
              <a:avLst/>
            </a:prstGeom>
            <a:solidFill>
              <a:srgbClr val="C0C0C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n-US" b="0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2698277" y="2927968"/>
              <a:ext cx="610406" cy="26333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en-US" sz="10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ustomer </a:t>
              </a:r>
            </a:p>
            <a:p>
              <a:pPr fontAlgn="auto" latinLnBrk="0"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en-US" sz="10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ialogue</a:t>
              </a:r>
            </a:p>
          </p:txBody>
        </p:sp>
        <p:sp>
          <p:nvSpPr>
            <p:cNvPr id="194" name="직사각형 193"/>
            <p:cNvSpPr/>
            <p:nvPr/>
          </p:nvSpPr>
          <p:spPr>
            <a:xfrm>
              <a:off x="463400" y="2781203"/>
              <a:ext cx="648000" cy="137877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거</a:t>
              </a:r>
              <a:endPara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5" name="직사각형 194"/>
            <p:cNvSpPr/>
            <p:nvPr/>
          </p:nvSpPr>
          <p:spPr>
            <a:xfrm>
              <a:off x="463400" y="4222844"/>
              <a:ext cx="648000" cy="1728546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오늘날</a:t>
              </a:r>
              <a:endPara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7" name="Oval 193"/>
            <p:cNvSpPr/>
            <p:nvPr/>
          </p:nvSpPr>
          <p:spPr>
            <a:xfrm>
              <a:off x="3614235" y="2862087"/>
              <a:ext cx="152625" cy="152625"/>
            </a:xfrm>
            <a:prstGeom prst="ellipse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n-US" b="0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cxnSp>
          <p:nvCxnSpPr>
            <p:cNvPr id="198" name="Shape 110"/>
            <p:cNvCxnSpPr/>
            <p:nvPr/>
          </p:nvCxnSpPr>
          <p:spPr>
            <a:xfrm rot="5400000" flipH="1" flipV="1">
              <a:off x="3088294" y="5132595"/>
              <a:ext cx="319169" cy="77453"/>
            </a:xfrm>
            <a:prstGeom prst="bentConnector3">
              <a:avLst>
                <a:gd name="adj1" fmla="val 99254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199" name="Shape 112"/>
            <p:cNvCxnSpPr/>
            <p:nvPr/>
          </p:nvCxnSpPr>
          <p:spPr>
            <a:xfrm rot="5400000" flipH="1" flipV="1">
              <a:off x="3063998" y="4858903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pic>
          <p:nvPicPr>
            <p:cNvPr id="200" name="Picture 10"/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0256" y="4454908"/>
              <a:ext cx="138519" cy="198937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1" name="Picture 19" descr="CHECK24.de">
              <a:hlinkClick r:id="rId22" tooltip="CHECK24.de"/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5724" y="4756112"/>
              <a:ext cx="402786" cy="128838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2" name="Picture 11"/>
            <p:cNvPicPr>
              <a:picLocks noChangeAspect="1" noChangeArrowheads="1"/>
            </p:cNvPicPr>
            <p:nvPr/>
          </p:nvPicPr>
          <p:blipFill>
            <a:blip r:embed="rId2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4192" y="4295416"/>
              <a:ext cx="425757" cy="139339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3" name="Picture 12"/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8701" y="4994940"/>
              <a:ext cx="521632" cy="72305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4" name="Picture 14" descr="http://ipad-deluxe.de/wp-content/uploads/2012/02/blog.jpg"/>
            <p:cNvPicPr>
              <a:picLocks noChangeAspect="1" noChangeArrowheads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350" y="5088191"/>
              <a:ext cx="213359" cy="15774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5" name="Picture 16" descr="http://i2.cdn.turner.com/money/.element/img/1.0/sections/mag/fortune/fortunefastestgrowing/2008/snapshots/morningstar.jpg"/>
            <p:cNvPicPr>
              <a:picLocks noChangeAspect="1" noChangeArrowheads="1"/>
            </p:cNvPicPr>
            <p:nvPr/>
          </p:nvPicPr>
          <p:blipFill>
            <a:blip r:embed="rId2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5183" y="4851555"/>
              <a:ext cx="414690" cy="126774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06" name="Picture 17"/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9226" y="4682975"/>
              <a:ext cx="357148" cy="62691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207" name="TextBox 206"/>
            <p:cNvSpPr txBox="1"/>
            <p:nvPr/>
          </p:nvSpPr>
          <p:spPr>
            <a:xfrm>
              <a:off x="2168995" y="5487809"/>
              <a:ext cx="868919" cy="355495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능동적 검색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비교 기반 구매 결정</a:t>
              </a:r>
              <a:endParaRPr 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08" name="Shape 88"/>
            <p:cNvCxnSpPr/>
            <p:nvPr/>
          </p:nvCxnSpPr>
          <p:spPr>
            <a:xfrm rot="5400000" flipH="1" flipV="1">
              <a:off x="2085229" y="5144613"/>
              <a:ext cx="335083" cy="70572"/>
            </a:xfrm>
            <a:prstGeom prst="bentConnector3">
              <a:avLst>
                <a:gd name="adj1" fmla="val 100300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09" name="Shape 89"/>
            <p:cNvCxnSpPr/>
            <p:nvPr/>
          </p:nvCxnSpPr>
          <p:spPr>
            <a:xfrm rot="5400000" flipH="1" flipV="1">
              <a:off x="2074407" y="5059496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0" name="Shape 90"/>
            <p:cNvCxnSpPr/>
            <p:nvPr/>
          </p:nvCxnSpPr>
          <p:spPr>
            <a:xfrm rot="5400000" flipH="1" flipV="1">
              <a:off x="2074407" y="4863263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1" name="Shape 91"/>
            <p:cNvCxnSpPr/>
            <p:nvPr/>
          </p:nvCxnSpPr>
          <p:spPr>
            <a:xfrm rot="5400000" flipH="1" flipV="1">
              <a:off x="2074407" y="4691737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2" name="Shape 92"/>
            <p:cNvCxnSpPr/>
            <p:nvPr/>
          </p:nvCxnSpPr>
          <p:spPr>
            <a:xfrm rot="5400000" flipH="1" flipV="1">
              <a:off x="2074407" y="4495707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3" name="Shape 93"/>
            <p:cNvCxnSpPr/>
            <p:nvPr/>
          </p:nvCxnSpPr>
          <p:spPr>
            <a:xfrm rot="5400000" flipH="1" flipV="1">
              <a:off x="2166347" y="5216775"/>
              <a:ext cx="183879" cy="77453"/>
            </a:xfrm>
            <a:prstGeom prst="bentConnector3">
              <a:avLst>
                <a:gd name="adj1" fmla="val 97946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4" name="Shape 96"/>
            <p:cNvCxnSpPr/>
            <p:nvPr/>
          </p:nvCxnSpPr>
          <p:spPr>
            <a:xfrm rot="5400000" flipH="1" flipV="1">
              <a:off x="2073651" y="4961278"/>
              <a:ext cx="367759" cy="77453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5" name="Shape 97"/>
            <p:cNvCxnSpPr/>
            <p:nvPr/>
          </p:nvCxnSpPr>
          <p:spPr>
            <a:xfrm rot="16200000" flipH="1">
              <a:off x="2857860" y="5146934"/>
              <a:ext cx="299814" cy="68129"/>
            </a:xfrm>
            <a:prstGeom prst="bentConnector3">
              <a:avLst>
                <a:gd name="adj1" fmla="val 990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triangle" w="sm" len="sm"/>
            </a:ln>
            <a:effectLst/>
          </p:spPr>
        </p:cxnSp>
        <p:cxnSp>
          <p:nvCxnSpPr>
            <p:cNvPr id="216" name="Shape 98"/>
            <p:cNvCxnSpPr/>
            <p:nvPr/>
          </p:nvCxnSpPr>
          <p:spPr>
            <a:xfrm>
              <a:off x="2976799" y="4895954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17" name="Shape 99"/>
            <p:cNvCxnSpPr/>
            <p:nvPr/>
          </p:nvCxnSpPr>
          <p:spPr>
            <a:xfrm>
              <a:off x="2976799" y="4699925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18" name="Shape 100"/>
            <p:cNvCxnSpPr/>
            <p:nvPr/>
          </p:nvCxnSpPr>
          <p:spPr>
            <a:xfrm>
              <a:off x="2976799" y="4503692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19" name="Shape 101"/>
            <p:cNvCxnSpPr/>
            <p:nvPr/>
          </p:nvCxnSpPr>
          <p:spPr>
            <a:xfrm>
              <a:off x="2976799" y="4332166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20" name="Shape 102"/>
            <p:cNvCxnSpPr/>
            <p:nvPr/>
          </p:nvCxnSpPr>
          <p:spPr>
            <a:xfrm>
              <a:off x="2977619" y="4797737"/>
              <a:ext cx="61115" cy="404534"/>
            </a:xfrm>
            <a:prstGeom prst="bentConnector2">
              <a:avLst/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21" name="Shape 105"/>
            <p:cNvCxnSpPr/>
            <p:nvPr/>
          </p:nvCxnSpPr>
          <p:spPr>
            <a:xfrm rot="16200000" flipH="1">
              <a:off x="2946507" y="5186575"/>
              <a:ext cx="122519" cy="68127"/>
            </a:xfrm>
            <a:prstGeom prst="bentConnector3">
              <a:avLst>
                <a:gd name="adj1" fmla="val -5027"/>
              </a:avLst>
            </a:prstGeom>
            <a:solidFill>
              <a:srgbClr val="9B1717">
                <a:alpha val="69804"/>
              </a:srgbClr>
            </a:solidFill>
            <a:ln w="12700" cap="flat" cmpd="sng" algn="ctr">
              <a:solidFill>
                <a:srgbClr val="FFFFFF">
                  <a:lumMod val="65000"/>
                  <a:alpha val="60000"/>
                </a:srgbClr>
              </a:solidFill>
              <a:prstDash val="solid"/>
              <a:miter lim="800000"/>
              <a:headEnd type="none" w="med" len="med"/>
              <a:tailEnd type="none" w="sm" len="sm"/>
            </a:ln>
            <a:effectLst/>
          </p:spPr>
        </p:cxnSp>
        <p:cxnSp>
          <p:nvCxnSpPr>
            <p:cNvPr id="222" name="Straight Arrow Connector 176"/>
            <p:cNvCxnSpPr/>
            <p:nvPr/>
          </p:nvCxnSpPr>
          <p:spPr>
            <a:xfrm>
              <a:off x="2358262" y="5411895"/>
              <a:ext cx="608432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ADABA1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223" name="TextBox 222"/>
            <p:cNvSpPr txBox="1"/>
            <p:nvPr/>
          </p:nvSpPr>
          <p:spPr>
            <a:xfrm>
              <a:off x="6333130" y="4226333"/>
              <a:ext cx="2772243" cy="101382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108000" indent="-108000" eaLnBrk="0" hangingPunct="0">
                <a:spcBef>
                  <a:spcPts val="300"/>
                </a:spcBef>
                <a:buClr>
                  <a:schemeClr val="bg2"/>
                </a:buClr>
                <a:buFont typeface="Arial" pitchFamily="34" charset="0"/>
                <a:buChar char="•"/>
                <a:defRPr sz="1200">
                  <a:ea typeface="맑은 고딕" pitchFamily="50" charset="-127"/>
                </a:defRPr>
              </a:lvl1pPr>
            </a:lstStyle>
            <a:p>
              <a:pPr marL="90000" indent="-90000" fontAlgn="auto" latinLnBrk="0"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다양한 채널을 혼용하는 다차원적 구매 프로세스</a:t>
              </a:r>
              <a:endPara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  <a:p>
              <a:pPr marL="90000" indent="-90000" fontAlgn="auto" latinLnBrk="0"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고객이 원하는 상품에 대한 정보를 직접 수집하는 </a:t>
              </a:r>
              <a:r>
                <a:rPr lang="en-US" altLang="ko-KR" b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Pull-approach</a:t>
              </a: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 </a:t>
              </a:r>
              <a:endParaRPr lang="en-US" altLang="ko-KR" b="0" dirty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  <a:p>
              <a:pPr marL="90000" indent="-90000" fontAlgn="auto" latinLnBrk="0">
                <a:spcAft>
                  <a:spcPts val="0"/>
                </a:spcAft>
                <a:buClrTx/>
              </a:pPr>
              <a:r>
                <a:rPr lang="ko-KR" altLang="en-US" b="0" dirty="0">
                  <a:solidFill>
                    <a:srgbClr val="000000"/>
                  </a:solidFill>
                  <a:latin typeface="맑은 고딕" panose="020B0503020000020004" pitchFamily="50" charset="-127"/>
                </a:rPr>
                <a:t>과거에 비해 구매에 대한 신속한 </a:t>
              </a:r>
              <a:r>
                <a:rPr lang="ko-KR" altLang="en-US" b="0" dirty="0" smtClean="0">
                  <a:solidFill>
                    <a:srgbClr val="000000"/>
                  </a:solidFill>
                  <a:latin typeface="맑은 고딕" panose="020B0503020000020004" pitchFamily="50" charset="-127"/>
                </a:rPr>
                <a:t>의사결정</a:t>
              </a:r>
              <a:endParaRPr lang="en-US" altLang="ko-KR" b="0" dirty="0" smtClean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24" name="Oval 193"/>
            <p:cNvSpPr/>
            <p:nvPr/>
          </p:nvSpPr>
          <p:spPr>
            <a:xfrm>
              <a:off x="2839664" y="4296275"/>
              <a:ext cx="152625" cy="167888"/>
            </a:xfrm>
            <a:prstGeom prst="ellipse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</a:pPr>
              <a:endParaRPr lang="en-US" b="0" kern="0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3003580" y="4254910"/>
              <a:ext cx="537775" cy="11849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defRPr sz="1000" i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dirty="0">
                  <a:solidFill>
                    <a:srgbClr val="000000"/>
                  </a:solidFill>
                </a:rPr>
                <a:t>구매 결정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16" name="Line 75"/>
          <p:cNvSpPr>
            <a:spLocks noChangeShapeType="1"/>
          </p:cNvSpPr>
          <p:nvPr/>
        </p:nvSpPr>
        <p:spPr bwMode="auto">
          <a:xfrm>
            <a:off x="453000" y="1742723"/>
            <a:ext cx="9000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7" name="Rectangle 76"/>
          <p:cNvSpPr>
            <a:spLocks noChangeArrowheads="1"/>
          </p:cNvSpPr>
          <p:nvPr/>
        </p:nvSpPr>
        <p:spPr bwMode="auto">
          <a:xfrm>
            <a:off x="3661353" y="1414996"/>
            <a:ext cx="2770558" cy="28814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marL="88900" indent="-88900" algn="ctr" fontAlgn="auto" latinLnBrk="0">
              <a:spcBef>
                <a:spcPct val="5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 커뮤니케이션 채널 디지털化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6465168" y="5561420"/>
            <a:ext cx="28765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/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양한 </a:t>
            </a:r>
            <a:r>
              <a:rPr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디지털 채널을 활용한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널간 </a:t>
            </a:r>
            <a:r>
              <a:rPr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기적인 정보 흐름</a:t>
            </a:r>
            <a:r>
              <a:rPr lang="en-US" altLang="ko-KR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등 새로운 채널 운영 역량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endParaRPr lang="ko-KR" altLang="en-US" sz="120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399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10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2570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정보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널별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다르게 반영될 경우 메시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달력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저하 및 영업 관리상 미비점이 발생되므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정보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컨텐츠가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접점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널별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일관되게 반영되도록 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34189" y="2034868"/>
            <a:ext cx="9361545" cy="4246716"/>
            <a:chOff x="234189" y="1869139"/>
            <a:chExt cx="9361545" cy="4419150"/>
          </a:xfrm>
        </p:grpSpPr>
        <p:sp>
          <p:nvSpPr>
            <p:cNvPr id="134" name="AutoShape 6"/>
            <p:cNvSpPr>
              <a:spLocks noChangeArrowheads="1"/>
            </p:cNvSpPr>
            <p:nvPr/>
          </p:nvSpPr>
          <p:spPr bwMode="auto">
            <a:xfrm>
              <a:off x="4819558" y="2368762"/>
              <a:ext cx="360000" cy="1915183"/>
            </a:xfrm>
            <a:prstGeom prst="rightArrow">
              <a:avLst>
                <a:gd name="adj1" fmla="val 60093"/>
                <a:gd name="adj2" fmla="val 69326"/>
              </a:avLst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36000" rIns="72000" bIns="36000" anchor="ctr"/>
            <a:lstStyle/>
            <a:p>
              <a:endParaRPr kumimoji="1" lang="ko-KR" altLang="en-US" sz="15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39" name="그룹 69"/>
            <p:cNvGrpSpPr/>
            <p:nvPr/>
          </p:nvGrpSpPr>
          <p:grpSpPr>
            <a:xfrm>
              <a:off x="387323" y="2339829"/>
              <a:ext cx="4266023" cy="1944215"/>
              <a:chOff x="449993" y="2172965"/>
              <a:chExt cx="4266023" cy="2417035"/>
            </a:xfrm>
          </p:grpSpPr>
          <p:grpSp>
            <p:nvGrpSpPr>
              <p:cNvPr id="140" name="그룹 153"/>
              <p:cNvGrpSpPr/>
              <p:nvPr/>
            </p:nvGrpSpPr>
            <p:grpSpPr>
              <a:xfrm>
                <a:off x="548393" y="2172965"/>
                <a:ext cx="2964447" cy="504000"/>
                <a:chOff x="488950" y="2276872"/>
                <a:chExt cx="2775703" cy="360000"/>
              </a:xfrm>
            </p:grpSpPr>
            <p:sp>
              <p:nvSpPr>
                <p:cNvPr id="180" name="오각형 179"/>
                <p:cNvSpPr/>
                <p:nvPr/>
              </p:nvSpPr>
              <p:spPr bwMode="auto">
                <a:xfrm>
                  <a:off x="488950" y="2276872"/>
                  <a:ext cx="900000" cy="360000"/>
                </a:xfrm>
                <a:prstGeom prst="homePlate">
                  <a:avLst>
                    <a:gd name="adj" fmla="val 26282"/>
                  </a:avLst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000" tIns="36000" rIns="3600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상품</a:t>
                  </a:r>
                  <a:r>
                    <a:rPr kumimoji="1" lang="en-US" altLang="ko-KR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/</a:t>
                  </a: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서비스</a:t>
                  </a:r>
                  <a:endPara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등록</a:t>
                  </a:r>
                  <a:r>
                    <a:rPr kumimoji="1" lang="en-US" altLang="ko-KR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·</a:t>
                  </a: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변경</a:t>
                  </a:r>
                </a:p>
              </p:txBody>
            </p:sp>
            <p:sp>
              <p:nvSpPr>
                <p:cNvPr id="181" name="오각형 180"/>
                <p:cNvSpPr/>
                <p:nvPr/>
              </p:nvSpPr>
              <p:spPr bwMode="auto">
                <a:xfrm>
                  <a:off x="1424905" y="2276872"/>
                  <a:ext cx="900000" cy="360000"/>
                </a:xfrm>
                <a:prstGeom prst="homePlate">
                  <a:avLst>
                    <a:gd name="adj" fmla="val 26282"/>
                  </a:avLst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000" tIns="36000" rIns="3600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채널 별</a:t>
                  </a:r>
                  <a:endPara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반영 요청</a:t>
                  </a:r>
                </a:p>
              </p:txBody>
            </p:sp>
            <p:sp>
              <p:nvSpPr>
                <p:cNvPr id="182" name="오각형 181"/>
                <p:cNvSpPr/>
                <p:nvPr/>
              </p:nvSpPr>
              <p:spPr bwMode="auto">
                <a:xfrm>
                  <a:off x="2364652" y="2276872"/>
                  <a:ext cx="900001" cy="360000"/>
                </a:xfrm>
                <a:prstGeom prst="homePlate">
                  <a:avLst>
                    <a:gd name="adj" fmla="val 26282"/>
                  </a:avLst>
                </a:prstGeom>
                <a:solidFill>
                  <a:srgbClr val="FFFFFF">
                    <a:lumMod val="95000"/>
                  </a:srgbClr>
                </a:solidFill>
                <a:ln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000" tIns="36000" rIns="3600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변경 내역</a:t>
                  </a:r>
                  <a:endPara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수작업 반영</a:t>
                  </a:r>
                </a:p>
              </p:txBody>
            </p:sp>
          </p:grpSp>
          <p:cxnSp>
            <p:nvCxnSpPr>
              <p:cNvPr id="141" name="꺾인 연결선 140"/>
              <p:cNvCxnSpPr>
                <a:stCxn id="152" idx="3"/>
                <a:endCxn id="148" idx="1"/>
              </p:cNvCxnSpPr>
              <p:nvPr/>
            </p:nvCxnSpPr>
            <p:spPr bwMode="auto">
              <a:xfrm flipV="1">
                <a:off x="2216696" y="4400039"/>
                <a:ext cx="441060" cy="1323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42" name="꺾인 연결선 141"/>
              <p:cNvCxnSpPr>
                <a:stCxn id="151" idx="3"/>
                <a:endCxn id="147" idx="1"/>
              </p:cNvCxnSpPr>
              <p:nvPr/>
            </p:nvCxnSpPr>
            <p:spPr bwMode="auto">
              <a:xfrm flipV="1">
                <a:off x="2216696" y="3947665"/>
                <a:ext cx="441060" cy="1323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43" name="꺾인 연결선 142"/>
              <p:cNvCxnSpPr>
                <a:stCxn id="150" idx="3"/>
                <a:endCxn id="146" idx="1"/>
              </p:cNvCxnSpPr>
              <p:nvPr/>
            </p:nvCxnSpPr>
            <p:spPr bwMode="auto">
              <a:xfrm flipV="1">
                <a:off x="2216696" y="3495173"/>
                <a:ext cx="441060" cy="1323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44" name="꺾인 연결선 143"/>
              <p:cNvCxnSpPr>
                <a:stCxn id="149" idx="3"/>
                <a:endCxn id="145" idx="1"/>
              </p:cNvCxnSpPr>
              <p:nvPr/>
            </p:nvCxnSpPr>
            <p:spPr bwMode="auto">
              <a:xfrm flipV="1">
                <a:off x="2216696" y="3033435"/>
                <a:ext cx="441060" cy="225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45" name="직사각형 144"/>
              <p:cNvSpPr/>
              <p:nvPr/>
            </p:nvSpPr>
            <p:spPr bwMode="auto">
              <a:xfrm>
                <a:off x="2657756" y="2853435"/>
                <a:ext cx="68400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담</a:t>
                </a:r>
              </a:p>
            </p:txBody>
          </p:sp>
          <p:sp>
            <p:nvSpPr>
              <p:cNvPr id="146" name="직사각형 145"/>
              <p:cNvSpPr/>
              <p:nvPr/>
            </p:nvSpPr>
            <p:spPr bwMode="auto">
              <a:xfrm>
                <a:off x="2657756" y="3315173"/>
                <a:ext cx="68400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영업</a:t>
                </a: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/>
                </a:r>
                <a:b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제작물</a:t>
                </a:r>
              </a:p>
            </p:txBody>
          </p:sp>
          <p:sp>
            <p:nvSpPr>
              <p:cNvPr id="147" name="직사각형 146"/>
              <p:cNvSpPr/>
              <p:nvPr/>
            </p:nvSpPr>
            <p:spPr bwMode="auto">
              <a:xfrm>
                <a:off x="2657756" y="3767665"/>
                <a:ext cx="68400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홈페이지</a:t>
                </a:r>
              </a:p>
            </p:txBody>
          </p:sp>
          <p:sp>
            <p:nvSpPr>
              <p:cNvPr id="148" name="직사각형 147"/>
              <p:cNvSpPr/>
              <p:nvPr/>
            </p:nvSpPr>
            <p:spPr bwMode="auto">
              <a:xfrm>
                <a:off x="2657756" y="4220039"/>
                <a:ext cx="68400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모바일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149" name="Picture 53" descr="문서 0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985409" y="2852730"/>
                <a:ext cx="231287" cy="3618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0" name="Picture 53" descr="문서 0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985409" y="3315566"/>
                <a:ext cx="231287" cy="3618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1" name="Picture 53" descr="문서 0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985409" y="3768058"/>
                <a:ext cx="231287" cy="3618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2" name="Picture 53" descr="문서 04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985409" y="4220432"/>
                <a:ext cx="231287" cy="3618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53" name="꺾인 연결선 152"/>
              <p:cNvCxnSpPr>
                <a:endCxn id="149" idx="1"/>
              </p:cNvCxnSpPr>
              <p:nvPr/>
            </p:nvCxnSpPr>
            <p:spPr bwMode="auto">
              <a:xfrm flipV="1">
                <a:off x="1067523" y="3033660"/>
                <a:ext cx="917886" cy="692914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54" name="꺾인 연결선 153"/>
              <p:cNvCxnSpPr>
                <a:endCxn id="152" idx="1"/>
              </p:cNvCxnSpPr>
              <p:nvPr/>
            </p:nvCxnSpPr>
            <p:spPr bwMode="auto">
              <a:xfrm>
                <a:off x="1067523" y="3726574"/>
                <a:ext cx="917886" cy="674788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55" name="꺾인 연결선 154"/>
              <p:cNvCxnSpPr>
                <a:endCxn id="150" idx="1"/>
              </p:cNvCxnSpPr>
              <p:nvPr/>
            </p:nvCxnSpPr>
            <p:spPr bwMode="auto">
              <a:xfrm flipV="1">
                <a:off x="1067523" y="3496496"/>
                <a:ext cx="917886" cy="230078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56" name="꺾인 연결선 155"/>
              <p:cNvCxnSpPr>
                <a:endCxn id="151" idx="1"/>
              </p:cNvCxnSpPr>
              <p:nvPr/>
            </p:nvCxnSpPr>
            <p:spPr bwMode="auto">
              <a:xfrm>
                <a:off x="1067523" y="3726574"/>
                <a:ext cx="917886" cy="222414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57" name="직사각형 156"/>
              <p:cNvSpPr/>
              <p:nvPr/>
            </p:nvSpPr>
            <p:spPr bwMode="auto">
              <a:xfrm>
                <a:off x="449993" y="3885338"/>
                <a:ext cx="791642" cy="45237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담당자</a:t>
                </a:r>
              </a:p>
            </p:txBody>
          </p:sp>
          <p:grpSp>
            <p:nvGrpSpPr>
              <p:cNvPr id="158" name="그룹 119"/>
              <p:cNvGrpSpPr/>
              <p:nvPr/>
            </p:nvGrpSpPr>
            <p:grpSpPr>
              <a:xfrm>
                <a:off x="4030729" y="3371197"/>
                <a:ext cx="576064" cy="563279"/>
                <a:chOff x="3593697" y="2708920"/>
                <a:chExt cx="576064" cy="448308"/>
              </a:xfrm>
            </p:grpSpPr>
            <p:pic>
              <p:nvPicPr>
                <p:cNvPr id="178" name="Picture 60" descr="카드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3593697" y="2804157"/>
                  <a:ext cx="576064" cy="35307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79" name="Picture 52" descr="그룹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3717211" y="2708920"/>
                  <a:ext cx="452550" cy="448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159" name="직사각형 158"/>
              <p:cNvSpPr/>
              <p:nvPr/>
            </p:nvSpPr>
            <p:spPr bwMode="auto">
              <a:xfrm>
                <a:off x="4102737" y="3821846"/>
                <a:ext cx="432048" cy="45237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원</a:t>
                </a:r>
              </a:p>
            </p:txBody>
          </p:sp>
          <p:cxnSp>
            <p:nvCxnSpPr>
              <p:cNvPr id="160" name="꺾인 연결선 159"/>
              <p:cNvCxnSpPr>
                <a:stCxn id="145" idx="3"/>
              </p:cNvCxnSpPr>
              <p:nvPr/>
            </p:nvCxnSpPr>
            <p:spPr bwMode="auto">
              <a:xfrm>
                <a:off x="3341756" y="3033435"/>
                <a:ext cx="688973" cy="679232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61" name="꺾인 연결선 160"/>
              <p:cNvCxnSpPr>
                <a:stCxn id="146" idx="3"/>
              </p:cNvCxnSpPr>
              <p:nvPr/>
            </p:nvCxnSpPr>
            <p:spPr bwMode="auto">
              <a:xfrm>
                <a:off x="3341756" y="3495173"/>
                <a:ext cx="688973" cy="217495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62" name="꺾인 연결선 161"/>
              <p:cNvCxnSpPr>
                <a:stCxn id="148" idx="3"/>
              </p:cNvCxnSpPr>
              <p:nvPr/>
            </p:nvCxnSpPr>
            <p:spPr bwMode="auto">
              <a:xfrm flipV="1">
                <a:off x="3341756" y="3712667"/>
                <a:ext cx="688973" cy="687372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63" name="꺾인 연결선 162"/>
              <p:cNvCxnSpPr>
                <a:stCxn id="147" idx="3"/>
              </p:cNvCxnSpPr>
              <p:nvPr/>
            </p:nvCxnSpPr>
            <p:spPr bwMode="auto">
              <a:xfrm flipV="1">
                <a:off x="3341756" y="3712667"/>
                <a:ext cx="688973" cy="234998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64" name="타원 163"/>
              <p:cNvSpPr/>
              <p:nvPr/>
            </p:nvSpPr>
            <p:spPr bwMode="auto">
              <a:xfrm>
                <a:off x="1352600" y="3533271"/>
                <a:ext cx="288032" cy="361899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5" name="타원 164"/>
              <p:cNvSpPr/>
              <p:nvPr/>
            </p:nvSpPr>
            <p:spPr bwMode="auto">
              <a:xfrm>
                <a:off x="3533321" y="2840701"/>
                <a:ext cx="288032" cy="361899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6" name="현 165"/>
              <p:cNvSpPr/>
              <p:nvPr/>
            </p:nvSpPr>
            <p:spPr bwMode="auto">
              <a:xfrm>
                <a:off x="3533321" y="4228101"/>
                <a:ext cx="288032" cy="361899"/>
              </a:xfrm>
              <a:prstGeom prst="chord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7" name="타원 166"/>
              <p:cNvSpPr/>
              <p:nvPr/>
            </p:nvSpPr>
            <p:spPr bwMode="auto">
              <a:xfrm>
                <a:off x="3533321" y="3323234"/>
                <a:ext cx="288032" cy="361899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8" name="직사각형 167"/>
              <p:cNvSpPr/>
              <p:nvPr/>
            </p:nvSpPr>
            <p:spPr bwMode="auto">
              <a:xfrm>
                <a:off x="2014905" y="2842654"/>
                <a:ext cx="144016" cy="361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9" name="직사각형 168"/>
              <p:cNvSpPr/>
              <p:nvPr/>
            </p:nvSpPr>
            <p:spPr bwMode="auto">
              <a:xfrm>
                <a:off x="2014905" y="3298610"/>
                <a:ext cx="144016" cy="361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0" name="직사각형 169"/>
              <p:cNvSpPr/>
              <p:nvPr/>
            </p:nvSpPr>
            <p:spPr bwMode="auto">
              <a:xfrm>
                <a:off x="2014905" y="3752518"/>
                <a:ext cx="144016" cy="361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1" name="직사각형 170"/>
              <p:cNvSpPr/>
              <p:nvPr/>
            </p:nvSpPr>
            <p:spPr bwMode="auto">
              <a:xfrm>
                <a:off x="2014905" y="4206427"/>
                <a:ext cx="144016" cy="361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2" name="타원형 설명선 171"/>
              <p:cNvSpPr/>
              <p:nvPr/>
            </p:nvSpPr>
            <p:spPr bwMode="auto">
              <a:xfrm>
                <a:off x="4232920" y="2965053"/>
                <a:ext cx="432048" cy="288032"/>
              </a:xfrm>
              <a:prstGeom prst="wedgeEllipseCallout">
                <a:avLst>
                  <a:gd name="adj1" fmla="val -16282"/>
                  <a:gd name="adj2" fmla="val 96636"/>
                </a:avLst>
              </a:prstGeom>
              <a:solidFill>
                <a:schemeClr val="tx2">
                  <a:lumMod val="5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???</a:t>
                </a:r>
                <a:endParaRPr kumimoji="1" lang="ko-KR" altLang="en-US" sz="9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3" name="타원형 설명선 172"/>
              <p:cNvSpPr/>
              <p:nvPr/>
            </p:nvSpPr>
            <p:spPr bwMode="auto">
              <a:xfrm>
                <a:off x="704528" y="3037061"/>
                <a:ext cx="432048" cy="288032"/>
              </a:xfrm>
              <a:prstGeom prst="wedgeEllipseCallout">
                <a:avLst>
                  <a:gd name="adj1" fmla="val -16282"/>
                  <a:gd name="adj2" fmla="val 96636"/>
                </a:avLst>
              </a:prstGeom>
              <a:solidFill>
                <a:srgbClr val="FFFFFF">
                  <a:lumMod val="75000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4" name="타원 173"/>
              <p:cNvSpPr/>
              <p:nvPr/>
            </p:nvSpPr>
            <p:spPr bwMode="auto">
              <a:xfrm>
                <a:off x="3533321" y="3757141"/>
                <a:ext cx="288032" cy="361899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5" name="직사각형 174"/>
              <p:cNvSpPr/>
              <p:nvPr/>
            </p:nvSpPr>
            <p:spPr bwMode="auto">
              <a:xfrm>
                <a:off x="1712640" y="3809693"/>
                <a:ext cx="792088" cy="288032"/>
              </a:xfrm>
              <a:prstGeom prst="rect">
                <a:avLst/>
              </a:prstGeom>
              <a:solidFill>
                <a:srgbClr val="FFFFFF">
                  <a:alpha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반영 누락</a:t>
                </a:r>
              </a:p>
            </p:txBody>
          </p:sp>
          <p:sp>
            <p:nvSpPr>
              <p:cNvPr id="176" name="직사각형 175"/>
              <p:cNvSpPr/>
              <p:nvPr/>
            </p:nvSpPr>
            <p:spPr bwMode="auto">
              <a:xfrm>
                <a:off x="1712640" y="4261197"/>
                <a:ext cx="792088" cy="288032"/>
              </a:xfrm>
              <a:prstGeom prst="rect">
                <a:avLst/>
              </a:prstGeom>
              <a:solidFill>
                <a:srgbClr val="FFFFFF">
                  <a:alpha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변경 누락</a:t>
                </a:r>
              </a:p>
            </p:txBody>
          </p:sp>
          <p:sp>
            <p:nvSpPr>
              <p:cNvPr id="177" name="직사각형 176"/>
              <p:cNvSpPr/>
              <p:nvPr/>
            </p:nvSpPr>
            <p:spPr bwMode="auto">
              <a:xfrm>
                <a:off x="3779912" y="2348880"/>
                <a:ext cx="936104" cy="504056"/>
              </a:xfrm>
              <a:prstGeom prst="rect">
                <a:avLst/>
              </a:prstGeom>
              <a:solidFill>
                <a:srgbClr val="FFFFFF">
                  <a:alpha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9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SMS </a:t>
                </a:r>
                <a:r>
                  <a:rPr kumimoji="1" lang="ko-KR" altLang="en-US" sz="9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등의 </a:t>
                </a:r>
                <a:endParaRPr kumimoji="1" lang="en-US" altLang="ko-KR" sz="900" b="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안내 부족</a:t>
                </a:r>
              </a:p>
            </p:txBody>
          </p:sp>
        </p:grpSp>
        <p:pic>
          <p:nvPicPr>
            <p:cNvPr id="183" name="Picture 19" descr="C:\Documents and Settings\aduser\Local Settings\Temporary Internet Files\Content.IE5\HCI1QDAM\MC900441539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25834" y="3451847"/>
              <a:ext cx="720000" cy="71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4" name="그룹 183"/>
            <p:cNvGrpSpPr/>
            <p:nvPr/>
          </p:nvGrpSpPr>
          <p:grpSpPr>
            <a:xfrm>
              <a:off x="5281541" y="2267820"/>
              <a:ext cx="3961135" cy="2016125"/>
              <a:chOff x="5344211" y="2348979"/>
              <a:chExt cx="3961135" cy="2232149"/>
            </a:xfrm>
          </p:grpSpPr>
          <p:sp>
            <p:nvSpPr>
              <p:cNvPr id="185" name="순서도: 자기 디스크 184"/>
              <p:cNvSpPr/>
              <p:nvPr/>
            </p:nvSpPr>
            <p:spPr bwMode="auto">
              <a:xfrm>
                <a:off x="8671283" y="3211786"/>
                <a:ext cx="432048" cy="288627"/>
              </a:xfrm>
              <a:prstGeom prst="flowChartMagneticDisk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6" name="순서도: 자기 디스크 185"/>
              <p:cNvSpPr/>
              <p:nvPr/>
            </p:nvSpPr>
            <p:spPr bwMode="auto">
              <a:xfrm>
                <a:off x="8671283" y="3572421"/>
                <a:ext cx="432048" cy="288627"/>
              </a:xfrm>
              <a:prstGeom prst="flowChartMagneticDisk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7" name="순서도: 자기 디스크 186"/>
              <p:cNvSpPr/>
              <p:nvPr/>
            </p:nvSpPr>
            <p:spPr bwMode="auto">
              <a:xfrm>
                <a:off x="8671283" y="3932461"/>
                <a:ext cx="432048" cy="288627"/>
              </a:xfrm>
              <a:prstGeom prst="flowChartMagneticDisk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8" name="순서도: 자기 디스크 187"/>
              <p:cNvSpPr/>
              <p:nvPr/>
            </p:nvSpPr>
            <p:spPr bwMode="auto">
              <a:xfrm>
                <a:off x="8671283" y="4292501"/>
                <a:ext cx="432048" cy="288627"/>
              </a:xfrm>
              <a:prstGeom prst="flowChartMagneticDisk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9" name="직사각형 188"/>
              <p:cNvSpPr/>
              <p:nvPr/>
            </p:nvSpPr>
            <p:spPr bwMode="auto">
              <a:xfrm>
                <a:off x="5344211" y="2348979"/>
                <a:ext cx="3961135" cy="28862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[ </a:t>
                </a: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서비스 변경 시</a:t>
                </a: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sym typeface="Wingdings" pitchFamily="2" charset="2"/>
                  </a:rPr>
                  <a:t> </a:t>
                </a:r>
                <a:r>
                  <a:rPr kumimoji="1" lang="ko-KR" altLang="en-US" sz="10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sym typeface="Wingdings" pitchFamily="2" charset="2"/>
                  </a:rPr>
                  <a:t>컨텐츠</a:t>
                </a: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sym typeface="Wingdings" pitchFamily="2" charset="2"/>
                  </a:rPr>
                  <a:t> 관리를 통해 반영</a:t>
                </a: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]</a:t>
                </a:r>
                <a:endPara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90" name="오각형 189"/>
              <p:cNvSpPr/>
              <p:nvPr/>
            </p:nvSpPr>
            <p:spPr bwMode="auto">
              <a:xfrm>
                <a:off x="5919004" y="2636912"/>
                <a:ext cx="900000" cy="468000"/>
              </a:xfrm>
              <a:prstGeom prst="homePlate">
                <a:avLst>
                  <a:gd name="adj" fmla="val 26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서비스</a:t>
                </a:r>
                <a:endPara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내역 변경</a:t>
                </a:r>
              </a:p>
            </p:txBody>
          </p:sp>
          <p:sp>
            <p:nvSpPr>
              <p:cNvPr id="191" name="오각형 190"/>
              <p:cNvSpPr/>
              <p:nvPr/>
            </p:nvSpPr>
            <p:spPr bwMode="auto">
              <a:xfrm>
                <a:off x="6903345" y="2636912"/>
                <a:ext cx="900000" cy="468000"/>
              </a:xfrm>
              <a:prstGeom prst="homePlate">
                <a:avLst>
                  <a:gd name="adj" fmla="val 26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컨텐츠</a:t>
                </a: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관리반영</a:t>
                </a:r>
              </a:p>
            </p:txBody>
          </p:sp>
          <p:sp>
            <p:nvSpPr>
              <p:cNvPr id="192" name="오각형 191"/>
              <p:cNvSpPr/>
              <p:nvPr/>
            </p:nvSpPr>
            <p:spPr bwMode="auto">
              <a:xfrm>
                <a:off x="7905328" y="2636912"/>
                <a:ext cx="900000" cy="468000"/>
              </a:xfrm>
              <a:prstGeom prst="homePlate">
                <a:avLst>
                  <a:gd name="adj" fmla="val 26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널별</a:t>
                </a:r>
                <a:endPara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컨텐츠</a:t>
                </a: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반영</a:t>
                </a:r>
              </a:p>
            </p:txBody>
          </p:sp>
          <p:sp>
            <p:nvSpPr>
              <p:cNvPr id="193" name="순서도: 자기 디스크 192"/>
              <p:cNvSpPr/>
              <p:nvPr/>
            </p:nvSpPr>
            <p:spPr bwMode="auto">
              <a:xfrm>
                <a:off x="6462346" y="3751947"/>
                <a:ext cx="638013" cy="361027"/>
              </a:xfrm>
              <a:prstGeom prst="flowChartMagneticDisk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컨텐츠</a:t>
                </a:r>
                <a: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/>
                </a:r>
                <a:br>
                  <a:rPr kumimoji="1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리</a:t>
                </a:r>
              </a:p>
            </p:txBody>
          </p:sp>
          <p:cxnSp>
            <p:nvCxnSpPr>
              <p:cNvPr id="194" name="꺾인 연결선 193"/>
              <p:cNvCxnSpPr>
                <a:stCxn id="193" idx="4"/>
                <a:endCxn id="185" idx="2"/>
              </p:cNvCxnSpPr>
              <p:nvPr/>
            </p:nvCxnSpPr>
            <p:spPr bwMode="auto">
              <a:xfrm flipV="1">
                <a:off x="7100359" y="3356100"/>
                <a:ext cx="1570924" cy="576361"/>
              </a:xfrm>
              <a:prstGeom prst="bentConnector3">
                <a:avLst>
                  <a:gd name="adj1" fmla="val 12858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95" name="꺾인 연결선 194"/>
              <p:cNvCxnSpPr>
                <a:stCxn id="193" idx="4"/>
                <a:endCxn id="186" idx="2"/>
              </p:cNvCxnSpPr>
              <p:nvPr/>
            </p:nvCxnSpPr>
            <p:spPr bwMode="auto">
              <a:xfrm flipV="1">
                <a:off x="7100359" y="3716735"/>
                <a:ext cx="1570924" cy="215726"/>
              </a:xfrm>
              <a:prstGeom prst="bentConnector3">
                <a:avLst>
                  <a:gd name="adj1" fmla="val 12304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96" name="꺾인 연결선 195"/>
              <p:cNvCxnSpPr>
                <a:stCxn id="193" idx="4"/>
                <a:endCxn id="187" idx="2"/>
              </p:cNvCxnSpPr>
              <p:nvPr/>
            </p:nvCxnSpPr>
            <p:spPr bwMode="auto">
              <a:xfrm>
                <a:off x="7100359" y="3932461"/>
                <a:ext cx="1570924" cy="144314"/>
              </a:xfrm>
              <a:prstGeom prst="bentConnector3">
                <a:avLst>
                  <a:gd name="adj1" fmla="val 12858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97" name="꺾인 연결선 196"/>
              <p:cNvCxnSpPr>
                <a:stCxn id="193" idx="4"/>
                <a:endCxn id="188" idx="2"/>
              </p:cNvCxnSpPr>
              <p:nvPr/>
            </p:nvCxnSpPr>
            <p:spPr bwMode="auto">
              <a:xfrm>
                <a:off x="7100359" y="3932461"/>
                <a:ext cx="1570924" cy="504354"/>
              </a:xfrm>
              <a:prstGeom prst="bentConnector3">
                <a:avLst>
                  <a:gd name="adj1" fmla="val 12858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98" name="직사각형 197"/>
              <p:cNvSpPr/>
              <p:nvPr/>
            </p:nvSpPr>
            <p:spPr bwMode="auto">
              <a:xfrm>
                <a:off x="7533390" y="3211786"/>
                <a:ext cx="936104" cy="2886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담</a:t>
                </a:r>
              </a:p>
            </p:txBody>
          </p:sp>
          <p:sp>
            <p:nvSpPr>
              <p:cNvPr id="199" name="직사각형 198"/>
              <p:cNvSpPr/>
              <p:nvPr/>
            </p:nvSpPr>
            <p:spPr bwMode="auto">
              <a:xfrm>
                <a:off x="7533390" y="3572421"/>
                <a:ext cx="936104" cy="2886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영업제작물</a:t>
                </a:r>
              </a:p>
            </p:txBody>
          </p:sp>
          <p:sp>
            <p:nvSpPr>
              <p:cNvPr id="200" name="직사각형 199"/>
              <p:cNvSpPr/>
              <p:nvPr/>
            </p:nvSpPr>
            <p:spPr bwMode="auto">
              <a:xfrm>
                <a:off x="7533390" y="3932461"/>
                <a:ext cx="936104" cy="2886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홈페이지</a:t>
                </a:r>
              </a:p>
            </p:txBody>
          </p:sp>
          <p:sp>
            <p:nvSpPr>
              <p:cNvPr id="201" name="직사각형 200"/>
              <p:cNvSpPr/>
              <p:nvPr/>
            </p:nvSpPr>
            <p:spPr bwMode="auto">
              <a:xfrm>
                <a:off x="7533390" y="4292501"/>
                <a:ext cx="936104" cy="2886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모바일</a:t>
                </a:r>
                <a:endPara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202" name="꺾인 연결선 201"/>
              <p:cNvCxnSpPr>
                <a:endCxn id="203" idx="1"/>
              </p:cNvCxnSpPr>
              <p:nvPr/>
            </p:nvCxnSpPr>
            <p:spPr bwMode="auto">
              <a:xfrm>
                <a:off x="6073185" y="3425952"/>
                <a:ext cx="318170" cy="2156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203" name="직사각형 202"/>
              <p:cNvSpPr/>
              <p:nvPr/>
            </p:nvSpPr>
            <p:spPr bwMode="auto">
              <a:xfrm>
                <a:off x="6391355" y="3283794"/>
                <a:ext cx="792088" cy="2886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컨텐츠</a:t>
                </a: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관리</a:t>
                </a:r>
              </a:p>
            </p:txBody>
          </p:sp>
          <p:cxnSp>
            <p:nvCxnSpPr>
              <p:cNvPr id="204" name="꺾인 연결선 203"/>
              <p:cNvCxnSpPr>
                <a:stCxn id="203" idx="2"/>
                <a:endCxn id="193" idx="1"/>
              </p:cNvCxnSpPr>
              <p:nvPr/>
            </p:nvCxnSpPr>
            <p:spPr bwMode="auto">
              <a:xfrm rot="5400000">
                <a:off x="6694613" y="3659161"/>
                <a:ext cx="179526" cy="6046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pic>
            <p:nvPicPr>
              <p:cNvPr id="205" name="Picture 19" descr="C:\Documents and Settings\aduser\Local Settings\Temporary Internet Files\Content.IE5\HCI1QDAM\MC900441539[1]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5529064" y="3140968"/>
                <a:ext cx="720000" cy="71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06" name="직사각형 205"/>
            <p:cNvSpPr/>
            <p:nvPr/>
          </p:nvSpPr>
          <p:spPr>
            <a:xfrm>
              <a:off x="4204691" y="4437112"/>
              <a:ext cx="1500198" cy="3591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000000"/>
              </a:solidFill>
            </a:ln>
          </p:spPr>
          <p:txBody>
            <a:bodyPr wrap="none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정보 관리</a:t>
              </a: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7" name="직사각형 206"/>
            <p:cNvSpPr/>
            <p:nvPr/>
          </p:nvSpPr>
          <p:spPr>
            <a:xfrm>
              <a:off x="387322" y="4439709"/>
              <a:ext cx="3647567" cy="355485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  <p:txBody>
            <a:bodyPr wrap="square" lIns="36000" rIns="36000" anchor="ctr" anchorCtr="0">
              <a:noAutofit/>
            </a:bodyPr>
            <a:lstStyle/>
            <a:p>
              <a:pPr marL="873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정보 </a:t>
              </a:r>
              <a:r>
                <a:rPr kumimoji="1" lang="ko-KR" altLang="en-US" sz="105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접점별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생성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 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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정보변경 시 일괄반영 불가</a:t>
              </a:r>
            </a:p>
          </p:txBody>
        </p:sp>
        <p:sp>
          <p:nvSpPr>
            <p:cNvPr id="208" name="직사각형 207"/>
            <p:cNvSpPr/>
            <p:nvPr/>
          </p:nvSpPr>
          <p:spPr>
            <a:xfrm>
              <a:off x="5874691" y="4439709"/>
              <a:ext cx="3658245" cy="355485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  <p:txBody>
            <a:bodyPr wrap="square" lIns="36000" rIns="36000" anchor="ctr" anchorCtr="0">
              <a:noAutofit/>
            </a:bodyPr>
            <a:lstStyle/>
            <a:p>
              <a:pPr marL="873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정보 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Repository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구축 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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접점 제공 정보의 일관성 제고</a:t>
              </a:r>
            </a:p>
          </p:txBody>
        </p:sp>
        <p:cxnSp>
          <p:nvCxnSpPr>
            <p:cNvPr id="209" name="직선 연결선 208"/>
            <p:cNvCxnSpPr>
              <a:stCxn id="208" idx="1"/>
              <a:endCxn id="206" idx="3"/>
            </p:cNvCxnSpPr>
            <p:nvPr/>
          </p:nvCxnSpPr>
          <p:spPr bwMode="auto">
            <a:xfrm flipH="1" flipV="1">
              <a:off x="5704889" y="4616686"/>
              <a:ext cx="169802" cy="7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cxnSp>
          <p:nvCxnSpPr>
            <p:cNvPr id="210" name="직선 연결선 209"/>
            <p:cNvCxnSpPr>
              <a:stCxn id="206" idx="1"/>
              <a:endCxn id="207" idx="3"/>
            </p:cNvCxnSpPr>
            <p:nvPr/>
          </p:nvCxnSpPr>
          <p:spPr bwMode="auto">
            <a:xfrm flipH="1">
              <a:off x="4034889" y="4616686"/>
              <a:ext cx="169802" cy="7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211" name="직사각형 210"/>
            <p:cNvSpPr/>
            <p:nvPr/>
          </p:nvSpPr>
          <p:spPr>
            <a:xfrm>
              <a:off x="4204692" y="4869161"/>
              <a:ext cx="1500198" cy="36673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000000"/>
              </a:solidFill>
            </a:ln>
          </p:spPr>
          <p:txBody>
            <a:bodyPr wrap="none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정보 전달 체계 </a:t>
              </a: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2" name="직사각형 211"/>
            <p:cNvSpPr/>
            <p:nvPr/>
          </p:nvSpPr>
          <p:spPr>
            <a:xfrm>
              <a:off x="387323" y="4869161"/>
              <a:ext cx="3647567" cy="366732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  <p:txBody>
            <a:bodyPr wrap="square" lIns="36000" rIns="36000" anchor="ctr" anchorCtr="0">
              <a:noAutofit/>
            </a:bodyPr>
            <a:lstStyle/>
            <a:p>
              <a:pPr marL="873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정보의 </a:t>
              </a:r>
              <a:r>
                <a:rPr kumimoji="1" lang="ko-KR" altLang="en-US" sz="105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고객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메시지 </a:t>
              </a:r>
              <a:r>
                <a:rPr kumimoji="1" lang="ko-KR" altLang="en-US" sz="105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달력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미흡 </a:t>
              </a:r>
            </a:p>
          </p:txBody>
        </p:sp>
        <p:sp>
          <p:nvSpPr>
            <p:cNvPr id="213" name="직사각형 212"/>
            <p:cNvSpPr/>
            <p:nvPr/>
          </p:nvSpPr>
          <p:spPr>
            <a:xfrm>
              <a:off x="5874692" y="4869161"/>
              <a:ext cx="3658245" cy="366732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  <p:txBody>
            <a:bodyPr wrap="square" lIns="36000" rIns="36000" anchor="ctr" anchorCtr="0">
              <a:noAutofit/>
            </a:bodyPr>
            <a:lstStyle/>
            <a:p>
              <a:pPr marL="873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정보의 생성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공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활용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니터링 및 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Feed Back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 선순환 체계 구축</a:t>
              </a:r>
            </a:p>
          </p:txBody>
        </p:sp>
        <p:cxnSp>
          <p:nvCxnSpPr>
            <p:cNvPr id="214" name="직선 연결선 213"/>
            <p:cNvCxnSpPr>
              <a:stCxn id="213" idx="1"/>
              <a:endCxn id="211" idx="3"/>
            </p:cNvCxnSpPr>
            <p:nvPr/>
          </p:nvCxnSpPr>
          <p:spPr bwMode="auto">
            <a:xfrm flipH="1">
              <a:off x="5704890" y="5052527"/>
              <a:ext cx="16980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cxnSp>
          <p:nvCxnSpPr>
            <p:cNvPr id="215" name="직선 연결선 214"/>
            <p:cNvCxnSpPr>
              <a:stCxn id="211" idx="1"/>
              <a:endCxn id="212" idx="3"/>
            </p:cNvCxnSpPr>
            <p:nvPr/>
          </p:nvCxnSpPr>
          <p:spPr bwMode="auto">
            <a:xfrm flipH="1">
              <a:off x="4034890" y="5052527"/>
              <a:ext cx="16980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114" name="모서리가 둥근 직사각형 113"/>
            <p:cNvSpPr/>
            <p:nvPr/>
          </p:nvSpPr>
          <p:spPr>
            <a:xfrm>
              <a:off x="234189" y="5467540"/>
              <a:ext cx="1153145" cy="820749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latin typeface="맑은 고딕" pitchFamily="50" charset="-127"/>
                  <a:ea typeface="맑은 고딕" pitchFamily="50" charset="-127"/>
                </a:rPr>
                <a:t>주요 이슈</a:t>
              </a:r>
              <a:endParaRPr lang="en-US" altLang="ko-KR" sz="12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5" name="모서리가 둥근 직사각형 114"/>
            <p:cNvSpPr/>
            <p:nvPr/>
          </p:nvSpPr>
          <p:spPr>
            <a:xfrm>
              <a:off x="1388351" y="5467540"/>
              <a:ext cx="3456000" cy="820749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제휴 특화 공공 카드의 </a:t>
              </a:r>
              <a:r>
                <a:rPr kumimoji="1" lang="ko-KR" altLang="en-US" sz="10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업물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관리 미흡으로 현장 영업 및 고객 대응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한계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시 후 프로모션 활동 미흡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6" name="모서리가 둥근 직사각형 115"/>
            <p:cNvSpPr/>
            <p:nvPr/>
          </p:nvSpPr>
          <p:spPr>
            <a:xfrm>
              <a:off x="4987734" y="5467540"/>
              <a:ext cx="1153145" cy="820749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latin typeface="맑은 고딕" pitchFamily="50" charset="-127"/>
                  <a:ea typeface="맑은 고딕" pitchFamily="50" charset="-127"/>
                </a:rPr>
                <a:t>기대효과</a:t>
              </a:r>
            </a:p>
          </p:txBody>
        </p:sp>
        <p:sp>
          <p:nvSpPr>
            <p:cNvPr id="117" name="모서리가 둥근 직사각형 116"/>
            <p:cNvSpPr/>
            <p:nvPr/>
          </p:nvSpPr>
          <p:spPr>
            <a:xfrm>
              <a:off x="6105128" y="5467540"/>
              <a:ext cx="3456000" cy="820749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정보를 시장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·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지향적 언어로 소통함</a:t>
              </a: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 가치 </a:t>
              </a:r>
              <a:r>
                <a:rPr kumimoji="1" lang="ko-KR" altLang="en-US" sz="10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달력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제고</a:t>
              </a: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간 일관된 커뮤니케이션 달성</a:t>
              </a:r>
            </a:p>
          </p:txBody>
        </p:sp>
        <p:sp>
          <p:nvSpPr>
            <p:cNvPr id="301" name="모서리가 둥근 직사각형 300"/>
            <p:cNvSpPr/>
            <p:nvPr/>
          </p:nvSpPr>
          <p:spPr>
            <a:xfrm>
              <a:off x="235206" y="1869139"/>
              <a:ext cx="4608000" cy="26350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관성이 낮은 상품</a:t>
              </a:r>
              <a:r>
                <a:rPr kumimoji="1" lang="en-US" altLang="ko-KR" sz="13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정보 관리</a:t>
              </a:r>
            </a:p>
          </p:txBody>
        </p:sp>
        <p:sp>
          <p:nvSpPr>
            <p:cNvPr id="302" name="모서리가 둥근 직사각형 301"/>
            <p:cNvSpPr/>
            <p:nvPr/>
          </p:nvSpPr>
          <p:spPr>
            <a:xfrm>
              <a:off x="4987734" y="1869139"/>
              <a:ext cx="4608000" cy="263505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관된 상품</a:t>
              </a:r>
              <a:r>
                <a:rPr kumimoji="1" lang="en-US" altLang="ko-KR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kumimoji="1" lang="ko-KR" altLang="en-US" sz="1300" i="0" u="none" strike="noStrike" kern="0" cap="none" spc="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</a:t>
              </a:r>
            </a:p>
          </p:txBody>
        </p:sp>
      </p:grpSp>
      <p:grpSp>
        <p:nvGrpSpPr>
          <p:cNvPr id="130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31" name="TextBox 13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정보 채널 연계 강화 방안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 </a:t>
              </a:r>
            </a:p>
          </p:txBody>
        </p:sp>
        <p:cxnSp>
          <p:nvCxnSpPr>
            <p:cNvPr id="132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35" name="TextBox 13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3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8" name="그룹 11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8" name="그룹 12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148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컨텐츠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시스템을 통해 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정보를 시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지향적 언어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공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접점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채널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상품개발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판매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간 일관된 커뮤니케이션을 달성할 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88504" y="1918048"/>
            <a:ext cx="8886463" cy="4404060"/>
            <a:chOff x="488504" y="1785064"/>
            <a:chExt cx="8886463" cy="4537508"/>
          </a:xfrm>
        </p:grpSpPr>
        <p:sp>
          <p:nvSpPr>
            <p:cNvPr id="92" name="TextBox 91"/>
            <p:cNvSpPr txBox="1"/>
            <p:nvPr/>
          </p:nvSpPr>
          <p:spPr>
            <a:xfrm>
              <a:off x="488504" y="2074101"/>
              <a:ext cx="4320479" cy="2880320"/>
            </a:xfrm>
            <a:prstGeom prst="rect">
              <a:avLst/>
            </a:prstGeom>
            <a:noFill/>
            <a:ln>
              <a:solidFill>
                <a:srgbClr val="000000">
                  <a:lumMod val="95000"/>
                  <a:lumOff val="5000"/>
                </a:srgbClr>
              </a:solidFill>
            </a:ln>
            <a:effectLst/>
          </p:spPr>
          <p:txBody>
            <a:bodyPr wrap="square" rtlCol="0"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054487" y="2074101"/>
              <a:ext cx="4320479" cy="2880320"/>
            </a:xfrm>
            <a:prstGeom prst="rect">
              <a:avLst/>
            </a:prstGeom>
            <a:noFill/>
            <a:ln>
              <a:solidFill>
                <a:srgbClr val="000000">
                  <a:lumMod val="95000"/>
                  <a:lumOff val="5000"/>
                </a:srgbClr>
              </a:solidFill>
            </a:ln>
            <a:effectLst/>
          </p:spPr>
          <p:txBody>
            <a:bodyPr wrap="square" rtlCol="0"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490091" y="1785064"/>
              <a:ext cx="4320479" cy="2890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en-US" altLang="ko-KR" sz="1300" b="1" dirty="0" smtClean="0"/>
                <a:t>As-Is</a:t>
              </a:r>
              <a:endParaRPr lang="ko-KR" altLang="en-US" sz="1300" b="1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5054487" y="1785064"/>
              <a:ext cx="4320479" cy="28903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2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en-US" altLang="ko-KR" sz="1300" b="1" dirty="0" smtClean="0">
                  <a:solidFill>
                    <a:schemeClr val="bg1"/>
                  </a:solidFill>
                </a:rPr>
                <a:t>To-Be</a:t>
              </a:r>
              <a:endParaRPr lang="ko-KR" alt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88505" y="4982995"/>
              <a:ext cx="4320479" cy="1339577"/>
            </a:xfrm>
            <a:prstGeom prst="rect">
              <a:avLst/>
            </a:prstGeom>
            <a:noFill/>
            <a:ln>
              <a:solidFill>
                <a:srgbClr val="000000">
                  <a:lumMod val="95000"/>
                  <a:lumOff val="5000"/>
                </a:srgbClr>
              </a:solidFill>
            </a:ln>
            <a:effectLst/>
          </p:spPr>
          <p:txBody>
            <a:bodyPr wrap="square" rtlCol="0">
              <a:noAutofit/>
            </a:bodyPr>
            <a:lstStyle/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담당자가 고객접점 각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로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정보 반영 요청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담당자가 상품정보 가공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: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문성 미흡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보관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marR="0" lvl="1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정보내용 상이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marR="0" lvl="1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변경시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수작업으로 대상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검색 후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반영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5056385" y="4982995"/>
              <a:ext cx="4318582" cy="1339577"/>
            </a:xfrm>
            <a:prstGeom prst="rect">
              <a:avLst/>
            </a:prstGeom>
            <a:noFill/>
            <a:ln>
              <a:solidFill>
                <a:srgbClr val="000000">
                  <a:lumMod val="95000"/>
                  <a:lumOff val="5000"/>
                </a:srgbClr>
              </a:solidFill>
            </a:ln>
            <a:effectLst/>
          </p:spPr>
          <p:txBody>
            <a:bodyPr wrap="square" rtlCol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관리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에 등록하여 각 채널로 반영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문 카피라이터가 상품개발자와 협의하여 고객 눈높이에 맞춰 가공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달력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제고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 시스템에서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통합 관리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marR="0" lvl="1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에게 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로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동일한 정보 제공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marR="0" lvl="1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변경 대상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를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자동으로 리스트화 하여 제공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    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한 번만 수정하면 각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로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배포되어 반영됨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   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    </a:t>
              </a:r>
            </a:p>
          </p:txBody>
        </p:sp>
        <p:cxnSp>
          <p:nvCxnSpPr>
            <p:cNvPr id="98" name="꺾인 연결선 97"/>
            <p:cNvCxnSpPr>
              <a:stCxn id="113" idx="3"/>
              <a:endCxn id="109" idx="2"/>
            </p:cNvCxnSpPr>
            <p:nvPr/>
          </p:nvCxnSpPr>
          <p:spPr bwMode="auto">
            <a:xfrm flipV="1">
              <a:off x="2118555" y="3839935"/>
              <a:ext cx="1800200" cy="313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9" name="꺾인 연결선 98"/>
            <p:cNvCxnSpPr>
              <a:stCxn id="112" idx="3"/>
              <a:endCxn id="108" idx="2"/>
            </p:cNvCxnSpPr>
            <p:nvPr/>
          </p:nvCxnSpPr>
          <p:spPr bwMode="auto">
            <a:xfrm>
              <a:off x="2118555" y="3479800"/>
              <a:ext cx="1800200" cy="9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00" name="꺾인 연결선 99"/>
            <p:cNvCxnSpPr>
              <a:stCxn id="111" idx="3"/>
              <a:endCxn id="107" idx="2"/>
            </p:cNvCxnSpPr>
            <p:nvPr/>
          </p:nvCxnSpPr>
          <p:spPr bwMode="auto">
            <a:xfrm>
              <a:off x="2118555" y="3119353"/>
              <a:ext cx="1800200" cy="50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01" name="꺾인 연결선 100"/>
            <p:cNvCxnSpPr>
              <a:stCxn id="110" idx="3"/>
              <a:endCxn id="106" idx="2"/>
            </p:cNvCxnSpPr>
            <p:nvPr/>
          </p:nvCxnSpPr>
          <p:spPr bwMode="auto">
            <a:xfrm>
              <a:off x="2118555" y="2758906"/>
              <a:ext cx="1800200" cy="314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2" name="직사각형 101"/>
            <p:cNvSpPr/>
            <p:nvPr/>
          </p:nvSpPr>
          <p:spPr bwMode="auto">
            <a:xfrm>
              <a:off x="2310576" y="2614906"/>
              <a:ext cx="936104" cy="2886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담</a:t>
              </a: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2310576" y="2975541"/>
              <a:ext cx="936104" cy="2886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제작물</a:t>
              </a: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2310576" y="3335581"/>
              <a:ext cx="936104" cy="2886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홈페이지</a:t>
              </a: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2310576" y="3695621"/>
              <a:ext cx="936104" cy="2886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</a:t>
              </a: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6" name="순서도: 자기 디스크 105"/>
            <p:cNvSpPr/>
            <p:nvPr/>
          </p:nvSpPr>
          <p:spPr bwMode="auto">
            <a:xfrm>
              <a:off x="3918755" y="2614906"/>
              <a:ext cx="432048" cy="288627"/>
            </a:xfrm>
            <a:prstGeom prst="flowChartMagneticDisk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순서도: 자기 디스크 106"/>
            <p:cNvSpPr/>
            <p:nvPr/>
          </p:nvSpPr>
          <p:spPr bwMode="auto">
            <a:xfrm>
              <a:off x="3918755" y="2975541"/>
              <a:ext cx="432048" cy="288627"/>
            </a:xfrm>
            <a:prstGeom prst="flowChartMagneticDisk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순서도: 자기 디스크 107"/>
            <p:cNvSpPr/>
            <p:nvPr/>
          </p:nvSpPr>
          <p:spPr bwMode="auto">
            <a:xfrm>
              <a:off x="3918755" y="3335581"/>
              <a:ext cx="432048" cy="288627"/>
            </a:xfrm>
            <a:prstGeom prst="flowChartMagneticDisk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순서도: 자기 디스크 108"/>
            <p:cNvSpPr/>
            <p:nvPr/>
          </p:nvSpPr>
          <p:spPr bwMode="auto">
            <a:xfrm>
              <a:off x="3918755" y="3695621"/>
              <a:ext cx="432048" cy="288627"/>
            </a:xfrm>
            <a:prstGeom prst="flowChartMagneticDisk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0" name="Picture 53" descr="문서 0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887268" y="2614906"/>
              <a:ext cx="231287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1" name="Picture 53" descr="문서 0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887268" y="2975353"/>
              <a:ext cx="231287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2" name="Picture 53" descr="문서 0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887268" y="3335800"/>
              <a:ext cx="231287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3" name="Picture 53" descr="문서 0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887268" y="3696248"/>
              <a:ext cx="231287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14" name="꺾인 연결선 113"/>
            <p:cNvCxnSpPr>
              <a:endCxn id="110" idx="1"/>
            </p:cNvCxnSpPr>
            <p:nvPr/>
          </p:nvCxnSpPr>
          <p:spPr bwMode="auto">
            <a:xfrm flipV="1">
              <a:off x="1464673" y="2758906"/>
              <a:ext cx="422595" cy="540969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5" name="꺾인 연결선 114"/>
            <p:cNvCxnSpPr>
              <a:endCxn id="113" idx="1"/>
            </p:cNvCxnSpPr>
            <p:nvPr/>
          </p:nvCxnSpPr>
          <p:spPr bwMode="auto">
            <a:xfrm>
              <a:off x="1464673" y="3299875"/>
              <a:ext cx="422595" cy="540373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6" name="꺾인 연결선 115"/>
            <p:cNvCxnSpPr>
              <a:endCxn id="111" idx="1"/>
            </p:cNvCxnSpPr>
            <p:nvPr/>
          </p:nvCxnSpPr>
          <p:spPr bwMode="auto">
            <a:xfrm flipV="1">
              <a:off x="1464673" y="3119353"/>
              <a:ext cx="422595" cy="18052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7" name="꺾인 연결선 116"/>
            <p:cNvCxnSpPr>
              <a:endCxn id="112" idx="1"/>
            </p:cNvCxnSpPr>
            <p:nvPr/>
          </p:nvCxnSpPr>
          <p:spPr bwMode="auto">
            <a:xfrm>
              <a:off x="1464673" y="3299875"/>
              <a:ext cx="422595" cy="17992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18" name="직사각형 117"/>
            <p:cNvSpPr/>
            <p:nvPr/>
          </p:nvSpPr>
          <p:spPr bwMode="auto">
            <a:xfrm>
              <a:off x="703832" y="2145513"/>
              <a:ext cx="3961135" cy="28862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[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개발자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각 채널 별 반영 요청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별 상품정보 반영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]</a:t>
              </a:r>
              <a:endPara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직사각형 118"/>
            <p:cNvSpPr/>
            <p:nvPr/>
          </p:nvSpPr>
          <p:spPr bwMode="auto">
            <a:xfrm>
              <a:off x="703833" y="4090324"/>
              <a:ext cx="3961135" cy="28862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[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변경 시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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연결 상품에 수작업 반영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]</a:t>
              </a:r>
              <a:endPara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오각형 119"/>
            <p:cNvSpPr/>
            <p:nvPr/>
          </p:nvSpPr>
          <p:spPr bwMode="auto">
            <a:xfrm>
              <a:off x="703832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역 변경</a:t>
              </a:r>
            </a:p>
          </p:txBody>
        </p:sp>
        <p:sp>
          <p:nvSpPr>
            <p:cNvPr id="121" name="오각형 120"/>
            <p:cNvSpPr/>
            <p:nvPr/>
          </p:nvSpPr>
          <p:spPr bwMode="auto">
            <a:xfrm>
              <a:off x="1688173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계 상품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작업 조회</a:t>
              </a:r>
            </a:p>
          </p:txBody>
        </p:sp>
        <p:sp>
          <p:nvSpPr>
            <p:cNvPr id="122" name="오각형 121"/>
            <p:cNvSpPr/>
            <p:nvPr/>
          </p:nvSpPr>
          <p:spPr bwMode="auto">
            <a:xfrm>
              <a:off x="2672514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별 수정</a:t>
              </a:r>
            </a:p>
          </p:txBody>
        </p:sp>
        <p:sp>
          <p:nvSpPr>
            <p:cNvPr id="123" name="오각형 122"/>
            <p:cNvSpPr/>
            <p:nvPr/>
          </p:nvSpPr>
          <p:spPr bwMode="auto">
            <a:xfrm>
              <a:off x="3656855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변경 내역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작업 반영</a:t>
              </a:r>
            </a:p>
          </p:txBody>
        </p:sp>
        <p:sp>
          <p:nvSpPr>
            <p:cNvPr id="124" name="순서도: 자기 디스크 123"/>
            <p:cNvSpPr/>
            <p:nvPr/>
          </p:nvSpPr>
          <p:spPr bwMode="auto">
            <a:xfrm>
              <a:off x="8458080" y="2648974"/>
              <a:ext cx="432048" cy="288627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5" name="순서도: 자기 디스크 124"/>
            <p:cNvSpPr/>
            <p:nvPr/>
          </p:nvSpPr>
          <p:spPr bwMode="auto">
            <a:xfrm>
              <a:off x="8458080" y="3009609"/>
              <a:ext cx="432048" cy="288627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순서도: 자기 디스크 125"/>
            <p:cNvSpPr/>
            <p:nvPr/>
          </p:nvSpPr>
          <p:spPr bwMode="auto">
            <a:xfrm>
              <a:off x="8458080" y="3369649"/>
              <a:ext cx="432048" cy="288627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7" name="순서도: 자기 디스크 126"/>
            <p:cNvSpPr/>
            <p:nvPr/>
          </p:nvSpPr>
          <p:spPr bwMode="auto">
            <a:xfrm>
              <a:off x="8458080" y="3729689"/>
              <a:ext cx="432048" cy="288627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5243157" y="2145513"/>
              <a:ext cx="3961135" cy="4326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[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개발자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</a:t>
              </a:r>
              <a:r>
                <a:rPr kumimoji="1" lang="ko-KR" altLang="en-US" sz="110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 시스템 등록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b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10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: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별 상품정보 반영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]</a:t>
              </a:r>
              <a:endPara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5243158" y="4090324"/>
              <a:ext cx="3961135" cy="28862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[ 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변경 시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 </a:t>
              </a:r>
              <a:r>
                <a:rPr kumimoji="1" lang="ko-KR" altLang="en-US" sz="110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컨텐츠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 관리를 통해 반영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]</a:t>
              </a:r>
              <a:endPara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0" name="오각형 129"/>
            <p:cNvSpPr/>
            <p:nvPr/>
          </p:nvSpPr>
          <p:spPr bwMode="auto">
            <a:xfrm>
              <a:off x="5817951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역 변경</a:t>
              </a:r>
            </a:p>
          </p:txBody>
        </p:sp>
        <p:sp>
          <p:nvSpPr>
            <p:cNvPr id="131" name="오각형 130"/>
            <p:cNvSpPr/>
            <p:nvPr/>
          </p:nvSpPr>
          <p:spPr bwMode="auto">
            <a:xfrm>
              <a:off x="6802292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 반영</a:t>
              </a:r>
            </a:p>
          </p:txBody>
        </p:sp>
        <p:sp>
          <p:nvSpPr>
            <p:cNvPr id="132" name="오각형 131"/>
            <p:cNvSpPr/>
            <p:nvPr/>
          </p:nvSpPr>
          <p:spPr bwMode="auto">
            <a:xfrm>
              <a:off x="7804275" y="4378257"/>
              <a:ext cx="900000" cy="468000"/>
            </a:xfrm>
            <a:prstGeom prst="homePlate">
              <a:avLst>
                <a:gd name="adj" fmla="val 2628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별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반영</a:t>
              </a:r>
            </a:p>
          </p:txBody>
        </p:sp>
        <p:sp>
          <p:nvSpPr>
            <p:cNvPr id="133" name="순서도: 자기 디스크 132"/>
            <p:cNvSpPr/>
            <p:nvPr/>
          </p:nvSpPr>
          <p:spPr bwMode="auto">
            <a:xfrm>
              <a:off x="6249143" y="3189135"/>
              <a:ext cx="638013" cy="361027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144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cxnSp>
          <p:nvCxnSpPr>
            <p:cNvPr id="134" name="꺾인 연결선 133"/>
            <p:cNvCxnSpPr>
              <a:stCxn id="133" idx="4"/>
              <a:endCxn id="124" idx="2"/>
            </p:cNvCxnSpPr>
            <p:nvPr/>
          </p:nvCxnSpPr>
          <p:spPr bwMode="auto">
            <a:xfrm flipV="1">
              <a:off x="6887156" y="2793288"/>
              <a:ext cx="1570924" cy="576361"/>
            </a:xfrm>
            <a:prstGeom prst="bentConnector3">
              <a:avLst>
                <a:gd name="adj1" fmla="val 12858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35" name="꺾인 연결선 134"/>
            <p:cNvCxnSpPr>
              <a:stCxn id="133" idx="4"/>
              <a:endCxn id="125" idx="2"/>
            </p:cNvCxnSpPr>
            <p:nvPr/>
          </p:nvCxnSpPr>
          <p:spPr bwMode="auto">
            <a:xfrm flipV="1">
              <a:off x="6887156" y="3153923"/>
              <a:ext cx="1570924" cy="215726"/>
            </a:xfrm>
            <a:prstGeom prst="bentConnector3">
              <a:avLst>
                <a:gd name="adj1" fmla="val 12304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36" name="꺾인 연결선 135"/>
            <p:cNvCxnSpPr>
              <a:stCxn id="133" idx="4"/>
              <a:endCxn id="126" idx="2"/>
            </p:cNvCxnSpPr>
            <p:nvPr/>
          </p:nvCxnSpPr>
          <p:spPr bwMode="auto">
            <a:xfrm>
              <a:off x="6887156" y="3369649"/>
              <a:ext cx="1570924" cy="144314"/>
            </a:xfrm>
            <a:prstGeom prst="bentConnector3">
              <a:avLst>
                <a:gd name="adj1" fmla="val 12858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37" name="꺾인 연결선 136"/>
            <p:cNvCxnSpPr>
              <a:stCxn id="133" idx="4"/>
              <a:endCxn id="127" idx="2"/>
            </p:cNvCxnSpPr>
            <p:nvPr/>
          </p:nvCxnSpPr>
          <p:spPr bwMode="auto">
            <a:xfrm>
              <a:off x="6887156" y="3369649"/>
              <a:ext cx="1570924" cy="504354"/>
            </a:xfrm>
            <a:prstGeom prst="bentConnector3">
              <a:avLst>
                <a:gd name="adj1" fmla="val 12858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38" name="직사각형 137"/>
            <p:cNvSpPr/>
            <p:nvPr/>
          </p:nvSpPr>
          <p:spPr bwMode="auto">
            <a:xfrm>
              <a:off x="7320187" y="2648974"/>
              <a:ext cx="936104" cy="2886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담</a:t>
              </a: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7320187" y="3009609"/>
              <a:ext cx="936104" cy="2886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제작물</a:t>
              </a: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7320187" y="3369649"/>
              <a:ext cx="936104" cy="2886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홈페이지</a:t>
              </a: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7320187" y="3729689"/>
              <a:ext cx="936104" cy="2886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</a:t>
              </a: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42" name="꺾인 연결선 141"/>
            <p:cNvCxnSpPr>
              <a:endCxn id="143" idx="1"/>
            </p:cNvCxnSpPr>
            <p:nvPr/>
          </p:nvCxnSpPr>
          <p:spPr bwMode="auto">
            <a:xfrm>
              <a:off x="5859982" y="2863140"/>
              <a:ext cx="318170" cy="215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43" name="직사각형 142"/>
            <p:cNvSpPr/>
            <p:nvPr/>
          </p:nvSpPr>
          <p:spPr bwMode="auto">
            <a:xfrm>
              <a:off x="6178152" y="2720982"/>
              <a:ext cx="792088" cy="2886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</a:t>
              </a:r>
            </a:p>
          </p:txBody>
        </p:sp>
        <p:cxnSp>
          <p:nvCxnSpPr>
            <p:cNvPr id="144" name="꺾인 연결선 143"/>
            <p:cNvCxnSpPr>
              <a:stCxn id="143" idx="2"/>
              <a:endCxn id="133" idx="1"/>
            </p:cNvCxnSpPr>
            <p:nvPr/>
          </p:nvCxnSpPr>
          <p:spPr bwMode="auto">
            <a:xfrm rot="5400000">
              <a:off x="6481410" y="3096349"/>
              <a:ext cx="179526" cy="604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145" name="그룹 44"/>
            <p:cNvGrpSpPr/>
            <p:nvPr/>
          </p:nvGrpSpPr>
          <p:grpSpPr>
            <a:xfrm>
              <a:off x="3441848" y="2578156"/>
              <a:ext cx="216024" cy="288032"/>
              <a:chOff x="2900754" y="2214554"/>
              <a:chExt cx="248603" cy="285752"/>
            </a:xfrm>
          </p:grpSpPr>
          <p:sp>
            <p:nvSpPr>
              <p:cNvPr id="146" name="이등변 삼각형 145"/>
              <p:cNvSpPr/>
              <p:nvPr/>
            </p:nvSpPr>
            <p:spPr bwMode="auto">
              <a:xfrm>
                <a:off x="2900754" y="2285993"/>
                <a:ext cx="248603" cy="214313"/>
              </a:xfrm>
              <a:prstGeom prst="triangl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7" name="타원 146"/>
              <p:cNvSpPr/>
              <p:nvPr/>
            </p:nvSpPr>
            <p:spPr bwMode="auto">
              <a:xfrm>
                <a:off x="2952736" y="2214554"/>
                <a:ext cx="142876" cy="14287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148" name="그룹 44"/>
            <p:cNvGrpSpPr/>
            <p:nvPr/>
          </p:nvGrpSpPr>
          <p:grpSpPr>
            <a:xfrm>
              <a:off x="3441848" y="2938196"/>
              <a:ext cx="216024" cy="288032"/>
              <a:chOff x="2900754" y="2214554"/>
              <a:chExt cx="248603" cy="285752"/>
            </a:xfrm>
          </p:grpSpPr>
          <p:sp>
            <p:nvSpPr>
              <p:cNvPr id="149" name="이등변 삼각형 148"/>
              <p:cNvSpPr/>
              <p:nvPr/>
            </p:nvSpPr>
            <p:spPr bwMode="auto">
              <a:xfrm>
                <a:off x="2900754" y="2285993"/>
                <a:ext cx="248603" cy="214313"/>
              </a:xfrm>
              <a:prstGeom prst="triangl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0" name="타원 149"/>
              <p:cNvSpPr/>
              <p:nvPr/>
            </p:nvSpPr>
            <p:spPr bwMode="auto">
              <a:xfrm>
                <a:off x="2952736" y="2214554"/>
                <a:ext cx="142876" cy="14287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151" name="그룹 44"/>
            <p:cNvGrpSpPr/>
            <p:nvPr/>
          </p:nvGrpSpPr>
          <p:grpSpPr>
            <a:xfrm>
              <a:off x="3441848" y="3298236"/>
              <a:ext cx="216024" cy="288032"/>
              <a:chOff x="2900754" y="2214554"/>
              <a:chExt cx="248603" cy="285752"/>
            </a:xfrm>
          </p:grpSpPr>
          <p:sp>
            <p:nvSpPr>
              <p:cNvPr id="152" name="이등변 삼각형 151"/>
              <p:cNvSpPr/>
              <p:nvPr/>
            </p:nvSpPr>
            <p:spPr bwMode="auto">
              <a:xfrm>
                <a:off x="2900754" y="2285993"/>
                <a:ext cx="248603" cy="214313"/>
              </a:xfrm>
              <a:prstGeom prst="triangl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3" name="타원 152"/>
              <p:cNvSpPr/>
              <p:nvPr/>
            </p:nvSpPr>
            <p:spPr bwMode="auto">
              <a:xfrm>
                <a:off x="2952736" y="2214554"/>
                <a:ext cx="142876" cy="14287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154" name="그룹 44"/>
            <p:cNvGrpSpPr/>
            <p:nvPr/>
          </p:nvGrpSpPr>
          <p:grpSpPr>
            <a:xfrm>
              <a:off x="3441848" y="3658276"/>
              <a:ext cx="216024" cy="288032"/>
              <a:chOff x="2900754" y="2214554"/>
              <a:chExt cx="248603" cy="285752"/>
            </a:xfrm>
          </p:grpSpPr>
          <p:sp>
            <p:nvSpPr>
              <p:cNvPr id="155" name="이등변 삼각형 154"/>
              <p:cNvSpPr/>
              <p:nvPr/>
            </p:nvSpPr>
            <p:spPr bwMode="auto">
              <a:xfrm>
                <a:off x="2900754" y="2285993"/>
                <a:ext cx="248603" cy="214313"/>
              </a:xfrm>
              <a:prstGeom prst="triangl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6" name="타원 155"/>
              <p:cNvSpPr/>
              <p:nvPr/>
            </p:nvSpPr>
            <p:spPr bwMode="auto">
              <a:xfrm>
                <a:off x="2952736" y="2214554"/>
                <a:ext cx="142876" cy="14287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pic>
          <p:nvPicPr>
            <p:cNvPr id="157" name="Picture 19" descr="C:\Documents and Settings\aduser\Local Settings\Temporary Internet Files\Content.IE5\HCI1QDAM\MC900441539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849560" y="3010204"/>
              <a:ext cx="720000" cy="71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8" name="Picture 19" descr="C:\Documents and Settings\aduser\Local Settings\Temporary Internet Files\Content.IE5\HCI1QDAM\MC900441539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314056" y="2578156"/>
              <a:ext cx="720000" cy="71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7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68" name="TextBox 16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lang="ko-KR" altLang="en-US" sz="14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 시스템 개선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 </a:t>
              </a:r>
            </a:p>
          </p:txBody>
        </p:sp>
        <p:cxnSp>
          <p:nvCxnSpPr>
            <p:cNvPr id="169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0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71" name="TextBox 17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74" name="그룹 17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7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7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7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7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7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8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8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83" name="그룹 18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8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8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458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을 통해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컨텐츠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관리를 할 경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개발자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컨텐츠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에 정보 등록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완료하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정을 거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접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널에 자동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영되는 형태의 방안을 고려할 수 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245816"/>
              </p:ext>
            </p:extLst>
          </p:nvPr>
        </p:nvGraphicFramePr>
        <p:xfrm>
          <a:off x="273051" y="1937381"/>
          <a:ext cx="9315447" cy="4445992"/>
        </p:xfrm>
        <a:graphic>
          <a:graphicData uri="http://schemas.openxmlformats.org/drawingml/2006/table">
            <a:tbl>
              <a:tblPr firstRow="1" bandRow="1"/>
              <a:tblGrid>
                <a:gridCol w="2323902"/>
                <a:gridCol w="1398309"/>
                <a:gridCol w="1398309"/>
                <a:gridCol w="1398309"/>
                <a:gridCol w="1398309"/>
                <a:gridCol w="1398309"/>
              </a:tblGrid>
              <a:tr h="2442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latin typeface="맑은 고딕" panose="020B0503020000020004" pitchFamily="50" charset="-127"/>
                        </a:rPr>
                        <a:t>상품개발담당자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latin typeface="맑은 고딕" panose="020B0503020000020004" pitchFamily="50" charset="-127"/>
                        </a:rPr>
                        <a:t>카피라이터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latin typeface="맑은 고딕" panose="020B0503020000020004" pitchFamily="50" charset="-127"/>
                        </a:rPr>
                        <a:t>개발자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latin typeface="맑은 고딕" panose="020B0503020000020004" pitchFamily="50" charset="-127"/>
                        </a:rPr>
                        <a:t>법무담당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err="1" smtClean="0">
                          <a:latin typeface="맑은 고딕" panose="020B0503020000020004" pitchFamily="50" charset="-127"/>
                        </a:rPr>
                        <a:t>업무계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latin typeface="맑은 고딕" panose="020B0503020000020004" pitchFamily="50" charset="-127"/>
                        </a:rPr>
                        <a:t>고객접점</a:t>
                      </a:r>
                      <a:endParaRPr lang="ko-KR" altLang="en-US" sz="11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94478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71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 err="1" smtClean="0">
                          <a:latin typeface="맑은 고딕" panose="020B0503020000020004" pitchFamily="50" charset="-127"/>
                        </a:rPr>
                        <a:t>컨텐츠관리</a:t>
                      </a:r>
                      <a:endParaRPr lang="ko-KR" altLang="en-US" sz="1200" b="1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2952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352248" y="2276872"/>
            <a:ext cx="9110445" cy="3983933"/>
            <a:chOff x="352248" y="1646502"/>
            <a:chExt cx="9110445" cy="4647765"/>
          </a:xfrm>
        </p:grpSpPr>
        <p:sp>
          <p:nvSpPr>
            <p:cNvPr id="16" name="모서리가 둥근 직사각형 15"/>
            <p:cNvSpPr/>
            <p:nvPr/>
          </p:nvSpPr>
          <p:spPr bwMode="auto">
            <a:xfrm>
              <a:off x="853440" y="1646502"/>
              <a:ext cx="1254034" cy="25574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속성정보 등록</a:t>
              </a:r>
            </a:p>
          </p:txBody>
        </p:sp>
        <p:sp>
          <p:nvSpPr>
            <p:cNvPr id="17" name="모서리가 둥근 직사각형 16"/>
            <p:cNvSpPr/>
            <p:nvPr/>
          </p:nvSpPr>
          <p:spPr bwMode="auto">
            <a:xfrm>
              <a:off x="505097" y="2145503"/>
              <a:ext cx="862148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정보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등록</a:t>
              </a:r>
            </a:p>
          </p:txBody>
        </p:sp>
        <p:sp>
          <p:nvSpPr>
            <p:cNvPr id="18" name="모서리가 둥근 직사각형 17"/>
            <p:cNvSpPr/>
            <p:nvPr/>
          </p:nvSpPr>
          <p:spPr bwMode="auto">
            <a:xfrm>
              <a:off x="1672049" y="2149546"/>
              <a:ext cx="862148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정보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등록</a:t>
              </a:r>
            </a:p>
          </p:txBody>
        </p:sp>
        <p:sp>
          <p:nvSpPr>
            <p:cNvPr id="19" name="모서리가 둥근 직사각형 18"/>
            <p:cNvSpPr/>
            <p:nvPr/>
          </p:nvSpPr>
          <p:spPr bwMode="auto">
            <a:xfrm>
              <a:off x="853440" y="2724747"/>
              <a:ext cx="1254034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카피라이터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수정 요청</a:t>
              </a:r>
            </a:p>
          </p:txBody>
        </p:sp>
        <p:sp>
          <p:nvSpPr>
            <p:cNvPr id="20" name="모서리가 둥근 직사각형 19"/>
            <p:cNvSpPr/>
            <p:nvPr/>
          </p:nvSpPr>
          <p:spPr bwMode="auto">
            <a:xfrm>
              <a:off x="853440" y="3309956"/>
              <a:ext cx="1254034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내용 정합성 확인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" name="모서리가 둥근 직사각형 20"/>
            <p:cNvSpPr/>
            <p:nvPr/>
          </p:nvSpPr>
          <p:spPr bwMode="auto">
            <a:xfrm>
              <a:off x="853440" y="3731991"/>
              <a:ext cx="1254034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법무검토 요청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2" name="모서리가 둥근 직사각형 21"/>
            <p:cNvSpPr/>
            <p:nvPr/>
          </p:nvSpPr>
          <p:spPr bwMode="auto">
            <a:xfrm>
              <a:off x="853440" y="4130083"/>
              <a:ext cx="1254034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명 수정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완</a:t>
              </a:r>
            </a:p>
          </p:txBody>
        </p:sp>
        <p:sp>
          <p:nvSpPr>
            <p:cNvPr id="23" name="모서리가 둥근 직사각형 22"/>
            <p:cNvSpPr/>
            <p:nvPr/>
          </p:nvSpPr>
          <p:spPr bwMode="auto">
            <a:xfrm>
              <a:off x="853440" y="4536279"/>
              <a:ext cx="1254034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매핑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정보 확인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4" name="다이아몬드 23"/>
            <p:cNvSpPr/>
            <p:nvPr/>
          </p:nvSpPr>
          <p:spPr bwMode="auto">
            <a:xfrm>
              <a:off x="844731" y="5808650"/>
              <a:ext cx="1271452" cy="485617"/>
            </a:xfrm>
            <a:prstGeom prst="diamond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결재</a:t>
              </a:r>
            </a:p>
          </p:txBody>
        </p:sp>
        <p:cxnSp>
          <p:nvCxnSpPr>
            <p:cNvPr id="25" name="Shape 38"/>
            <p:cNvCxnSpPr>
              <a:stCxn id="16" idx="2"/>
              <a:endCxn id="17" idx="0"/>
            </p:cNvCxnSpPr>
            <p:nvPr/>
          </p:nvCxnSpPr>
          <p:spPr bwMode="auto">
            <a:xfrm rot="5400000">
              <a:off x="1086688" y="1751733"/>
              <a:ext cx="243253" cy="54428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6" name="Shape 38"/>
            <p:cNvCxnSpPr>
              <a:stCxn id="16" idx="2"/>
              <a:endCxn id="18" idx="0"/>
            </p:cNvCxnSpPr>
            <p:nvPr/>
          </p:nvCxnSpPr>
          <p:spPr bwMode="auto">
            <a:xfrm rot="16200000" flipH="1">
              <a:off x="1668142" y="1714565"/>
              <a:ext cx="247296" cy="62266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7" name="Shape 38"/>
            <p:cNvCxnSpPr>
              <a:stCxn id="18" idx="2"/>
              <a:endCxn id="19" idx="0"/>
            </p:cNvCxnSpPr>
            <p:nvPr/>
          </p:nvCxnSpPr>
          <p:spPr bwMode="auto">
            <a:xfrm rot="5400000">
              <a:off x="1648048" y="2269672"/>
              <a:ext cx="287484" cy="62266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8" name="Shape 38"/>
            <p:cNvCxnSpPr>
              <a:stCxn id="17" idx="2"/>
              <a:endCxn id="19" idx="0"/>
            </p:cNvCxnSpPr>
            <p:nvPr/>
          </p:nvCxnSpPr>
          <p:spPr bwMode="auto">
            <a:xfrm rot="16200000" flipH="1">
              <a:off x="1062551" y="2306840"/>
              <a:ext cx="291527" cy="54428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9" name="직선 화살표 연결선 28"/>
            <p:cNvCxnSpPr>
              <a:stCxn id="19" idx="2"/>
              <a:endCxn id="20" idx="0"/>
            </p:cNvCxnSpPr>
            <p:nvPr/>
          </p:nvCxnSpPr>
          <p:spPr bwMode="auto">
            <a:xfrm>
              <a:off x="1480457" y="3012464"/>
              <a:ext cx="0" cy="297492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30" name="직선 화살표 연결선 29"/>
            <p:cNvCxnSpPr>
              <a:stCxn id="20" idx="2"/>
              <a:endCxn id="21" idx="0"/>
            </p:cNvCxnSpPr>
            <p:nvPr/>
          </p:nvCxnSpPr>
          <p:spPr bwMode="auto">
            <a:xfrm rot="5400000">
              <a:off x="1397314" y="3648758"/>
              <a:ext cx="166287" cy="1588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31" name="직선 화살표 연결선 30"/>
            <p:cNvCxnSpPr>
              <a:stCxn id="21" idx="3"/>
              <a:endCxn id="45" idx="1"/>
            </p:cNvCxnSpPr>
            <p:nvPr/>
          </p:nvCxnSpPr>
          <p:spPr bwMode="auto">
            <a:xfrm>
              <a:off x="2107474" y="3859865"/>
              <a:ext cx="3466005" cy="15985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32" name="직선 화살표 연결선 31"/>
            <p:cNvCxnSpPr>
              <a:stCxn id="67" idx="2"/>
              <a:endCxn id="24" idx="0"/>
            </p:cNvCxnSpPr>
            <p:nvPr/>
          </p:nvCxnSpPr>
          <p:spPr bwMode="auto">
            <a:xfrm rot="5400000">
              <a:off x="1409092" y="5737195"/>
              <a:ext cx="142731" cy="1588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33" name="모서리가 둥근 직사각형 32"/>
            <p:cNvSpPr/>
            <p:nvPr/>
          </p:nvSpPr>
          <p:spPr bwMode="auto">
            <a:xfrm>
              <a:off x="2786704" y="2416536"/>
              <a:ext cx="1140822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정보 수정</a:t>
              </a:r>
            </a:p>
          </p:txBody>
        </p:sp>
        <p:sp>
          <p:nvSpPr>
            <p:cNvPr id="34" name="모서리가 둥근 직사각형 33"/>
            <p:cNvSpPr/>
            <p:nvPr/>
          </p:nvSpPr>
          <p:spPr bwMode="auto">
            <a:xfrm>
              <a:off x="2786704" y="2915537"/>
              <a:ext cx="1140822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정보 수정</a:t>
              </a:r>
            </a:p>
          </p:txBody>
        </p:sp>
        <p:sp>
          <p:nvSpPr>
            <p:cNvPr id="35" name="모서리가 둥근 직사각형 34"/>
            <p:cNvSpPr/>
            <p:nvPr/>
          </p:nvSpPr>
          <p:spPr bwMode="auto">
            <a:xfrm>
              <a:off x="4214906" y="2238660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담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영업제작물 코딩</a:t>
              </a:r>
            </a:p>
          </p:txBody>
        </p:sp>
        <p:sp>
          <p:nvSpPr>
            <p:cNvPr id="36" name="모서리가 둥근 직사각형 35"/>
            <p:cNvSpPr/>
            <p:nvPr/>
          </p:nvSpPr>
          <p:spPr bwMode="auto">
            <a:xfrm>
              <a:off x="4214906" y="2652590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홈페이지용 코딩</a:t>
              </a:r>
            </a:p>
          </p:txBody>
        </p:sp>
        <p:sp>
          <p:nvSpPr>
            <p:cNvPr id="37" name="모서리가 둥근 직사각형 36"/>
            <p:cNvSpPr/>
            <p:nvPr/>
          </p:nvSpPr>
          <p:spPr bwMode="auto">
            <a:xfrm>
              <a:off x="4214906" y="3094981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모바일용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코딩</a:t>
              </a:r>
            </a:p>
          </p:txBody>
        </p:sp>
        <p:cxnSp>
          <p:nvCxnSpPr>
            <p:cNvPr id="38" name="Shape 38"/>
            <p:cNvCxnSpPr>
              <a:stCxn id="19" idx="3"/>
              <a:endCxn id="33" idx="1"/>
            </p:cNvCxnSpPr>
            <p:nvPr/>
          </p:nvCxnSpPr>
          <p:spPr bwMode="auto">
            <a:xfrm flipV="1">
              <a:off x="2107474" y="2544410"/>
              <a:ext cx="679230" cy="32419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39" name="Shape 38"/>
            <p:cNvCxnSpPr>
              <a:stCxn id="19" idx="3"/>
              <a:endCxn id="34" idx="1"/>
            </p:cNvCxnSpPr>
            <p:nvPr/>
          </p:nvCxnSpPr>
          <p:spPr bwMode="auto">
            <a:xfrm>
              <a:off x="2107474" y="2868606"/>
              <a:ext cx="679230" cy="174805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40" name="Shape 38"/>
            <p:cNvCxnSpPr>
              <a:stCxn id="33" idx="3"/>
              <a:endCxn id="36" idx="1"/>
            </p:cNvCxnSpPr>
            <p:nvPr/>
          </p:nvCxnSpPr>
          <p:spPr bwMode="auto">
            <a:xfrm>
              <a:off x="3927526" y="2544410"/>
              <a:ext cx="287380" cy="236055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41" name="꺾인 연결선 40"/>
            <p:cNvCxnSpPr>
              <a:stCxn id="35" idx="3"/>
              <a:endCxn id="37" idx="3"/>
            </p:cNvCxnSpPr>
            <p:nvPr/>
          </p:nvCxnSpPr>
          <p:spPr bwMode="auto">
            <a:xfrm>
              <a:off x="5303476" y="2366534"/>
              <a:ext cx="1588" cy="856321"/>
            </a:xfrm>
            <a:prstGeom prst="bentConnector3">
              <a:avLst>
                <a:gd name="adj1" fmla="val 14395466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hape 38"/>
            <p:cNvCxnSpPr>
              <a:stCxn id="34" idx="3"/>
              <a:endCxn id="36" idx="1"/>
            </p:cNvCxnSpPr>
            <p:nvPr/>
          </p:nvCxnSpPr>
          <p:spPr bwMode="auto">
            <a:xfrm flipV="1">
              <a:off x="3927526" y="2780464"/>
              <a:ext cx="287380" cy="26294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43" name="꺾인 연결선 42"/>
            <p:cNvCxnSpPr>
              <a:stCxn id="35" idx="1"/>
              <a:endCxn id="37" idx="1"/>
            </p:cNvCxnSpPr>
            <p:nvPr/>
          </p:nvCxnSpPr>
          <p:spPr bwMode="auto">
            <a:xfrm rot="10800000" flipV="1">
              <a:off x="4214906" y="2366534"/>
              <a:ext cx="1588" cy="856321"/>
            </a:xfrm>
            <a:prstGeom prst="bentConnector3">
              <a:avLst>
                <a:gd name="adj1" fmla="val 8911464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hape 38"/>
            <p:cNvCxnSpPr>
              <a:stCxn id="36" idx="3"/>
              <a:endCxn id="20" idx="3"/>
            </p:cNvCxnSpPr>
            <p:nvPr/>
          </p:nvCxnSpPr>
          <p:spPr bwMode="auto">
            <a:xfrm flipH="1">
              <a:off x="2107474" y="2780464"/>
              <a:ext cx="3196002" cy="657366"/>
            </a:xfrm>
            <a:prstGeom prst="bentConnector3">
              <a:avLst>
                <a:gd name="adj1" fmla="val -7153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45" name="다이아몬드 44"/>
            <p:cNvSpPr/>
            <p:nvPr/>
          </p:nvSpPr>
          <p:spPr bwMode="auto">
            <a:xfrm>
              <a:off x="5573479" y="3633042"/>
              <a:ext cx="1097278" cy="485617"/>
            </a:xfrm>
            <a:prstGeom prst="diamond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명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검토</a:t>
              </a:r>
            </a:p>
          </p:txBody>
        </p:sp>
        <p:cxnSp>
          <p:nvCxnSpPr>
            <p:cNvPr id="46" name="Shape 38"/>
            <p:cNvCxnSpPr>
              <a:stCxn id="45" idx="2"/>
              <a:endCxn id="22" idx="3"/>
            </p:cNvCxnSpPr>
            <p:nvPr/>
          </p:nvCxnSpPr>
          <p:spPr bwMode="auto">
            <a:xfrm rot="5400000">
              <a:off x="4045147" y="2180985"/>
              <a:ext cx="139298" cy="4014644"/>
            </a:xfrm>
            <a:prstGeom prst="bentConnector2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47" name="Shape 38"/>
            <p:cNvCxnSpPr>
              <a:stCxn id="45" idx="2"/>
              <a:endCxn id="23" idx="3"/>
            </p:cNvCxnSpPr>
            <p:nvPr/>
          </p:nvCxnSpPr>
          <p:spPr bwMode="auto">
            <a:xfrm rot="5400000">
              <a:off x="3834056" y="2392076"/>
              <a:ext cx="561479" cy="4014644"/>
            </a:xfrm>
            <a:prstGeom prst="bentConnector2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48" name="TextBox 47"/>
            <p:cNvSpPr txBox="1"/>
            <p:nvPr/>
          </p:nvSpPr>
          <p:spPr>
            <a:xfrm>
              <a:off x="5573480" y="4075947"/>
              <a:ext cx="418018" cy="20498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No</a:t>
              </a:r>
              <a:endParaRPr kumimoji="1"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573480" y="4481091"/>
              <a:ext cx="418018" cy="20498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Yes</a:t>
              </a:r>
              <a:endParaRPr kumimoji="1"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50" name="Shape 38"/>
            <p:cNvCxnSpPr>
              <a:stCxn id="22" idx="1"/>
              <a:endCxn id="19" idx="1"/>
            </p:cNvCxnSpPr>
            <p:nvPr/>
          </p:nvCxnSpPr>
          <p:spPr bwMode="auto">
            <a:xfrm rot="10800000">
              <a:off x="853440" y="2868607"/>
              <a:ext cx="12700" cy="1389351"/>
            </a:xfrm>
            <a:prstGeom prst="bentConnector3">
              <a:avLst>
                <a:gd name="adj1" fmla="val 1800000"/>
              </a:avLst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stealth"/>
            </a:ln>
            <a:effectLst/>
          </p:spPr>
        </p:cxnSp>
        <p:cxnSp>
          <p:nvCxnSpPr>
            <p:cNvPr id="51" name="Shape 38"/>
            <p:cNvCxnSpPr>
              <a:stCxn id="20" idx="1"/>
              <a:endCxn id="23" idx="1"/>
            </p:cNvCxnSpPr>
            <p:nvPr/>
          </p:nvCxnSpPr>
          <p:spPr bwMode="auto">
            <a:xfrm rot="10800000" flipV="1">
              <a:off x="853440" y="3437830"/>
              <a:ext cx="1588" cy="1242307"/>
            </a:xfrm>
            <a:prstGeom prst="bentConnector3">
              <a:avLst>
                <a:gd name="adj1" fmla="val 20976266"/>
              </a:avLst>
            </a:prstGeom>
            <a:noFill/>
            <a:ln w="12700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stealth"/>
            </a:ln>
            <a:effectLst/>
          </p:spPr>
        </p:cxnSp>
        <p:sp>
          <p:nvSpPr>
            <p:cNvPr id="52" name="TextBox 51"/>
            <p:cNvSpPr txBox="1"/>
            <p:nvPr/>
          </p:nvSpPr>
          <p:spPr>
            <a:xfrm rot="16200000">
              <a:off x="-25532" y="4017671"/>
              <a:ext cx="894059" cy="138499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법무검토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수정건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cxnSp>
          <p:nvCxnSpPr>
            <p:cNvPr id="53" name="직선 화살표 연결선 52"/>
            <p:cNvCxnSpPr>
              <a:stCxn id="22" idx="2"/>
              <a:endCxn id="23" idx="0"/>
            </p:cNvCxnSpPr>
            <p:nvPr/>
          </p:nvCxnSpPr>
          <p:spPr bwMode="auto">
            <a:xfrm rot="5400000">
              <a:off x="1405233" y="4460966"/>
              <a:ext cx="150448" cy="1588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54" name="TextBox 53"/>
            <p:cNvSpPr txBox="1"/>
            <p:nvPr/>
          </p:nvSpPr>
          <p:spPr>
            <a:xfrm rot="16200000">
              <a:off x="263561" y="3032041"/>
              <a:ext cx="494178" cy="138499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필요시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5" name="모서리가 둥근 직사각형 54"/>
            <p:cNvSpPr/>
            <p:nvPr/>
          </p:nvSpPr>
          <p:spPr bwMode="auto">
            <a:xfrm>
              <a:off x="8310693" y="5486474"/>
              <a:ext cx="115200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모바일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반영</a:t>
              </a:r>
            </a:p>
          </p:txBody>
        </p:sp>
        <p:sp>
          <p:nvSpPr>
            <p:cNvPr id="56" name="모서리가 둥근 직사각형 55"/>
            <p:cNvSpPr/>
            <p:nvPr/>
          </p:nvSpPr>
          <p:spPr bwMode="auto">
            <a:xfrm>
              <a:off x="8310693" y="5915334"/>
              <a:ext cx="115200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홈페이지 반영</a:t>
              </a:r>
            </a:p>
          </p:txBody>
        </p:sp>
        <p:cxnSp>
          <p:nvCxnSpPr>
            <p:cNvPr id="57" name="Shape 38"/>
            <p:cNvCxnSpPr>
              <a:stCxn id="24" idx="3"/>
              <a:endCxn id="55" idx="1"/>
            </p:cNvCxnSpPr>
            <p:nvPr/>
          </p:nvCxnSpPr>
          <p:spPr bwMode="auto">
            <a:xfrm flipV="1">
              <a:off x="2116183" y="5614348"/>
              <a:ext cx="6194510" cy="437111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58" name="직선 화살표 연결선 57"/>
            <p:cNvCxnSpPr>
              <a:stCxn id="24" idx="3"/>
              <a:endCxn id="56" idx="1"/>
            </p:cNvCxnSpPr>
            <p:nvPr/>
          </p:nvCxnSpPr>
          <p:spPr bwMode="auto">
            <a:xfrm flipV="1">
              <a:off x="2116183" y="6043208"/>
              <a:ext cx="6194510" cy="8251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59" name="모서리가 둥근 직사각형 58"/>
            <p:cNvSpPr/>
            <p:nvPr/>
          </p:nvSpPr>
          <p:spPr bwMode="auto">
            <a:xfrm>
              <a:off x="6931980" y="1942857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개발계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저장</a:t>
              </a:r>
            </a:p>
          </p:txBody>
        </p:sp>
        <p:sp>
          <p:nvSpPr>
            <p:cNvPr id="60" name="모서리가 둥근 직사각형 59"/>
            <p:cNvSpPr/>
            <p:nvPr/>
          </p:nvSpPr>
          <p:spPr bwMode="auto">
            <a:xfrm>
              <a:off x="6931980" y="2435085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운영계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이관</a:t>
              </a:r>
            </a:p>
          </p:txBody>
        </p:sp>
        <p:sp>
          <p:nvSpPr>
            <p:cNvPr id="61" name="모서리가 둥근 직사각형 60"/>
            <p:cNvSpPr/>
            <p:nvPr/>
          </p:nvSpPr>
          <p:spPr bwMode="auto">
            <a:xfrm>
              <a:off x="6931980" y="2926353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일배치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정보 이관</a:t>
              </a:r>
            </a:p>
          </p:txBody>
        </p:sp>
        <p:cxnSp>
          <p:nvCxnSpPr>
            <p:cNvPr id="62" name="Shape 38"/>
            <p:cNvCxnSpPr>
              <a:stCxn id="16" idx="3"/>
              <a:endCxn id="59" idx="0"/>
            </p:cNvCxnSpPr>
            <p:nvPr/>
          </p:nvCxnSpPr>
          <p:spPr bwMode="auto">
            <a:xfrm>
              <a:off x="2107474" y="1774376"/>
              <a:ext cx="5368791" cy="168481"/>
            </a:xfrm>
            <a:prstGeom prst="bentConnector2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63" name="직선 화살표 연결선 62"/>
            <p:cNvCxnSpPr>
              <a:stCxn id="59" idx="2"/>
              <a:endCxn id="60" idx="0"/>
            </p:cNvCxnSpPr>
            <p:nvPr/>
          </p:nvCxnSpPr>
          <p:spPr bwMode="auto">
            <a:xfrm rot="5400000">
              <a:off x="7358025" y="2316756"/>
              <a:ext cx="236480" cy="1588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64" name="직선 화살표 연결선 63"/>
            <p:cNvCxnSpPr>
              <a:stCxn id="60" idx="2"/>
              <a:endCxn id="61" idx="0"/>
            </p:cNvCxnSpPr>
            <p:nvPr/>
          </p:nvCxnSpPr>
          <p:spPr bwMode="auto">
            <a:xfrm rot="5400000">
              <a:off x="7358505" y="2808504"/>
              <a:ext cx="235519" cy="1588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65" name="모서리가 둥근 직사각형 64"/>
            <p:cNvSpPr/>
            <p:nvPr/>
          </p:nvSpPr>
          <p:spPr bwMode="auto">
            <a:xfrm>
              <a:off x="6931980" y="3919189"/>
              <a:ext cx="1088570" cy="255748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속성정보 반영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cxnSp>
          <p:nvCxnSpPr>
            <p:cNvPr id="66" name="Shape 38"/>
            <p:cNvCxnSpPr>
              <a:stCxn id="61" idx="3"/>
              <a:endCxn id="65" idx="3"/>
            </p:cNvCxnSpPr>
            <p:nvPr/>
          </p:nvCxnSpPr>
          <p:spPr bwMode="auto">
            <a:xfrm>
              <a:off x="8020550" y="3054227"/>
              <a:ext cx="1588" cy="992836"/>
            </a:xfrm>
            <a:prstGeom prst="bentConnector3">
              <a:avLst>
                <a:gd name="adj1" fmla="val 14395466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67" name="모서리가 둥근 직사각형 66"/>
            <p:cNvSpPr/>
            <p:nvPr/>
          </p:nvSpPr>
          <p:spPr bwMode="auto">
            <a:xfrm>
              <a:off x="853440" y="5378202"/>
              <a:ext cx="1254034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채널 반영 위한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결재 상신</a:t>
              </a:r>
            </a:p>
          </p:txBody>
        </p:sp>
        <p:cxnSp>
          <p:nvCxnSpPr>
            <p:cNvPr id="68" name="직선 화살표 연결선 67"/>
            <p:cNvCxnSpPr>
              <a:stCxn id="23" idx="2"/>
              <a:endCxn id="69" idx="0"/>
            </p:cNvCxnSpPr>
            <p:nvPr/>
          </p:nvCxnSpPr>
          <p:spPr bwMode="auto">
            <a:xfrm rot="16200000" flipH="1">
              <a:off x="1407789" y="4896663"/>
              <a:ext cx="147402" cy="2067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69" name="모서리가 둥근 직사각형 68"/>
            <p:cNvSpPr/>
            <p:nvPr/>
          </p:nvSpPr>
          <p:spPr bwMode="auto">
            <a:xfrm>
              <a:off x="718229" y="4971397"/>
              <a:ext cx="1528590" cy="287717"/>
            </a:xfrm>
            <a:prstGeom prst="roundRect">
              <a:avLst/>
            </a:prstGeom>
            <a:solidFill>
              <a:srgbClr val="FFFFFF">
                <a:alpha val="50000"/>
              </a:srgbClr>
            </a:solidFill>
            <a:ln w="12700" cap="flat" cmpd="sng" algn="ctr">
              <a:solidFill>
                <a:srgbClr val="000000"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키서비스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및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홈페이지용</a:t>
              </a:r>
              <a:endPara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분류 지정</a:t>
              </a:r>
            </a:p>
          </p:txBody>
        </p:sp>
        <p:cxnSp>
          <p:nvCxnSpPr>
            <p:cNvPr id="70" name="직선 화살표 연결선 69"/>
            <p:cNvCxnSpPr>
              <a:stCxn id="69" idx="2"/>
              <a:endCxn id="67" idx="0"/>
            </p:cNvCxnSpPr>
            <p:nvPr/>
          </p:nvCxnSpPr>
          <p:spPr bwMode="auto">
            <a:xfrm rot="5400000">
              <a:off x="1421947" y="5317625"/>
              <a:ext cx="119088" cy="2067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71" name="Shape 38"/>
            <p:cNvCxnSpPr>
              <a:stCxn id="65" idx="2"/>
            </p:cNvCxnSpPr>
            <p:nvPr/>
          </p:nvCxnSpPr>
          <p:spPr bwMode="auto">
            <a:xfrm rot="5400000">
              <a:off x="4496101" y="1781961"/>
              <a:ext cx="587187" cy="5373141"/>
            </a:xfrm>
            <a:prstGeom prst="bentConnector2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</p:grpSp>
      <p:grpSp>
        <p:nvGrpSpPr>
          <p:cNvPr id="80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81" name="TextBox 8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lang="ko-KR" altLang="en-US" sz="14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컨텐츠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관리 시스템 업무 흐름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2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98" name="TextBox 9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4" name="그룹 8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8" name="그룹 10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4594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PLC(Product Life Cycle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관점에서 상품 성과관리 체계를 정비하여 유연한 실적 데이터 산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 신상품 조기경보체계 확립 및 기존상품 운영의 효율화를 이루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320300" y="1942914"/>
            <a:ext cx="9270997" cy="4340403"/>
            <a:chOff x="234189" y="1850651"/>
            <a:chExt cx="9363707" cy="4471921"/>
          </a:xfrm>
        </p:grpSpPr>
        <p:sp>
          <p:nvSpPr>
            <p:cNvPr id="7" name="U자형 화살표 6"/>
            <p:cNvSpPr/>
            <p:nvPr/>
          </p:nvSpPr>
          <p:spPr bwMode="auto">
            <a:xfrm rot="16200000" flipV="1">
              <a:off x="9011536" y="3548589"/>
              <a:ext cx="800780" cy="367613"/>
            </a:xfrm>
            <a:prstGeom prst="uturnArrow">
              <a:avLst>
                <a:gd name="adj1" fmla="val 28776"/>
                <a:gd name="adj2" fmla="val 25000"/>
                <a:gd name="adj3" fmla="val 23255"/>
                <a:gd name="adj4" fmla="val 76745"/>
                <a:gd name="adj5" fmla="val 100000"/>
              </a:avLst>
            </a:prstGeom>
            <a:solidFill>
              <a:schemeClr val="tx2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AutoShape 6"/>
            <p:cNvSpPr>
              <a:spLocks noChangeArrowheads="1"/>
            </p:cNvSpPr>
            <p:nvPr/>
          </p:nvSpPr>
          <p:spPr bwMode="auto">
            <a:xfrm>
              <a:off x="4773814" y="2840111"/>
              <a:ext cx="360000" cy="2426517"/>
            </a:xfrm>
            <a:prstGeom prst="rightArrow">
              <a:avLst>
                <a:gd name="adj1" fmla="val 60093"/>
                <a:gd name="adj2" fmla="val 69326"/>
              </a:avLst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2000" tIns="36000" rIns="72000" bIns="36000" anchor="ctr"/>
            <a:lstStyle/>
            <a:p>
              <a:endParaRPr kumimoji="1" lang="ko-KR" altLang="en-US" sz="15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5" name="모서리가 둥근 직사각형 174"/>
            <p:cNvSpPr/>
            <p:nvPr/>
          </p:nvSpPr>
          <p:spPr>
            <a:xfrm>
              <a:off x="234189" y="5589615"/>
              <a:ext cx="1153145" cy="732957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latin typeface="맑은 고딕" pitchFamily="50" charset="-127"/>
                  <a:ea typeface="맑은 고딕" pitchFamily="50" charset="-127"/>
                </a:rPr>
                <a:t>주요 이슈</a:t>
              </a:r>
              <a:endParaRPr lang="en-US" altLang="ko-KR" sz="12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6" name="모서리가 둥근 직사각형 175"/>
            <p:cNvSpPr/>
            <p:nvPr/>
          </p:nvSpPr>
          <p:spPr>
            <a:xfrm>
              <a:off x="1388351" y="5589615"/>
              <a:ext cx="3456000" cy="73295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업 및 금융 상품 손익산출 기능 미비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조건에 맞는 실적 유연한 데이터 산출 기능 부족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금융상품 손익 산출에 필요한 경영정보 제공 한계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매출 손익 지표 기여도 분석 한계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7" name="모서리가 둥근 직사각형 176"/>
            <p:cNvSpPr/>
            <p:nvPr/>
          </p:nvSpPr>
          <p:spPr>
            <a:xfrm>
              <a:off x="4987734" y="5589615"/>
              <a:ext cx="1153145" cy="732957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latin typeface="맑은 고딕" pitchFamily="50" charset="-127"/>
                  <a:ea typeface="맑은 고딕" pitchFamily="50" charset="-127"/>
                </a:rPr>
                <a:t>기대효과</a:t>
              </a:r>
            </a:p>
          </p:txBody>
        </p:sp>
        <p:sp>
          <p:nvSpPr>
            <p:cNvPr id="178" name="모서리가 둥근 직사각형 177"/>
            <p:cNvSpPr/>
            <p:nvPr/>
          </p:nvSpPr>
          <p:spPr>
            <a:xfrm>
              <a:off x="6141896" y="5589615"/>
              <a:ext cx="3456000" cy="73295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상품 조기경보체계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구현으로 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회비용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손실 위험 감소 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업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금융상품 등 손익산출 기능 개선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marR="0" lvl="0" indent="-90488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 요구조건에 맞는 유연한 실적 데이터 산출 가능</a:t>
              </a:r>
              <a:endParaRPr kumimoji="1" lang="ko-KR" altLang="en-US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286043" y="2637367"/>
              <a:ext cx="933518" cy="764379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상품</a:t>
              </a:r>
              <a:endPara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4" name="직사각형 183"/>
            <p:cNvSpPr/>
            <p:nvPr/>
          </p:nvSpPr>
          <p:spPr bwMode="auto">
            <a:xfrm>
              <a:off x="2573787" y="3831545"/>
              <a:ext cx="2066508" cy="1181928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7200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상품 발급 현황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용 현황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취급고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비용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세스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비용율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및 수수료수익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1327349" y="2637367"/>
              <a:ext cx="1121736" cy="76437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기경보체계 미흡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회비용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실위험 발생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 bwMode="auto">
            <a:xfrm>
              <a:off x="1327349" y="3827176"/>
              <a:ext cx="1121530" cy="1186375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월간보고서 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수기 산출</a:t>
              </a: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DW </a:t>
              </a:r>
              <a:r>
                <a:rPr kumimoji="1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활용</a:t>
              </a:r>
              <a:r>
                <a:rPr kumimoji="1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8" name="직사각형 187"/>
            <p:cNvSpPr/>
            <p:nvPr/>
          </p:nvSpPr>
          <p:spPr bwMode="auto">
            <a:xfrm>
              <a:off x="3599683" y="2637287"/>
              <a:ext cx="1040612" cy="76437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존 상품 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지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운영 방안 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화 절차 부재</a:t>
              </a:r>
            </a:p>
          </p:txBody>
        </p:sp>
        <p:sp>
          <p:nvSpPr>
            <p:cNvPr id="189" name="직사각형 188"/>
            <p:cNvSpPr/>
            <p:nvPr/>
          </p:nvSpPr>
          <p:spPr bwMode="auto">
            <a:xfrm>
              <a:off x="2559339" y="2637287"/>
              <a:ext cx="972332" cy="764379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존상품</a:t>
              </a:r>
            </a:p>
          </p:txBody>
        </p:sp>
        <p:sp>
          <p:nvSpPr>
            <p:cNvPr id="190" name="직사각형 189"/>
            <p:cNvSpPr/>
            <p:nvPr/>
          </p:nvSpPr>
          <p:spPr bwMode="auto">
            <a:xfrm>
              <a:off x="286043" y="3827256"/>
              <a:ext cx="933518" cy="1186225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모니터링</a:t>
              </a:r>
              <a:endPara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1" name="AutoShape 6"/>
            <p:cNvSpPr>
              <a:spLocks noChangeArrowheads="1"/>
            </p:cNvSpPr>
            <p:nvPr/>
          </p:nvSpPr>
          <p:spPr bwMode="auto">
            <a:xfrm rot="10800000" flipV="1">
              <a:off x="1442901" y="3516608"/>
              <a:ext cx="2179638" cy="182467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C0C0C0"/>
                </a:gs>
                <a:gs pos="100000">
                  <a:srgbClr val="EAEAEA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kumimoji="1" lang="ko-KR" altLang="en-US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2" name="오각형 191"/>
            <p:cNvSpPr/>
            <p:nvPr/>
          </p:nvSpPr>
          <p:spPr bwMode="auto">
            <a:xfrm>
              <a:off x="6061827" y="2857984"/>
              <a:ext cx="613688" cy="47402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시적 상품</a:t>
              </a:r>
              <a:endParaRPr lang="en-US" altLang="ko-KR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 관리</a:t>
              </a:r>
            </a:p>
          </p:txBody>
        </p:sp>
        <p:sp>
          <p:nvSpPr>
            <p:cNvPr id="193" name="오각형 192"/>
            <p:cNvSpPr/>
            <p:nvPr/>
          </p:nvSpPr>
          <p:spPr bwMode="auto">
            <a:xfrm>
              <a:off x="7695290" y="2550808"/>
              <a:ext cx="584542" cy="21049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판매 확대</a:t>
              </a:r>
              <a:endParaRPr lang="ko-KR" altLang="en-US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4" name="오각형 193"/>
            <p:cNvSpPr/>
            <p:nvPr/>
          </p:nvSpPr>
          <p:spPr bwMode="auto">
            <a:xfrm>
              <a:off x="7690071" y="2836907"/>
              <a:ext cx="584542" cy="21049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newal</a:t>
              </a:r>
              <a:endParaRPr lang="ko-KR" altLang="en-US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5" name="오각형 194"/>
            <p:cNvSpPr/>
            <p:nvPr/>
          </p:nvSpPr>
          <p:spPr bwMode="auto">
            <a:xfrm>
              <a:off x="7690071" y="3123006"/>
              <a:ext cx="584542" cy="21049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rop</a:t>
              </a:r>
              <a:endParaRPr lang="ko-KR" altLang="en-US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6" name="오각형 195"/>
            <p:cNvSpPr/>
            <p:nvPr/>
          </p:nvSpPr>
          <p:spPr bwMode="auto">
            <a:xfrm>
              <a:off x="7690071" y="3409106"/>
              <a:ext cx="584542" cy="21049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상품 대체</a:t>
              </a:r>
            </a:p>
          </p:txBody>
        </p:sp>
        <p:sp>
          <p:nvSpPr>
            <p:cNvPr id="197" name="오른쪽 중괄호 196"/>
            <p:cNvSpPr/>
            <p:nvPr/>
          </p:nvSpPr>
          <p:spPr bwMode="auto">
            <a:xfrm flipH="1">
              <a:off x="7424073" y="2552426"/>
              <a:ext cx="216024" cy="1069073"/>
            </a:xfrm>
            <a:prstGeom prst="rightBrace">
              <a:avLst>
                <a:gd name="adj1" fmla="val 8333"/>
                <a:gd name="adj2" fmla="val 50785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400" b="0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8" name="이등변 삼각형 197"/>
            <p:cNvSpPr/>
            <p:nvPr/>
          </p:nvSpPr>
          <p:spPr bwMode="auto">
            <a:xfrm rot="5400000">
              <a:off x="7859210" y="3038185"/>
              <a:ext cx="1117882" cy="96419"/>
            </a:xfrm>
            <a:prstGeom prst="triangle">
              <a:avLst/>
            </a:prstGeom>
            <a:solidFill>
              <a:srgbClr val="C0C0C0">
                <a:alpha val="49804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9" name="모서리가 둥근 직사각형 198"/>
            <p:cNvSpPr/>
            <p:nvPr/>
          </p:nvSpPr>
          <p:spPr bwMode="auto">
            <a:xfrm>
              <a:off x="8542379" y="2527453"/>
              <a:ext cx="687330" cy="541818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endParaRPr lang="en-US" altLang="ko-KR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fe Cycle</a:t>
              </a: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</a:t>
              </a:r>
              <a:endParaRPr lang="en-US" altLang="ko-KR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연한 관리</a:t>
              </a:r>
            </a:p>
          </p:txBody>
        </p:sp>
        <p:sp>
          <p:nvSpPr>
            <p:cNvPr id="200" name="모서리가 둥근 직사각형 199"/>
            <p:cNvSpPr/>
            <p:nvPr/>
          </p:nvSpPr>
          <p:spPr bwMode="auto">
            <a:xfrm>
              <a:off x="8542379" y="3103517"/>
              <a:ext cx="687330" cy="541818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속적인</a:t>
              </a:r>
              <a:endParaRPr lang="en-US" altLang="ko-KR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경쟁력</a:t>
              </a:r>
              <a:endParaRPr lang="en-US" altLang="ko-KR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보</a:t>
              </a:r>
            </a:p>
          </p:txBody>
        </p:sp>
        <p:sp>
          <p:nvSpPr>
            <p:cNvPr id="201" name="오각형 200"/>
            <p:cNvSpPr/>
            <p:nvPr/>
          </p:nvSpPr>
          <p:spPr bwMode="auto">
            <a:xfrm>
              <a:off x="6061827" y="4259563"/>
              <a:ext cx="571988" cy="389722"/>
            </a:xfrm>
            <a:prstGeom prst="homePlate">
              <a:avLst>
                <a:gd name="adj" fmla="val 287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0" rIns="9144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기 경보</a:t>
              </a:r>
              <a:endParaRPr lang="en-US" altLang="ko-KR" sz="9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발동 기준</a:t>
              </a:r>
            </a:p>
          </p:txBody>
        </p:sp>
        <p:sp>
          <p:nvSpPr>
            <p:cNvPr id="202" name="오각형 201"/>
            <p:cNvSpPr/>
            <p:nvPr/>
          </p:nvSpPr>
          <p:spPr bwMode="auto">
            <a:xfrm>
              <a:off x="6861976" y="4000587"/>
              <a:ext cx="686295" cy="273670"/>
            </a:xfrm>
            <a:prstGeom prst="homePlate">
              <a:avLst>
                <a:gd name="adj" fmla="val 287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0" rIns="9144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lert</a:t>
              </a:r>
              <a:endParaRPr lang="ko-KR" altLang="en-US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3" name="오각형 202"/>
            <p:cNvSpPr/>
            <p:nvPr/>
          </p:nvSpPr>
          <p:spPr bwMode="auto">
            <a:xfrm>
              <a:off x="6861976" y="4327049"/>
              <a:ext cx="686295" cy="273670"/>
            </a:xfrm>
            <a:prstGeom prst="homePlate">
              <a:avLst>
                <a:gd name="adj" fmla="val 287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0" rIns="9144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onitoring</a:t>
              </a:r>
              <a:endParaRPr lang="ko-KR" altLang="en-US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4" name="오각형 203"/>
            <p:cNvSpPr/>
            <p:nvPr/>
          </p:nvSpPr>
          <p:spPr bwMode="auto">
            <a:xfrm>
              <a:off x="6861976" y="4653511"/>
              <a:ext cx="686295" cy="273670"/>
            </a:xfrm>
            <a:prstGeom prst="homePlate">
              <a:avLst>
                <a:gd name="adj" fmla="val 287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0" rIns="9144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후속조치</a:t>
              </a:r>
            </a:p>
          </p:txBody>
        </p:sp>
        <p:sp>
          <p:nvSpPr>
            <p:cNvPr id="205" name="왼쪽 중괄호 204"/>
            <p:cNvSpPr/>
            <p:nvPr/>
          </p:nvSpPr>
          <p:spPr bwMode="auto">
            <a:xfrm>
              <a:off x="6651096" y="4005189"/>
              <a:ext cx="171460" cy="912233"/>
            </a:xfrm>
            <a:prstGeom prst="leftBrac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0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06" name="그룹 97"/>
            <p:cNvGrpSpPr/>
            <p:nvPr/>
          </p:nvGrpSpPr>
          <p:grpSpPr>
            <a:xfrm>
              <a:off x="7714899" y="3861423"/>
              <a:ext cx="885889" cy="321234"/>
              <a:chOff x="7977336" y="1844822"/>
              <a:chExt cx="1404000" cy="504002"/>
            </a:xfrm>
          </p:grpSpPr>
          <p:sp>
            <p:nvSpPr>
              <p:cNvPr id="207" name="직사각형 206"/>
              <p:cNvSpPr/>
              <p:nvPr/>
            </p:nvSpPr>
            <p:spPr>
              <a:xfrm>
                <a:off x="7977336" y="1844824"/>
                <a:ext cx="1404000" cy="504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50000"/>
                </a:scheme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36000" bIns="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algn="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신상품</a:t>
                </a: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/>
                </a:r>
                <a:b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주요 지표 요약</a:t>
                </a:r>
                <a:endParaRPr lang="ko-KR" altLang="en-US" sz="800" b="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08" name="직사각형 207"/>
              <p:cNvSpPr/>
              <p:nvPr/>
            </p:nvSpPr>
            <p:spPr bwMode="auto">
              <a:xfrm>
                <a:off x="7980312" y="1844822"/>
                <a:ext cx="612000" cy="26545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레벨</a:t>
                </a:r>
              </a:p>
            </p:txBody>
          </p:sp>
        </p:grpSp>
        <p:grpSp>
          <p:nvGrpSpPr>
            <p:cNvPr id="209" name="그룹 104"/>
            <p:cNvGrpSpPr/>
            <p:nvPr/>
          </p:nvGrpSpPr>
          <p:grpSpPr>
            <a:xfrm>
              <a:off x="7714899" y="4244423"/>
              <a:ext cx="885889" cy="321233"/>
              <a:chOff x="7977336" y="2348880"/>
              <a:chExt cx="1404000" cy="504000"/>
            </a:xfrm>
          </p:grpSpPr>
          <p:sp>
            <p:nvSpPr>
              <p:cNvPr id="210" name="직사각형 209"/>
              <p:cNvSpPr/>
              <p:nvPr/>
            </p:nvSpPr>
            <p:spPr>
              <a:xfrm>
                <a:off x="7977336" y="2348880"/>
                <a:ext cx="1404000" cy="504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50000"/>
                </a:scheme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36000" bIns="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algn="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별</a:t>
                </a: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/>
                </a:r>
                <a:b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손익 모니터링</a:t>
                </a:r>
                <a:endParaRPr lang="ko-KR" altLang="en-US" sz="800" b="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11" name="직사각형 210"/>
              <p:cNvSpPr/>
              <p:nvPr/>
            </p:nvSpPr>
            <p:spPr bwMode="auto">
              <a:xfrm>
                <a:off x="7980312" y="2348880"/>
                <a:ext cx="612000" cy="252672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레벨</a:t>
                </a:r>
              </a:p>
            </p:txBody>
          </p:sp>
        </p:grpSp>
        <p:grpSp>
          <p:nvGrpSpPr>
            <p:cNvPr id="212" name="그룹 121"/>
            <p:cNvGrpSpPr/>
            <p:nvPr/>
          </p:nvGrpSpPr>
          <p:grpSpPr>
            <a:xfrm>
              <a:off x="7714899" y="4620310"/>
              <a:ext cx="885889" cy="321233"/>
              <a:chOff x="7977336" y="2852936"/>
              <a:chExt cx="1404000" cy="504000"/>
            </a:xfrm>
          </p:grpSpPr>
          <p:sp>
            <p:nvSpPr>
              <p:cNvPr id="213" name="직사각형 212"/>
              <p:cNvSpPr/>
              <p:nvPr/>
            </p:nvSpPr>
            <p:spPr>
              <a:xfrm>
                <a:off x="7977336" y="2852936"/>
                <a:ext cx="1404000" cy="504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50000"/>
                </a:scheme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algn="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손익항목 </a:t>
                </a: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/>
                </a:r>
                <a:b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별 상세모니터링</a:t>
                </a:r>
                <a:endParaRPr lang="ko-KR" altLang="en-US" sz="800" b="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14" name="직사각형 213"/>
              <p:cNvSpPr/>
              <p:nvPr/>
            </p:nvSpPr>
            <p:spPr bwMode="auto">
              <a:xfrm>
                <a:off x="7980312" y="2852936"/>
                <a:ext cx="612000" cy="25128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  <a:alpha val="7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r>
                  <a:rPr lang="ko-KR" altLang="en-US" sz="800" b="0" kern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레벨</a:t>
                </a:r>
              </a:p>
            </p:txBody>
          </p:sp>
        </p:grpSp>
        <p:sp>
          <p:nvSpPr>
            <p:cNvPr id="215" name="Rectangle 5"/>
            <p:cNvSpPr>
              <a:spLocks noChangeArrowheads="1"/>
            </p:cNvSpPr>
            <p:nvPr/>
          </p:nvSpPr>
          <p:spPr bwMode="auto">
            <a:xfrm>
              <a:off x="6344967" y="5008698"/>
              <a:ext cx="1143070" cy="364893"/>
            </a:xfrm>
            <a:prstGeom prst="homePlate">
              <a:avLst>
                <a:gd name="adj" fmla="val 24711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572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기 경보 </a:t>
              </a:r>
              <a:r>
                <a:rPr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체계 구현</a:t>
              </a:r>
              <a:endParaRPr lang="en-US" altLang="ko-KR" sz="9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6" name="Rectangle 5"/>
            <p:cNvSpPr>
              <a:spLocks noChangeArrowheads="1"/>
            </p:cNvSpPr>
            <p:nvPr/>
          </p:nvSpPr>
          <p:spPr bwMode="auto">
            <a:xfrm>
              <a:off x="7683252" y="5008698"/>
              <a:ext cx="1143070" cy="364893"/>
            </a:xfrm>
            <a:prstGeom prst="homePlate">
              <a:avLst>
                <a:gd name="adj" fmla="val 24711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572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상품 모니터링 체계 확립</a:t>
              </a:r>
              <a:endParaRPr lang="en-US" altLang="ko-KR" sz="9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8" name="이등변 삼각형 217"/>
            <p:cNvSpPr/>
            <p:nvPr/>
          </p:nvSpPr>
          <p:spPr bwMode="auto">
            <a:xfrm rot="5400000">
              <a:off x="8167714" y="4351651"/>
              <a:ext cx="1094762" cy="114307"/>
            </a:xfrm>
            <a:prstGeom prst="triangle">
              <a:avLst/>
            </a:prstGeom>
            <a:solidFill>
              <a:srgbClr val="C0C0C0">
                <a:alpha val="49804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0" name="직사각형 219"/>
            <p:cNvSpPr/>
            <p:nvPr/>
          </p:nvSpPr>
          <p:spPr bwMode="auto">
            <a:xfrm>
              <a:off x="5258722" y="3827175"/>
              <a:ext cx="720080" cy="163928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상품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출시 후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모니터링</a:t>
              </a:r>
            </a:p>
          </p:txBody>
        </p:sp>
        <p:sp>
          <p:nvSpPr>
            <p:cNvPr id="221" name="직사각형 220"/>
            <p:cNvSpPr/>
            <p:nvPr/>
          </p:nvSpPr>
          <p:spPr bwMode="auto">
            <a:xfrm>
              <a:off x="5258722" y="2349255"/>
              <a:ext cx="720080" cy="137257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존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ife Cycle </a:t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관리</a:t>
              </a:r>
            </a:p>
          </p:txBody>
        </p:sp>
        <p:sp>
          <p:nvSpPr>
            <p:cNvPr id="222" name="오각형 221"/>
            <p:cNvSpPr/>
            <p:nvPr/>
          </p:nvSpPr>
          <p:spPr bwMode="auto">
            <a:xfrm>
              <a:off x="6742950" y="2857984"/>
              <a:ext cx="613688" cy="474023"/>
            </a:xfrm>
            <a:prstGeom prst="homePlate">
              <a:avLst>
                <a:gd name="adj" fmla="val 2560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속적 성과</a:t>
              </a:r>
              <a:endParaRPr lang="en-US" altLang="ko-KR" sz="8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b="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니터링</a:t>
              </a:r>
            </a:p>
          </p:txBody>
        </p:sp>
        <p:sp>
          <p:nvSpPr>
            <p:cNvPr id="223" name="모서리가 둥근 직사각형 222"/>
            <p:cNvSpPr/>
            <p:nvPr/>
          </p:nvSpPr>
          <p:spPr>
            <a:xfrm>
              <a:off x="235206" y="1850651"/>
              <a:ext cx="4608000" cy="3507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반적인 상품 성과관리 체계의 이슈</a:t>
              </a:r>
            </a:p>
          </p:txBody>
        </p:sp>
        <p:sp>
          <p:nvSpPr>
            <p:cNvPr id="224" name="모서리가 둥근 직사각형 223"/>
            <p:cNvSpPr/>
            <p:nvPr/>
          </p:nvSpPr>
          <p:spPr>
            <a:xfrm>
              <a:off x="4987734" y="1850651"/>
              <a:ext cx="4608000" cy="35072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kumimoji="1" lang="ko-KR" altLang="en-US" sz="13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성과관리 체계 방향성</a:t>
              </a:r>
            </a:p>
          </p:txBody>
        </p:sp>
        <p:sp>
          <p:nvSpPr>
            <p:cNvPr id="217" name="모서리가 둥근 직사각형 216"/>
            <p:cNvSpPr/>
            <p:nvPr/>
          </p:nvSpPr>
          <p:spPr bwMode="auto">
            <a:xfrm>
              <a:off x="8803594" y="4022288"/>
              <a:ext cx="568430" cy="770303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 cap="flat" cmpd="sng" algn="ctr">
              <a:solidFill>
                <a:srgbClr val="FFFFFF">
                  <a:lumMod val="50000"/>
                  <a:alpha val="7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월 별</a:t>
              </a:r>
              <a:endParaRPr lang="en-US" altLang="ko-KR" sz="9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획</a:t>
              </a:r>
              <a:r>
                <a:rPr lang="en-US" altLang="ko-KR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적</a:t>
              </a:r>
              <a:endParaRPr lang="en-US" altLang="ko-KR" sz="9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isk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  <a:endParaRPr lang="ko-KR" altLang="en-US" sz="6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73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75" name="TextBox 74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 성과관리 체계 정비 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案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 </a:t>
                </a:r>
              </a:p>
            </p:txBody>
          </p:sp>
          <p:cxnSp>
            <p:nvCxnSpPr>
              <p:cNvPr id="76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78" name="TextBox 77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79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0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81" name="그룹 8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1" name="그룹 9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06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성과관리 체계 정비를 위해 신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기 경보 체계 구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상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운영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방안 구체화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손익 모니터링 항목 정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상품 포함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추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88504" y="1926114"/>
            <a:ext cx="9001000" cy="4396896"/>
            <a:chOff x="488504" y="1595252"/>
            <a:chExt cx="9001000" cy="4714068"/>
          </a:xfrm>
        </p:grpSpPr>
        <p:sp>
          <p:nvSpPr>
            <p:cNvPr id="30" name="TextBox 40"/>
            <p:cNvSpPr txBox="1">
              <a:spLocks noChangeArrowheads="1"/>
            </p:cNvSpPr>
            <p:nvPr/>
          </p:nvSpPr>
          <p:spPr bwMode="auto">
            <a:xfrm>
              <a:off x="1102460" y="1739268"/>
              <a:ext cx="2725585" cy="334832"/>
            </a:xfrm>
            <a:prstGeom prst="homePlate">
              <a:avLst>
                <a:gd name="adj" fmla="val 16742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2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dirty="0"/>
                <a:t>신상품 조기 경보 체계 구현</a:t>
              </a:r>
            </a:p>
          </p:txBody>
        </p:sp>
        <p:sp>
          <p:nvSpPr>
            <p:cNvPr id="31" name="TextBox 40"/>
            <p:cNvSpPr txBox="1">
              <a:spLocks noChangeArrowheads="1"/>
            </p:cNvSpPr>
            <p:nvPr/>
          </p:nvSpPr>
          <p:spPr bwMode="auto">
            <a:xfrm>
              <a:off x="3933189" y="1739268"/>
              <a:ext cx="2725585" cy="334832"/>
            </a:xfrm>
            <a:prstGeom prst="homePlate">
              <a:avLst>
                <a:gd name="adj" fmla="val 16742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존 상품 유지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운영 방안 구체화</a:t>
              </a:r>
            </a:p>
          </p:txBody>
        </p:sp>
        <p:sp>
          <p:nvSpPr>
            <p:cNvPr id="32" name="TextBox 40"/>
            <p:cNvSpPr txBox="1">
              <a:spLocks noChangeArrowheads="1"/>
            </p:cNvSpPr>
            <p:nvPr/>
          </p:nvSpPr>
          <p:spPr bwMode="auto">
            <a:xfrm>
              <a:off x="6763919" y="1739268"/>
              <a:ext cx="2725585" cy="334832"/>
            </a:xfrm>
            <a:prstGeom prst="homePlate">
              <a:avLst>
                <a:gd name="adj" fmla="val 16742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 모니터링 항목 정립</a:t>
              </a: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1102460" y="2132883"/>
              <a:ext cx="2655993" cy="1984297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관리 현황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상품 조기경보 체계 기준 및 모니터링 기반 미흡 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fontAlgn="auto" latinLnBrk="0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회비용 발생 위험 가능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서비스 원가가 예상 수준만큼 발생하지 않는 경우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확대를 통하여 추가 판매를 했다면 얻을 수 있었던 이익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fontAlgn="auto" latinLnBrk="0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손실 위험 가능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기대 서비스 원가보다 실제 원가가 과다하여 발생하는 손실</a:t>
              </a: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3933189" y="2132883"/>
              <a:ext cx="2655993" cy="1984297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 현황 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존 상품의 유지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운영 방안 절차의 표준화가 미흡함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존 카드 진부화 가능성</a:t>
              </a:r>
            </a:p>
            <a:p>
              <a:pPr marL="1762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고객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Needs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에 부합하는 신규 카드의 지속적 출시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→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존 카드 빠르게 진부화 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fontAlgn="auto" latinLnBrk="0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한정된 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esource</a:t>
              </a:r>
            </a:p>
            <a:p>
              <a:pPr marL="176213" marR="0" lvl="0" indent="-873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수익성이 떨어지거나 고객이 외면하는 상품에 투자할 자원을 카드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enewal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효율화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고객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rop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략을 통해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타겟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고객에 집중필요</a:t>
              </a: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6763919" y="2132883"/>
              <a:ext cx="2655993" cy="1984297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8900" indent="-88900" fontAlgn="auto" latinLnBrk="0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 현황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6213" marR="0" lvl="0" indent="-1762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요상품 수기 엑셀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월간 보고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로 관리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→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표준화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&amp;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자동화 필요함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176213" marR="0" lvl="0" indent="-1762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176213" marR="0" lvl="0" indent="-1762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요 상품의 주요 항목만 관리함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→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과 항목 세분화가 필요함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176213" marR="0" lvl="0" indent="-1762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176213" marR="0" lvl="0" indent="-1762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ü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존 상품에 이상 징후가 발생한 경우 발생 원인 모니터링이 어려움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→ 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인과관계가 있는 주요 항목 모니터링이 필요함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1102460" y="4365104"/>
              <a:ext cx="2655993" cy="194421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1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회비용 과다 발생 위험에 대처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장에 적극 대응하는 전략 추구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보강을 통한 판매 확대 조치 실행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2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실제비용 과다 발생 위험에 대응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emarketing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및 수익성 확보 전략 실행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한도 조정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연회비 인상 등의 수익성 개선 조치 실행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3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조기 경보 시스템화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전에 정해진 기준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손실리스크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및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BEP)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에 미달시 경보 체계 발동</a:t>
              </a: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3933189" y="4365104"/>
              <a:ext cx="2655993" cy="194421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1. Renewal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략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경쟁력 제고 추진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. Volume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확대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Upgrade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를 통한 회원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유인력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개선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2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효율화 전략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체질 개선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변경을 통한 비용 효율화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3. Drop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략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규유입 차단 및 회원소진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 운영 중단</a:t>
              </a: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6763919" y="4365104"/>
              <a:ext cx="2655993" cy="194421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1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상품 모니터링 체계 확립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카드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주요지표 요약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카드별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손익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손익 항목 별 상세 화면으로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rill-Down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하여 원인 분석이 가능하도록 구성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2.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존상품 모니터링 체계 확립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Drill-Down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하여 기존상품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enewal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효율화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Drop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에 관한 의사 결정을 지원할 수 있는 체계 마련</a:t>
              </a:r>
            </a:p>
          </p:txBody>
        </p:sp>
        <p:sp>
          <p:nvSpPr>
            <p:cNvPr id="39" name="타원 38"/>
            <p:cNvSpPr/>
            <p:nvPr/>
          </p:nvSpPr>
          <p:spPr bwMode="auto">
            <a:xfrm>
              <a:off x="962669" y="1595252"/>
              <a:ext cx="288000" cy="288000"/>
            </a:xfrm>
            <a:prstGeom prst="ellipse">
              <a:avLst/>
            </a:prstGeom>
            <a:solidFill>
              <a:srgbClr val="1B3A87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endParaRPr kumimoji="1"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타원 39"/>
            <p:cNvSpPr/>
            <p:nvPr/>
          </p:nvSpPr>
          <p:spPr bwMode="auto">
            <a:xfrm>
              <a:off x="3797384" y="1595252"/>
              <a:ext cx="288000" cy="288000"/>
            </a:xfrm>
            <a:prstGeom prst="ellipse">
              <a:avLst/>
            </a:prstGeom>
            <a:solidFill>
              <a:srgbClr val="1B3A87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endParaRPr kumimoji="1"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타원 40"/>
            <p:cNvSpPr/>
            <p:nvPr/>
          </p:nvSpPr>
          <p:spPr bwMode="auto">
            <a:xfrm>
              <a:off x="6624129" y="1595252"/>
              <a:ext cx="288000" cy="288000"/>
            </a:xfrm>
            <a:prstGeom prst="ellipse">
              <a:avLst/>
            </a:prstGeom>
            <a:solidFill>
              <a:srgbClr val="1B3A87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endParaRPr kumimoji="1"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488504" y="2134833"/>
              <a:ext cx="503273" cy="2014247"/>
            </a:xfrm>
            <a:prstGeom prst="rect">
              <a:avLst/>
            </a:prstGeom>
            <a:solidFill>
              <a:srgbClr val="C0C0C0"/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관리</a:t>
              </a: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황</a:t>
              </a:r>
              <a:endPara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및</a:t>
              </a:r>
              <a:endPara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필요성</a:t>
              </a: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488504" y="4365104"/>
              <a:ext cx="503273" cy="1944216"/>
            </a:xfrm>
            <a:prstGeom prst="rect">
              <a:avLst/>
            </a:prstGeom>
            <a:solidFill>
              <a:srgbClr val="C0C0C0"/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To-Be</a:t>
              </a:r>
              <a:b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방향성</a:t>
              </a:r>
            </a:p>
          </p:txBody>
        </p:sp>
        <p:sp>
          <p:nvSpPr>
            <p:cNvPr id="44" name="이등변 삼각형 43"/>
            <p:cNvSpPr/>
            <p:nvPr/>
          </p:nvSpPr>
          <p:spPr>
            <a:xfrm flipV="1">
              <a:off x="3542903" y="4157469"/>
              <a:ext cx="3401872" cy="188695"/>
            </a:xfrm>
            <a:prstGeom prst="triangle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1" name="그룹 60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62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 성과관리 체계 정비 세부 과제 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예시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</a:t>
                </a:r>
                <a:endPara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68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65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45" name="그룹 4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5" name="그룹 7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431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상품 조기경보체계는 신상품 출시 초기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누적 실적을 점검하여 사전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해진 기준에 따라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er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후 </a:t>
            </a:r>
            <a:r>
              <a:rPr lang="ko-KR" altLang="en-US" dirty="0" smtClean="0"/>
              <a:t>사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의된 대응 조치를 취하는 운영 관리체계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633730" y="2492896"/>
            <a:ext cx="504056" cy="3600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18000" tIns="54000" rIns="18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lert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8049344" y="2780928"/>
            <a:ext cx="1224136" cy="100811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18000" tIns="54000" rIns="18000" bIns="54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판매확대</a:t>
            </a:r>
            <a:endParaRPr lang="en-US" altLang="ko-KR" sz="12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서비스 보강</a:t>
            </a: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b="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632520" y="2492896"/>
            <a:ext cx="3168352" cy="36004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회비용 발생 위험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632520" y="4365105"/>
            <a:ext cx="3168352" cy="36004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손실 위험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632520" y="2924945"/>
            <a:ext cx="3168352" cy="1224135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전손익 시뮬레이션 시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과다한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리스크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감안으로 인한 위험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 ※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예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원가가 예상 수준만큼 발생하지 않는 </a:t>
            </a:r>
            <a:b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  경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확대를 통하여 추가 판매를 했다면 </a:t>
            </a:r>
            <a:b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  얻을 수 있었던 이익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632520" y="4797153"/>
            <a:ext cx="3168352" cy="1224135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제비용 과다 발생 위험 </a:t>
            </a: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전손익 시뮬레이션 시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리스크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과소 측정에 기인</a:t>
            </a: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※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예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대 서비스 원가보다 실제 원가가 과다하여 </a:t>
            </a:r>
            <a:b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   발생하는 손실</a:t>
            </a:r>
          </a:p>
        </p:txBody>
      </p:sp>
      <p:cxnSp>
        <p:nvCxnSpPr>
          <p:cNvPr id="62" name="직선 연결선 61"/>
          <p:cNvCxnSpPr/>
          <p:nvPr/>
        </p:nvCxnSpPr>
        <p:spPr bwMode="auto">
          <a:xfrm>
            <a:off x="4124060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3" name="직선 연결선 62"/>
          <p:cNvCxnSpPr/>
          <p:nvPr/>
        </p:nvCxnSpPr>
        <p:spPr bwMode="auto">
          <a:xfrm>
            <a:off x="4628535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4" name="직선 연결선 63"/>
          <p:cNvCxnSpPr/>
          <p:nvPr/>
        </p:nvCxnSpPr>
        <p:spPr bwMode="auto">
          <a:xfrm>
            <a:off x="5133010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5" name="직선 연결선 64"/>
          <p:cNvCxnSpPr/>
          <p:nvPr/>
        </p:nvCxnSpPr>
        <p:spPr bwMode="auto">
          <a:xfrm>
            <a:off x="5637485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6" name="직선 연결선 65"/>
          <p:cNvCxnSpPr/>
          <p:nvPr/>
        </p:nvCxnSpPr>
        <p:spPr bwMode="auto">
          <a:xfrm>
            <a:off x="6141960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7" name="직선 연결선 66"/>
          <p:cNvCxnSpPr/>
          <p:nvPr/>
        </p:nvCxnSpPr>
        <p:spPr bwMode="auto">
          <a:xfrm>
            <a:off x="6646435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8" name="직선 연결선 67"/>
          <p:cNvCxnSpPr/>
          <p:nvPr/>
        </p:nvCxnSpPr>
        <p:spPr bwMode="auto">
          <a:xfrm>
            <a:off x="7150910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69" name="직선 연결선 68"/>
          <p:cNvCxnSpPr/>
          <p:nvPr/>
        </p:nvCxnSpPr>
        <p:spPr bwMode="auto">
          <a:xfrm>
            <a:off x="7655385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70" name="직선 연결선 69"/>
          <p:cNvCxnSpPr/>
          <p:nvPr/>
        </p:nvCxnSpPr>
        <p:spPr bwMode="auto">
          <a:xfrm>
            <a:off x="8159860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cxnSp>
        <p:nvCxnSpPr>
          <p:cNvPr id="71" name="직선 연결선 70"/>
          <p:cNvCxnSpPr/>
          <p:nvPr/>
        </p:nvCxnSpPr>
        <p:spPr bwMode="auto">
          <a:xfrm>
            <a:off x="8664335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sp>
        <p:nvSpPr>
          <p:cNvPr id="72" name="TextBox 71"/>
          <p:cNvSpPr txBox="1"/>
          <p:nvPr/>
        </p:nvSpPr>
        <p:spPr>
          <a:xfrm>
            <a:off x="430729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81105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31481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81857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32233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82609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783361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337376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오른쪽 대괄호 90"/>
          <p:cNvSpPr/>
          <p:nvPr/>
        </p:nvSpPr>
        <p:spPr bwMode="auto">
          <a:xfrm rot="16200000">
            <a:off x="4816752" y="3292752"/>
            <a:ext cx="128480" cy="1440160"/>
          </a:xfrm>
          <a:prstGeom prst="rightBracket">
            <a:avLst/>
          </a:prstGeom>
          <a:noFill/>
          <a:ln w="1905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5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4211148" y="3671446"/>
            <a:ext cx="14401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누적 실적 점검</a:t>
            </a:r>
          </a:p>
        </p:txBody>
      </p:sp>
      <p:cxnSp>
        <p:nvCxnSpPr>
          <p:cNvPr id="93" name="직선 연결선 92"/>
          <p:cNvCxnSpPr/>
          <p:nvPr/>
        </p:nvCxnSpPr>
        <p:spPr bwMode="auto">
          <a:xfrm>
            <a:off x="9168814" y="4198076"/>
            <a:ext cx="0" cy="216024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sp>
        <p:nvSpPr>
          <p:cNvPr id="94" name="TextBox 93"/>
          <p:cNvSpPr txBox="1"/>
          <p:nvPr/>
        </p:nvSpPr>
        <p:spPr>
          <a:xfrm>
            <a:off x="8714994" y="4441762"/>
            <a:ext cx="4841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오른쪽 대괄호 94"/>
          <p:cNvSpPr/>
          <p:nvPr/>
        </p:nvSpPr>
        <p:spPr bwMode="auto">
          <a:xfrm rot="16200000">
            <a:off x="6324726" y="3288102"/>
            <a:ext cx="128480" cy="1440160"/>
          </a:xfrm>
          <a:prstGeom prst="rightBracket">
            <a:avLst/>
          </a:prstGeom>
          <a:noFill/>
          <a:ln w="1905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5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719122" y="3666796"/>
            <a:ext cx="14401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속 모니터링</a:t>
            </a:r>
          </a:p>
        </p:txBody>
      </p:sp>
      <p:sp>
        <p:nvSpPr>
          <p:cNvPr id="97" name="직사각형 96"/>
          <p:cNvSpPr/>
          <p:nvPr/>
        </p:nvSpPr>
        <p:spPr bwMode="auto">
          <a:xfrm>
            <a:off x="7152590" y="2492896"/>
            <a:ext cx="504056" cy="3600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18000" tIns="54000" rIns="18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후속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조치</a:t>
            </a:r>
          </a:p>
        </p:txBody>
      </p:sp>
      <p:sp>
        <p:nvSpPr>
          <p:cNvPr id="99" name="직사각형 98"/>
          <p:cNvSpPr/>
          <p:nvPr/>
        </p:nvSpPr>
        <p:spPr bwMode="auto">
          <a:xfrm>
            <a:off x="8049344" y="4869160"/>
            <a:ext cx="1224136" cy="100811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18000" tIns="54000" rIns="18000" bIns="54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altLang="ko-KR" sz="1200" kern="0" dirty="0" err="1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Demarketing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전략 수립</a:t>
            </a:r>
            <a:endParaRPr lang="en-US" altLang="ko-KR" sz="12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한도 조정</a:t>
            </a: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연회비</a:t>
            </a: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인상</a:t>
            </a:r>
            <a:r>
              <a:rPr lang="en-US" altLang="ko-KR" sz="11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b="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오른쪽 화살표 99"/>
          <p:cNvSpPr/>
          <p:nvPr/>
        </p:nvSpPr>
        <p:spPr>
          <a:xfrm>
            <a:off x="3872880" y="5085184"/>
            <a:ext cx="4176464" cy="489109"/>
          </a:xfrm>
          <a:prstGeom prst="rightArrow">
            <a:avLst/>
          </a:prstGeom>
          <a:solidFill>
            <a:srgbClr val="C0C0C0"/>
          </a:solidFill>
        </p:spPr>
        <p:txBody>
          <a:bodyPr wrap="square" rtlCol="0" anchor="ctr">
            <a:spAutoFit/>
          </a:bodyPr>
          <a:lstStyle/>
          <a:p>
            <a:pPr marL="171450" marR="0" lvl="0" indent="-1714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오른쪽 화살표 100"/>
          <p:cNvSpPr/>
          <p:nvPr/>
        </p:nvSpPr>
        <p:spPr>
          <a:xfrm>
            <a:off x="3872880" y="3083907"/>
            <a:ext cx="4176464" cy="489109"/>
          </a:xfrm>
          <a:prstGeom prst="rightArrow">
            <a:avLst/>
          </a:prstGeom>
          <a:solidFill>
            <a:srgbClr val="C0C0C0"/>
          </a:solidFill>
        </p:spPr>
        <p:txBody>
          <a:bodyPr wrap="square" rtlCol="0" anchor="ctr">
            <a:spAutoFit/>
          </a:bodyPr>
          <a:lstStyle/>
          <a:p>
            <a:pPr marL="171450" marR="0" lvl="0" indent="-1714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2" name="직선 연결선 101"/>
          <p:cNvCxnSpPr/>
          <p:nvPr/>
        </p:nvCxnSpPr>
        <p:spPr bwMode="auto">
          <a:xfrm>
            <a:off x="4124060" y="4287662"/>
            <a:ext cx="5040000" cy="0"/>
          </a:xfrm>
          <a:prstGeom prst="line">
            <a:avLst/>
          </a:prstGeom>
          <a:noFill/>
          <a:ln w="28575" cap="flat" cmpd="sng" algn="ctr">
            <a:solidFill>
              <a:srgbClr val="808080">
                <a:lumMod val="75000"/>
              </a:srgbClr>
            </a:solidFill>
            <a:prstDash val="solid"/>
            <a:headEnd type="none" w="med" len="med"/>
            <a:tailEnd type="none"/>
          </a:ln>
          <a:effectLst/>
        </p:spPr>
      </p:cxnSp>
      <p:sp>
        <p:nvSpPr>
          <p:cNvPr id="88" name="TextBox 87"/>
          <p:cNvSpPr txBox="1"/>
          <p:nvPr/>
        </p:nvSpPr>
        <p:spPr>
          <a:xfrm>
            <a:off x="7329853" y="4441762"/>
            <a:ext cx="196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100" dirty="0" smtClean="0">
                <a:solidFill>
                  <a:srgbClr val="808080">
                    <a:lumMod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endParaRPr kumimoji="1" lang="ko-KR" altLang="en-US" sz="1100" dirty="0" smtClean="0">
              <a:solidFill>
                <a:srgbClr val="808080">
                  <a:lumMod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76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신상품 조기경보 체계 방안 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예시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</a:t>
                </a:r>
                <a:endPara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82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78" name="TextBox 77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79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0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61" name="Text Box 18"/>
          <p:cNvSpPr txBox="1">
            <a:spLocks noChangeArrowheads="1"/>
          </p:cNvSpPr>
          <p:nvPr/>
        </p:nvSpPr>
        <p:spPr bwMode="auto">
          <a:xfrm>
            <a:off x="632520" y="2060848"/>
            <a:ext cx="3168352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kumimoji="1" lang="ko-KR" altLang="en-US" sz="13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기경보 집중관리 대상</a:t>
            </a:r>
            <a:endParaRPr kumimoji="1" lang="ko-KR" altLang="en-US" sz="13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 bwMode="auto">
          <a:xfrm>
            <a:off x="632520" y="2389240"/>
            <a:ext cx="316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19" name="Text Box 18"/>
          <p:cNvSpPr txBox="1">
            <a:spLocks noChangeArrowheads="1"/>
          </p:cNvSpPr>
          <p:nvPr/>
        </p:nvSpPr>
        <p:spPr bwMode="auto">
          <a:xfrm>
            <a:off x="4088904" y="2060848"/>
            <a:ext cx="5102664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kumimoji="1"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기경보 체계 방안 수립</a:t>
            </a:r>
          </a:p>
        </p:txBody>
      </p:sp>
      <p:cxnSp>
        <p:nvCxnSpPr>
          <p:cNvPr id="120" name="직선 연결선 119"/>
          <p:cNvCxnSpPr/>
          <p:nvPr/>
        </p:nvCxnSpPr>
        <p:spPr bwMode="auto">
          <a:xfrm>
            <a:off x="4088904" y="2389240"/>
            <a:ext cx="510209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83" name="그룹 8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4" name="그룹 12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0405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시와 같이 신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기경보 체계 구현을 위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er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후속조치 기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항목 및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계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en-US" altLang="ko-KR" dirty="0"/>
              <a:t>V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lume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익율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BEP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정의할 수 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21" name="Rectangle 6"/>
          <p:cNvSpPr>
            <a:spLocks noChangeArrowheads="1"/>
          </p:cNvSpPr>
          <p:nvPr/>
        </p:nvSpPr>
        <p:spPr bwMode="auto">
          <a:xfrm>
            <a:off x="344488" y="2636912"/>
            <a:ext cx="1151704" cy="3528392"/>
          </a:xfrm>
          <a:prstGeom prst="rect">
            <a:avLst/>
          </a:prstGeom>
          <a:solidFill>
            <a:srgbClr val="C0C0C0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wrap="none" lIns="18000" tIns="18000" rIns="18000" bIns="18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AutoShape 7"/>
          <p:cNvSpPr>
            <a:spLocks noChangeArrowheads="1"/>
          </p:cNvSpPr>
          <p:nvPr/>
        </p:nvSpPr>
        <p:spPr bwMode="auto">
          <a:xfrm>
            <a:off x="502496" y="4001179"/>
            <a:ext cx="1512168" cy="579949"/>
          </a:xfrm>
          <a:prstGeom prst="homePlate">
            <a:avLst>
              <a:gd name="adj" fmla="val 25951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dist="45791" dir="2021404" algn="ctr" rotWithShape="0">
              <a:srgbClr val="000000"/>
            </a:outerShdw>
          </a:effectLst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세전이익률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kumimoji="1" lang="ko-KR" altLang="en-US" sz="1100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률</a:t>
            </a:r>
            <a:endParaRPr lang="ko-KR" altLang="en-US" sz="11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AutoShape 7"/>
          <p:cNvSpPr>
            <a:spLocks noChangeArrowheads="1"/>
          </p:cNvSpPr>
          <p:nvPr/>
        </p:nvSpPr>
        <p:spPr bwMode="auto">
          <a:xfrm>
            <a:off x="502496" y="5507312"/>
            <a:ext cx="1512168" cy="579949"/>
          </a:xfrm>
          <a:prstGeom prst="homePlate">
            <a:avLst>
              <a:gd name="adj" fmla="val 25951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dist="45791" dir="2021404" algn="ctr" rotWithShape="0">
              <a:srgbClr val="000000"/>
            </a:outerShdw>
          </a:effectLst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EP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점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24" name="표 1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649872"/>
              </p:ext>
            </p:extLst>
          </p:nvPr>
        </p:nvGraphicFramePr>
        <p:xfrm>
          <a:off x="2144688" y="1970962"/>
          <a:ext cx="7443811" cy="4194342"/>
        </p:xfrm>
        <a:graphic>
          <a:graphicData uri="http://schemas.openxmlformats.org/drawingml/2006/table">
            <a:tbl>
              <a:tblPr firstRow="1" bandRow="1"/>
              <a:tblGrid>
                <a:gridCol w="1386489"/>
                <a:gridCol w="583785"/>
                <a:gridCol w="1678381"/>
                <a:gridCol w="583785"/>
                <a:gridCol w="1600208"/>
                <a:gridCol w="1611163"/>
              </a:tblGrid>
              <a:tr h="276739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달성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Green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의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Yellow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보</a:t>
                      </a:r>
                      <a:r>
                        <a:rPr lang="en-US" altLang="ko-KR" sz="11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Red)</a:t>
                      </a:r>
                      <a:endParaRPr lang="ko-KR" altLang="en-US" sz="11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8678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ert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속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ert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속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ert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속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5832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%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%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</a:p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%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만</a:t>
                      </a:r>
                      <a:endParaRPr lang="en-US" altLang="ko-KR" sz="1050" b="0" baseline="30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지속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tching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%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하</a:t>
                      </a:r>
                      <a:endParaRPr lang="en-US" altLang="ko-KR" sz="1050" b="0" baseline="30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당조정 등을 통한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매 독려</a:t>
                      </a:r>
                      <a:endParaRPr lang="en-US" altLang="ko-KR" sz="1050" b="0" baseline="30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87867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률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</a:p>
                    <a:p>
                      <a:pPr algn="ctr" latinLnBrk="1">
                        <a:buFontTx/>
                        <a:buChar char="-"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 比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XX BP~XXBP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>
                        <a:buFontTx/>
                        <a:buChar char="-"/>
                      </a:pP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</a:p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 比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XX BP~XXBP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e1:</a:t>
                      </a:r>
                    </a:p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률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e2:</a:t>
                      </a:r>
                    </a:p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률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만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05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만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se1:</a:t>
                      </a:r>
                    </a:p>
                    <a:p>
                      <a:pPr algn="ctr" latinLnBrk="1"/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비스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용률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획比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XBP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상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&amp;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전이익률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획比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XBP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만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se2:</a:t>
                      </a:r>
                    </a:p>
                    <a:p>
                      <a:pPr algn="ctr" latinLnBrk="1"/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비스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용률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획比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XBP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만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&amp;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전이익률 </a:t>
                      </a:r>
                      <a:r>
                        <a:rPr lang="ko-KR" altLang="en-US" sz="1050" b="0" kern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획比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XBP 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상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e1:</a:t>
                      </a: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률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만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itchFamily="2" charset="2"/>
                        </a:rPr>
                        <a:t>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itchFamily="2" charset="2"/>
                        </a:rPr>
                        <a:t>한도조정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회비 인상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e2:</a:t>
                      </a: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률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만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比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BP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itchFamily="2" charset="2"/>
                        </a:rPr>
                        <a:t>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itchFamily="2" charset="2"/>
                        </a:rPr>
                        <a:t>서비스 보강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65992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초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EP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 준수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초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EP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 比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 이내 지연 예측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초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EP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 比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 이상 지연 예측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매채널 조정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당조정 등을 단행하여 조기 흑자 전환 유도</a:t>
                      </a:r>
                      <a:endParaRPr lang="en-US" altLang="ko-KR" sz="1050" b="0" baseline="30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25" name="AutoShape 7"/>
          <p:cNvSpPr>
            <a:spLocks noChangeArrowheads="1"/>
          </p:cNvSpPr>
          <p:nvPr/>
        </p:nvSpPr>
        <p:spPr bwMode="auto">
          <a:xfrm>
            <a:off x="488504" y="2758043"/>
            <a:ext cx="1512168" cy="579949"/>
          </a:xfrm>
          <a:prstGeom prst="homePlate">
            <a:avLst>
              <a:gd name="adj" fmla="val 25951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dist="45791" dir="2021404" algn="ctr" rotWithShape="0">
              <a:srgbClr val="000000"/>
            </a:outerShdw>
          </a:effectLst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Volume</a:t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취급고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집회원수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41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신상품 조기경보 체계 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lert 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및 후속조치 실행 기준 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예시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</a:t>
                </a: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endPara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47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43" name="TextBox 42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44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48" name="그룹 4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57" name="그룹 5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164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상품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newal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율화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rop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절차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화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LC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손익기준을 고려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상이익 등의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계치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정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성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분석을 실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1496616" y="1936620"/>
            <a:ext cx="3528392" cy="349451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단계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손익 기준 적용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5169024" y="1936620"/>
            <a:ext cx="4104456" cy="349451"/>
          </a:xfrm>
          <a:prstGeom prst="homePlate">
            <a:avLst>
              <a:gd name="adj" fmla="val 25951"/>
            </a:avLst>
          </a:prstGeom>
          <a:solidFill>
            <a:srgbClr val="002060"/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II </a:t>
            </a: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단계 </a:t>
            </a:r>
            <a: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정량</a:t>
            </a:r>
            <a: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정성 분석</a:t>
            </a:r>
          </a:p>
        </p:txBody>
      </p:sp>
      <p:sp>
        <p:nvSpPr>
          <p:cNvPr id="17" name="TextBox 40"/>
          <p:cNvSpPr txBox="1">
            <a:spLocks noChangeArrowheads="1"/>
          </p:cNvSpPr>
          <p:nvPr/>
        </p:nvSpPr>
        <p:spPr bwMode="auto">
          <a:xfrm>
            <a:off x="1496616" y="2355962"/>
            <a:ext cx="3600400" cy="267046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LC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손익기준 적용을 고려해야 함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성장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숙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안정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쇠퇴기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손익 평가 기준 결정 필요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공헌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직접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이익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상이익 등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존상품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enewal 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효율화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Drop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전사 기준 및 절차 마련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40"/>
          <p:cNvSpPr txBox="1">
            <a:spLocks noChangeArrowheads="1"/>
          </p:cNvSpPr>
          <p:nvPr/>
        </p:nvSpPr>
        <p:spPr bwMode="auto">
          <a:xfrm>
            <a:off x="632520" y="5079086"/>
            <a:ext cx="719840" cy="1238569"/>
          </a:xfrm>
          <a:prstGeom prst="rect">
            <a:avLst/>
          </a:prstGeom>
          <a:solidFill>
            <a:srgbClr val="C0C0C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타사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</a:p>
        </p:txBody>
      </p:sp>
      <p:sp>
        <p:nvSpPr>
          <p:cNvPr id="19" name="TextBox 40"/>
          <p:cNvSpPr txBox="1">
            <a:spLocks noChangeArrowheads="1"/>
          </p:cNvSpPr>
          <p:nvPr/>
        </p:nvSpPr>
        <p:spPr bwMode="auto">
          <a:xfrm>
            <a:off x="5168784" y="5079086"/>
            <a:ext cx="2056995" cy="123856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Drop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5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 항목 미달되는 경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용성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Wallet Share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이용율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인당취급고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장성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: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취급고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증감추이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회원수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증감추이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W/S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증감추이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익성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손익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서비스비용율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40"/>
          <p:cNvSpPr txBox="1">
            <a:spLocks noChangeArrowheads="1"/>
          </p:cNvSpPr>
          <p:nvPr/>
        </p:nvSpPr>
        <p:spPr bwMode="auto">
          <a:xfrm>
            <a:off x="632280" y="2362456"/>
            <a:ext cx="719840" cy="2639374"/>
          </a:xfrm>
          <a:prstGeom prst="rect">
            <a:avLst/>
          </a:prstGeom>
          <a:solidFill>
            <a:srgbClr val="C0C0C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행 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endParaRPr kumimoji="1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496616" y="5079086"/>
            <a:ext cx="3600400" cy="123856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LC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의 상품 위치와 손익 관점에서 고려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공헌이익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-) :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장기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enewal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및 서비스 효율화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              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숙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안정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쇠퇴기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- Drop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공헌이익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+) and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상이익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-) : PLC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와 상관없이 정량적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성적 평가 수행하여 상품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enewal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효율화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Drop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결정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상이익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+)  :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 운영 및 활성화 추진</a:t>
            </a:r>
          </a:p>
        </p:txBody>
      </p:sp>
      <p:sp>
        <p:nvSpPr>
          <p:cNvPr id="22" name="TextBox 40"/>
          <p:cNvSpPr txBox="1">
            <a:spLocks noChangeArrowheads="1"/>
          </p:cNvSpPr>
          <p:nvPr/>
        </p:nvSpPr>
        <p:spPr bwMode="auto">
          <a:xfrm>
            <a:off x="5168784" y="2355962"/>
            <a:ext cx="4174930" cy="267046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Drop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 항목 기준 마련 필요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용성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장성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익성 측면에서 지표 도출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3" name="TextBox 40"/>
          <p:cNvSpPr txBox="1">
            <a:spLocks noChangeArrowheads="1"/>
          </p:cNvSpPr>
          <p:nvPr/>
        </p:nvSpPr>
        <p:spPr bwMode="auto">
          <a:xfrm>
            <a:off x="7287192" y="5079086"/>
            <a:ext cx="2056522" cy="123856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시장 및 타사동향 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당사 상품 및 서비스 현황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소비 동향 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시장 규모 및 당사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/S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-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타사 서비스 현황 및 경쟁력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상품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History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감안 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 현재 상품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state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검토</a:t>
            </a:r>
          </a:p>
        </p:txBody>
      </p:sp>
      <p:graphicFrame>
        <p:nvGraphicFramePr>
          <p:cNvPr id="25" name="Group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9210418"/>
              </p:ext>
            </p:extLst>
          </p:nvPr>
        </p:nvGraphicFramePr>
        <p:xfrm>
          <a:off x="1640632" y="3406740"/>
          <a:ext cx="3312367" cy="1508130"/>
        </p:xfrm>
        <a:graphic>
          <a:graphicData uri="http://schemas.openxmlformats.org/drawingml/2006/table">
            <a:tbl>
              <a:tblPr/>
              <a:tblGrid>
                <a:gridCol w="438000"/>
                <a:gridCol w="1002160"/>
                <a:gridCol w="624069"/>
                <a:gridCol w="624069"/>
                <a:gridCol w="624069"/>
              </a:tblGrid>
              <a:tr h="136673">
                <a:tc rowSpan="2"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 분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C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34156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숙기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정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쇠퇴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7909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&amp;L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헌 이익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- )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92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228600" marR="0" lvl="0" indent="-2286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헌 이익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+ )</a:t>
                      </a:r>
                    </a:p>
                    <a:p>
                      <a:pPr marL="228600" marR="0" lvl="0" indent="-2286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상 이익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- )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1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상 이익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+ )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6" name="Group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0223964"/>
              </p:ext>
            </p:extLst>
          </p:nvPr>
        </p:nvGraphicFramePr>
        <p:xfrm>
          <a:off x="5389524" y="2746200"/>
          <a:ext cx="3663455" cy="2208409"/>
        </p:xfrm>
        <a:graphic>
          <a:graphicData uri="http://schemas.openxmlformats.org/drawingml/2006/table">
            <a:tbl>
              <a:tblPr/>
              <a:tblGrid>
                <a:gridCol w="950728"/>
                <a:gridCol w="1698231"/>
                <a:gridCol w="1014496"/>
              </a:tblGrid>
              <a:tr h="196579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 분석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6579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ctor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</a:tr>
              <a:tr h="4770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용성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allet share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율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인당취급고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↓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↓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XX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↓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0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취급고 증감 추이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수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증감 추이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/S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증감 추이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↓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↓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↓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79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성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전이익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비용율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</a:t>
                      </a:r>
                      <a:r>
                        <a:rPr kumimoji="1" lang="en-US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%↓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XX%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↑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733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rop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EBF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 내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ctor 5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 이상 포함 시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44" name="그룹 43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45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기존 상품 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enewal/Drop 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프로세스 고려 사항 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예시</a:t>
                </a:r>
                <a:r>
                  <a:rPr lang="en-US" altLang="ko-KR" sz="14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</a:t>
                </a:r>
                <a:endPara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51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48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52" name="그룹 5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1" name="그룹 6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6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937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9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0562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상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rop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변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행을 위해서는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후 모니터링 시스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&amp;R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정이 선행되어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632400" y="1916832"/>
            <a:ext cx="8641200" cy="4392488"/>
            <a:chOff x="632280" y="1628800"/>
            <a:chExt cx="8641200" cy="4392488"/>
          </a:xfrm>
        </p:grpSpPr>
        <p:sp>
          <p:nvSpPr>
            <p:cNvPr id="16" name="TextBox 40"/>
            <p:cNvSpPr txBox="1">
              <a:spLocks noChangeArrowheads="1"/>
            </p:cNvSpPr>
            <p:nvPr/>
          </p:nvSpPr>
          <p:spPr bwMode="auto">
            <a:xfrm>
              <a:off x="1496616" y="2204864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0" r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모니터링</a:t>
              </a:r>
            </a:p>
          </p:txBody>
        </p:sp>
        <p:sp>
          <p:nvSpPr>
            <p:cNvPr id="17" name="TextBox 40"/>
            <p:cNvSpPr txBox="1">
              <a:spLocks noChangeArrowheads="1"/>
            </p:cNvSpPr>
            <p:nvPr/>
          </p:nvSpPr>
          <p:spPr bwMode="auto">
            <a:xfrm>
              <a:off x="632280" y="2204864"/>
              <a:ext cx="719840" cy="324036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Drop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스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TextBox 40"/>
            <p:cNvSpPr txBox="1">
              <a:spLocks noChangeArrowheads="1"/>
            </p:cNvSpPr>
            <p:nvPr/>
          </p:nvSpPr>
          <p:spPr bwMode="auto">
            <a:xfrm>
              <a:off x="3098794" y="2204864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0" r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Volume </a:t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취급고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,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회원수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및 손익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a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파악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" name="TextBox 40"/>
            <p:cNvSpPr txBox="1">
              <a:spLocks noChangeArrowheads="1"/>
            </p:cNvSpPr>
            <p:nvPr/>
          </p:nvSpPr>
          <p:spPr bwMode="auto">
            <a:xfrm>
              <a:off x="3098794" y="4581128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외 발급 중단 고지</a:t>
              </a:r>
            </a:p>
          </p:txBody>
        </p:sp>
        <p:sp>
          <p:nvSpPr>
            <p:cNvPr id="20" name="TextBox 40"/>
            <p:cNvSpPr txBox="1">
              <a:spLocks noChangeArrowheads="1"/>
            </p:cNvSpPr>
            <p:nvPr/>
          </p:nvSpPr>
          <p:spPr bwMode="auto">
            <a:xfrm>
              <a:off x="4700972" y="2204864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0" r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Drop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상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선정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기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1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21" name="TextBox 40"/>
            <p:cNvSpPr txBox="1">
              <a:spLocks noChangeArrowheads="1"/>
            </p:cNvSpPr>
            <p:nvPr/>
          </p:nvSpPr>
          <p:spPr bwMode="auto">
            <a:xfrm>
              <a:off x="6303150" y="2204864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0" r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손익 분석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기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22" name="TextBox 40"/>
            <p:cNvSpPr txBox="1">
              <a:spLocks noChangeArrowheads="1"/>
            </p:cNvSpPr>
            <p:nvPr/>
          </p:nvSpPr>
          <p:spPr bwMode="auto">
            <a:xfrm>
              <a:off x="7905328" y="2204864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0" r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평가 시행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기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량적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성적 분석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TextBox 40"/>
            <p:cNvSpPr txBox="1">
              <a:spLocks noChangeArrowheads="1"/>
            </p:cNvSpPr>
            <p:nvPr/>
          </p:nvSpPr>
          <p:spPr bwMode="auto">
            <a:xfrm>
              <a:off x="1496616" y="4581128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관부서 사전협의 및 의사결정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TextBox 40"/>
            <p:cNvSpPr txBox="1">
              <a:spLocks noChangeArrowheads="1"/>
            </p:cNvSpPr>
            <p:nvPr/>
          </p:nvSpPr>
          <p:spPr bwMode="auto">
            <a:xfrm>
              <a:off x="4700972" y="4581128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Drop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적용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코드 삭제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갱신대상 상품 등록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25" name="TextBox 40"/>
            <p:cNvSpPr txBox="1">
              <a:spLocks noChangeArrowheads="1"/>
            </p:cNvSpPr>
            <p:nvPr/>
          </p:nvSpPr>
          <p:spPr bwMode="auto">
            <a:xfrm>
              <a:off x="6303150" y="4581128"/>
              <a:ext cx="1368152" cy="8640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실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갱신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체상품 발급</a:t>
              </a:r>
              <a:endPara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6" name="꺾인 연결선 25"/>
            <p:cNvCxnSpPr>
              <a:stCxn id="22" idx="2"/>
              <a:endCxn id="23" idx="0"/>
            </p:cNvCxnSpPr>
            <p:nvPr/>
          </p:nvCxnSpPr>
          <p:spPr bwMode="auto">
            <a:xfrm rot="5400000">
              <a:off x="4628964" y="620688"/>
              <a:ext cx="1512168" cy="6408712"/>
            </a:xfrm>
            <a:prstGeom prst="bentConnector3">
              <a:avLst>
                <a:gd name="adj1" fmla="val 77715"/>
              </a:avLst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7" name="직선 화살표 연결선 26"/>
            <p:cNvCxnSpPr>
              <a:stCxn id="16" idx="3"/>
              <a:endCxn id="18" idx="1"/>
            </p:cNvCxnSpPr>
            <p:nvPr/>
          </p:nvCxnSpPr>
          <p:spPr bwMode="auto">
            <a:xfrm>
              <a:off x="2864768" y="2636912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8" name="직선 화살표 연결선 27"/>
            <p:cNvCxnSpPr>
              <a:stCxn id="18" idx="3"/>
              <a:endCxn id="20" idx="1"/>
            </p:cNvCxnSpPr>
            <p:nvPr/>
          </p:nvCxnSpPr>
          <p:spPr bwMode="auto">
            <a:xfrm>
              <a:off x="4466946" y="2636912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9" name="직선 화살표 연결선 28"/>
            <p:cNvCxnSpPr>
              <a:stCxn id="20" idx="3"/>
              <a:endCxn id="21" idx="1"/>
            </p:cNvCxnSpPr>
            <p:nvPr/>
          </p:nvCxnSpPr>
          <p:spPr bwMode="auto">
            <a:xfrm>
              <a:off x="6069124" y="2636912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30" name="직선 화살표 연결선 29"/>
            <p:cNvCxnSpPr>
              <a:stCxn id="21" idx="3"/>
              <a:endCxn id="22" idx="1"/>
            </p:cNvCxnSpPr>
            <p:nvPr/>
          </p:nvCxnSpPr>
          <p:spPr bwMode="auto">
            <a:xfrm>
              <a:off x="7671302" y="2636912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31" name="직선 화살표 연결선 30"/>
            <p:cNvCxnSpPr>
              <a:stCxn id="23" idx="3"/>
              <a:endCxn id="19" idx="1"/>
            </p:cNvCxnSpPr>
            <p:nvPr/>
          </p:nvCxnSpPr>
          <p:spPr bwMode="auto">
            <a:xfrm>
              <a:off x="2864768" y="5013176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32" name="직선 화살표 연결선 31"/>
            <p:cNvCxnSpPr>
              <a:stCxn id="19" idx="3"/>
              <a:endCxn id="24" idx="1"/>
            </p:cNvCxnSpPr>
            <p:nvPr/>
          </p:nvCxnSpPr>
          <p:spPr bwMode="auto">
            <a:xfrm>
              <a:off x="4466946" y="5013176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33" name="직선 화살표 연결선 32"/>
            <p:cNvCxnSpPr>
              <a:stCxn id="24" idx="3"/>
              <a:endCxn id="25" idx="1"/>
            </p:cNvCxnSpPr>
            <p:nvPr/>
          </p:nvCxnSpPr>
          <p:spPr bwMode="auto">
            <a:xfrm>
              <a:off x="6069124" y="5013176"/>
              <a:ext cx="23402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35" name="모서리가 둥근 직사각형 34"/>
            <p:cNvSpPr/>
            <p:nvPr/>
          </p:nvSpPr>
          <p:spPr>
            <a:xfrm>
              <a:off x="1496616" y="1628800"/>
              <a:ext cx="4572508" cy="531209"/>
            </a:xfrm>
            <a:prstGeom prst="roundRect">
              <a:avLst/>
            </a:prstGeom>
            <a:solidFill>
              <a:srgbClr val="1B3A87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사후 모니터링 시스템 구축 필요</a:t>
              </a:r>
            </a:p>
          </p:txBody>
        </p:sp>
        <p:sp>
          <p:nvSpPr>
            <p:cNvPr id="37" name="모서리가 둥근 직사각형 36"/>
            <p:cNvSpPr/>
            <p:nvPr/>
          </p:nvSpPr>
          <p:spPr>
            <a:xfrm>
              <a:off x="6303150" y="1628800"/>
              <a:ext cx="1368152" cy="531209"/>
            </a:xfrm>
            <a:prstGeom prst="roundRect">
              <a:avLst/>
            </a:prstGeom>
            <a:solidFill>
              <a:srgbClr val="1B3A87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준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정 필요</a:t>
              </a:r>
            </a:p>
          </p:txBody>
        </p:sp>
        <p:sp>
          <p:nvSpPr>
            <p:cNvPr id="38" name="모서리가 둥근 직사각형 37"/>
            <p:cNvSpPr/>
            <p:nvPr/>
          </p:nvSpPr>
          <p:spPr>
            <a:xfrm>
              <a:off x="7905328" y="1628800"/>
              <a:ext cx="1368152" cy="531209"/>
            </a:xfrm>
            <a:prstGeom prst="roundRect">
              <a:avLst/>
            </a:prstGeom>
            <a:solidFill>
              <a:srgbClr val="1B3A87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tIns="36000" rIns="36000" bIns="3600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준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정 필요</a:t>
              </a: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1496616" y="5525616"/>
              <a:ext cx="136815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R&amp;R</a:t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정 필요</a:t>
              </a:r>
            </a:p>
          </p:txBody>
        </p:sp>
        <p:sp>
          <p:nvSpPr>
            <p:cNvPr id="40" name="순서도: 자기 디스크 39"/>
            <p:cNvSpPr/>
            <p:nvPr/>
          </p:nvSpPr>
          <p:spPr>
            <a:xfrm>
              <a:off x="3207230" y="3284984"/>
              <a:ext cx="1152128" cy="576064"/>
            </a:xfrm>
            <a:prstGeom prst="flowChartMagneticDisk">
              <a:avLst/>
            </a:prstGeom>
            <a:solidFill>
              <a:srgbClr val="D6EBF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관리시스템</a:t>
              </a:r>
            </a:p>
          </p:txBody>
        </p:sp>
        <p:cxnSp>
          <p:nvCxnSpPr>
            <p:cNvPr id="41" name="직선 연결선 40"/>
            <p:cNvCxnSpPr>
              <a:stCxn id="18" idx="2"/>
              <a:endCxn id="40" idx="1"/>
            </p:cNvCxnSpPr>
            <p:nvPr/>
          </p:nvCxnSpPr>
          <p:spPr bwMode="auto">
            <a:xfrm>
              <a:off x="3782870" y="3068960"/>
              <a:ext cx="424" cy="216024"/>
            </a:xfrm>
            <a:prstGeom prst="line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/>
            </a:ln>
            <a:effectLst/>
          </p:spPr>
        </p:cxnSp>
        <p:sp>
          <p:nvSpPr>
            <p:cNvPr id="42" name="TextBox 40"/>
            <p:cNvSpPr txBox="1">
              <a:spLocks noChangeArrowheads="1"/>
            </p:cNvSpPr>
            <p:nvPr/>
          </p:nvSpPr>
          <p:spPr bwMode="auto">
            <a:xfrm>
              <a:off x="632520" y="1628800"/>
              <a:ext cx="719840" cy="49567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</a:t>
              </a:r>
            </a:p>
          </p:txBody>
        </p:sp>
        <p:sp>
          <p:nvSpPr>
            <p:cNvPr id="43" name="순서도: 자기 디스크 42"/>
            <p:cNvSpPr/>
            <p:nvPr/>
          </p:nvSpPr>
          <p:spPr>
            <a:xfrm>
              <a:off x="1601282" y="3284984"/>
              <a:ext cx="1152128" cy="576064"/>
            </a:xfrm>
            <a:prstGeom prst="flowChartMagneticDisk">
              <a:avLst/>
            </a:prstGeom>
            <a:solidFill>
              <a:srgbClr val="D6EBF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관리시스템</a:t>
              </a:r>
            </a:p>
          </p:txBody>
        </p:sp>
        <p:cxnSp>
          <p:nvCxnSpPr>
            <p:cNvPr id="44" name="직선 연결선 43"/>
            <p:cNvCxnSpPr>
              <a:stCxn id="16" idx="2"/>
              <a:endCxn id="43" idx="1"/>
            </p:cNvCxnSpPr>
            <p:nvPr/>
          </p:nvCxnSpPr>
          <p:spPr bwMode="auto">
            <a:xfrm flipH="1">
              <a:off x="2177346" y="3068960"/>
              <a:ext cx="3346" cy="216024"/>
            </a:xfrm>
            <a:prstGeom prst="line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/>
            </a:ln>
            <a:effectLst/>
          </p:spPr>
        </p:cxnSp>
        <p:sp>
          <p:nvSpPr>
            <p:cNvPr id="45" name="TextBox 40"/>
            <p:cNvSpPr txBox="1">
              <a:spLocks noChangeArrowheads="1"/>
            </p:cNvSpPr>
            <p:nvPr/>
          </p:nvSpPr>
          <p:spPr bwMode="auto">
            <a:xfrm>
              <a:off x="632520" y="5525616"/>
              <a:ext cx="719840" cy="49567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필요 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Task</a:t>
              </a:r>
              <a:endPara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3152800" y="5517232"/>
              <a:ext cx="136815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R&amp;R </a:t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정 필요</a:t>
              </a:r>
            </a:p>
          </p:txBody>
        </p:sp>
      </p:grpSp>
      <p:grpSp>
        <p:nvGrpSpPr>
          <p:cNvPr id="63" name="그룹 62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64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69" name="TextBox 68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기존 상품 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rop 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프로세스 변화 이행 예시</a:t>
                </a:r>
              </a:p>
            </p:txBody>
          </p:sp>
          <p:cxnSp>
            <p:nvCxnSpPr>
              <p:cNvPr id="70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67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71" name="그룹 7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1" name="그룹 8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394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운영 관리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0/10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08859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의 출시 이후 단계 운영관리 고도화를 위해 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모니터링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협의회를 구성하고 </a:t>
            </a:r>
            <a:r>
              <a:rPr lang="en-US" altLang="ko-KR" dirty="0"/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관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계 확립을 검토하겠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8" name="이등변 삼각형 37"/>
          <p:cNvSpPr/>
          <p:nvPr/>
        </p:nvSpPr>
        <p:spPr bwMode="auto">
          <a:xfrm>
            <a:off x="2766126" y="3029786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이등변 삼각형 38"/>
          <p:cNvSpPr/>
          <p:nvPr/>
        </p:nvSpPr>
        <p:spPr bwMode="auto">
          <a:xfrm>
            <a:off x="3152800" y="3029786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이등변 삼각형 39"/>
          <p:cNvSpPr/>
          <p:nvPr/>
        </p:nvSpPr>
        <p:spPr bwMode="auto">
          <a:xfrm>
            <a:off x="4115538" y="3023417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73306" y="1931845"/>
            <a:ext cx="4608000" cy="29031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s-Is</a:t>
            </a:r>
            <a:endParaRPr kumimoji="1" lang="ko-KR" altLang="en-US" sz="13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4987734" y="1931845"/>
            <a:ext cx="4608000" cy="29031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To-Be</a:t>
            </a:r>
            <a:endParaRPr kumimoji="1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>
            <a:off x="281358" y="3033720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기획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AutoShape 7"/>
          <p:cNvSpPr>
            <a:spLocks noChangeArrowheads="1"/>
          </p:cNvSpPr>
          <p:nvPr/>
        </p:nvSpPr>
        <p:spPr bwMode="auto">
          <a:xfrm>
            <a:off x="1433606" y="3033720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개발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AutoShape 7"/>
          <p:cNvSpPr>
            <a:spLocks noChangeArrowheads="1"/>
          </p:cNvSpPr>
          <p:nvPr/>
        </p:nvSpPr>
        <p:spPr bwMode="auto">
          <a:xfrm>
            <a:off x="2585734" y="3033720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AutoShape 7"/>
          <p:cNvSpPr>
            <a:spLocks noChangeArrowheads="1"/>
          </p:cNvSpPr>
          <p:nvPr/>
        </p:nvSpPr>
        <p:spPr bwMode="auto">
          <a:xfrm>
            <a:off x="3737862" y="3033720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대체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갱신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Renewal, Drop </a:t>
            </a:r>
            <a:r>
              <a:rPr lang="ko-KR" altLang="en-US" sz="105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5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281358" y="3702167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기획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AutoShape 7"/>
          <p:cNvSpPr>
            <a:spLocks noChangeArrowheads="1"/>
          </p:cNvSpPr>
          <p:nvPr/>
        </p:nvSpPr>
        <p:spPr bwMode="auto">
          <a:xfrm>
            <a:off x="1433606" y="3702167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개발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AutoShape 7"/>
          <p:cNvSpPr>
            <a:spLocks noChangeArrowheads="1"/>
          </p:cNvSpPr>
          <p:nvPr/>
        </p:nvSpPr>
        <p:spPr bwMode="auto">
          <a:xfrm>
            <a:off x="2585734" y="3702167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AutoShape 7"/>
          <p:cNvSpPr>
            <a:spLocks noChangeArrowheads="1"/>
          </p:cNvSpPr>
          <p:nvPr/>
        </p:nvSpPr>
        <p:spPr bwMode="auto">
          <a:xfrm>
            <a:off x="3737862" y="3702167"/>
            <a:ext cx="1080000" cy="491396"/>
          </a:xfrm>
          <a:prstGeom prst="homePlate">
            <a:avLst>
              <a:gd name="adj" fmla="val 2595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 조정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Renewal, Drop </a:t>
            </a:r>
            <a:r>
              <a:rPr lang="ko-KR" altLang="en-US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1856656" y="3538759"/>
            <a:ext cx="153374" cy="158343"/>
            <a:chOff x="695170" y="3433439"/>
            <a:chExt cx="153374" cy="324000"/>
          </a:xfrm>
        </p:grpSpPr>
        <p:sp>
          <p:nvSpPr>
            <p:cNvPr id="27" name="아래쪽 화살표 26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" name="아래쪽 화살표 27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9" name="그룹 28"/>
          <p:cNvGrpSpPr/>
          <p:nvPr/>
        </p:nvGrpSpPr>
        <p:grpSpPr>
          <a:xfrm>
            <a:off x="3008784" y="3538759"/>
            <a:ext cx="153374" cy="158343"/>
            <a:chOff x="695170" y="3433439"/>
            <a:chExt cx="153374" cy="324000"/>
          </a:xfrm>
        </p:grpSpPr>
        <p:sp>
          <p:nvSpPr>
            <p:cNvPr id="30" name="아래쪽 화살표 29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" name="아래쪽 화살표 30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4151554" y="3538759"/>
            <a:ext cx="153374" cy="158343"/>
            <a:chOff x="695170" y="3433439"/>
            <a:chExt cx="153374" cy="324000"/>
          </a:xfrm>
        </p:grpSpPr>
        <p:sp>
          <p:nvSpPr>
            <p:cNvPr id="33" name="아래쪽 화살표 32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4" name="아래쪽 화살표 33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695170" y="3538759"/>
            <a:ext cx="153374" cy="158343"/>
            <a:chOff x="695170" y="3433439"/>
            <a:chExt cx="153374" cy="324000"/>
          </a:xfrm>
        </p:grpSpPr>
        <p:sp>
          <p:nvSpPr>
            <p:cNvPr id="36" name="아래쪽 화살표 35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" name="아래쪽 화살표 36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1" name="직사각형 40"/>
          <p:cNvSpPr/>
          <p:nvPr/>
        </p:nvSpPr>
        <p:spPr>
          <a:xfrm>
            <a:off x="392844" y="2251960"/>
            <a:ext cx="20042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수익성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결과 위주 항목 검토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손익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비용율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모집비용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2651846" y="2254415"/>
            <a:ext cx="2004244" cy="448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상품 위주 모니터링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개인신용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+ 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제휴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+ 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멤버십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3" name="Rectangle 38"/>
          <p:cNvSpPr>
            <a:spLocks noChangeArrowheads="1"/>
          </p:cNvSpPr>
          <p:nvPr/>
        </p:nvSpPr>
        <p:spPr bwMode="gray">
          <a:xfrm>
            <a:off x="355749" y="2268928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5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4" name="Rectangle 38"/>
          <p:cNvSpPr>
            <a:spLocks noChangeArrowheads="1"/>
          </p:cNvSpPr>
          <p:nvPr/>
        </p:nvSpPr>
        <p:spPr bwMode="gray">
          <a:xfrm>
            <a:off x="2589504" y="2282633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4</a:t>
            </a:r>
          </a:p>
        </p:txBody>
      </p:sp>
      <p:cxnSp>
        <p:nvCxnSpPr>
          <p:cNvPr id="45" name="꺾인 연결선 44"/>
          <p:cNvCxnSpPr>
            <a:stCxn id="41" idx="2"/>
            <a:endCxn id="38" idx="0"/>
          </p:cNvCxnSpPr>
          <p:nvPr/>
        </p:nvCxnSpPr>
        <p:spPr bwMode="auto">
          <a:xfrm rot="16200000" flipH="1">
            <a:off x="1976472" y="2132119"/>
            <a:ext cx="316161" cy="1479172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46" name="꺾인 연결선 45"/>
          <p:cNvCxnSpPr>
            <a:stCxn id="42" idx="2"/>
            <a:endCxn id="39" idx="0"/>
          </p:cNvCxnSpPr>
          <p:nvPr/>
        </p:nvCxnSpPr>
        <p:spPr bwMode="auto">
          <a:xfrm rot="5400000">
            <a:off x="3293749" y="2669566"/>
            <a:ext cx="327284" cy="39315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47" name="꺾인 연결선 46"/>
          <p:cNvCxnSpPr>
            <a:stCxn id="42" idx="2"/>
            <a:endCxn id="40" idx="0"/>
          </p:cNvCxnSpPr>
          <p:nvPr/>
        </p:nvCxnSpPr>
        <p:spPr bwMode="auto">
          <a:xfrm rot="16200000" flipH="1">
            <a:off x="3778302" y="2578168"/>
            <a:ext cx="320915" cy="56958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sp>
        <p:nvSpPr>
          <p:cNvPr id="48" name="직사각형 47"/>
          <p:cNvSpPr/>
          <p:nvPr/>
        </p:nvSpPr>
        <p:spPr>
          <a:xfrm>
            <a:off x="281358" y="4475579"/>
            <a:ext cx="1575298" cy="448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 분류체계 및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관리기준 미흡</a:t>
            </a:r>
          </a:p>
        </p:txBody>
      </p:sp>
      <p:sp>
        <p:nvSpPr>
          <p:cNvPr id="49" name="Rectangle 38"/>
          <p:cNvSpPr>
            <a:spLocks noChangeArrowheads="1"/>
          </p:cNvSpPr>
          <p:nvPr/>
        </p:nvSpPr>
        <p:spPr bwMode="gray">
          <a:xfrm>
            <a:off x="266765" y="4498873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1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2883162" y="4434435"/>
            <a:ext cx="2069838" cy="448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미이용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사후관리 프로세스 미흡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이동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Renewal, Drop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51" name="Rectangle 38"/>
          <p:cNvSpPr>
            <a:spLocks noChangeArrowheads="1"/>
          </p:cNvSpPr>
          <p:nvPr/>
        </p:nvSpPr>
        <p:spPr bwMode="gray">
          <a:xfrm>
            <a:off x="2768978" y="4458477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3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1649510" y="4853776"/>
            <a:ext cx="2490542" cy="448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별서비스 관점의 단순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Data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제공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원인파악의 어려움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53" name="Rectangle 38"/>
          <p:cNvSpPr>
            <a:spLocks noChangeArrowheads="1"/>
          </p:cNvSpPr>
          <p:nvPr/>
        </p:nvSpPr>
        <p:spPr bwMode="gray">
          <a:xfrm>
            <a:off x="1692873" y="4868172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2</a:t>
            </a:r>
          </a:p>
        </p:txBody>
      </p:sp>
      <p:cxnSp>
        <p:nvCxnSpPr>
          <p:cNvPr id="54" name="꺾인 연결선 53"/>
          <p:cNvCxnSpPr>
            <a:stCxn id="22" idx="2"/>
            <a:endCxn id="48" idx="0"/>
          </p:cNvCxnSpPr>
          <p:nvPr/>
        </p:nvCxnSpPr>
        <p:spPr bwMode="auto">
          <a:xfrm rot="16200000" flipH="1">
            <a:off x="771329" y="4177900"/>
            <a:ext cx="282016" cy="313342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55" name="꺾인 연결선 54"/>
          <p:cNvCxnSpPr>
            <a:stCxn id="25" idx="2"/>
            <a:endCxn id="48" idx="0"/>
          </p:cNvCxnSpPr>
          <p:nvPr/>
        </p:nvCxnSpPr>
        <p:spPr bwMode="auto">
          <a:xfrm rot="5400000">
            <a:off x="2499581" y="2762990"/>
            <a:ext cx="282016" cy="314316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56" name="꺾인 연결선 55"/>
          <p:cNvCxnSpPr/>
          <p:nvPr/>
        </p:nvCxnSpPr>
        <p:spPr bwMode="auto">
          <a:xfrm rot="16200000" flipH="1">
            <a:off x="4266518" y="4303983"/>
            <a:ext cx="267879" cy="4703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57" name="꺾인 연결선 56"/>
          <p:cNvCxnSpPr/>
          <p:nvPr/>
        </p:nvCxnSpPr>
        <p:spPr bwMode="auto">
          <a:xfrm rot="5400000">
            <a:off x="1993651" y="4278284"/>
            <a:ext cx="662756" cy="5046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grpSp>
        <p:nvGrpSpPr>
          <p:cNvPr id="4" name="그룹 3"/>
          <p:cNvGrpSpPr/>
          <p:nvPr/>
        </p:nvGrpSpPr>
        <p:grpSpPr>
          <a:xfrm>
            <a:off x="273306" y="5368799"/>
            <a:ext cx="4536504" cy="974269"/>
            <a:chOff x="200472" y="5327781"/>
            <a:chExt cx="4536504" cy="1003790"/>
          </a:xfrm>
        </p:grpSpPr>
        <p:sp>
          <p:nvSpPr>
            <p:cNvPr id="127" name="직사각형 126"/>
            <p:cNvSpPr/>
            <p:nvPr/>
          </p:nvSpPr>
          <p:spPr bwMode="auto">
            <a:xfrm>
              <a:off x="853567" y="5327781"/>
              <a:ext cx="3883409" cy="1003790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분류 기준 모호하며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관리 기준 부재</a:t>
              </a:r>
              <a:endParaRPr kumimoji="1" lang="en-US" altLang="ko-KR" sz="10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강화 및 비용 효율화 수준 결정을 위한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ata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지원 부족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</a:t>
              </a:r>
              <a:r>
                <a:rPr kumimoji="1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비용율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모집 비용 등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1" lang="ko-KR" altLang="en-US" sz="10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미이용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서비스 관리 프로세스 미흡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상품 위주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금융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타부문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등 추가 필요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결과 중심의 성과 평가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원인 분석 지표 관리 미흡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200472" y="5327781"/>
              <a:ext cx="653095" cy="100379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요이슈</a:t>
              </a:r>
              <a:endParaRPr kumimoji="0" lang="ko-KR" altLang="en-US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5046472" y="5368798"/>
            <a:ext cx="4549262" cy="968107"/>
            <a:chOff x="5070382" y="5327780"/>
            <a:chExt cx="4549262" cy="997442"/>
          </a:xfrm>
        </p:grpSpPr>
        <p:sp>
          <p:nvSpPr>
            <p:cNvPr id="129" name="직사각형 128"/>
            <p:cNvSpPr/>
            <p:nvPr/>
          </p:nvSpPr>
          <p:spPr bwMode="auto">
            <a:xfrm>
              <a:off x="5971879" y="5327780"/>
              <a:ext cx="3647765" cy="997442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전사 서비스 관리기준 및 모니터링 체계 수립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</a:t>
              </a:r>
              <a:b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</a:t>
              </a: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관리 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Governance</a:t>
              </a:r>
              <a:r>
                <a:rPr kumimoji="1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확립 → 서비스 </a:t>
              </a:r>
              <a:r>
                <a:rPr kumimoji="1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&amp;R </a:t>
              </a:r>
              <a:r>
                <a:rPr kumimoji="1" lang="ko-KR" altLang="en-US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명확화</a:t>
              </a:r>
              <a:endParaRPr kumimoji="1" lang="en-US" altLang="ko-KR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 상품 모니터링 영역 확대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모니터링 협의회 실시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추가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, </a:t>
              </a:r>
              <a:b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원인 지표 성과 관리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타 부문포함 전사 상품</a:t>
              </a: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 </a:t>
              </a:r>
              <a:r>
                <a:rPr kumimoji="1" lang="ko-KR" altLang="en-US" sz="10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기반 마련 </a:t>
              </a:r>
              <a:endParaRPr kumimoji="1"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5070382" y="5327780"/>
              <a:ext cx="895753" cy="99744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999999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요 변화 사항</a:t>
              </a:r>
              <a:endParaRPr kumimoji="0" lang="ko-KR" altLang="en-US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91" name="이등변 삼각형 90"/>
          <p:cNvSpPr/>
          <p:nvPr/>
        </p:nvSpPr>
        <p:spPr bwMode="auto">
          <a:xfrm>
            <a:off x="7743724" y="3057192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이등변 삼각형 91"/>
          <p:cNvSpPr/>
          <p:nvPr/>
        </p:nvSpPr>
        <p:spPr bwMode="auto">
          <a:xfrm>
            <a:off x="8130398" y="3057192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이등변 삼각형 92"/>
          <p:cNvSpPr/>
          <p:nvPr/>
        </p:nvSpPr>
        <p:spPr bwMode="auto">
          <a:xfrm>
            <a:off x="9093136" y="3058965"/>
            <a:ext cx="216024" cy="14662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987734" y="2222675"/>
            <a:ext cx="4608000" cy="25585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noFill/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960157" y="3636059"/>
            <a:ext cx="4631944" cy="165333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AutoShape 7"/>
          <p:cNvSpPr>
            <a:spLocks noChangeArrowheads="1"/>
          </p:cNvSpPr>
          <p:nvPr/>
        </p:nvSpPr>
        <p:spPr bwMode="auto">
          <a:xfrm>
            <a:off x="5025008" y="3055561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기획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AutoShape 7"/>
          <p:cNvSpPr>
            <a:spLocks noChangeArrowheads="1"/>
          </p:cNvSpPr>
          <p:nvPr/>
        </p:nvSpPr>
        <p:spPr bwMode="auto">
          <a:xfrm>
            <a:off x="6177256" y="3055561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개발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AutoShape 7"/>
          <p:cNvSpPr>
            <a:spLocks noChangeArrowheads="1"/>
          </p:cNvSpPr>
          <p:nvPr/>
        </p:nvSpPr>
        <p:spPr bwMode="auto">
          <a:xfrm>
            <a:off x="7329384" y="3055561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AutoShape 7"/>
          <p:cNvSpPr>
            <a:spLocks noChangeArrowheads="1"/>
          </p:cNvSpPr>
          <p:nvPr/>
        </p:nvSpPr>
        <p:spPr bwMode="auto">
          <a:xfrm>
            <a:off x="8481512" y="3055561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대체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갱신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Renewal, Drop </a:t>
            </a:r>
            <a:r>
              <a:rPr lang="ko-KR" altLang="en-US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AutoShape 7"/>
          <p:cNvSpPr>
            <a:spLocks noChangeArrowheads="1"/>
          </p:cNvSpPr>
          <p:nvPr/>
        </p:nvSpPr>
        <p:spPr bwMode="auto">
          <a:xfrm>
            <a:off x="5025008" y="3732625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기획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AutoShape 7"/>
          <p:cNvSpPr>
            <a:spLocks noChangeArrowheads="1"/>
          </p:cNvSpPr>
          <p:nvPr/>
        </p:nvSpPr>
        <p:spPr bwMode="auto">
          <a:xfrm>
            <a:off x="6177256" y="3732625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개발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AutoShape 7"/>
          <p:cNvSpPr>
            <a:spLocks noChangeArrowheads="1"/>
          </p:cNvSpPr>
          <p:nvPr/>
        </p:nvSpPr>
        <p:spPr bwMode="auto">
          <a:xfrm>
            <a:off x="7329384" y="3732625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AutoShape 7"/>
          <p:cNvSpPr>
            <a:spLocks noChangeArrowheads="1"/>
          </p:cNvSpPr>
          <p:nvPr/>
        </p:nvSpPr>
        <p:spPr bwMode="auto">
          <a:xfrm>
            <a:off x="8481512" y="3732625"/>
            <a:ext cx="1080000" cy="491396"/>
          </a:xfrm>
          <a:prstGeom prst="homePlate">
            <a:avLst>
              <a:gd name="adj" fmla="val 25951"/>
            </a:avLst>
          </a:prstGeom>
          <a:solidFill>
            <a:srgbClr val="D6EBF6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  <p:txBody>
          <a:bodyPr lIns="54000" tIns="18000" rIns="18000" bIns="18000" anchor="ctr"/>
          <a:lstStyle/>
          <a:p>
            <a:pPr algn="ctr" fontAlgn="auto" latinLnBrk="0"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 조정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Renewal, Drop </a:t>
            </a:r>
            <a:r>
              <a:rPr lang="ko-KR" altLang="en-US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9" name="그룹 68"/>
          <p:cNvGrpSpPr/>
          <p:nvPr/>
        </p:nvGrpSpPr>
        <p:grpSpPr>
          <a:xfrm>
            <a:off x="6834254" y="3560600"/>
            <a:ext cx="153374" cy="158343"/>
            <a:chOff x="695170" y="3433439"/>
            <a:chExt cx="153374" cy="324000"/>
          </a:xfrm>
        </p:grpSpPr>
        <p:sp>
          <p:nvSpPr>
            <p:cNvPr id="70" name="아래쪽 화살표 69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아래쪽 화살표 70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72" name="그룹 71"/>
          <p:cNvGrpSpPr/>
          <p:nvPr/>
        </p:nvGrpSpPr>
        <p:grpSpPr>
          <a:xfrm>
            <a:off x="7986382" y="3560600"/>
            <a:ext cx="153374" cy="158343"/>
            <a:chOff x="695170" y="3433439"/>
            <a:chExt cx="153374" cy="324000"/>
          </a:xfrm>
        </p:grpSpPr>
        <p:sp>
          <p:nvSpPr>
            <p:cNvPr id="73" name="아래쪽 화살표 72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4" name="아래쪽 화살표 83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5" name="그룹 84"/>
          <p:cNvGrpSpPr/>
          <p:nvPr/>
        </p:nvGrpSpPr>
        <p:grpSpPr>
          <a:xfrm>
            <a:off x="9129152" y="3560600"/>
            <a:ext cx="153374" cy="158343"/>
            <a:chOff x="695170" y="3433439"/>
            <a:chExt cx="153374" cy="324000"/>
          </a:xfrm>
        </p:grpSpPr>
        <p:sp>
          <p:nvSpPr>
            <p:cNvPr id="86" name="아래쪽 화살표 85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7" name="아래쪽 화살표 86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8" name="그룹 87"/>
          <p:cNvGrpSpPr/>
          <p:nvPr/>
        </p:nvGrpSpPr>
        <p:grpSpPr>
          <a:xfrm>
            <a:off x="5672768" y="3560600"/>
            <a:ext cx="153374" cy="158343"/>
            <a:chOff x="695170" y="3433439"/>
            <a:chExt cx="153374" cy="324000"/>
          </a:xfrm>
        </p:grpSpPr>
        <p:sp>
          <p:nvSpPr>
            <p:cNvPr id="89" name="아래쪽 화살표 88"/>
            <p:cNvSpPr/>
            <p:nvPr/>
          </p:nvSpPr>
          <p:spPr bwMode="auto">
            <a:xfrm>
              <a:off x="695170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아래쪽 화살표 89"/>
            <p:cNvSpPr/>
            <p:nvPr/>
          </p:nvSpPr>
          <p:spPr bwMode="auto">
            <a:xfrm flipV="1">
              <a:off x="776544" y="3433439"/>
              <a:ext cx="72000" cy="324000"/>
            </a:xfrm>
            <a:prstGeom prst="downArrow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94" name="직사각형 93"/>
          <p:cNvSpPr/>
          <p:nvPr/>
        </p:nvSpPr>
        <p:spPr>
          <a:xfrm>
            <a:off x="5666090" y="2474855"/>
            <a:ext cx="2004244" cy="268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원인지표 추가 모니터링</a:t>
            </a:r>
          </a:p>
        </p:txBody>
      </p:sp>
      <p:sp>
        <p:nvSpPr>
          <p:cNvPr id="95" name="직사각형 94"/>
          <p:cNvSpPr/>
          <p:nvPr/>
        </p:nvSpPr>
        <p:spPr>
          <a:xfrm>
            <a:off x="7629444" y="2335074"/>
            <a:ext cx="2004244" cy="448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모니터링 및 관리 </a:t>
            </a:r>
            <a:r>
              <a:rPr kumimoji="1" lang="en-US" altLang="ko-KR" sz="1000" b="0" kern="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1000" b="0" kern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대상 확대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96" name="Rectangle 38"/>
          <p:cNvSpPr>
            <a:spLocks noChangeArrowheads="1"/>
          </p:cNvSpPr>
          <p:nvPr/>
        </p:nvSpPr>
        <p:spPr bwMode="gray">
          <a:xfrm>
            <a:off x="5748543" y="2510610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5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97" name="Rectangle 38"/>
          <p:cNvSpPr>
            <a:spLocks noChangeArrowheads="1"/>
          </p:cNvSpPr>
          <p:nvPr/>
        </p:nvSpPr>
        <p:spPr bwMode="gray">
          <a:xfrm>
            <a:off x="7752787" y="2370031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4</a:t>
            </a:r>
          </a:p>
        </p:txBody>
      </p:sp>
      <p:cxnSp>
        <p:nvCxnSpPr>
          <p:cNvPr id="98" name="꺾인 연결선 97"/>
          <p:cNvCxnSpPr>
            <a:stCxn id="94" idx="2"/>
            <a:endCxn id="91" idx="0"/>
          </p:cNvCxnSpPr>
          <p:nvPr/>
        </p:nvCxnSpPr>
        <p:spPr bwMode="auto">
          <a:xfrm rot="16200000" flipH="1">
            <a:off x="7103232" y="2308687"/>
            <a:ext cx="313484" cy="1183524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99" name="꺾인 연결선 98"/>
          <p:cNvCxnSpPr>
            <a:stCxn id="95" idx="2"/>
            <a:endCxn id="92" idx="0"/>
          </p:cNvCxnSpPr>
          <p:nvPr/>
        </p:nvCxnSpPr>
        <p:spPr bwMode="auto">
          <a:xfrm rot="5400000">
            <a:off x="8297974" y="2723598"/>
            <a:ext cx="274030" cy="39315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100" name="꺾인 연결선 99"/>
          <p:cNvCxnSpPr>
            <a:stCxn id="95" idx="2"/>
            <a:endCxn id="93" idx="0"/>
          </p:cNvCxnSpPr>
          <p:nvPr/>
        </p:nvCxnSpPr>
        <p:spPr bwMode="auto">
          <a:xfrm rot="16200000" flipH="1">
            <a:off x="8778456" y="2636272"/>
            <a:ext cx="275803" cy="56958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sp>
        <p:nvSpPr>
          <p:cNvPr id="101" name="직사각형 100"/>
          <p:cNvSpPr/>
          <p:nvPr/>
        </p:nvSpPr>
        <p:spPr>
          <a:xfrm>
            <a:off x="5132882" y="4408348"/>
            <a:ext cx="1854745" cy="268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전사 서비스 관리기준 수립</a:t>
            </a:r>
          </a:p>
        </p:txBody>
      </p:sp>
      <p:sp>
        <p:nvSpPr>
          <p:cNvPr id="102" name="Rectangle 38"/>
          <p:cNvSpPr>
            <a:spLocks noChangeArrowheads="1"/>
          </p:cNvSpPr>
          <p:nvPr/>
        </p:nvSpPr>
        <p:spPr bwMode="gray">
          <a:xfrm>
            <a:off x="5072183" y="4440645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1</a:t>
            </a:r>
          </a:p>
        </p:txBody>
      </p:sp>
      <p:sp>
        <p:nvSpPr>
          <p:cNvPr id="103" name="직사각형 102"/>
          <p:cNvSpPr/>
          <p:nvPr/>
        </p:nvSpPr>
        <p:spPr>
          <a:xfrm>
            <a:off x="8092557" y="4355692"/>
            <a:ext cx="1574871" cy="609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 사후관리 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체계 수립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R&amp;R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프로세스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04" name="Rectangle 38"/>
          <p:cNvSpPr>
            <a:spLocks noChangeArrowheads="1"/>
          </p:cNvSpPr>
          <p:nvPr/>
        </p:nvSpPr>
        <p:spPr bwMode="gray">
          <a:xfrm>
            <a:off x="8193384" y="4401646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3</a:t>
            </a:r>
          </a:p>
        </p:txBody>
      </p:sp>
      <p:sp>
        <p:nvSpPr>
          <p:cNvPr id="105" name="직사각형 104"/>
          <p:cNvSpPr/>
          <p:nvPr/>
        </p:nvSpPr>
        <p:spPr>
          <a:xfrm>
            <a:off x="6609184" y="4707136"/>
            <a:ext cx="1695868" cy="268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전사 서비스 모니터링 체계 구축</a:t>
            </a:r>
          </a:p>
        </p:txBody>
      </p:sp>
      <p:sp>
        <p:nvSpPr>
          <p:cNvPr id="106" name="Rectangle 38"/>
          <p:cNvSpPr>
            <a:spLocks noChangeArrowheads="1"/>
          </p:cNvSpPr>
          <p:nvPr/>
        </p:nvSpPr>
        <p:spPr bwMode="gray">
          <a:xfrm>
            <a:off x="6577400" y="4735614"/>
            <a:ext cx="216000" cy="2096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2</a:t>
            </a:r>
          </a:p>
        </p:txBody>
      </p:sp>
      <p:cxnSp>
        <p:nvCxnSpPr>
          <p:cNvPr id="107" name="꺾인 연결선 106"/>
          <p:cNvCxnSpPr>
            <a:stCxn id="65" idx="2"/>
            <a:endCxn id="101" idx="0"/>
          </p:cNvCxnSpPr>
          <p:nvPr/>
        </p:nvCxnSpPr>
        <p:spPr bwMode="auto">
          <a:xfrm rot="16200000" flipH="1">
            <a:off x="5687622" y="4035715"/>
            <a:ext cx="184327" cy="560940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108" name="꺾인 연결선 107"/>
          <p:cNvCxnSpPr>
            <a:stCxn id="68" idx="2"/>
            <a:endCxn id="103" idx="0"/>
          </p:cNvCxnSpPr>
          <p:nvPr/>
        </p:nvCxnSpPr>
        <p:spPr bwMode="auto">
          <a:xfrm rot="5400000">
            <a:off x="8852071" y="4251943"/>
            <a:ext cx="131670" cy="758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cxnSp>
        <p:nvCxnSpPr>
          <p:cNvPr id="109" name="꺾인 연결선 108"/>
          <p:cNvCxnSpPr>
            <a:stCxn id="67" idx="2"/>
            <a:endCxn id="105" idx="0"/>
          </p:cNvCxnSpPr>
          <p:nvPr/>
        </p:nvCxnSpPr>
        <p:spPr bwMode="auto">
          <a:xfrm rot="5400000">
            <a:off x="7388847" y="4292293"/>
            <a:ext cx="483115" cy="34657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sm" len="sm"/>
            <a:tailEnd type="oval" w="sm" len="sm"/>
          </a:ln>
          <a:effectLst/>
        </p:spPr>
      </p:cxnSp>
      <p:sp>
        <p:nvSpPr>
          <p:cNvPr id="110" name="직사각형 109"/>
          <p:cNvSpPr/>
          <p:nvPr/>
        </p:nvSpPr>
        <p:spPr>
          <a:xfrm>
            <a:off x="5253732" y="2253030"/>
            <a:ext cx="2264778" cy="268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모니터링 영역 확대</a:t>
            </a:r>
            <a:endParaRPr kumimoji="1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11" name="Rectangle 38"/>
          <p:cNvSpPr>
            <a:spLocks noChangeArrowheads="1"/>
          </p:cNvSpPr>
          <p:nvPr/>
        </p:nvSpPr>
        <p:spPr bwMode="gray">
          <a:xfrm>
            <a:off x="5043486" y="2267868"/>
            <a:ext cx="288000" cy="279530"/>
          </a:xfrm>
          <a:prstGeom prst="ellipse">
            <a:avLst/>
          </a:prstGeom>
          <a:solidFill>
            <a:schemeClr val="accent5">
              <a:lumMod val="2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kern="0" dirty="0">
                <a:solidFill>
                  <a:srgbClr val="FFFFFF"/>
                </a:solidFill>
                <a:latin typeface="맑은 고딕"/>
                <a:ea typeface="맑은 고딕"/>
              </a:rPr>
              <a:t>B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12" name="Rectangle 38"/>
          <p:cNvSpPr>
            <a:spLocks noChangeArrowheads="1"/>
          </p:cNvSpPr>
          <p:nvPr/>
        </p:nvSpPr>
        <p:spPr bwMode="gray">
          <a:xfrm>
            <a:off x="5043486" y="4960646"/>
            <a:ext cx="288000" cy="279530"/>
          </a:xfrm>
          <a:prstGeom prst="ellipse">
            <a:avLst/>
          </a:prstGeom>
          <a:solidFill>
            <a:schemeClr val="accent5">
              <a:lumMod val="2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kern="0" dirty="0">
                <a:solidFill>
                  <a:srgbClr val="FFFFFF"/>
                </a:solidFill>
                <a:latin typeface="맑은 고딕"/>
                <a:ea typeface="맑은 고딕"/>
              </a:rPr>
              <a:t>A</a:t>
            </a:r>
            <a:endParaRPr kumimoji="0" lang="en-US" altLang="ko-KR" sz="105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253694" y="4963186"/>
            <a:ext cx="1589992" cy="277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관리 체계 확립</a:t>
            </a:r>
            <a:endParaRPr kumimoji="1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31" name="타원 130"/>
          <p:cNvSpPr/>
          <p:nvPr/>
        </p:nvSpPr>
        <p:spPr bwMode="auto">
          <a:xfrm>
            <a:off x="5999102" y="5408762"/>
            <a:ext cx="126000" cy="122294"/>
          </a:xfrm>
          <a:prstGeom prst="ellipse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0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타원 131"/>
          <p:cNvSpPr/>
          <p:nvPr/>
        </p:nvSpPr>
        <p:spPr bwMode="auto">
          <a:xfrm>
            <a:off x="5999102" y="5711351"/>
            <a:ext cx="126000" cy="122294"/>
          </a:xfrm>
          <a:prstGeom prst="ellipse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latin typeface="맑은 고딕" pitchFamily="50" charset="-127"/>
                <a:ea typeface="맑은 고딕" pitchFamily="50" charset="-127"/>
              </a:rPr>
              <a:t>B</a:t>
            </a:r>
            <a:endParaRPr kumimoji="1" lang="ko-KR" altLang="en-US" sz="10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6" name="그룹 125"/>
          <p:cNvGrpSpPr/>
          <p:nvPr/>
        </p:nvGrpSpPr>
        <p:grpSpPr>
          <a:xfrm>
            <a:off x="291000" y="1412776"/>
            <a:ext cx="9342521" cy="380877"/>
            <a:chOff x="291000" y="1412776"/>
            <a:chExt cx="9342521" cy="380877"/>
          </a:xfrm>
        </p:grpSpPr>
        <p:grpSp>
          <p:nvGrpSpPr>
            <p:cNvPr id="137" name="Group 32"/>
            <p:cNvGrpSpPr/>
            <p:nvPr/>
          </p:nvGrpSpPr>
          <p:grpSpPr>
            <a:xfrm>
              <a:off x="291000" y="1412776"/>
              <a:ext cx="9342521" cy="380877"/>
              <a:chOff x="380492" y="1590700"/>
              <a:chExt cx="2200362" cy="380877"/>
            </a:xfrm>
          </p:grpSpPr>
          <p:sp>
            <p:nvSpPr>
              <p:cNvPr id="142" name="TextBox 141"/>
              <p:cNvSpPr txBox="1"/>
              <p:nvPr/>
            </p:nvSpPr>
            <p:spPr>
              <a:xfrm>
                <a:off x="380492" y="1590700"/>
                <a:ext cx="2196000" cy="360000"/>
              </a:xfrm>
              <a:prstGeom prst="rect">
                <a:avLst/>
              </a:prstGeom>
              <a:noFill/>
            </p:spPr>
            <p:txBody>
              <a:bodyPr vert="horz" wrap="square" lIns="72000" tIns="36000" rIns="0" bIns="36000" rtlCol="0" anchor="ctr" anchorCtr="0">
                <a:noAutofit/>
              </a:bodyPr>
              <a:lstStyle/>
              <a:p>
                <a:pPr defTabSz="957796" fontAlgn="auto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서비스 운영 관리 고도화 방안 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</a:t>
                </a:r>
                <a:r>
                  <a:rPr lang="ko-KR" altLang="en-US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案</a:t>
                </a:r>
                <a:r>
                  <a:rPr lang="en-US" altLang="ko-KR" sz="14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)</a:t>
                </a:r>
              </a:p>
            </p:txBody>
          </p:sp>
          <p:cxnSp>
            <p:nvCxnSpPr>
              <p:cNvPr id="143" name="Straight Connector 55"/>
              <p:cNvCxnSpPr/>
              <p:nvPr/>
            </p:nvCxnSpPr>
            <p:spPr>
              <a:xfrm>
                <a:off x="384854" y="1971577"/>
                <a:ext cx="2196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8" name="Group 154"/>
            <p:cNvGrpSpPr/>
            <p:nvPr/>
          </p:nvGrpSpPr>
          <p:grpSpPr>
            <a:xfrm>
              <a:off x="8409384" y="1454587"/>
              <a:ext cx="1109768" cy="246221"/>
              <a:chOff x="8019945" y="1816742"/>
              <a:chExt cx="1109768" cy="246221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8019945" y="1816742"/>
                <a:ext cx="1109768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88900" marR="0" lvl="0" indent="-8890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ILLUSTRATIVE</a:t>
                </a:r>
                <a:endParaRPr kumimoji="0" lang="ko-KR" altLang="en-US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40" name="직선 연결선 215"/>
              <p:cNvCxnSpPr/>
              <p:nvPr/>
            </p:nvCxnSpPr>
            <p:spPr bwMode="auto">
              <a:xfrm>
                <a:off x="8061831" y="1835512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" name="직선 연결선 213"/>
              <p:cNvCxnSpPr/>
              <p:nvPr/>
            </p:nvCxnSpPr>
            <p:spPr bwMode="auto">
              <a:xfrm>
                <a:off x="8061831" y="2043020"/>
                <a:ext cx="1032513" cy="117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133" name="그룹 13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9" name="그룹 14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5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591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내부 환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구축 필요성 제기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정적인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고객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축 및 업무프로세스 표준화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를 통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무처리 관행의 혁신을 달성할 수 있을 것으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판단됨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480116" y="2002833"/>
            <a:ext cx="2952000" cy="4032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608464" y="1687208"/>
            <a:ext cx="269530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시스템 고도화 추이</a:t>
            </a:r>
          </a:p>
        </p:txBody>
      </p:sp>
      <p:grpSp>
        <p:nvGrpSpPr>
          <p:cNvPr id="98" name="그룹 97"/>
          <p:cNvGrpSpPr/>
          <p:nvPr/>
        </p:nvGrpSpPr>
        <p:grpSpPr>
          <a:xfrm>
            <a:off x="704725" y="2159564"/>
            <a:ext cx="2502783" cy="3712613"/>
            <a:chOff x="748453" y="2186844"/>
            <a:chExt cx="2502783" cy="3712613"/>
          </a:xfrm>
        </p:grpSpPr>
        <p:sp>
          <p:nvSpPr>
            <p:cNvPr id="82" name="아래쪽 화살표 81"/>
            <p:cNvSpPr/>
            <p:nvPr/>
          </p:nvSpPr>
          <p:spPr bwMode="auto">
            <a:xfrm>
              <a:off x="1443671" y="2917766"/>
              <a:ext cx="1112348" cy="2160000"/>
            </a:xfrm>
            <a:prstGeom prst="downArrow">
              <a:avLst>
                <a:gd name="adj1" fmla="val 64546"/>
                <a:gd name="adj2" fmla="val 31818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endPara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모서리가 둥근 직사각형 78"/>
            <p:cNvSpPr/>
            <p:nvPr/>
          </p:nvSpPr>
          <p:spPr bwMode="auto">
            <a:xfrm>
              <a:off x="748453" y="2186844"/>
              <a:ext cx="2502783" cy="9620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독자카드시스템 출범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2009.1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월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용카드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체크카드 </a:t>
              </a:r>
              <a:r>
                <a:rPr kumimoji="1" lang="ko-KR" altLang="en-US" sz="12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계</a:t>
              </a:r>
              <a:endPara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모서리가 둥근 직사각형 79"/>
            <p:cNvSpPr/>
            <p:nvPr/>
          </p:nvSpPr>
          <p:spPr bwMode="auto">
            <a:xfrm>
              <a:off x="748453" y="3562133"/>
              <a:ext cx="2502783" cy="9620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보계시스템 구축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2012.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월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- EDW</a:t>
              </a:r>
              <a:r>
                <a:rPr kumimoji="1"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)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CRM</a:t>
              </a:r>
              <a:r>
                <a:rPr kumimoji="1"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)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CMS</a:t>
              </a:r>
              <a:r>
                <a:rPr kumimoji="1"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)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EBM</a:t>
              </a:r>
              <a:r>
                <a:rPr kumimoji="1"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4)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BI</a:t>
              </a:r>
              <a:r>
                <a:rPr kumimoji="1"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5)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</a:t>
              </a:r>
            </a:p>
          </p:txBody>
        </p:sp>
        <p:sp>
          <p:nvSpPr>
            <p:cNvPr id="81" name="모서리가 둥근 직사각형 80"/>
            <p:cNvSpPr/>
            <p:nvPr/>
          </p:nvSpPr>
          <p:spPr bwMode="auto">
            <a:xfrm>
              <a:off x="748453" y="4937422"/>
              <a:ext cx="2502783" cy="96203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수익성분석시스템 구축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2013.1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월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수익성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관리시스템</a:t>
              </a:r>
            </a:p>
          </p:txBody>
        </p:sp>
      </p:grpSp>
      <p:sp>
        <p:nvSpPr>
          <p:cNvPr id="86" name="오른쪽 화살표 85"/>
          <p:cNvSpPr/>
          <p:nvPr/>
        </p:nvSpPr>
        <p:spPr bwMode="auto">
          <a:xfrm>
            <a:off x="3609533" y="2115836"/>
            <a:ext cx="3157127" cy="857256"/>
          </a:xfrm>
          <a:prstGeom prst="rightArrow">
            <a:avLst>
              <a:gd name="adj1" fmla="val 99870"/>
              <a:gd name="adj2" fmla="val 33377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소비자 니즈 고도화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, </a:t>
            </a:r>
            <a:b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빅데이터 및 </a:t>
            </a:r>
            <a:r>
              <a:rPr kumimoji="1" lang="ko-KR" altLang="en-US" sz="1400" i="1" dirty="0" err="1">
                <a:latin typeface="맑은 고딕" pitchFamily="50" charset="-127"/>
                <a:ea typeface="맑은 고딕" pitchFamily="50" charset="-127"/>
              </a:rPr>
              <a:t>핀테크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 등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경영환경 변화 대응 요구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”</a:t>
            </a:r>
            <a:endParaRPr kumimoji="1" lang="ko-KR" altLang="en-US" sz="1400" i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오른쪽 화살표 86"/>
          <p:cNvSpPr/>
          <p:nvPr/>
        </p:nvSpPr>
        <p:spPr bwMode="auto">
          <a:xfrm>
            <a:off x="3609533" y="4048560"/>
            <a:ext cx="3157127" cy="857256"/>
          </a:xfrm>
          <a:prstGeom prst="rightArrow">
            <a:avLst>
              <a:gd name="adj1" fmla="val 99870"/>
              <a:gd name="adj2" fmla="val 33377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카드사업의 급격한 성장에 따른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거래처리 용량 초과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”</a:t>
            </a:r>
          </a:p>
        </p:txBody>
      </p:sp>
      <p:sp>
        <p:nvSpPr>
          <p:cNvPr id="88" name="오른쪽 화살표 87"/>
          <p:cNvSpPr/>
          <p:nvPr/>
        </p:nvSpPr>
        <p:spPr bwMode="auto">
          <a:xfrm>
            <a:off x="3609533" y="5014921"/>
            <a:ext cx="3157127" cy="857256"/>
          </a:xfrm>
          <a:prstGeom prst="rightArrow">
            <a:avLst>
              <a:gd name="adj1" fmla="val 99870"/>
              <a:gd name="adj2" fmla="val 33377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“IT 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아키텍처 표준 기술의 발전을 반영한 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관리 효율성 </a:t>
            </a:r>
            <a:r>
              <a:rPr kumimoji="1" lang="ko-KR" altLang="en-US" sz="1400" i="1" dirty="0" smtClean="0">
                <a:latin typeface="맑은 고딕" pitchFamily="50" charset="-127"/>
                <a:ea typeface="맑은 고딕" pitchFamily="50" charset="-127"/>
              </a:rPr>
              <a:t>제고</a:t>
            </a:r>
            <a:r>
              <a:rPr kumimoji="1" lang="en-US" altLang="ko-KR" sz="1400" i="1" dirty="0" smtClean="0">
                <a:latin typeface="맑은 고딕" pitchFamily="50" charset="-127"/>
                <a:ea typeface="맑은 고딕" pitchFamily="50" charset="-127"/>
              </a:rPr>
              <a:t>”</a:t>
            </a:r>
            <a:endParaRPr kumimoji="1" lang="ko-KR" altLang="en-US" sz="1400" i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 bwMode="auto">
          <a:xfrm>
            <a:off x="4223683" y="1687208"/>
            <a:ext cx="1928826" cy="285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내부 환경 변화 동인</a:t>
            </a:r>
          </a:p>
        </p:txBody>
      </p:sp>
      <p:sp>
        <p:nvSpPr>
          <p:cNvPr id="96" name="오른쪽 화살표 95"/>
          <p:cNvSpPr/>
          <p:nvPr/>
        </p:nvSpPr>
        <p:spPr bwMode="auto">
          <a:xfrm>
            <a:off x="3609533" y="3082198"/>
            <a:ext cx="3157127" cy="857256"/>
          </a:xfrm>
          <a:prstGeom prst="rightArrow">
            <a:avLst>
              <a:gd name="adj1" fmla="val 99870"/>
              <a:gd name="adj2" fmla="val 33377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400" i="1" dirty="0">
                <a:latin typeface="맑은 고딕" pitchFamily="50" charset="-127"/>
                <a:ea typeface="맑은 고딕" pitchFamily="50" charset="-127"/>
              </a:rPr>
              <a:t>업무량 증대 및 복잡화에 따른 현업 업무처리 비효율 발생</a:t>
            </a:r>
            <a:r>
              <a:rPr kumimoji="1" lang="en-US" altLang="ko-KR" sz="1400" i="1" dirty="0">
                <a:latin typeface="맑은 고딕" pitchFamily="50" charset="-127"/>
                <a:ea typeface="맑은 고딕" pitchFamily="50" charset="-127"/>
              </a:rPr>
              <a:t>”</a:t>
            </a:r>
            <a:endParaRPr kumimoji="1" lang="ko-KR" altLang="en-US" sz="1400" i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6838098" y="2002833"/>
            <a:ext cx="2500330" cy="4032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TextBox 101"/>
          <p:cNvSpPr txBox="1"/>
          <p:nvPr/>
        </p:nvSpPr>
        <p:spPr bwMode="auto">
          <a:xfrm>
            <a:off x="6980974" y="1703458"/>
            <a:ext cx="221457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차세대 시스템 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구축 필요성</a:t>
            </a:r>
          </a:p>
        </p:txBody>
      </p:sp>
      <p:grpSp>
        <p:nvGrpSpPr>
          <p:cNvPr id="111" name="그룹 110"/>
          <p:cNvGrpSpPr/>
          <p:nvPr/>
        </p:nvGrpSpPr>
        <p:grpSpPr>
          <a:xfrm>
            <a:off x="7026263" y="2159564"/>
            <a:ext cx="2124000" cy="3712613"/>
            <a:chOff x="7026263" y="2057823"/>
            <a:chExt cx="2124000" cy="3712613"/>
          </a:xfrm>
        </p:grpSpPr>
        <p:sp>
          <p:nvSpPr>
            <p:cNvPr id="100" name="직사각형 99"/>
            <p:cNvSpPr/>
            <p:nvPr/>
          </p:nvSpPr>
          <p:spPr bwMode="auto">
            <a:xfrm>
              <a:off x="7026263" y="2057823"/>
              <a:ext cx="2124000" cy="11448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장애 없고 안정적인 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T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시스템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2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高가용성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高성능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확장성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연성</a:t>
              </a: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7026263" y="3342626"/>
              <a:ext cx="2124000" cy="114480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ech Driven 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효율화</a:t>
              </a:r>
              <a:endParaRPr kumimoji="1"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검증된 신기술을 활용한 업무프로세스 표준화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동화 </a:t>
              </a: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7026263" y="4627428"/>
              <a:ext cx="2124000" cy="114300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4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업무처리 관행 혁신과 연계하여 추진</a:t>
              </a:r>
              <a:endParaRPr kumimoji="1" lang="en-US" altLang="ko-KR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b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200" b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업무처리 관행 혁신을 지원하는 </a:t>
              </a:r>
              <a:r>
                <a:rPr kumimoji="1" lang="en-US" altLang="ko-KR" sz="1200" b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IT</a:t>
              </a:r>
              <a:r>
                <a:rPr kumimoji="1" lang="ko-KR" altLang="en-US" sz="1200" b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시스템</a:t>
              </a:r>
            </a:p>
          </p:txBody>
        </p:sp>
        <p:cxnSp>
          <p:nvCxnSpPr>
            <p:cNvPr id="105" name="직선 화살표 연결선 104"/>
            <p:cNvCxnSpPr>
              <a:stCxn id="100" idx="2"/>
              <a:endCxn id="101" idx="0"/>
            </p:cNvCxnSpPr>
            <p:nvPr/>
          </p:nvCxnSpPr>
          <p:spPr bwMode="auto">
            <a:xfrm rot="5400000">
              <a:off x="8025189" y="3265697"/>
              <a:ext cx="126148" cy="158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06" name="직선 화살표 연결선 105"/>
            <p:cNvCxnSpPr>
              <a:stCxn id="101" idx="2"/>
              <a:endCxn id="103" idx="0"/>
            </p:cNvCxnSpPr>
            <p:nvPr/>
          </p:nvCxnSpPr>
          <p:spPr bwMode="auto">
            <a:xfrm rot="5400000">
              <a:off x="8011335" y="4550499"/>
              <a:ext cx="153857" cy="158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27" name="Text Box 4"/>
          <p:cNvSpPr txBox="1">
            <a:spLocks noChangeArrowheads="1"/>
          </p:cNvSpPr>
          <p:nvPr/>
        </p:nvSpPr>
        <p:spPr bwMode="gray">
          <a:xfrm>
            <a:off x="298765" y="5882311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marL="176213" indent="-176213" latinLnBrk="0">
              <a:lnSpc>
                <a:spcPct val="70000"/>
              </a:lnSpc>
              <a:spcBef>
                <a:spcPct val="50000"/>
              </a:spcBef>
              <a:buClr>
                <a:srgbClr val="000000"/>
              </a:buClr>
              <a:defRPr sz="8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endParaRPr lang="en-US" altLang="ko-KR" dirty="0"/>
          </a:p>
        </p:txBody>
      </p:sp>
      <p:sp>
        <p:nvSpPr>
          <p:cNvPr id="28" name="Text Box 4"/>
          <p:cNvSpPr txBox="1">
            <a:spLocks noChangeArrowheads="1"/>
          </p:cNvSpPr>
          <p:nvPr/>
        </p:nvSpPr>
        <p:spPr bwMode="gray">
          <a:xfrm>
            <a:off x="349565" y="6199378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marL="176213" indent="-176213" latinLnBrk="0">
              <a:lnSpc>
                <a:spcPct val="70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altLang="ko-KR" sz="8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EDW(Enterprise Data Warehouse)  2)CRM(Customer Relationship Management)  3)CMS(Campaign Management </a:t>
            </a:r>
            <a:r>
              <a:rPr lang="en-US" altLang="ko-KR" sz="8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ytem</a:t>
            </a:r>
            <a:r>
              <a:rPr lang="en-US" altLang="ko-KR" sz="8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  4)EBM(Event Based Marketing)  5)BI(Business Intelligence)</a:t>
            </a:r>
          </a:p>
        </p:txBody>
      </p:sp>
      <p:sp>
        <p:nvSpPr>
          <p:cNvPr id="2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C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9000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영업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영업 프로세스의 가설적 이슈를 기반으로 </a:t>
            </a:r>
            <a:r>
              <a:rPr lang="ko-KR" altLang="en-US" dirty="0" smtClean="0"/>
              <a:t>영업지원 인프라 개선</a:t>
            </a:r>
            <a:r>
              <a:rPr lang="en-US" altLang="ko-KR" dirty="0" smtClean="0"/>
              <a:t>, </a:t>
            </a:r>
            <a:r>
              <a:rPr lang="ko-KR" altLang="en-US" dirty="0"/>
              <a:t>영업실적 관리체계 개선 </a:t>
            </a:r>
            <a:r>
              <a:rPr lang="ko-KR" altLang="en-US" dirty="0" smtClean="0"/>
              <a:t>과제를 </a:t>
            </a:r>
            <a:r>
              <a:rPr lang="ko-KR" altLang="en-US" dirty="0"/>
              <a:t>선정함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04" y="2638100"/>
            <a:ext cx="3040025" cy="3527204"/>
            <a:chOff x="488504" y="2638100"/>
            <a:chExt cx="3040025" cy="3527204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488504" y="2638100"/>
              <a:ext cx="3040025" cy="35885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이슈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488504" y="2995532"/>
              <a:ext cx="3040025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361950" indent="-180975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29334"/>
            <a:ext cx="9334604" cy="287641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6879456 w 9334604"/>
              <a:gd name="connsiteY2" fmla="*/ 7654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74533 h 274533"/>
              <a:gd name="connsiteX1" fmla="*/ 5873682 w 9334604"/>
              <a:gd name="connsiteY1" fmla="*/ 0 h 274533"/>
              <a:gd name="connsiteX2" fmla="*/ 6879456 w 9334604"/>
              <a:gd name="connsiteY2" fmla="*/ 1530 h 274533"/>
              <a:gd name="connsiteX3" fmla="*/ 9334604 w 9334604"/>
              <a:gd name="connsiteY3" fmla="*/ 272120 h 274533"/>
              <a:gd name="connsiteX4" fmla="*/ 0 w 9334604"/>
              <a:gd name="connsiteY4" fmla="*/ 274533 h 274533"/>
              <a:gd name="connsiteX0" fmla="*/ 0 w 9334604"/>
              <a:gd name="connsiteY0" fmla="*/ 273003 h 273003"/>
              <a:gd name="connsiteX1" fmla="*/ 2339907 w 9334604"/>
              <a:gd name="connsiteY1" fmla="*/ 4594 h 273003"/>
              <a:gd name="connsiteX2" fmla="*/ 6879456 w 9334604"/>
              <a:gd name="connsiteY2" fmla="*/ 0 h 273003"/>
              <a:gd name="connsiteX3" fmla="*/ 9334604 w 9334604"/>
              <a:gd name="connsiteY3" fmla="*/ 270590 h 273003"/>
              <a:gd name="connsiteX4" fmla="*/ 0 w 9334604"/>
              <a:gd name="connsiteY4" fmla="*/ 273003 h 273003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3367906 w 9334604"/>
              <a:gd name="connsiteY2" fmla="*/ 1530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8020868 w 9334604"/>
              <a:gd name="connsiteY2" fmla="*/ 6123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  <a:gd name="connsiteX0" fmla="*/ 0 w 9334604"/>
              <a:gd name="connsiteY0" fmla="*/ 263816 h 263816"/>
              <a:gd name="connsiteX1" fmla="*/ 7026207 w 9334604"/>
              <a:gd name="connsiteY1" fmla="*/ 0 h 263816"/>
              <a:gd name="connsiteX2" fmla="*/ 8020868 w 9334604"/>
              <a:gd name="connsiteY2" fmla="*/ 1530 h 263816"/>
              <a:gd name="connsiteX3" fmla="*/ 9334604 w 9334604"/>
              <a:gd name="connsiteY3" fmla="*/ 261403 h 263816"/>
              <a:gd name="connsiteX4" fmla="*/ 0 w 9334604"/>
              <a:gd name="connsiteY4" fmla="*/ 263816 h 263816"/>
              <a:gd name="connsiteX0" fmla="*/ 0 w 9334604"/>
              <a:gd name="connsiteY0" fmla="*/ 290949 h 290949"/>
              <a:gd name="connsiteX1" fmla="*/ 1188115 w 9334604"/>
              <a:gd name="connsiteY1" fmla="*/ 0 h 290949"/>
              <a:gd name="connsiteX2" fmla="*/ 8020868 w 9334604"/>
              <a:gd name="connsiteY2" fmla="*/ 28663 h 290949"/>
              <a:gd name="connsiteX3" fmla="*/ 9334604 w 9334604"/>
              <a:gd name="connsiteY3" fmla="*/ 288536 h 290949"/>
              <a:gd name="connsiteX4" fmla="*/ 0 w 9334604"/>
              <a:gd name="connsiteY4" fmla="*/ 290949 h 290949"/>
              <a:gd name="connsiteX0" fmla="*/ 0 w 9334604"/>
              <a:gd name="connsiteY0" fmla="*/ 277383 h 277383"/>
              <a:gd name="connsiteX1" fmla="*/ 1167013 w 9334604"/>
              <a:gd name="connsiteY1" fmla="*/ 0 h 277383"/>
              <a:gd name="connsiteX2" fmla="*/ 8020868 w 9334604"/>
              <a:gd name="connsiteY2" fmla="*/ 15097 h 277383"/>
              <a:gd name="connsiteX3" fmla="*/ 9334604 w 9334604"/>
              <a:gd name="connsiteY3" fmla="*/ 274970 h 277383"/>
              <a:gd name="connsiteX4" fmla="*/ 0 w 9334604"/>
              <a:gd name="connsiteY4" fmla="*/ 277383 h 277383"/>
              <a:gd name="connsiteX0" fmla="*/ 0 w 9334604"/>
              <a:gd name="connsiteY0" fmla="*/ 277383 h 277383"/>
              <a:gd name="connsiteX1" fmla="*/ 1167013 w 9334604"/>
              <a:gd name="connsiteY1" fmla="*/ 0 h 277383"/>
              <a:gd name="connsiteX2" fmla="*/ 2189809 w 9334604"/>
              <a:gd name="connsiteY2" fmla="*/ 1530 h 277383"/>
              <a:gd name="connsiteX3" fmla="*/ 9334604 w 9334604"/>
              <a:gd name="connsiteY3" fmla="*/ 274970 h 277383"/>
              <a:gd name="connsiteX4" fmla="*/ 0 w 9334604"/>
              <a:gd name="connsiteY4" fmla="*/ 277383 h 27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7383">
                <a:moveTo>
                  <a:pt x="0" y="277383"/>
                </a:moveTo>
                <a:lnTo>
                  <a:pt x="1167013" y="0"/>
                </a:lnTo>
                <a:lnTo>
                  <a:pt x="2189809" y="1530"/>
                </a:lnTo>
                <a:lnTo>
                  <a:pt x="9334604" y="274970"/>
                </a:lnTo>
                <a:lnTo>
                  <a:pt x="0" y="277383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590244" y="3387538"/>
            <a:ext cx="2755244" cy="977566"/>
            <a:chOff x="6590244" y="3565354"/>
            <a:chExt cx="2755244" cy="977566"/>
          </a:xfrm>
        </p:grpSpPr>
        <p:sp>
          <p:nvSpPr>
            <p:cNvPr id="56" name="TextBox 55"/>
            <p:cNvSpPr txBox="1"/>
            <p:nvPr/>
          </p:nvSpPr>
          <p:spPr bwMode="auto">
            <a:xfrm>
              <a:off x="6590244" y="3565354"/>
              <a:ext cx="2755244" cy="9775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영업지원 인프라 개선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신규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모집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업무 편의성 제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상품 유치 콘텐츠 지원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모바일 영업관리 시스템 구축</a:t>
              </a: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590244" y="3570970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6590244" y="4653136"/>
            <a:ext cx="2755244" cy="682101"/>
            <a:chOff x="6590244" y="3819703"/>
            <a:chExt cx="2755244" cy="682101"/>
          </a:xfrm>
        </p:grpSpPr>
        <p:sp>
          <p:nvSpPr>
            <p:cNvPr id="73" name="TextBox 72"/>
            <p:cNvSpPr txBox="1"/>
            <p:nvPr/>
          </p:nvSpPr>
          <p:spPr bwMode="auto">
            <a:xfrm>
              <a:off x="6590244" y="3819703"/>
              <a:ext cx="2755244" cy="6821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영업실적 관리체계 개선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실적 모니터링 및 분석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보고 기능 강화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6590244" y="3832347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512840" y="2782116"/>
            <a:ext cx="2987565" cy="3296178"/>
            <a:chOff x="3651451" y="2782116"/>
            <a:chExt cx="3078595" cy="3296178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156704"/>
              <a:ext cx="2895819" cy="292159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651451" y="3284984"/>
              <a:ext cx="2893881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범농협</a:t>
              </a: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시너지 영업체계 수립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현장 관리기반 강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발급 처리 업무 효율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실적 관리체계 개선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cxnSp>
        <p:nvCxnSpPr>
          <p:cNvPr id="60" name="직선 연결선 59"/>
          <p:cNvCxnSpPr/>
          <p:nvPr/>
        </p:nvCxnSpPr>
        <p:spPr bwMode="auto">
          <a:xfrm>
            <a:off x="1399561" y="3659882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1402522" y="4346054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>
            <a:off x="1405483" y="4987776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2" name="화살표: 오각형 51"/>
          <p:cNvSpPr/>
          <p:nvPr/>
        </p:nvSpPr>
        <p:spPr bwMode="auto">
          <a:xfrm rot="5400000">
            <a:off x="710157" y="2926852"/>
            <a:ext cx="556313" cy="816567"/>
          </a:xfrm>
          <a:prstGeom prst="homePlate">
            <a:avLst>
              <a:gd name="adj" fmla="val 1735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기획</a:t>
            </a:r>
          </a:p>
        </p:txBody>
      </p:sp>
      <p:sp>
        <p:nvSpPr>
          <p:cNvPr id="53" name="화살표: 오각형 52"/>
          <p:cNvSpPr/>
          <p:nvPr/>
        </p:nvSpPr>
        <p:spPr bwMode="auto">
          <a:xfrm rot="5400000">
            <a:off x="676033" y="3608332"/>
            <a:ext cx="624568" cy="816567"/>
          </a:xfrm>
          <a:prstGeom prst="homePlate">
            <a:avLst>
              <a:gd name="adj" fmla="val 22731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활동</a:t>
            </a:r>
          </a:p>
        </p:txBody>
      </p:sp>
      <p:sp>
        <p:nvSpPr>
          <p:cNvPr id="54" name="화살표: 오각형 53"/>
          <p:cNvSpPr/>
          <p:nvPr/>
        </p:nvSpPr>
        <p:spPr bwMode="auto">
          <a:xfrm rot="5400000">
            <a:off x="692853" y="4284032"/>
            <a:ext cx="590923" cy="816567"/>
          </a:xfrm>
          <a:prstGeom prst="homePlate">
            <a:avLst>
              <a:gd name="adj" fmla="val 2062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지원 </a:t>
            </a:r>
          </a:p>
        </p:txBody>
      </p:sp>
      <p:sp>
        <p:nvSpPr>
          <p:cNvPr id="57" name="화살표: 오각형 56"/>
          <p:cNvSpPr/>
          <p:nvPr/>
        </p:nvSpPr>
        <p:spPr bwMode="auto">
          <a:xfrm rot="5400000">
            <a:off x="663724" y="4950692"/>
            <a:ext cx="649182" cy="816567"/>
          </a:xfrm>
          <a:prstGeom prst="homePlate">
            <a:avLst>
              <a:gd name="adj" fmla="val 2376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발급</a:t>
            </a:r>
          </a:p>
        </p:txBody>
      </p:sp>
      <p:sp>
        <p:nvSpPr>
          <p:cNvPr id="63" name="화살표: 오각형 62"/>
          <p:cNvSpPr/>
          <p:nvPr/>
        </p:nvSpPr>
        <p:spPr bwMode="auto">
          <a:xfrm rot="5400000">
            <a:off x="795088" y="5530900"/>
            <a:ext cx="386454" cy="816567"/>
          </a:xfrm>
          <a:prstGeom prst="homePlate">
            <a:avLst>
              <a:gd name="adj" fmla="val 2376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사후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1490266" y="3037228"/>
            <a:ext cx="201631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범농협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시너지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업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체계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가맹점 통합관리 및 지원체계 미흡</a:t>
            </a:r>
          </a:p>
        </p:txBody>
      </p:sp>
      <p:sp>
        <p:nvSpPr>
          <p:cNvPr id="66" name="TextBox 65"/>
          <p:cNvSpPr txBox="1"/>
          <p:nvPr/>
        </p:nvSpPr>
        <p:spPr bwMode="auto">
          <a:xfrm>
            <a:off x="1490179" y="3697582"/>
            <a:ext cx="201631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영업소 독자 운영체계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인에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특화된 수당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수수료 관리 불가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7" name="TextBox 66"/>
          <p:cNvSpPr txBox="1"/>
          <p:nvPr/>
        </p:nvSpPr>
        <p:spPr bwMode="auto">
          <a:xfrm>
            <a:off x="1490266" y="4371454"/>
            <a:ext cx="201631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업고객 지원시스템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가맹점 통합관리 및 지원체계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68" name="직선 연결선 67"/>
          <p:cNvCxnSpPr/>
          <p:nvPr/>
        </p:nvCxnSpPr>
        <p:spPr bwMode="auto">
          <a:xfrm>
            <a:off x="1405558" y="5708999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69" name="TextBox 68"/>
          <p:cNvSpPr txBox="1"/>
          <p:nvPr/>
        </p:nvSpPr>
        <p:spPr bwMode="auto">
          <a:xfrm>
            <a:off x="1496616" y="5001464"/>
            <a:ext cx="2016311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BC/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채움카드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발급체계 분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공카드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재고관리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발급 대상 추출 수작업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0" name="TextBox 69"/>
          <p:cNvSpPr txBox="1"/>
          <p:nvPr/>
        </p:nvSpPr>
        <p:spPr bwMode="auto">
          <a:xfrm>
            <a:off x="1496529" y="5745956"/>
            <a:ext cx="201631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적 세분화 분석체계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77731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영업지원 </a:t>
            </a:r>
            <a:r>
              <a:rPr lang="ko-KR" altLang="en-US" dirty="0"/>
              <a:t>인프라 개선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영업 채널별 특성에 맞는 영업관리 시스템을 구축하여 업무 편의성을 높이고</a:t>
            </a:r>
            <a:r>
              <a:rPr lang="en-US" altLang="ko-KR" dirty="0"/>
              <a:t>, </a:t>
            </a:r>
            <a:r>
              <a:rPr lang="ko-KR" altLang="en-US" dirty="0"/>
              <a:t>실시간 실적관리 및 채널별 목표 관리를 도입하여 영업 역량을 강화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점 고객 맞춤형 상품 추천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바일 기반 현장 완결 영업 지원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 모집인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관리 기능 개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 프로세스 설계 시 개인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법인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금융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맹점 둥 대상에 따른 공통성 업무 처리 기준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기획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전략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적모니터링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수당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수수료 관리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등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9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601046" y="5627219"/>
            <a:ext cx="4063922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영업소 독자 운영 체계 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영업점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인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영업지원 기능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모바일 영업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미지원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5443669" y="5860532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신규 회원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업무 편의 제공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시간 실적관리 및 채널별 목표관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36" name="Picture 5" descr="Bule User sm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8152" y="3891413"/>
            <a:ext cx="323160" cy="29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14" descr="Yellow User sm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82806" y="5296991"/>
            <a:ext cx="323160" cy="29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7" descr="Green User sm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9677" y="4516511"/>
            <a:ext cx="323160" cy="29642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직사각형 38"/>
          <p:cNvSpPr/>
          <p:nvPr/>
        </p:nvSpPr>
        <p:spPr>
          <a:xfrm>
            <a:off x="952616" y="3593547"/>
            <a:ext cx="1741214" cy="2362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집인 영업 관리 시스템</a:t>
            </a:r>
            <a:endParaRPr kumimoji="0" lang="ko-KR" altLang="en-US" sz="11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1056442" y="3884714"/>
            <a:ext cx="1047389" cy="3172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집인 위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촉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관리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1056442" y="4275563"/>
            <a:ext cx="1047389" cy="3174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교육 관리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1056442" y="4666642"/>
            <a:ext cx="1047389" cy="3172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당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 관리</a:t>
            </a:r>
          </a:p>
        </p:txBody>
      </p:sp>
      <p:sp>
        <p:nvSpPr>
          <p:cNvPr id="52" name="직사각형 51"/>
          <p:cNvSpPr/>
          <p:nvPr/>
        </p:nvSpPr>
        <p:spPr bwMode="auto">
          <a:xfrm>
            <a:off x="1056442" y="5057491"/>
            <a:ext cx="1047389" cy="3174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집실적 관리</a:t>
            </a:r>
          </a:p>
        </p:txBody>
      </p:sp>
      <p:pic>
        <p:nvPicPr>
          <p:cNvPr id="53" name="Picture 99" descr="Picture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12264" y="3884714"/>
            <a:ext cx="211902" cy="288904"/>
          </a:xfrm>
          <a:prstGeom prst="rect">
            <a:avLst/>
          </a:prstGeom>
          <a:noFill/>
        </p:spPr>
      </p:pic>
      <p:pic>
        <p:nvPicPr>
          <p:cNvPr id="54" name="Picture 99" descr="Picture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12264" y="4632612"/>
            <a:ext cx="211902" cy="288904"/>
          </a:xfrm>
          <a:prstGeom prst="rect">
            <a:avLst/>
          </a:prstGeom>
          <a:noFill/>
        </p:spPr>
      </p:pic>
      <p:pic>
        <p:nvPicPr>
          <p:cNvPr id="55" name="Picture 99" descr="Picture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12264" y="5082583"/>
            <a:ext cx="211902" cy="288904"/>
          </a:xfrm>
          <a:prstGeom prst="rect">
            <a:avLst/>
          </a:prstGeom>
          <a:noFill/>
        </p:spPr>
      </p:pic>
      <p:sp>
        <p:nvSpPr>
          <p:cNvPr id="56" name="TextBox 55"/>
          <p:cNvSpPr txBox="1"/>
          <p:nvPr/>
        </p:nvSpPr>
        <p:spPr bwMode="auto">
          <a:xfrm>
            <a:off x="2204182" y="4149002"/>
            <a:ext cx="489648" cy="205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이미지</a:t>
            </a:r>
          </a:p>
        </p:txBody>
      </p:sp>
      <p:sp>
        <p:nvSpPr>
          <p:cNvPr id="57" name="TextBox 56"/>
          <p:cNvSpPr txBox="1"/>
          <p:nvPr/>
        </p:nvSpPr>
        <p:spPr bwMode="auto">
          <a:xfrm>
            <a:off x="2204182" y="4894142"/>
            <a:ext cx="489648" cy="205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2204182" y="5340142"/>
            <a:ext cx="489648" cy="205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</a:t>
            </a:r>
          </a:p>
        </p:txBody>
      </p:sp>
      <p:cxnSp>
        <p:nvCxnSpPr>
          <p:cNvPr id="59" name="직선 화살표 연결선 58"/>
          <p:cNvCxnSpPr>
            <a:stCxn id="40" idx="3"/>
          </p:cNvCxnSpPr>
          <p:nvPr/>
        </p:nvCxnSpPr>
        <p:spPr bwMode="auto">
          <a:xfrm flipV="1">
            <a:off x="2103831" y="4043326"/>
            <a:ext cx="208433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60" name="직선 화살표 연결선 59"/>
          <p:cNvCxnSpPr/>
          <p:nvPr/>
        </p:nvCxnSpPr>
        <p:spPr bwMode="auto">
          <a:xfrm flipV="1">
            <a:off x="2103831" y="4825386"/>
            <a:ext cx="208433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61" name="직선 화살표 연결선 60"/>
          <p:cNvCxnSpPr/>
          <p:nvPr/>
        </p:nvCxnSpPr>
        <p:spPr bwMode="auto">
          <a:xfrm flipV="1">
            <a:off x="2103831" y="5219138"/>
            <a:ext cx="208433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62" name="직선 화살표 연결선 61"/>
          <p:cNvCxnSpPr>
            <a:stCxn id="36" idx="1"/>
            <a:endCxn id="40" idx="1"/>
          </p:cNvCxnSpPr>
          <p:nvPr/>
        </p:nvCxnSpPr>
        <p:spPr bwMode="auto">
          <a:xfrm>
            <a:off x="801312" y="4039628"/>
            <a:ext cx="255130" cy="36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3" name="직선 화살표 연결선 62"/>
          <p:cNvCxnSpPr>
            <a:stCxn id="36" idx="1"/>
            <a:endCxn id="50" idx="1"/>
          </p:cNvCxnSpPr>
          <p:nvPr/>
        </p:nvCxnSpPr>
        <p:spPr bwMode="auto">
          <a:xfrm>
            <a:off x="801312" y="4039628"/>
            <a:ext cx="255130" cy="39466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4" name="직선 화살표 연결선 63"/>
          <p:cNvCxnSpPr>
            <a:stCxn id="36" idx="1"/>
            <a:endCxn id="51" idx="1"/>
          </p:cNvCxnSpPr>
          <p:nvPr/>
        </p:nvCxnSpPr>
        <p:spPr bwMode="auto">
          <a:xfrm>
            <a:off x="801312" y="4039628"/>
            <a:ext cx="255130" cy="78562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5" name="직선 화살표 연결선 64"/>
          <p:cNvCxnSpPr>
            <a:stCxn id="36" idx="1"/>
            <a:endCxn id="52" idx="1"/>
          </p:cNvCxnSpPr>
          <p:nvPr/>
        </p:nvCxnSpPr>
        <p:spPr bwMode="auto">
          <a:xfrm>
            <a:off x="801312" y="4039628"/>
            <a:ext cx="255130" cy="117659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6" name="직선 화살표 연결선 65"/>
          <p:cNvCxnSpPr>
            <a:stCxn id="38" idx="1"/>
            <a:endCxn id="40" idx="1"/>
          </p:cNvCxnSpPr>
          <p:nvPr/>
        </p:nvCxnSpPr>
        <p:spPr bwMode="auto">
          <a:xfrm flipV="1">
            <a:off x="822837" y="4043327"/>
            <a:ext cx="233605" cy="6213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7" name="직선 화살표 연결선 66"/>
          <p:cNvCxnSpPr>
            <a:stCxn id="38" idx="1"/>
            <a:endCxn id="50" idx="1"/>
          </p:cNvCxnSpPr>
          <p:nvPr/>
        </p:nvCxnSpPr>
        <p:spPr bwMode="auto">
          <a:xfrm flipV="1">
            <a:off x="822837" y="4434290"/>
            <a:ext cx="233605" cy="23043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8" name="직선 화살표 연결선 67"/>
          <p:cNvCxnSpPr>
            <a:stCxn id="38" idx="1"/>
            <a:endCxn id="51" idx="1"/>
          </p:cNvCxnSpPr>
          <p:nvPr/>
        </p:nvCxnSpPr>
        <p:spPr bwMode="auto">
          <a:xfrm>
            <a:off x="822837" y="4664726"/>
            <a:ext cx="233605" cy="16052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69" name="직선 화살표 연결선 68"/>
          <p:cNvCxnSpPr>
            <a:stCxn id="38" idx="1"/>
            <a:endCxn id="52" idx="1"/>
          </p:cNvCxnSpPr>
          <p:nvPr/>
        </p:nvCxnSpPr>
        <p:spPr bwMode="auto">
          <a:xfrm>
            <a:off x="822837" y="4664726"/>
            <a:ext cx="233605" cy="55149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70" name="직선 화살표 연결선 69"/>
          <p:cNvCxnSpPr>
            <a:stCxn id="37" idx="1"/>
            <a:endCxn id="52" idx="1"/>
          </p:cNvCxnSpPr>
          <p:nvPr/>
        </p:nvCxnSpPr>
        <p:spPr bwMode="auto">
          <a:xfrm flipV="1">
            <a:off x="805966" y="5216218"/>
            <a:ext cx="250476" cy="2289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71" name="직선 화살표 연결선 70"/>
          <p:cNvCxnSpPr>
            <a:stCxn id="37" idx="1"/>
            <a:endCxn id="51" idx="1"/>
          </p:cNvCxnSpPr>
          <p:nvPr/>
        </p:nvCxnSpPr>
        <p:spPr bwMode="auto">
          <a:xfrm flipV="1">
            <a:off x="805966" y="4825255"/>
            <a:ext cx="250476" cy="61995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72" name="직선 화살표 연결선 71"/>
          <p:cNvCxnSpPr>
            <a:stCxn id="37" idx="1"/>
            <a:endCxn id="50" idx="1"/>
          </p:cNvCxnSpPr>
          <p:nvPr/>
        </p:nvCxnSpPr>
        <p:spPr bwMode="auto">
          <a:xfrm flipV="1">
            <a:off x="805966" y="4434290"/>
            <a:ext cx="250476" cy="101091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cxnSp>
        <p:nvCxnSpPr>
          <p:cNvPr id="73" name="직선 화살표 연결선 72"/>
          <p:cNvCxnSpPr>
            <a:stCxn id="37" idx="1"/>
            <a:endCxn id="40" idx="1"/>
          </p:cNvCxnSpPr>
          <p:nvPr/>
        </p:nvCxnSpPr>
        <p:spPr bwMode="auto">
          <a:xfrm flipV="1">
            <a:off x="805966" y="4043327"/>
            <a:ext cx="250476" cy="140187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med"/>
            <a:tailEnd type="triangle" w="sm" len="med"/>
          </a:ln>
          <a:effectLst/>
        </p:spPr>
      </p:cxnSp>
      <p:sp>
        <p:nvSpPr>
          <p:cNvPr id="75" name="직사각형 74"/>
          <p:cNvSpPr/>
          <p:nvPr/>
        </p:nvSpPr>
        <p:spPr bwMode="auto">
          <a:xfrm>
            <a:off x="2909593" y="3362205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영업점 관리체계의 영업소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동일 적용</a:t>
            </a:r>
            <a:endParaRPr kumimoji="1" lang="ko-KR" altLang="en-US" sz="800" kern="0" dirty="0">
              <a:solidFill>
                <a:sysClr val="windowText" lastClr="000000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76" name="Oval 630"/>
          <p:cNvSpPr>
            <a:spLocks noChangeArrowheads="1"/>
          </p:cNvSpPr>
          <p:nvPr/>
        </p:nvSpPr>
        <p:spPr bwMode="auto">
          <a:xfrm>
            <a:off x="2802285" y="3300502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77" name="위로 구부러진 화살표 76"/>
          <p:cNvSpPr/>
          <p:nvPr/>
        </p:nvSpPr>
        <p:spPr bwMode="auto">
          <a:xfrm rot="9702378">
            <a:off x="2573575" y="3475220"/>
            <a:ext cx="422943" cy="120867"/>
          </a:xfrm>
          <a:prstGeom prst="curvedUpArrow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2909593" y="3745338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 err="1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모바일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 환경 미 지원</a:t>
            </a:r>
          </a:p>
        </p:txBody>
      </p:sp>
      <p:sp>
        <p:nvSpPr>
          <p:cNvPr id="80" name="Oval 630"/>
          <p:cNvSpPr>
            <a:spLocks noChangeArrowheads="1"/>
          </p:cNvSpPr>
          <p:nvPr/>
        </p:nvSpPr>
        <p:spPr bwMode="auto">
          <a:xfrm>
            <a:off x="2802285" y="3683635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82" name="직사각형 81"/>
          <p:cNvSpPr/>
          <p:nvPr/>
        </p:nvSpPr>
        <p:spPr bwMode="auto">
          <a:xfrm>
            <a:off x="2909593" y="4128470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모집인 정보 등록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/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수정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보증보험 발급 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등 업무 불편</a:t>
            </a:r>
          </a:p>
        </p:txBody>
      </p:sp>
      <p:sp>
        <p:nvSpPr>
          <p:cNvPr id="83" name="Oval 630"/>
          <p:cNvSpPr>
            <a:spLocks noChangeArrowheads="1"/>
          </p:cNvSpPr>
          <p:nvPr/>
        </p:nvSpPr>
        <p:spPr bwMode="auto">
          <a:xfrm>
            <a:off x="2802285" y="4066767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2909593" y="4511603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모집인 입문 교육 후 역량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강화 교육 운영 미흡</a:t>
            </a:r>
          </a:p>
        </p:txBody>
      </p:sp>
      <p:sp>
        <p:nvSpPr>
          <p:cNvPr id="86" name="Oval 630"/>
          <p:cNvSpPr>
            <a:spLocks noChangeArrowheads="1"/>
          </p:cNvSpPr>
          <p:nvPr/>
        </p:nvSpPr>
        <p:spPr bwMode="auto">
          <a:xfrm>
            <a:off x="2802285" y="4449900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2909593" y="4894736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수수료 정책 변경 시 개발 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→검증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lang="en-US" altLang="ko-KR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  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→ </a:t>
            </a:r>
            <a:r>
              <a:rPr lang="ko-KR" altLang="en-US" sz="800" kern="0" dirty="0" err="1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계정계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 반영까지 시일 소요</a:t>
            </a:r>
          </a:p>
        </p:txBody>
      </p:sp>
      <p:sp>
        <p:nvSpPr>
          <p:cNvPr id="89" name="Oval 630"/>
          <p:cNvSpPr>
            <a:spLocks noChangeArrowheads="1"/>
          </p:cNvSpPr>
          <p:nvPr/>
        </p:nvSpPr>
        <p:spPr bwMode="auto">
          <a:xfrm>
            <a:off x="2802285" y="4833033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2909593" y="5277870"/>
            <a:ext cx="1659417" cy="310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상세 실적 데이터 도출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, 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검증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,</a:t>
            </a:r>
            <a:br>
              <a:rPr lang="en-US" altLang="ko-KR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lang="ko-KR" altLang="en-US" sz="800" kern="0" dirty="0">
                <a:solidFill>
                  <a:sysClr val="windowText" lastClr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결과 공유 수작임</a:t>
            </a:r>
          </a:p>
        </p:txBody>
      </p:sp>
      <p:sp>
        <p:nvSpPr>
          <p:cNvPr id="92" name="Oval 630"/>
          <p:cNvSpPr>
            <a:spLocks noChangeArrowheads="1"/>
          </p:cNvSpPr>
          <p:nvPr/>
        </p:nvSpPr>
        <p:spPr bwMode="auto">
          <a:xfrm>
            <a:off x="2802285" y="5216167"/>
            <a:ext cx="169792" cy="147788"/>
          </a:xfrm>
          <a:prstGeom prst="ellipse">
            <a:avLst/>
          </a:prstGeom>
          <a:solidFill>
            <a:srgbClr val="002060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en-US" altLang="ko-KR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TextBox 92"/>
          <p:cNvSpPr txBox="1"/>
          <p:nvPr/>
        </p:nvSpPr>
        <p:spPr bwMode="auto">
          <a:xfrm>
            <a:off x="426021" y="4218722"/>
            <a:ext cx="489648" cy="205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인</a:t>
            </a:r>
          </a:p>
        </p:txBody>
      </p:sp>
      <p:sp>
        <p:nvSpPr>
          <p:cNvPr id="94" name="TextBox 93"/>
          <p:cNvSpPr txBox="1"/>
          <p:nvPr/>
        </p:nvSpPr>
        <p:spPr bwMode="auto">
          <a:xfrm>
            <a:off x="426021" y="4854758"/>
            <a:ext cx="489648" cy="3458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 소장</a:t>
            </a:r>
          </a:p>
        </p:txBody>
      </p:sp>
      <p:sp>
        <p:nvSpPr>
          <p:cNvPr id="133" name="직사각형 132"/>
          <p:cNvSpPr/>
          <p:nvPr/>
        </p:nvSpPr>
        <p:spPr>
          <a:xfrm>
            <a:off x="6465168" y="3234736"/>
            <a:ext cx="1915335" cy="25989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관리시스템 </a:t>
            </a:r>
            <a:r>
              <a:rPr kumimoji="0" lang="ko-KR" altLang="en-US" sz="110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재구축</a:t>
            </a:r>
            <a:endParaRPr kumimoji="0" lang="ko-KR" altLang="en-US" sz="11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5425620" y="3513708"/>
            <a:ext cx="763207" cy="21054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활동지원</a:t>
            </a:r>
            <a:endParaRPr kumimoji="0" lang="ko-KR" altLang="en-US" sz="9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오각형 135"/>
          <p:cNvSpPr/>
          <p:nvPr/>
        </p:nvSpPr>
        <p:spPr>
          <a:xfrm rot="5400000">
            <a:off x="5163328" y="4018765"/>
            <a:ext cx="1286970" cy="764021"/>
          </a:xfrm>
          <a:prstGeom prst="homePlate">
            <a:avLst>
              <a:gd name="adj" fmla="val 1353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vert270"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원 유지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오각형 138"/>
          <p:cNvSpPr/>
          <p:nvPr/>
        </p:nvSpPr>
        <p:spPr>
          <a:xfrm rot="5400000">
            <a:off x="5446689" y="5071374"/>
            <a:ext cx="720252" cy="764021"/>
          </a:xfrm>
          <a:prstGeom prst="homePlate">
            <a:avLst>
              <a:gd name="adj" fmla="val 1353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vert270" wrap="square" lIns="36000" tIns="36000" rIns="36000" bIns="36000" rtlCol="0" anchor="ctr"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dirty="0">
                <a:solidFill>
                  <a:srgbClr val="000000"/>
                </a:solidFill>
                <a:latin typeface="맑은 고딕"/>
                <a:ea typeface="맑은 고딕"/>
              </a:rPr>
              <a:t>실적</a:t>
            </a:r>
            <a: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000" dirty="0">
                <a:solidFill>
                  <a:srgbClr val="000000"/>
                </a:solidFill>
                <a:latin typeface="맑은 고딕"/>
                <a:ea typeface="맑은 고딕"/>
              </a:rPr>
              <a:t>관리</a:t>
            </a:r>
            <a: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b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000" dirty="0">
                <a:solidFill>
                  <a:srgbClr val="000000"/>
                </a:solidFill>
                <a:latin typeface="맑은 고딕"/>
                <a:ea typeface="맑은 고딕"/>
              </a:rPr>
              <a:t>수수료</a:t>
            </a:r>
            <a: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정산</a:t>
            </a:r>
            <a:endParaRPr lang="ko-KR" altLang="en-US" sz="10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6220978" y="3513708"/>
            <a:ext cx="1571866" cy="211235"/>
          </a:xfrm>
          <a:prstGeom prst="rect">
            <a:avLst/>
          </a:prstGeom>
          <a:solidFill>
            <a:srgbClr val="D6EBF6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직사각형 141"/>
          <p:cNvSpPr/>
          <p:nvPr/>
        </p:nvSpPr>
        <p:spPr>
          <a:xfrm>
            <a:off x="7936141" y="3513708"/>
            <a:ext cx="1573200" cy="211235"/>
          </a:xfrm>
          <a:prstGeom prst="rect">
            <a:avLst/>
          </a:prstGeom>
          <a:solidFill>
            <a:srgbClr val="D6EBF6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소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43" name="Picture 14" descr="Yellow User sm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21152" y="3873395"/>
            <a:ext cx="282284" cy="25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41" descr="Dumb Terminal sm"/>
          <p:cNvPicPr preferRelativeResize="0"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488" y="3881247"/>
            <a:ext cx="290767" cy="30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3" descr="Folder sm"/>
          <p:cNvPicPr>
            <a:picLocks noGrp="1"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091" y="3909247"/>
            <a:ext cx="320005" cy="265449"/>
          </a:xfrm>
          <a:prstGeom prst="rect">
            <a:avLst/>
          </a:prstGeom>
          <a:noFill/>
          <a:ln/>
          <a:extLst/>
        </p:spPr>
      </p:pic>
      <p:pic>
        <p:nvPicPr>
          <p:cNvPr id="146" name="Picture 5" descr="Bule User sm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77336" y="3880649"/>
            <a:ext cx="2808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7" name="직사각형 146"/>
          <p:cNvSpPr/>
          <p:nvPr/>
        </p:nvSpPr>
        <p:spPr>
          <a:xfrm>
            <a:off x="7096991" y="3757290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감맹고객</a:t>
            </a: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정보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8" name="직사각형 147"/>
          <p:cNvSpPr/>
          <p:nvPr/>
        </p:nvSpPr>
        <p:spPr>
          <a:xfrm>
            <a:off x="7096991" y="4084222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맞춤상품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추천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직사각형 148"/>
          <p:cNvSpPr/>
          <p:nvPr/>
        </p:nvSpPr>
        <p:spPr>
          <a:xfrm>
            <a:off x="8819518" y="3757290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채널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집인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보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8819518" y="4084222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온라인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간편신청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>
          <a:xfrm>
            <a:off x="6330643" y="4163734"/>
            <a:ext cx="651069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 화면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8127143" y="4163734"/>
            <a:ext cx="651069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ODS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3" name="꺾인 연결선 152"/>
          <p:cNvCxnSpPr/>
          <p:nvPr/>
        </p:nvCxnSpPr>
        <p:spPr bwMode="auto">
          <a:xfrm rot="16200000" flipH="1">
            <a:off x="7595962" y="3425209"/>
            <a:ext cx="12700" cy="1879568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triangle" w="med" len="med"/>
            <a:tailEnd type="triangle" w="med" len="med"/>
          </a:ln>
          <a:effectLst/>
        </p:spPr>
      </p:cxnSp>
      <p:pic>
        <p:nvPicPr>
          <p:cNvPr id="154" name="Picture 99" descr="Picture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8415" y="4381885"/>
            <a:ext cx="233092" cy="317795"/>
          </a:xfrm>
          <a:prstGeom prst="rect">
            <a:avLst/>
          </a:prstGeom>
          <a:noFill/>
        </p:spPr>
      </p:pic>
      <p:sp>
        <p:nvSpPr>
          <p:cNvPr id="155" name="직사각형 154"/>
          <p:cNvSpPr/>
          <p:nvPr/>
        </p:nvSpPr>
        <p:spPr>
          <a:xfrm>
            <a:off x="6292542" y="4633882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1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시 상품정보 열람</a:t>
            </a:r>
            <a:r>
              <a:rPr lang="en-US" altLang="ko-KR" sz="800" b="0" i="1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800" b="0" i="1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800" b="0" i="1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및 홍보물 활용</a:t>
            </a:r>
            <a:endParaRPr kumimoji="0" lang="ko-KR" altLang="en-US" sz="800" b="0" i="1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6" name="직사각형 155"/>
          <p:cNvSpPr/>
          <p:nvPr/>
        </p:nvSpPr>
        <p:spPr>
          <a:xfrm>
            <a:off x="8249801" y="4608482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elling Point </a:t>
            </a:r>
            <a:r>
              <a:rPr kumimoji="0" lang="ko-KR" altLang="en-US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확인</a:t>
            </a:r>
            <a:r>
              <a:rPr kumimoji="0" lang="en-US" altLang="ko-KR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브랜드 </a:t>
            </a:r>
            <a:r>
              <a:rPr kumimoji="0" lang="ko-KR" altLang="en-US" sz="800" b="0" i="1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콘텐츠</a:t>
            </a:r>
            <a:r>
              <a:rPr kumimoji="0" lang="ko-KR" altLang="en-US" sz="8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이용</a:t>
            </a:r>
            <a:endParaRPr kumimoji="0" lang="ko-KR" altLang="en-US" sz="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7244676" y="4684806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브랜드 관리</a:t>
            </a:r>
            <a:r>
              <a:rPr lang="en-US" altLang="ko-KR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en-US" altLang="ko-KR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– PVI </a:t>
            </a:r>
            <a:r>
              <a:rPr lang="ko-KR" altLang="en-US" sz="80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endParaRPr kumimoji="0" lang="ko-KR" altLang="en-US" sz="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8" name="직선 연결선 157"/>
          <p:cNvCxnSpPr/>
          <p:nvPr/>
        </p:nvCxnSpPr>
        <p:spPr bwMode="auto">
          <a:xfrm>
            <a:off x="6330643" y="5013176"/>
            <a:ext cx="31354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159" name="직사각형 158"/>
          <p:cNvSpPr/>
          <p:nvPr/>
        </p:nvSpPr>
        <p:spPr>
          <a:xfrm>
            <a:off x="6609184" y="5059377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1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정보</a:t>
            </a:r>
            <a:r>
              <a:rPr lang="en-US" altLang="ko-KR" sz="800" b="0" i="1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800" b="0" i="1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800" b="0" i="1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확인</a:t>
            </a:r>
            <a:endParaRPr kumimoji="0" lang="ko-KR" altLang="en-US" sz="800" b="0" i="1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7617664" y="4978267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1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널별 목표 세분화</a:t>
            </a:r>
            <a:endParaRPr kumimoji="0" lang="ko-KR" altLang="en-US" sz="800" b="0" i="1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61" name="Picture 7" descr="Green User sm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465168" y="5183778"/>
            <a:ext cx="355476" cy="32607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2" name="직사각형 161"/>
          <p:cNvSpPr/>
          <p:nvPr/>
        </p:nvSpPr>
        <p:spPr>
          <a:xfrm>
            <a:off x="6330643" y="5490948"/>
            <a:ext cx="651069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NH</a:t>
            </a: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농협카드 담당자</a:t>
            </a:r>
            <a:endParaRPr kumimoji="0" lang="ko-KR" altLang="en-US" sz="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직사각형 162"/>
          <p:cNvSpPr/>
          <p:nvPr/>
        </p:nvSpPr>
        <p:spPr>
          <a:xfrm>
            <a:off x="7470283" y="5221818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7470283" y="5548750"/>
            <a:ext cx="651069" cy="2647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소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직사각형 164"/>
          <p:cNvSpPr/>
          <p:nvPr/>
        </p:nvSpPr>
        <p:spPr>
          <a:xfrm>
            <a:off x="8112964" y="5230233"/>
            <a:ext cx="1080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Upper Mass : </a:t>
            </a:r>
            <a:r>
              <a:rPr lang="ko-KR" altLang="en-US" sz="800" b="0" kern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올원</a:t>
            </a:r>
            <a:r>
              <a:rPr lang="en-US" altLang="ko-KR" sz="8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Mass : </a:t>
            </a:r>
            <a:r>
              <a:rPr kumimoji="0" lang="ko-KR" altLang="en-US" sz="800" b="0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올원시럽</a:t>
            </a:r>
            <a:r>
              <a:rPr kumimoji="0" lang="en-US" altLang="ko-KR" sz="800" b="0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b="0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올원</a:t>
            </a:r>
            <a:endParaRPr kumimoji="0" lang="ko-KR" altLang="en-US" sz="800" b="0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직사각형 165"/>
          <p:cNvSpPr/>
          <p:nvPr/>
        </p:nvSpPr>
        <p:spPr>
          <a:xfrm>
            <a:off x="8112964" y="5561713"/>
            <a:ext cx="1152000" cy="264759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VIP : </a:t>
            </a:r>
            <a:r>
              <a:rPr kumimoji="0" lang="ko-KR" altLang="en-US" sz="800" b="0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채움 </a:t>
            </a:r>
            <a:r>
              <a:rPr lang="ko-KR" altLang="en-US" sz="800" b="0" kern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플래티늄</a:t>
            </a:r>
            <a:endParaRPr lang="en-US" altLang="ko-KR" sz="8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sstage</a:t>
            </a:r>
            <a:r>
              <a:rPr lang="en-US" altLang="ko-KR" sz="8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: </a:t>
            </a:r>
            <a:r>
              <a:rPr lang="ko-KR" altLang="en-US" sz="8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 티타늄</a:t>
            </a:r>
            <a:endParaRPr lang="en-US" altLang="ko-KR" sz="8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7" name="꺾인 연결선 166"/>
          <p:cNvCxnSpPr>
            <a:stCxn id="144" idx="3"/>
            <a:endCxn id="147" idx="1"/>
          </p:cNvCxnSpPr>
          <p:nvPr/>
        </p:nvCxnSpPr>
        <p:spPr bwMode="auto">
          <a:xfrm flipV="1">
            <a:off x="6933255" y="3889670"/>
            <a:ext cx="163736" cy="14281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68" name="꺾인 연결선 167"/>
          <p:cNvCxnSpPr>
            <a:stCxn id="144" idx="3"/>
            <a:endCxn id="148" idx="1"/>
          </p:cNvCxnSpPr>
          <p:nvPr/>
        </p:nvCxnSpPr>
        <p:spPr bwMode="auto">
          <a:xfrm>
            <a:off x="6933255" y="4032488"/>
            <a:ext cx="163736" cy="18411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69" name="꺾인 연결선 168"/>
          <p:cNvCxnSpPr>
            <a:stCxn id="145" idx="3"/>
            <a:endCxn id="149" idx="1"/>
          </p:cNvCxnSpPr>
          <p:nvPr/>
        </p:nvCxnSpPr>
        <p:spPr bwMode="auto">
          <a:xfrm flipV="1">
            <a:off x="8601096" y="3889670"/>
            <a:ext cx="218422" cy="15230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70" name="꺾인 연결선 169"/>
          <p:cNvCxnSpPr>
            <a:stCxn id="145" idx="3"/>
            <a:endCxn id="150" idx="1"/>
          </p:cNvCxnSpPr>
          <p:nvPr/>
        </p:nvCxnSpPr>
        <p:spPr bwMode="auto">
          <a:xfrm>
            <a:off x="8601096" y="4041972"/>
            <a:ext cx="218422" cy="17463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" name="오른쪽 화살표 6"/>
          <p:cNvSpPr/>
          <p:nvPr/>
        </p:nvSpPr>
        <p:spPr bwMode="auto">
          <a:xfrm>
            <a:off x="7010442" y="5401516"/>
            <a:ext cx="390830" cy="10411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1" name="오른쪽 화살표 170"/>
          <p:cNvSpPr/>
          <p:nvPr/>
        </p:nvSpPr>
        <p:spPr bwMode="auto">
          <a:xfrm rot="10800000">
            <a:off x="7010442" y="5526477"/>
            <a:ext cx="390830" cy="10411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3" name="그룹 12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2" name="그룹 13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004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인프라 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 eaLnBrk="1" latinLnBrk="0" hangingPunct="1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인프라 확대 방안으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계의 영업지원 기능 강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별도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시스템 구축 안을 비교 분석하고 요건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P 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지원 인프라 개선 방안 설계 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4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후보안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예시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aphicFrame>
        <p:nvGraphicFramePr>
          <p:cNvPr id="28" name="표 27"/>
          <p:cNvGraphicFramePr>
            <a:graphicFrameLocks noGrp="1"/>
          </p:cNvGraphicFramePr>
          <p:nvPr>
            <p:extLst/>
          </p:nvPr>
        </p:nvGraphicFramePr>
        <p:xfrm>
          <a:off x="471000" y="1833254"/>
          <a:ext cx="8964000" cy="45004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94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772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772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0"/>
                      <a:endParaRPr lang="ko-KR" altLang="en-US" sz="1300" b="0" dirty="0">
                        <a:solidFill>
                          <a:srgbClr val="00206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i="1" dirty="0" err="1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보안</a:t>
                      </a:r>
                      <a:r>
                        <a:rPr lang="ko-KR" altLang="en-US" sz="1200" b="1" i="1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="1" i="1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200" b="1" i="1" dirty="0" err="1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계</a:t>
                      </a:r>
                      <a:r>
                        <a:rPr lang="ko-KR" altLang="en-US" sz="1200" b="1" i="1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영업지원 기능 강화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i="1" kern="1200" dirty="0" err="1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후보안</a:t>
                      </a:r>
                      <a:r>
                        <a:rPr lang="ko-KR" altLang="en-US" sz="1200" b="1" i="1" kern="1200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1" i="1" kern="1200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. </a:t>
                      </a:r>
                      <a:r>
                        <a:rPr lang="ko-KR" altLang="en-US" sz="1200" b="1" i="1" kern="1200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별도의 </a:t>
                      </a:r>
                      <a:r>
                        <a:rPr lang="en-US" altLang="ko-KR" sz="1200" b="1" i="1" kern="1200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P </a:t>
                      </a:r>
                      <a:r>
                        <a:rPr lang="ko-KR" altLang="en-US" sz="1200" b="1" i="1" kern="1200" dirty="0">
                          <a:solidFill>
                            <a:srgbClr val="00206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영업지원 시스템 구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951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성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10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요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계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시스템 내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영업지원 </a:t>
                      </a:r>
                      <a:r>
                        <a:rPr lang="en-US" altLang="ko-KR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mponent 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기능을 강화</a:t>
                      </a:r>
                      <a:endParaRPr lang="en-US" altLang="ko-KR" sz="110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</a:t>
                      </a:r>
                      <a:r>
                        <a:rPr lang="en-US" altLang="ko-KR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 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기능의 확대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도의 영업지원 시스템 구축을 통하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CP</a:t>
                      </a:r>
                      <a:r>
                        <a:rPr lang="en-US" altLang="ko-KR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</a:t>
                      </a:r>
                      <a:r>
                        <a:rPr lang="ko-KR" altLang="en-US" sz="110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근성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독립적 </a:t>
                      </a:r>
                      <a:r>
                        <a:rPr lang="ko-KR" altLang="en-US" sz="110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성을</a:t>
                      </a:r>
                      <a:r>
                        <a:rPr lang="ko-KR" altLang="en-US" sz="11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증대</a:t>
                      </a:r>
                      <a:endParaRPr lang="en-US" altLang="ko-KR" sz="110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특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계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영업지원 내 지원 업무 기능 추가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지원팀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측면에서는 운영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의 효율성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 절감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/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팀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 권한 관리 업무 비효율성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관점의 다양한 업무 지원 및 편의성 저하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집중화로 과부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포털 기반 서비스 제공으로 사용자 편의성 증대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양한 채널과의 연동 및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근성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화 및 권한관리 등 관리 일원화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양한 영업지원정보 및 기능 구성 가능</a:t>
                      </a: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만족도 및 경쟁력 제고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0">
                        <a:buFont typeface="Wingdings" panose="05000000000000000000" pitchFamily="2" charset="2"/>
                        <a:buChar char="§"/>
                      </a:pPr>
                      <a:r>
                        <a:rPr kumimoji="1" lang="ko-KR" altLang="en-US" sz="1100" b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별도 시스템 구축에 따른 비용 발생</a:t>
                      </a:r>
                      <a:endParaRPr kumimoji="1" lang="en-US" altLang="ko-KR" sz="1100" b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29" name="그룹 28"/>
          <p:cNvGrpSpPr/>
          <p:nvPr/>
        </p:nvGrpSpPr>
        <p:grpSpPr>
          <a:xfrm>
            <a:off x="1496520" y="2299225"/>
            <a:ext cx="3600500" cy="1944270"/>
            <a:chOff x="425452" y="2213635"/>
            <a:chExt cx="4175894" cy="2175925"/>
          </a:xfrm>
        </p:grpSpPr>
        <p:sp>
          <p:nvSpPr>
            <p:cNvPr id="30" name="오각형 41"/>
            <p:cNvSpPr/>
            <p:nvPr/>
          </p:nvSpPr>
          <p:spPr bwMode="auto">
            <a:xfrm>
              <a:off x="425452" y="2213635"/>
              <a:ext cx="4175894" cy="2175925"/>
            </a:xfrm>
            <a:prstGeom prst="homePlate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rtlCol="0" anchor="t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l"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업무계</a:t>
              </a:r>
              <a:r>
                <a:rPr kumimoji="1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 시스템</a:t>
              </a:r>
            </a:p>
          </p:txBody>
        </p:sp>
        <p:grpSp>
          <p:nvGrpSpPr>
            <p:cNvPr id="31" name="그룹 30"/>
            <p:cNvGrpSpPr/>
            <p:nvPr/>
          </p:nvGrpSpPr>
          <p:grpSpPr>
            <a:xfrm>
              <a:off x="554868" y="2486926"/>
              <a:ext cx="3937326" cy="1776940"/>
              <a:chOff x="504067" y="2644445"/>
              <a:chExt cx="4466029" cy="2053141"/>
            </a:xfrm>
          </p:grpSpPr>
          <p:sp>
            <p:nvSpPr>
              <p:cNvPr id="32" name="오각형 43"/>
              <p:cNvSpPr/>
              <p:nvPr/>
            </p:nvSpPr>
            <p:spPr bwMode="auto">
              <a:xfrm>
                <a:off x="504067" y="264444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마케팅</a:t>
                </a:r>
              </a:p>
            </p:txBody>
          </p:sp>
          <p:sp>
            <p:nvSpPr>
              <p:cNvPr id="33" name="오각형 44"/>
              <p:cNvSpPr/>
              <p:nvPr/>
            </p:nvSpPr>
            <p:spPr bwMode="auto">
              <a:xfrm>
                <a:off x="504067" y="2999833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발급</a:t>
                </a:r>
              </a:p>
            </p:txBody>
          </p:sp>
          <p:sp>
            <p:nvSpPr>
              <p:cNvPr id="34" name="오각형 45"/>
              <p:cNvSpPr/>
              <p:nvPr/>
            </p:nvSpPr>
            <p:spPr bwMode="auto">
              <a:xfrm>
                <a:off x="504067" y="3355221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법인</a:t>
                </a:r>
              </a:p>
            </p:txBody>
          </p:sp>
          <p:sp>
            <p:nvSpPr>
              <p:cNvPr id="35" name="오각형 46"/>
              <p:cNvSpPr/>
              <p:nvPr/>
            </p:nvSpPr>
            <p:spPr bwMode="auto">
              <a:xfrm>
                <a:off x="504067" y="3710609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회원</a:t>
                </a:r>
              </a:p>
            </p:txBody>
          </p:sp>
          <p:sp>
            <p:nvSpPr>
              <p:cNvPr id="36" name="오각형 47"/>
              <p:cNvSpPr/>
              <p:nvPr/>
            </p:nvSpPr>
            <p:spPr bwMode="auto">
              <a:xfrm>
                <a:off x="504067" y="4065997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>
                  <a:lumMod val="65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영업지원</a:t>
                </a:r>
              </a:p>
            </p:txBody>
          </p:sp>
          <p:sp>
            <p:nvSpPr>
              <p:cNvPr id="45" name="오각형 48"/>
              <p:cNvSpPr/>
              <p:nvPr/>
            </p:nvSpPr>
            <p:spPr bwMode="auto">
              <a:xfrm>
                <a:off x="504067" y="442138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마케팅</a:t>
                </a:r>
              </a:p>
            </p:txBody>
          </p:sp>
          <p:sp>
            <p:nvSpPr>
              <p:cNvPr id="46" name="오각형 49"/>
              <p:cNvSpPr/>
              <p:nvPr/>
            </p:nvSpPr>
            <p:spPr bwMode="auto">
              <a:xfrm>
                <a:off x="1640768" y="264444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가맹점</a:t>
                </a:r>
              </a:p>
            </p:txBody>
          </p:sp>
          <p:sp>
            <p:nvSpPr>
              <p:cNvPr id="47" name="오각형 50"/>
              <p:cNvSpPr/>
              <p:nvPr/>
            </p:nvSpPr>
            <p:spPr bwMode="auto">
              <a:xfrm>
                <a:off x="1640768" y="2999833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국제</a:t>
                </a:r>
              </a:p>
            </p:txBody>
          </p:sp>
          <p:sp>
            <p:nvSpPr>
              <p:cNvPr id="48" name="오각형 51"/>
              <p:cNvSpPr/>
              <p:nvPr/>
            </p:nvSpPr>
            <p:spPr bwMode="auto">
              <a:xfrm>
                <a:off x="1640768" y="3355221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대금지급</a:t>
                </a:r>
              </a:p>
            </p:txBody>
          </p:sp>
          <p:sp>
            <p:nvSpPr>
              <p:cNvPr id="49" name="오각형 52"/>
              <p:cNvSpPr/>
              <p:nvPr/>
            </p:nvSpPr>
            <p:spPr bwMode="auto">
              <a:xfrm>
                <a:off x="1640768" y="3710609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매출</a:t>
                </a:r>
              </a:p>
            </p:txBody>
          </p:sp>
          <p:sp>
            <p:nvSpPr>
              <p:cNvPr id="50" name="오각형 53"/>
              <p:cNvSpPr/>
              <p:nvPr/>
            </p:nvSpPr>
            <p:spPr bwMode="auto">
              <a:xfrm>
                <a:off x="1640768" y="4065997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제휴</a:t>
                </a:r>
              </a:p>
            </p:txBody>
          </p:sp>
          <p:sp>
            <p:nvSpPr>
              <p:cNvPr id="51" name="오각형 54"/>
              <p:cNvSpPr/>
              <p:nvPr/>
            </p:nvSpPr>
            <p:spPr bwMode="auto">
              <a:xfrm>
                <a:off x="1640768" y="442138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포인트</a:t>
                </a:r>
              </a:p>
            </p:txBody>
          </p:sp>
          <p:sp>
            <p:nvSpPr>
              <p:cNvPr id="52" name="오각형 55"/>
              <p:cNvSpPr/>
              <p:nvPr/>
            </p:nvSpPr>
            <p:spPr bwMode="auto">
              <a:xfrm>
                <a:off x="2775989" y="264444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대외</a:t>
                </a:r>
              </a:p>
            </p:txBody>
          </p:sp>
          <p:sp>
            <p:nvSpPr>
              <p:cNvPr id="53" name="오각형 56"/>
              <p:cNvSpPr/>
              <p:nvPr/>
            </p:nvSpPr>
            <p:spPr bwMode="auto">
              <a:xfrm>
                <a:off x="2775989" y="2999833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사고채권</a:t>
                </a:r>
              </a:p>
            </p:txBody>
          </p:sp>
          <p:sp>
            <p:nvSpPr>
              <p:cNvPr id="54" name="오각형 57"/>
              <p:cNvSpPr/>
              <p:nvPr/>
            </p:nvSpPr>
            <p:spPr bwMode="auto">
              <a:xfrm>
                <a:off x="2775989" y="3355221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사전채권</a:t>
                </a:r>
              </a:p>
            </p:txBody>
          </p:sp>
          <p:sp>
            <p:nvSpPr>
              <p:cNvPr id="55" name="오각형 58"/>
              <p:cNvSpPr/>
              <p:nvPr/>
            </p:nvSpPr>
            <p:spPr bwMode="auto">
              <a:xfrm>
                <a:off x="2775989" y="3710609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채권</a:t>
                </a:r>
              </a:p>
            </p:txBody>
          </p:sp>
          <p:sp>
            <p:nvSpPr>
              <p:cNvPr id="56" name="오각형 59"/>
              <p:cNvSpPr/>
              <p:nvPr/>
            </p:nvSpPr>
            <p:spPr bwMode="auto">
              <a:xfrm>
                <a:off x="2775989" y="4065997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한도</a:t>
                </a:r>
              </a:p>
            </p:txBody>
          </p:sp>
          <p:sp>
            <p:nvSpPr>
              <p:cNvPr id="57" name="오각형 60"/>
              <p:cNvSpPr/>
              <p:nvPr/>
            </p:nvSpPr>
            <p:spPr bwMode="auto">
              <a:xfrm>
                <a:off x="3912690" y="2644445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금융</a:t>
                </a:r>
              </a:p>
            </p:txBody>
          </p:sp>
          <p:sp>
            <p:nvSpPr>
              <p:cNvPr id="58" name="오각형 61"/>
              <p:cNvSpPr/>
              <p:nvPr/>
            </p:nvSpPr>
            <p:spPr bwMode="auto">
              <a:xfrm>
                <a:off x="3912690" y="2999833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입금</a:t>
                </a:r>
                <a:r>
                  <a:rPr kumimoji="1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미수</a:t>
                </a:r>
              </a:p>
            </p:txBody>
          </p:sp>
          <p:sp>
            <p:nvSpPr>
              <p:cNvPr id="59" name="오각형 62"/>
              <p:cNvSpPr/>
              <p:nvPr/>
            </p:nvSpPr>
            <p:spPr bwMode="auto">
              <a:xfrm>
                <a:off x="3912690" y="3355221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자동이체</a:t>
                </a:r>
              </a:p>
            </p:txBody>
          </p:sp>
          <p:sp>
            <p:nvSpPr>
              <p:cNvPr id="60" name="오각형 63"/>
              <p:cNvSpPr/>
              <p:nvPr/>
            </p:nvSpPr>
            <p:spPr bwMode="auto">
              <a:xfrm>
                <a:off x="3912690" y="3710609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자산유동화</a:t>
                </a:r>
              </a:p>
            </p:txBody>
          </p:sp>
          <p:sp>
            <p:nvSpPr>
              <p:cNvPr id="61" name="오각형 64"/>
              <p:cNvSpPr/>
              <p:nvPr/>
            </p:nvSpPr>
            <p:spPr bwMode="auto">
              <a:xfrm>
                <a:off x="3912690" y="4065997"/>
                <a:ext cx="1057406" cy="276201"/>
              </a:xfrm>
              <a:prstGeom prst="homePlate">
                <a:avLst>
                  <a:gd name="adj" fmla="val 0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</a:rPr>
                  <a:t>청구</a:t>
                </a:r>
              </a:p>
            </p:txBody>
          </p:sp>
        </p:grpSp>
      </p:grpSp>
      <p:pic>
        <p:nvPicPr>
          <p:cNvPr id="63" name="그림 6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364" y="2309565"/>
            <a:ext cx="3752520" cy="1921230"/>
          </a:xfrm>
          <a:prstGeom prst="rect">
            <a:avLst/>
          </a:prstGeom>
        </p:spPr>
      </p:pic>
      <p:sp>
        <p:nvSpPr>
          <p:cNvPr id="6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76" name="그룹 7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5" name="그룹 8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116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CP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관 업무의 관리 범위는 신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시스템 등록에서부터 확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후관리 및 교육까지의 후선 업무를 모두 포함하여 기능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업점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CP 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관 업무 관리 범위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2" name="TextBox 61"/>
          <p:cNvSpPr txBox="1"/>
          <p:nvPr/>
        </p:nvSpPr>
        <p:spPr>
          <a:xfrm>
            <a:off x="341289" y="3363137"/>
            <a:ext cx="828000" cy="252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kumimoji="1"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점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CP</a:t>
            </a:r>
            <a:endParaRPr kumimoji="1"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72" y="2854960"/>
            <a:ext cx="504070" cy="504070"/>
          </a:xfrm>
          <a:prstGeom prst="rect">
            <a:avLst/>
          </a:prstGeom>
        </p:spPr>
      </p:pic>
      <p:sp>
        <p:nvSpPr>
          <p:cNvPr id="65" name="오각형 132"/>
          <p:cNvSpPr/>
          <p:nvPr/>
        </p:nvSpPr>
        <p:spPr bwMode="auto">
          <a:xfrm>
            <a:off x="1640540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등록</a:t>
            </a:r>
          </a:p>
        </p:txBody>
      </p:sp>
      <p:sp>
        <p:nvSpPr>
          <p:cNvPr id="66" name="오각형 133"/>
          <p:cNvSpPr/>
          <p:nvPr/>
        </p:nvSpPr>
        <p:spPr bwMode="auto">
          <a:xfrm>
            <a:off x="2951677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확정</a:t>
            </a:r>
          </a:p>
        </p:txBody>
      </p:sp>
      <p:sp>
        <p:nvSpPr>
          <p:cNvPr id="67" name="오각형 134"/>
          <p:cNvSpPr/>
          <p:nvPr/>
        </p:nvSpPr>
        <p:spPr bwMode="auto">
          <a:xfrm>
            <a:off x="4262814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CP </a:t>
            </a: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68" name="오각형 135"/>
          <p:cNvSpPr/>
          <p:nvPr/>
        </p:nvSpPr>
        <p:spPr bwMode="auto">
          <a:xfrm>
            <a:off x="5573951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실적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모집수당</a:t>
            </a:r>
            <a:endParaRPr kumimoji="1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69" name="오각형 136"/>
          <p:cNvSpPr/>
          <p:nvPr/>
        </p:nvSpPr>
        <p:spPr bwMode="auto">
          <a:xfrm>
            <a:off x="6885088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사후관리</a:t>
            </a:r>
          </a:p>
        </p:txBody>
      </p:sp>
      <p:sp>
        <p:nvSpPr>
          <p:cNvPr id="70" name="오각형 137"/>
          <p:cNvSpPr/>
          <p:nvPr/>
        </p:nvSpPr>
        <p:spPr bwMode="auto">
          <a:xfrm>
            <a:off x="8196225" y="1864040"/>
            <a:ext cx="1224000" cy="431332"/>
          </a:xfrm>
          <a:prstGeom prst="homePlate">
            <a:avLst>
              <a:gd name="adj" fmla="val 23500"/>
            </a:avLst>
          </a:prstGeom>
          <a:solidFill>
            <a:srgbClr val="002060"/>
          </a:solidFill>
          <a:ln w="12700" cap="flat" cmpd="sng" algn="ctr">
            <a:solidFill>
              <a:srgbClr val="808080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교육관리</a:t>
            </a:r>
            <a:endParaRPr kumimoji="1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71" name="오각형 138"/>
          <p:cNvSpPr/>
          <p:nvPr/>
        </p:nvSpPr>
        <p:spPr bwMode="auto">
          <a:xfrm>
            <a:off x="1640540" y="2336043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사전 신용 조회</a:t>
            </a:r>
          </a:p>
        </p:txBody>
      </p:sp>
      <p:sp>
        <p:nvSpPr>
          <p:cNvPr id="72" name="오각형 139"/>
          <p:cNvSpPr/>
          <p:nvPr/>
        </p:nvSpPr>
        <p:spPr bwMode="auto">
          <a:xfrm>
            <a:off x="1640540" y="44582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P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등록</a:t>
            </a:r>
          </a:p>
        </p:txBody>
      </p:sp>
      <p:sp>
        <p:nvSpPr>
          <p:cNvPr id="73" name="오각형 140"/>
          <p:cNvSpPr/>
          <p:nvPr/>
        </p:nvSpPr>
        <p:spPr bwMode="auto">
          <a:xfrm>
            <a:off x="1640540" y="4845307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팀등록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오각형 141"/>
          <p:cNvSpPr/>
          <p:nvPr/>
        </p:nvSpPr>
        <p:spPr bwMode="auto">
          <a:xfrm>
            <a:off x="1640540" y="523237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관리자 등록</a:t>
            </a:r>
          </a:p>
        </p:txBody>
      </p:sp>
      <p:sp>
        <p:nvSpPr>
          <p:cNvPr id="75" name="오각형 142"/>
          <p:cNvSpPr/>
          <p:nvPr/>
        </p:nvSpPr>
        <p:spPr bwMode="auto">
          <a:xfrm>
            <a:off x="1640540" y="5619437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영업점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센터 등록</a:t>
            </a:r>
          </a:p>
        </p:txBody>
      </p:sp>
      <p:sp>
        <p:nvSpPr>
          <p:cNvPr id="76" name="오각형 143"/>
          <p:cNvSpPr/>
          <p:nvPr/>
        </p:nvSpPr>
        <p:spPr bwMode="auto">
          <a:xfrm>
            <a:off x="1640540" y="600650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모집 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널 등록</a:t>
            </a: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1507946" y="4386232"/>
            <a:ext cx="78741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78" name="TextBox 77"/>
          <p:cNvSpPr txBox="1"/>
          <p:nvPr/>
        </p:nvSpPr>
        <p:spPr>
          <a:xfrm>
            <a:off x="293907" y="5284637"/>
            <a:ext cx="972000" cy="252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kumimoji="1"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사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점관리자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업담당자</a:t>
            </a:r>
          </a:p>
        </p:txBody>
      </p:sp>
      <p:pic>
        <p:nvPicPr>
          <p:cNvPr id="79" name="그림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72" y="4776460"/>
            <a:ext cx="504070" cy="504070"/>
          </a:xfrm>
          <a:prstGeom prst="rect">
            <a:avLst/>
          </a:prstGeom>
        </p:spPr>
      </p:pic>
      <p:sp>
        <p:nvSpPr>
          <p:cNvPr id="80" name="오각형 146"/>
          <p:cNvSpPr/>
          <p:nvPr/>
        </p:nvSpPr>
        <p:spPr bwMode="auto">
          <a:xfrm>
            <a:off x="2951677" y="44582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등록 및 확정</a:t>
            </a:r>
          </a:p>
        </p:txBody>
      </p:sp>
      <p:sp>
        <p:nvSpPr>
          <p:cNvPr id="81" name="오각형 147"/>
          <p:cNvSpPr/>
          <p:nvPr/>
        </p:nvSpPr>
        <p:spPr bwMode="auto">
          <a:xfrm>
            <a:off x="4331780" y="2336043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참석 관리</a:t>
            </a:r>
          </a:p>
        </p:txBody>
      </p:sp>
      <p:sp>
        <p:nvSpPr>
          <p:cNvPr id="82" name="오각형 148"/>
          <p:cNvSpPr/>
          <p:nvPr/>
        </p:nvSpPr>
        <p:spPr bwMode="auto">
          <a:xfrm>
            <a:off x="4331780" y="2677038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P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관리자 조회</a:t>
            </a:r>
          </a:p>
        </p:txBody>
      </p:sp>
      <p:sp>
        <p:nvSpPr>
          <p:cNvPr id="83" name="오각형 149"/>
          <p:cNvSpPr/>
          <p:nvPr/>
        </p:nvSpPr>
        <p:spPr bwMode="auto">
          <a:xfrm>
            <a:off x="4331780" y="3018034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영업점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센터 조회</a:t>
            </a:r>
          </a:p>
        </p:txBody>
      </p:sp>
      <p:sp>
        <p:nvSpPr>
          <p:cNvPr id="84" name="오각형 150"/>
          <p:cNvSpPr/>
          <p:nvPr/>
        </p:nvSpPr>
        <p:spPr bwMode="auto">
          <a:xfrm>
            <a:off x="4331780" y="3359030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 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</a:p>
        </p:txBody>
      </p:sp>
      <p:sp>
        <p:nvSpPr>
          <p:cNvPr id="85" name="오각형 151"/>
          <p:cNvSpPr/>
          <p:nvPr/>
        </p:nvSpPr>
        <p:spPr bwMode="auto">
          <a:xfrm>
            <a:off x="4331780" y="44582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목표 등록</a:t>
            </a:r>
          </a:p>
        </p:txBody>
      </p:sp>
      <p:sp>
        <p:nvSpPr>
          <p:cNvPr id="86" name="오각형 152"/>
          <p:cNvSpPr/>
          <p:nvPr/>
        </p:nvSpPr>
        <p:spPr bwMode="auto">
          <a:xfrm>
            <a:off x="4331780" y="4845307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팀 조정</a:t>
            </a:r>
          </a:p>
        </p:txBody>
      </p:sp>
      <p:sp>
        <p:nvSpPr>
          <p:cNvPr id="87" name="오각형 153"/>
          <p:cNvSpPr/>
          <p:nvPr/>
        </p:nvSpPr>
        <p:spPr bwMode="auto">
          <a:xfrm>
            <a:off x="4331780" y="523237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상이력관리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오각형 154"/>
          <p:cNvSpPr/>
          <p:nvPr/>
        </p:nvSpPr>
        <p:spPr bwMode="auto">
          <a:xfrm>
            <a:off x="4331780" y="5619437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출석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등록 관리</a:t>
            </a:r>
          </a:p>
        </p:txBody>
      </p:sp>
      <p:sp>
        <p:nvSpPr>
          <p:cNvPr id="89" name="오각형 155"/>
          <p:cNvSpPr/>
          <p:nvPr/>
        </p:nvSpPr>
        <p:spPr bwMode="auto">
          <a:xfrm>
            <a:off x="4331780" y="600650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 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정</a:t>
            </a:r>
          </a:p>
        </p:txBody>
      </p:sp>
      <p:sp>
        <p:nvSpPr>
          <p:cNvPr id="90" name="오각형 156"/>
          <p:cNvSpPr/>
          <p:nvPr/>
        </p:nvSpPr>
        <p:spPr bwMode="auto">
          <a:xfrm>
            <a:off x="5573951" y="23360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청서 접수 조회</a:t>
            </a:r>
          </a:p>
        </p:txBody>
      </p:sp>
      <p:sp>
        <p:nvSpPr>
          <p:cNvPr id="91" name="오각형 157"/>
          <p:cNvSpPr/>
          <p:nvPr/>
        </p:nvSpPr>
        <p:spPr bwMode="auto">
          <a:xfrm>
            <a:off x="5573951" y="2677038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목표 조회</a:t>
            </a:r>
          </a:p>
        </p:txBody>
      </p:sp>
      <p:sp>
        <p:nvSpPr>
          <p:cNvPr id="92" name="오각형 158"/>
          <p:cNvSpPr/>
          <p:nvPr/>
        </p:nvSpPr>
        <p:spPr bwMode="auto">
          <a:xfrm>
            <a:off x="5573951" y="3018034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실적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시뮬레이션조회</a:t>
            </a:r>
          </a:p>
        </p:txBody>
      </p:sp>
      <p:sp>
        <p:nvSpPr>
          <p:cNvPr id="93" name="오각형 159"/>
          <p:cNvSpPr/>
          <p:nvPr/>
        </p:nvSpPr>
        <p:spPr bwMode="auto">
          <a:xfrm>
            <a:off x="5573951" y="3359030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 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</a:p>
        </p:txBody>
      </p:sp>
      <p:sp>
        <p:nvSpPr>
          <p:cNvPr id="94" name="오각형 160"/>
          <p:cNvSpPr/>
          <p:nvPr/>
        </p:nvSpPr>
        <p:spPr bwMode="auto">
          <a:xfrm>
            <a:off x="5573951" y="3700026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명세 조회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오각형 161"/>
          <p:cNvSpPr/>
          <p:nvPr/>
        </p:nvSpPr>
        <p:spPr bwMode="auto">
          <a:xfrm>
            <a:off x="5573951" y="44582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조정관리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오각형 162"/>
          <p:cNvSpPr/>
          <p:nvPr/>
        </p:nvSpPr>
        <p:spPr bwMode="auto">
          <a:xfrm>
            <a:off x="5573951" y="4845307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</a:t>
            </a:r>
            <a:r>
              <a:rPr kumimoji="1" lang="en-US" altLang="ko-KR" sz="10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산정 및 관리</a:t>
            </a:r>
          </a:p>
        </p:txBody>
      </p:sp>
      <p:sp>
        <p:nvSpPr>
          <p:cNvPr id="97" name="오각형 163"/>
          <p:cNvSpPr/>
          <p:nvPr/>
        </p:nvSpPr>
        <p:spPr bwMode="auto">
          <a:xfrm>
            <a:off x="5573951" y="5232372"/>
            <a:ext cx="1102698" cy="288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기준관리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오각형 165"/>
          <p:cNvSpPr/>
          <p:nvPr/>
        </p:nvSpPr>
        <p:spPr bwMode="auto">
          <a:xfrm>
            <a:off x="5573951" y="5619437"/>
            <a:ext cx="1102698" cy="288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실적 기준관리</a:t>
            </a:r>
          </a:p>
        </p:txBody>
      </p:sp>
      <p:sp>
        <p:nvSpPr>
          <p:cNvPr id="99" name="오각형 166"/>
          <p:cNvSpPr/>
          <p:nvPr/>
        </p:nvSpPr>
        <p:spPr bwMode="auto">
          <a:xfrm>
            <a:off x="5573951" y="6006502"/>
            <a:ext cx="1102698" cy="288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 변경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Simulation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오각형 167"/>
          <p:cNvSpPr/>
          <p:nvPr/>
        </p:nvSpPr>
        <p:spPr bwMode="auto">
          <a:xfrm>
            <a:off x="6885088" y="404102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원천징수 조회</a:t>
            </a:r>
          </a:p>
        </p:txBody>
      </p:sp>
      <p:sp>
        <p:nvSpPr>
          <p:cNvPr id="101" name="오각형 168"/>
          <p:cNvSpPr/>
          <p:nvPr/>
        </p:nvSpPr>
        <p:spPr bwMode="auto">
          <a:xfrm>
            <a:off x="6885088" y="4458242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자금이체관리</a:t>
            </a:r>
          </a:p>
        </p:txBody>
      </p:sp>
      <p:sp>
        <p:nvSpPr>
          <p:cNvPr id="102" name="오각형 169"/>
          <p:cNvSpPr/>
          <p:nvPr/>
        </p:nvSpPr>
        <p:spPr bwMode="auto">
          <a:xfrm>
            <a:off x="6885088" y="4776460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원천징수 관리</a:t>
            </a:r>
          </a:p>
        </p:txBody>
      </p:sp>
      <p:sp>
        <p:nvSpPr>
          <p:cNvPr id="103" name="오각형 170"/>
          <p:cNvSpPr/>
          <p:nvPr/>
        </p:nvSpPr>
        <p:spPr bwMode="auto">
          <a:xfrm>
            <a:off x="6885088" y="5094678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지급보류자관리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오각형 171"/>
          <p:cNvSpPr/>
          <p:nvPr/>
        </p:nvSpPr>
        <p:spPr bwMode="auto">
          <a:xfrm>
            <a:off x="6885088" y="5412896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생산성 분석</a:t>
            </a:r>
          </a:p>
        </p:txBody>
      </p:sp>
      <p:sp>
        <p:nvSpPr>
          <p:cNvPr id="105" name="오각형 172"/>
          <p:cNvSpPr/>
          <p:nvPr/>
        </p:nvSpPr>
        <p:spPr bwMode="auto">
          <a:xfrm>
            <a:off x="6885088" y="5731114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업무위임사실확인서관리</a:t>
            </a:r>
          </a:p>
        </p:txBody>
      </p:sp>
      <p:sp>
        <p:nvSpPr>
          <p:cNvPr id="106" name="오각형 173"/>
          <p:cNvSpPr/>
          <p:nvPr/>
        </p:nvSpPr>
        <p:spPr bwMode="auto">
          <a:xfrm>
            <a:off x="6885088" y="6049334"/>
            <a:ext cx="1102698" cy="288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평가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관리</a:t>
            </a:r>
          </a:p>
        </p:txBody>
      </p:sp>
      <p:sp>
        <p:nvSpPr>
          <p:cNvPr id="107" name="오각형 174"/>
          <p:cNvSpPr/>
          <p:nvPr/>
        </p:nvSpPr>
        <p:spPr bwMode="auto">
          <a:xfrm>
            <a:off x="6885088" y="3700026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업무위임사실확인서신청</a:t>
            </a:r>
          </a:p>
        </p:txBody>
      </p:sp>
      <p:sp>
        <p:nvSpPr>
          <p:cNvPr id="108" name="오각형 175"/>
          <p:cNvSpPr/>
          <p:nvPr/>
        </p:nvSpPr>
        <p:spPr bwMode="auto">
          <a:xfrm>
            <a:off x="6885088" y="3359030"/>
            <a:ext cx="1102698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영업물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신청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</a:p>
        </p:txBody>
      </p:sp>
      <p:sp>
        <p:nvSpPr>
          <p:cNvPr id="109" name="오각형 176"/>
          <p:cNvSpPr/>
          <p:nvPr/>
        </p:nvSpPr>
        <p:spPr bwMode="auto">
          <a:xfrm>
            <a:off x="8196225" y="2336041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교육 신청</a:t>
            </a:r>
          </a:p>
        </p:txBody>
      </p:sp>
      <p:sp>
        <p:nvSpPr>
          <p:cNvPr id="110" name="오각형 177"/>
          <p:cNvSpPr/>
          <p:nvPr/>
        </p:nvSpPr>
        <p:spPr bwMode="auto">
          <a:xfrm>
            <a:off x="8196225" y="2677038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교육결과 조회</a:t>
            </a:r>
          </a:p>
        </p:txBody>
      </p:sp>
      <p:sp>
        <p:nvSpPr>
          <p:cNvPr id="111" name="오각형 178"/>
          <p:cNvSpPr/>
          <p:nvPr/>
        </p:nvSpPr>
        <p:spPr bwMode="auto">
          <a:xfrm>
            <a:off x="8196225" y="3018034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교육자료 조회</a:t>
            </a:r>
          </a:p>
        </p:txBody>
      </p:sp>
      <p:sp>
        <p:nvSpPr>
          <p:cNvPr id="112" name="오각형 179"/>
          <p:cNvSpPr/>
          <p:nvPr/>
        </p:nvSpPr>
        <p:spPr bwMode="auto">
          <a:xfrm>
            <a:off x="8196225" y="4458242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교육과정관리</a:t>
            </a:r>
          </a:p>
        </p:txBody>
      </p:sp>
      <p:sp>
        <p:nvSpPr>
          <p:cNvPr id="113" name="오각형 180"/>
          <p:cNvSpPr/>
          <p:nvPr/>
        </p:nvSpPr>
        <p:spPr bwMode="auto">
          <a:xfrm>
            <a:off x="8196225" y="4833966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교육결과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</a:t>
            </a:r>
          </a:p>
        </p:txBody>
      </p:sp>
      <p:sp>
        <p:nvSpPr>
          <p:cNvPr id="114" name="오각형 181"/>
          <p:cNvSpPr/>
          <p:nvPr/>
        </p:nvSpPr>
        <p:spPr bwMode="auto">
          <a:xfrm>
            <a:off x="8196225" y="5160289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교육자료 등록</a:t>
            </a:r>
          </a:p>
        </p:txBody>
      </p:sp>
      <p:sp>
        <p:nvSpPr>
          <p:cNvPr id="115" name="오각형 182"/>
          <p:cNvSpPr/>
          <p:nvPr/>
        </p:nvSpPr>
        <p:spPr bwMode="auto">
          <a:xfrm>
            <a:off x="8196225" y="5486612"/>
            <a:ext cx="1101600" cy="28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교육 통계</a:t>
            </a: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리포팅</a:t>
            </a:r>
            <a:endParaRPr kumimoji="1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오각형 183"/>
          <p:cNvSpPr/>
          <p:nvPr/>
        </p:nvSpPr>
        <p:spPr bwMode="auto">
          <a:xfrm>
            <a:off x="1627840" y="4121818"/>
            <a:ext cx="360040" cy="122583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1954013" y="4057561"/>
            <a:ext cx="11560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kumimoji="1"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  <a:t>: Rule base </a:t>
            </a:r>
            <a:r>
              <a:rPr kumimoji="1" lang="ko-KR" altLang="en-US" sz="1000" dirty="0">
                <a:solidFill>
                  <a:srgbClr val="000000"/>
                </a:solidFill>
                <a:latin typeface="맑은 고딕"/>
                <a:ea typeface="맑은 고딕"/>
              </a:rPr>
              <a:t>영역</a:t>
            </a:r>
          </a:p>
        </p:txBody>
      </p:sp>
      <p:sp>
        <p:nvSpPr>
          <p:cNvPr id="118" name="왼쪽 대괄호 117"/>
          <p:cNvSpPr/>
          <p:nvPr/>
        </p:nvSpPr>
        <p:spPr bwMode="auto">
          <a:xfrm>
            <a:off x="1273508" y="2380320"/>
            <a:ext cx="229723" cy="1872000"/>
          </a:xfrm>
          <a:prstGeom prst="leftBracke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19" name="왼쪽 대괄호 118"/>
          <p:cNvSpPr/>
          <p:nvPr/>
        </p:nvSpPr>
        <p:spPr bwMode="auto">
          <a:xfrm>
            <a:off x="1273508" y="4550612"/>
            <a:ext cx="229723" cy="1620000"/>
          </a:xfrm>
          <a:prstGeom prst="leftBracke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2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33" name="그룹 13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2" name="그룹 14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696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09121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과 법인 지원 시스템을 개선하여 상향 표준화된 고객 서비스를 제공 가능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축적된 데이터를 활용한 맞춤형 정보를 제공하여 수익 창출에 기여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82588" y="1814986"/>
            <a:ext cx="4494212" cy="3446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 관리 시스템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5029200" y="1814986"/>
            <a:ext cx="4495800" cy="3446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 지원 시스템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8258441" y="3908693"/>
            <a:ext cx="360040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81709" y="5361100"/>
            <a:ext cx="4155267" cy="80021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가맹점 등록</a:t>
            </a:r>
            <a:r>
              <a:rPr kumimoji="1" lang="en-US" altLang="ko-KR" sz="1300" i="1" dirty="0">
                <a:solidFill>
                  <a:srgbClr val="00206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심사부터 정보변경</a:t>
            </a:r>
            <a:r>
              <a:rPr kumimoji="1" lang="en-US" altLang="ko-KR" sz="1300" i="1" dirty="0">
                <a:solidFill>
                  <a:srgbClr val="002060"/>
                </a:solidFill>
                <a:latin typeface="맑은 고딕"/>
                <a:ea typeface="맑은 고딕"/>
              </a:rPr>
              <a:t>, </a:t>
            </a: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한도심사 기능을 개선하여 표준화된 가맹점 관리를 수행</a:t>
            </a:r>
            <a:endParaRPr kumimoji="1" lang="en-US" altLang="ko-KR" sz="1300" i="1" dirty="0">
              <a:solidFill>
                <a:srgbClr val="002060"/>
              </a:solidFill>
              <a:latin typeface="맑은 고딕"/>
              <a:ea typeface="맑은 고딕"/>
            </a:endParaRPr>
          </a:p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축적된 고객정보를 제공하여 가맹점 확대와 가맹점 수익 창출에 기여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8258441" y="2605262"/>
            <a:ext cx="360040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3388116" y="2605262"/>
            <a:ext cx="360040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" name="직선 화살표 연결선 9"/>
          <p:cNvCxnSpPr/>
          <p:nvPr/>
        </p:nvCxnSpPr>
        <p:spPr bwMode="auto">
          <a:xfrm>
            <a:off x="5816949" y="2841678"/>
            <a:ext cx="39600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1" name="직사각형 10"/>
          <p:cNvSpPr/>
          <p:nvPr/>
        </p:nvSpPr>
        <p:spPr bwMode="auto">
          <a:xfrm>
            <a:off x="3388116" y="3814153"/>
            <a:ext cx="360040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3623783" y="2205426"/>
            <a:ext cx="1037558" cy="294625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638923" y="2205426"/>
            <a:ext cx="2849752" cy="294625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727697" y="4720647"/>
            <a:ext cx="2683543" cy="3706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특약관리 등</a:t>
            </a:r>
            <a:endParaRPr lang="ko-KR" altLang="en-US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723480" y="3125351"/>
            <a:ext cx="2683543" cy="7236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tIns="72000" bIns="72000" rtlCol="0" anchor="t">
            <a:noAutofit/>
          </a:bodyPr>
          <a:lstStyle/>
          <a:p>
            <a:pPr algn="ctr" latinLnBrk="0"/>
            <a:r>
              <a:rPr lang="ko-KR" altLang="en-US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제신고</a:t>
            </a:r>
            <a:r>
              <a:rPr lang="en-US" altLang="ko-KR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심사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915445" y="3420890"/>
            <a:ext cx="1060071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신고 심사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2165944" y="3420890"/>
            <a:ext cx="1062000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변경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727697" y="3938862"/>
            <a:ext cx="2683543" cy="7236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tIns="72000" bIns="72000" rtlCol="0" anchor="t">
            <a:noAutofit/>
          </a:bodyPr>
          <a:lstStyle/>
          <a:p>
            <a:pPr algn="ctr" latinLnBrk="0"/>
            <a:r>
              <a:rPr lang="ko-KR" altLang="en-US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한도관리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915445" y="4232483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한도</a:t>
            </a: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1720507" y="4232483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심사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2525570" y="4232483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검증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</a:p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</a:p>
        </p:txBody>
      </p:sp>
      <p:sp>
        <p:nvSpPr>
          <p:cNvPr id="22" name="순서도: 자기 디스크 21"/>
          <p:cNvSpPr/>
          <p:nvPr/>
        </p:nvSpPr>
        <p:spPr bwMode="auto">
          <a:xfrm>
            <a:off x="3760733" y="3273041"/>
            <a:ext cx="766400" cy="381987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순서도: 자기 디스크 22"/>
          <p:cNvSpPr/>
          <p:nvPr/>
        </p:nvSpPr>
        <p:spPr bwMode="auto">
          <a:xfrm>
            <a:off x="3760733" y="2978026"/>
            <a:ext cx="766400" cy="381987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VOC</a:t>
            </a:r>
            <a:r>
              <a:rPr kumimoji="1" lang="en-US" altLang="ko-KR" sz="1050" b="0" baseline="30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)</a:t>
            </a:r>
            <a:endParaRPr kumimoji="1" lang="ko-KR" altLang="en-US" sz="1050" b="0" baseline="30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순서도: 자기 디스크 23"/>
          <p:cNvSpPr/>
          <p:nvPr/>
        </p:nvSpPr>
        <p:spPr bwMode="auto">
          <a:xfrm>
            <a:off x="3760733" y="2683011"/>
            <a:ext cx="766400" cy="381987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통합</a:t>
            </a:r>
          </a:p>
        </p:txBody>
      </p:sp>
      <p:sp>
        <p:nvSpPr>
          <p:cNvPr id="25" name="순서도: 자기 디스크 24"/>
          <p:cNvSpPr/>
          <p:nvPr/>
        </p:nvSpPr>
        <p:spPr bwMode="auto">
          <a:xfrm>
            <a:off x="3763863" y="4039007"/>
            <a:ext cx="760140" cy="427112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W</a:t>
            </a:r>
            <a:r>
              <a:rPr kumimoji="1" lang="en-US" altLang="ko-KR" sz="1050" b="0" baseline="30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)</a:t>
            </a:r>
            <a:endParaRPr kumimoji="1" lang="ko-KR" altLang="en-US" sz="1050" b="0" baseline="30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721819" y="4601999"/>
            <a:ext cx="844228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ts val="12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vent Rule Engine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7" name="직선 연결선 26"/>
          <p:cNvCxnSpPr>
            <a:stCxn id="25" idx="3"/>
            <a:endCxn id="26" idx="0"/>
          </p:cNvCxnSpPr>
          <p:nvPr/>
        </p:nvCxnSpPr>
        <p:spPr bwMode="auto">
          <a:xfrm>
            <a:off x="4143933" y="4466119"/>
            <a:ext cx="0" cy="13588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8" name="왼쪽/오른쪽 화살표 63"/>
          <p:cNvSpPr/>
          <p:nvPr/>
        </p:nvSpPr>
        <p:spPr bwMode="auto">
          <a:xfrm rot="5400000">
            <a:off x="3914130" y="3721388"/>
            <a:ext cx="459606" cy="216024"/>
          </a:xfrm>
          <a:prstGeom prst="leftRight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723480" y="2320239"/>
            <a:ext cx="2683543" cy="7236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tIns="72000" bIns="72000" rtlCol="0" anchor="t">
            <a:noAutofit/>
          </a:bodyPr>
          <a:lstStyle/>
          <a:p>
            <a:pPr algn="ctr" latinLnBrk="0"/>
            <a:r>
              <a:rPr lang="ko-KR" altLang="en-US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등록</a:t>
            </a:r>
            <a:r>
              <a:rPr lang="en-US" altLang="ko-KR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심사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915445" y="2599437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심사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1720507" y="2599437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실사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2525570" y="2599437"/>
            <a:ext cx="702374" cy="3370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tIns="72000" bIns="72000" rtlCol="0" anchor="ctr">
            <a:noAutofit/>
          </a:bodyPr>
          <a:lstStyle/>
          <a:p>
            <a:pPr algn="ctr" latinLnBrk="0"/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등록</a:t>
            </a: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535" y="2550569"/>
            <a:ext cx="533400" cy="619125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535" y="3262078"/>
            <a:ext cx="533400" cy="619125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535" y="3973587"/>
            <a:ext cx="533400" cy="619125"/>
          </a:xfrm>
          <a:prstGeom prst="rect">
            <a:avLst/>
          </a:prstGeom>
        </p:spPr>
      </p:pic>
      <p:sp>
        <p:nvSpPr>
          <p:cNvPr id="36" name="직사각형 35"/>
          <p:cNvSpPr/>
          <p:nvPr/>
        </p:nvSpPr>
        <p:spPr bwMode="auto">
          <a:xfrm>
            <a:off x="6219716" y="2205426"/>
            <a:ext cx="2157230" cy="294625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104"/>
          <p:cNvSpPr>
            <a:spLocks noChangeArrowheads="1"/>
          </p:cNvSpPr>
          <p:nvPr/>
        </p:nvSpPr>
        <p:spPr bwMode="auto">
          <a:xfrm>
            <a:off x="6472038" y="2575573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입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청구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</a:p>
        </p:txBody>
      </p:sp>
      <p:sp>
        <p:nvSpPr>
          <p:cNvPr id="38" name="Rectangle 104"/>
          <p:cNvSpPr>
            <a:spLocks noChangeArrowheads="1"/>
          </p:cNvSpPr>
          <p:nvPr/>
        </p:nvSpPr>
        <p:spPr bwMode="auto">
          <a:xfrm>
            <a:off x="6472038" y="2879638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액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석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설정</a:t>
            </a:r>
          </a:p>
        </p:txBody>
      </p:sp>
      <p:sp>
        <p:nvSpPr>
          <p:cNvPr id="39" name="Rectangle 104"/>
          <p:cNvSpPr>
            <a:spLocks noChangeArrowheads="1"/>
          </p:cNvSpPr>
          <p:nvPr/>
        </p:nvSpPr>
        <p:spPr bwMode="auto">
          <a:xfrm>
            <a:off x="6472038" y="3183703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사카드관리</a:t>
            </a:r>
          </a:p>
        </p:txBody>
      </p:sp>
      <p:sp>
        <p:nvSpPr>
          <p:cNvPr id="40" name="Rectangle 104"/>
          <p:cNvSpPr>
            <a:spLocks noChangeArrowheads="1"/>
          </p:cNvSpPr>
          <p:nvPr/>
        </p:nvSpPr>
        <p:spPr bwMode="auto">
          <a:xfrm>
            <a:off x="6472038" y="3773074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고대상분류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고파일작성</a:t>
            </a:r>
          </a:p>
        </p:txBody>
      </p:sp>
      <p:sp>
        <p:nvSpPr>
          <p:cNvPr id="41" name="Rectangle 104"/>
          <p:cNvSpPr>
            <a:spLocks noChangeArrowheads="1"/>
          </p:cNvSpPr>
          <p:nvPr/>
        </p:nvSpPr>
        <p:spPr bwMode="auto">
          <a:xfrm>
            <a:off x="6472038" y="4077139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금영수증 내역조회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</a:p>
        </p:txBody>
      </p:sp>
      <p:sp>
        <p:nvSpPr>
          <p:cNvPr id="42" name="Rectangle 24"/>
          <p:cNvSpPr>
            <a:spLocks noChangeArrowheads="1"/>
          </p:cNvSpPr>
          <p:nvPr/>
        </p:nvSpPr>
        <p:spPr bwMode="auto">
          <a:xfrm>
            <a:off x="6315749" y="3487768"/>
            <a:ext cx="1965165" cy="216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rIns="0" anchor="ctr"/>
          <a:lstStyle/>
          <a:p>
            <a:pPr algn="ctr" defTabSz="762000" eaLnBrk="0" fontAlgn="auto" latinLnBrk="0" hangingPunct="0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부가세 신고 및 현금영수증</a:t>
            </a:r>
            <a:endParaRPr lang="en-US" altLang="ko-KR" sz="12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24"/>
          <p:cNvSpPr>
            <a:spLocks noChangeArrowheads="1"/>
          </p:cNvSpPr>
          <p:nvPr/>
        </p:nvSpPr>
        <p:spPr bwMode="auto">
          <a:xfrm>
            <a:off x="6315749" y="4381204"/>
            <a:ext cx="1965165" cy="216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rIns="0" anchor="ctr"/>
          <a:lstStyle/>
          <a:p>
            <a:pPr algn="ctr" defTabSz="762000" eaLnBrk="0" fontAlgn="auto" latinLnBrk="0" hangingPunct="0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법인 맞춤형 메뉴</a:t>
            </a:r>
            <a:endParaRPr lang="en-US" altLang="ko-KR" sz="12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Rectangle 104"/>
          <p:cNvSpPr>
            <a:spLocks noChangeArrowheads="1"/>
          </p:cNvSpPr>
          <p:nvPr/>
        </p:nvSpPr>
        <p:spPr bwMode="auto">
          <a:xfrm>
            <a:off x="6472038" y="4666507"/>
            <a:ext cx="1652587" cy="234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latinLnBrk="0">
              <a:lnSpc>
                <a:spcPct val="90000"/>
              </a:lnSpc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지원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무상담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/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료실</a:t>
            </a:r>
          </a:p>
        </p:txBody>
      </p:sp>
      <p:sp>
        <p:nvSpPr>
          <p:cNvPr id="45" name="Rectangle 24"/>
          <p:cNvSpPr>
            <a:spLocks noChangeArrowheads="1"/>
          </p:cNvSpPr>
          <p:nvPr/>
        </p:nvSpPr>
        <p:spPr bwMode="auto">
          <a:xfrm>
            <a:off x="6315749" y="2290267"/>
            <a:ext cx="1965165" cy="216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rIns="0" anchor="ctr"/>
          <a:lstStyle/>
          <a:p>
            <a:pPr algn="ctr" defTabSz="762000" eaLnBrk="0" fontAlgn="auto" latinLnBrk="0" hangingPunct="0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r>
              <a:rPr lang="en-US" altLang="ko-KR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입 및 카드관리</a:t>
            </a:r>
            <a:endParaRPr lang="en-US" altLang="ko-KR" sz="12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직선 화살표 연결선 45"/>
          <p:cNvCxnSpPr/>
          <p:nvPr/>
        </p:nvCxnSpPr>
        <p:spPr bwMode="auto">
          <a:xfrm>
            <a:off x="5816949" y="3571640"/>
            <a:ext cx="39600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7" name="직선 화살표 연결선 46"/>
          <p:cNvCxnSpPr/>
          <p:nvPr/>
        </p:nvCxnSpPr>
        <p:spPr bwMode="auto">
          <a:xfrm>
            <a:off x="5816949" y="4287035"/>
            <a:ext cx="39600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48" name="Text Box 7"/>
          <p:cNvSpPr txBox="1">
            <a:spLocks noChangeArrowheads="1"/>
          </p:cNvSpPr>
          <p:nvPr/>
        </p:nvSpPr>
        <p:spPr bwMode="auto">
          <a:xfrm>
            <a:off x="5199466" y="5361100"/>
            <a:ext cx="4155267" cy="80021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법인 맞춤형 정보 제공을 통해 법인 고객 만족도 제고 및 매출 증대</a:t>
            </a:r>
            <a:endParaRPr kumimoji="1" lang="en-US" altLang="ko-KR" sz="1300" i="1" dirty="0">
              <a:solidFill>
                <a:srgbClr val="002060"/>
              </a:solidFill>
              <a:latin typeface="맑은 고딕"/>
              <a:ea typeface="맑은 고딕"/>
            </a:endParaRPr>
          </a:p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300" i="1" dirty="0">
                <a:solidFill>
                  <a:srgbClr val="002060"/>
                </a:solidFill>
                <a:latin typeface="맑은 고딕"/>
                <a:ea typeface="맑은 고딕"/>
              </a:rPr>
              <a:t>표준화된 시스템 기능 구축으로 신규 법인 고객 추가 시 신속한 대응 가능</a:t>
            </a:r>
            <a:endParaRPr kumimoji="1" lang="en-US" altLang="ko-KR" sz="1300" i="1" dirty="0">
              <a:solidFill>
                <a:srgbClr val="002060"/>
              </a:solidFill>
              <a:latin typeface="맑은 고딕"/>
              <a:ea typeface="맑은 고딕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8499975" y="2205426"/>
            <a:ext cx="816658" cy="294625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AutoShape 26"/>
          <p:cNvSpPr>
            <a:spLocks noChangeArrowheads="1"/>
          </p:cNvSpPr>
          <p:nvPr/>
        </p:nvSpPr>
        <p:spPr bwMode="gray">
          <a:xfrm>
            <a:off x="8595165" y="2451937"/>
            <a:ext cx="569253" cy="450460"/>
          </a:xfrm>
          <a:prstGeom prst="can">
            <a:avLst>
              <a:gd name="adj" fmla="val 25000"/>
            </a:avLst>
          </a:prstGeom>
          <a:gradFill rotWithShape="1">
            <a:gsLst>
              <a:gs pos="0">
                <a:schemeClr val="bg1">
                  <a:lumMod val="65000"/>
                </a:schemeClr>
              </a:gs>
              <a:gs pos="50000">
                <a:schemeClr val="bg1"/>
              </a:gs>
              <a:gs pos="100000">
                <a:schemeClr val="bg1">
                  <a:lumMod val="65000"/>
                </a:schemeClr>
              </a:gs>
            </a:gsLst>
            <a:lin ang="0" scaled="1"/>
          </a:gradFill>
          <a:ln w="6350" cap="rnd">
            <a:noFill/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 eaLnBrk="0" latinLnBrk="0" hangingPunct="0">
              <a:spcBef>
                <a:spcPct val="0"/>
              </a:spcBef>
              <a:buSzPct val="120000"/>
              <a:buFont typeface="Webdings" pitchFamily="18" charset="2"/>
              <a:buNone/>
            </a:pP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W</a:t>
            </a:r>
            <a:endParaRPr kumimoji="0" lang="ko-KR" altLang="en-US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1" name="Picture 2" descr="http://www.targit.com/~/media/images/targit/bia/a2-modul_510_337_cube.ashx?h=337&amp;w=510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8524202" y="3089953"/>
            <a:ext cx="711178" cy="469935"/>
          </a:xfrm>
          <a:prstGeom prst="rect">
            <a:avLst/>
          </a:prstGeom>
          <a:noFill/>
        </p:spPr>
      </p:pic>
      <p:sp>
        <p:nvSpPr>
          <p:cNvPr id="52" name="Freeform 24"/>
          <p:cNvSpPr>
            <a:spLocks/>
          </p:cNvSpPr>
          <p:nvPr/>
        </p:nvSpPr>
        <p:spPr bwMode="gray">
          <a:xfrm>
            <a:off x="8698367" y="3831455"/>
            <a:ext cx="121741" cy="237796"/>
          </a:xfrm>
          <a:custGeom>
            <a:avLst/>
            <a:gdLst>
              <a:gd name="T0" fmla="*/ 1 w 1243"/>
              <a:gd name="T1" fmla="*/ 1 h 2026"/>
              <a:gd name="T2" fmla="*/ 1 w 1243"/>
              <a:gd name="T3" fmla="*/ 2 h 2026"/>
              <a:gd name="T4" fmla="*/ 0 w 1243"/>
              <a:gd name="T5" fmla="*/ 1 h 2026"/>
              <a:gd name="T6" fmla="*/ 0 w 1243"/>
              <a:gd name="T7" fmla="*/ 0 h 2026"/>
              <a:gd name="T8" fmla="*/ 1 w 1243"/>
              <a:gd name="T9" fmla="*/ 1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1242" y="729"/>
                </a:moveTo>
                <a:lnTo>
                  <a:pt x="1242" y="2025"/>
                </a:lnTo>
                <a:lnTo>
                  <a:pt x="0" y="1143"/>
                </a:lnTo>
                <a:lnTo>
                  <a:pt x="0" y="0"/>
                </a:lnTo>
                <a:lnTo>
                  <a:pt x="1242" y="729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Freeform 25"/>
          <p:cNvSpPr>
            <a:spLocks/>
          </p:cNvSpPr>
          <p:nvPr/>
        </p:nvSpPr>
        <p:spPr bwMode="gray">
          <a:xfrm>
            <a:off x="8820108" y="3831455"/>
            <a:ext cx="121357" cy="237796"/>
          </a:xfrm>
          <a:custGeom>
            <a:avLst/>
            <a:gdLst>
              <a:gd name="T0" fmla="*/ 0 w 1243"/>
              <a:gd name="T1" fmla="*/ 2 h 2026"/>
              <a:gd name="T2" fmla="*/ 1 w 1243"/>
              <a:gd name="T3" fmla="*/ 1 h 2026"/>
              <a:gd name="T4" fmla="*/ 1 w 1243"/>
              <a:gd name="T5" fmla="*/ 0 h 2026"/>
              <a:gd name="T6" fmla="*/ 0 w 1243"/>
              <a:gd name="T7" fmla="*/ 1 h 2026"/>
              <a:gd name="T8" fmla="*/ 0 w 1243"/>
              <a:gd name="T9" fmla="*/ 2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0" y="2025"/>
                </a:moveTo>
                <a:lnTo>
                  <a:pt x="1242" y="1233"/>
                </a:lnTo>
                <a:lnTo>
                  <a:pt x="1242" y="0"/>
                </a:lnTo>
                <a:lnTo>
                  <a:pt x="0" y="729"/>
                </a:lnTo>
                <a:lnTo>
                  <a:pt x="0" y="2025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AutoShape 30"/>
          <p:cNvSpPr>
            <a:spLocks noChangeArrowheads="1"/>
          </p:cNvSpPr>
          <p:nvPr/>
        </p:nvSpPr>
        <p:spPr bwMode="gray">
          <a:xfrm>
            <a:off x="8697983" y="3747443"/>
            <a:ext cx="243866" cy="168973"/>
          </a:xfrm>
          <a:prstGeom prst="diamond">
            <a:avLst/>
          </a:prstGeom>
          <a:solidFill>
            <a:srgbClr val="92D050"/>
          </a:solidFill>
          <a:ln w="127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Freeform 24"/>
          <p:cNvSpPr>
            <a:spLocks/>
          </p:cNvSpPr>
          <p:nvPr/>
        </p:nvSpPr>
        <p:spPr bwMode="gray">
          <a:xfrm>
            <a:off x="8903775" y="3962105"/>
            <a:ext cx="121741" cy="237796"/>
          </a:xfrm>
          <a:custGeom>
            <a:avLst/>
            <a:gdLst>
              <a:gd name="T0" fmla="*/ 1 w 1243"/>
              <a:gd name="T1" fmla="*/ 1 h 2026"/>
              <a:gd name="T2" fmla="*/ 1 w 1243"/>
              <a:gd name="T3" fmla="*/ 2 h 2026"/>
              <a:gd name="T4" fmla="*/ 0 w 1243"/>
              <a:gd name="T5" fmla="*/ 1 h 2026"/>
              <a:gd name="T6" fmla="*/ 0 w 1243"/>
              <a:gd name="T7" fmla="*/ 0 h 2026"/>
              <a:gd name="T8" fmla="*/ 1 w 1243"/>
              <a:gd name="T9" fmla="*/ 1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1242" y="729"/>
                </a:moveTo>
                <a:lnTo>
                  <a:pt x="1242" y="2025"/>
                </a:lnTo>
                <a:lnTo>
                  <a:pt x="0" y="1143"/>
                </a:lnTo>
                <a:lnTo>
                  <a:pt x="0" y="0"/>
                </a:lnTo>
                <a:lnTo>
                  <a:pt x="1242" y="729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Freeform 25"/>
          <p:cNvSpPr>
            <a:spLocks/>
          </p:cNvSpPr>
          <p:nvPr/>
        </p:nvSpPr>
        <p:spPr bwMode="gray">
          <a:xfrm>
            <a:off x="9025516" y="3962105"/>
            <a:ext cx="121357" cy="237796"/>
          </a:xfrm>
          <a:custGeom>
            <a:avLst/>
            <a:gdLst>
              <a:gd name="T0" fmla="*/ 0 w 1243"/>
              <a:gd name="T1" fmla="*/ 2 h 2026"/>
              <a:gd name="T2" fmla="*/ 1 w 1243"/>
              <a:gd name="T3" fmla="*/ 1 h 2026"/>
              <a:gd name="T4" fmla="*/ 1 w 1243"/>
              <a:gd name="T5" fmla="*/ 0 h 2026"/>
              <a:gd name="T6" fmla="*/ 0 w 1243"/>
              <a:gd name="T7" fmla="*/ 1 h 2026"/>
              <a:gd name="T8" fmla="*/ 0 w 1243"/>
              <a:gd name="T9" fmla="*/ 2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0" y="2025"/>
                </a:moveTo>
                <a:lnTo>
                  <a:pt x="1242" y="1233"/>
                </a:lnTo>
                <a:lnTo>
                  <a:pt x="1242" y="0"/>
                </a:lnTo>
                <a:lnTo>
                  <a:pt x="0" y="729"/>
                </a:lnTo>
                <a:lnTo>
                  <a:pt x="0" y="2025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AutoShape 30"/>
          <p:cNvSpPr>
            <a:spLocks noChangeArrowheads="1"/>
          </p:cNvSpPr>
          <p:nvPr/>
        </p:nvSpPr>
        <p:spPr bwMode="gray">
          <a:xfrm>
            <a:off x="8903391" y="3878093"/>
            <a:ext cx="243866" cy="168973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Freeform 24"/>
          <p:cNvSpPr>
            <a:spLocks/>
          </p:cNvSpPr>
          <p:nvPr/>
        </p:nvSpPr>
        <p:spPr bwMode="gray">
          <a:xfrm>
            <a:off x="8612709" y="3985353"/>
            <a:ext cx="121741" cy="237796"/>
          </a:xfrm>
          <a:custGeom>
            <a:avLst/>
            <a:gdLst>
              <a:gd name="T0" fmla="*/ 1 w 1243"/>
              <a:gd name="T1" fmla="*/ 1 h 2026"/>
              <a:gd name="T2" fmla="*/ 1 w 1243"/>
              <a:gd name="T3" fmla="*/ 2 h 2026"/>
              <a:gd name="T4" fmla="*/ 0 w 1243"/>
              <a:gd name="T5" fmla="*/ 1 h 2026"/>
              <a:gd name="T6" fmla="*/ 0 w 1243"/>
              <a:gd name="T7" fmla="*/ 0 h 2026"/>
              <a:gd name="T8" fmla="*/ 1 w 1243"/>
              <a:gd name="T9" fmla="*/ 1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1242" y="729"/>
                </a:moveTo>
                <a:lnTo>
                  <a:pt x="1242" y="2025"/>
                </a:lnTo>
                <a:lnTo>
                  <a:pt x="0" y="1143"/>
                </a:lnTo>
                <a:lnTo>
                  <a:pt x="0" y="0"/>
                </a:lnTo>
                <a:lnTo>
                  <a:pt x="1242" y="729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Freeform 25"/>
          <p:cNvSpPr>
            <a:spLocks/>
          </p:cNvSpPr>
          <p:nvPr/>
        </p:nvSpPr>
        <p:spPr bwMode="gray">
          <a:xfrm>
            <a:off x="8734450" y="3985353"/>
            <a:ext cx="121357" cy="237796"/>
          </a:xfrm>
          <a:custGeom>
            <a:avLst/>
            <a:gdLst>
              <a:gd name="T0" fmla="*/ 0 w 1243"/>
              <a:gd name="T1" fmla="*/ 2 h 2026"/>
              <a:gd name="T2" fmla="*/ 1 w 1243"/>
              <a:gd name="T3" fmla="*/ 1 h 2026"/>
              <a:gd name="T4" fmla="*/ 1 w 1243"/>
              <a:gd name="T5" fmla="*/ 0 h 2026"/>
              <a:gd name="T6" fmla="*/ 0 w 1243"/>
              <a:gd name="T7" fmla="*/ 1 h 2026"/>
              <a:gd name="T8" fmla="*/ 0 w 1243"/>
              <a:gd name="T9" fmla="*/ 2 h 20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2026"/>
              <a:gd name="T17" fmla="*/ 1243 w 1243"/>
              <a:gd name="T18" fmla="*/ 2026 h 20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2026">
                <a:moveTo>
                  <a:pt x="0" y="2025"/>
                </a:moveTo>
                <a:lnTo>
                  <a:pt x="1242" y="1233"/>
                </a:lnTo>
                <a:lnTo>
                  <a:pt x="1242" y="0"/>
                </a:lnTo>
                <a:lnTo>
                  <a:pt x="0" y="729"/>
                </a:lnTo>
                <a:lnTo>
                  <a:pt x="0" y="2025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rnd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AutoShape 30"/>
          <p:cNvSpPr>
            <a:spLocks noChangeArrowheads="1"/>
          </p:cNvSpPr>
          <p:nvPr/>
        </p:nvSpPr>
        <p:spPr bwMode="gray">
          <a:xfrm>
            <a:off x="8612325" y="3901341"/>
            <a:ext cx="243866" cy="168973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30000"/>
              </a:lnSpc>
              <a:spcBef>
                <a:spcPct val="50000"/>
              </a:spcBef>
              <a:buFont typeface="Wingdings" pitchFamily="2" charset="2"/>
              <a:buNone/>
            </a:pPr>
            <a:endParaRPr lang="ko-KR" altLang="en-US" sz="2000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 bwMode="auto">
          <a:xfrm>
            <a:off x="8595164" y="4251499"/>
            <a:ext cx="569254" cy="6882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법인 맞춤형 데이터 추출</a:t>
            </a:r>
          </a:p>
        </p:txBody>
      </p:sp>
      <p:sp>
        <p:nvSpPr>
          <p:cNvPr id="62" name="왼쪽으로 구부러진 화살표 97"/>
          <p:cNvSpPr/>
          <p:nvPr/>
        </p:nvSpPr>
        <p:spPr bwMode="auto">
          <a:xfrm>
            <a:off x="9065438" y="2735189"/>
            <a:ext cx="189036" cy="473717"/>
          </a:xfrm>
          <a:prstGeom prst="curvedLeftArrow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왼쪽으로 구부러진 화살표 98"/>
          <p:cNvSpPr/>
          <p:nvPr/>
        </p:nvSpPr>
        <p:spPr bwMode="auto">
          <a:xfrm>
            <a:off x="9065438" y="3391347"/>
            <a:ext cx="189036" cy="473717"/>
          </a:xfrm>
          <a:prstGeom prst="curvedLeftArrow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4" name="직선 연결선 63"/>
          <p:cNvCxnSpPr/>
          <p:nvPr/>
        </p:nvCxnSpPr>
        <p:spPr bwMode="auto">
          <a:xfrm>
            <a:off x="4953000" y="2204864"/>
            <a:ext cx="0" cy="403242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65" name="Text Box 4"/>
          <p:cNvSpPr txBox="1">
            <a:spLocks noChangeArrowheads="1"/>
          </p:cNvSpPr>
          <p:nvPr/>
        </p:nvSpPr>
        <p:spPr bwMode="gray">
          <a:xfrm>
            <a:off x="349565" y="6199378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1) VOC (Voice of Customer)   2) DW (Data Warehouse)</a:t>
            </a:r>
          </a:p>
        </p:txBody>
      </p:sp>
      <p:grpSp>
        <p:nvGrpSpPr>
          <p:cNvPr id="6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8" name="TextBox 6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맹점 관리 시스템 및 법인 지원 시스템 구축 방향성</a:t>
              </a:r>
            </a:p>
          </p:txBody>
        </p:sp>
        <p:cxnSp>
          <p:nvCxnSpPr>
            <p:cNvPr id="6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3" name="그룹 9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2" name="그룹 10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192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영업 활동에 필요한 정보의 신속한 제공을 통해 고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eed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장 즉시 대응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공률 제고를 목표로 시스템을 구축함</a:t>
            </a:r>
          </a:p>
        </p:txBody>
      </p:sp>
      <p:grpSp>
        <p:nvGrpSpPr>
          <p:cNvPr id="6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8" name="TextBox 6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현장 완결형 모바일 영업지원 시스템 구축 사례 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S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2" name="Picture 28"/>
          <p:cNvPicPr>
            <a:picLocks noChangeAspect="1" noChangeArrowheads="1"/>
          </p:cNvPicPr>
          <p:nvPr/>
        </p:nvPicPr>
        <p:blipFill>
          <a:blip r:embed="rId2" cstate="print">
            <a:lum bright="30000"/>
            <a:grayscl/>
          </a:blip>
          <a:srcRect/>
          <a:stretch>
            <a:fillRect/>
          </a:stretch>
        </p:blipFill>
        <p:spPr bwMode="auto">
          <a:xfrm flipH="1">
            <a:off x="672613" y="3978303"/>
            <a:ext cx="421421" cy="3453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cxnSp>
        <p:nvCxnSpPr>
          <p:cNvPr id="83" name="꺾인 연결선 210"/>
          <p:cNvCxnSpPr>
            <a:stCxn id="85" idx="1"/>
            <a:endCxn id="105" idx="2"/>
          </p:cNvCxnSpPr>
          <p:nvPr/>
        </p:nvCxnSpPr>
        <p:spPr bwMode="auto">
          <a:xfrm rot="16200000" flipV="1">
            <a:off x="3169098" y="4575619"/>
            <a:ext cx="570324" cy="110391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4" name="직사각형 13"/>
          <p:cNvSpPr/>
          <p:nvPr/>
        </p:nvSpPr>
        <p:spPr bwMode="auto">
          <a:xfrm>
            <a:off x="5629422" y="5242269"/>
            <a:ext cx="3182064" cy="100346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사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수료 체계 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88900" indent="-8890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인 수수료 체계 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를 통한 즉시 반영 가능</a:t>
            </a:r>
            <a:endParaRPr lang="en-US" altLang="ko-KR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순서도: 자기 디스크 20"/>
          <p:cNvSpPr/>
          <p:nvPr/>
        </p:nvSpPr>
        <p:spPr bwMode="auto">
          <a:xfrm>
            <a:off x="3340877" y="5412739"/>
            <a:ext cx="1330681" cy="540000"/>
          </a:xfrm>
          <a:prstGeom prst="can">
            <a:avLst>
              <a:gd name="adj" fmla="val 17944"/>
            </a:avLst>
          </a:prstGeom>
          <a:solidFill>
            <a:srgbClr val="D6EBF6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영업활동 정보제공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6" name="꺾인 연결선 216"/>
          <p:cNvCxnSpPr>
            <a:stCxn id="84" idx="0"/>
            <a:endCxn id="104" idx="2"/>
          </p:cNvCxnSpPr>
          <p:nvPr/>
        </p:nvCxnSpPr>
        <p:spPr bwMode="auto">
          <a:xfrm rot="5400000" flipH="1" flipV="1">
            <a:off x="7005984" y="4300215"/>
            <a:ext cx="1156524" cy="72758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7" name="꺾인 연결선 219"/>
          <p:cNvCxnSpPr/>
          <p:nvPr/>
        </p:nvCxnSpPr>
        <p:spPr bwMode="auto">
          <a:xfrm rot="16200000" flipV="1">
            <a:off x="6559378" y="4579497"/>
            <a:ext cx="399854" cy="92569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88" name="Group 7"/>
          <p:cNvGrpSpPr/>
          <p:nvPr/>
        </p:nvGrpSpPr>
        <p:grpSpPr>
          <a:xfrm>
            <a:off x="523894" y="2795661"/>
            <a:ext cx="718857" cy="772661"/>
            <a:chOff x="565138" y="2876032"/>
            <a:chExt cx="447300" cy="1010155"/>
          </a:xfrm>
        </p:grpSpPr>
        <p:sp>
          <p:nvSpPr>
            <p:cNvPr id="130" name="TextBox 129"/>
            <p:cNvSpPr txBox="1"/>
            <p:nvPr/>
          </p:nvSpPr>
          <p:spPr>
            <a:xfrm>
              <a:off x="597603" y="3473977"/>
              <a:ext cx="382371" cy="41221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</a:t>
              </a:r>
              <a:r>
                <a:rPr lang="en-US" altLang="ko-KR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발굴</a:t>
              </a:r>
              <a:endPara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31" name="Group 3"/>
            <p:cNvGrpSpPr/>
            <p:nvPr/>
          </p:nvGrpSpPr>
          <p:grpSpPr>
            <a:xfrm>
              <a:off x="565138" y="2876032"/>
              <a:ext cx="447300" cy="573805"/>
              <a:chOff x="925003" y="2105980"/>
              <a:chExt cx="512677" cy="551240"/>
            </a:xfrm>
          </p:grpSpPr>
          <p:pic>
            <p:nvPicPr>
              <p:cNvPr id="132" name="Picture 28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30000"/>
                <a:grayscl/>
              </a:blip>
              <a:srcRect/>
              <a:stretch>
                <a:fillRect/>
              </a:stretch>
            </p:blipFill>
            <p:spPr bwMode="auto">
              <a:xfrm>
                <a:off x="956413" y="2105980"/>
                <a:ext cx="300551" cy="386562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</p:pic>
          <p:pic>
            <p:nvPicPr>
              <p:cNvPr id="133" name="Picture 28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30000"/>
                <a:grayscl/>
              </a:blip>
              <a:srcRect/>
              <a:stretch>
                <a:fillRect/>
              </a:stretch>
            </p:blipFill>
            <p:spPr bwMode="auto">
              <a:xfrm>
                <a:off x="1137129" y="2231958"/>
                <a:ext cx="300551" cy="386562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</p:pic>
          <p:pic>
            <p:nvPicPr>
              <p:cNvPr id="134" name="Picture 28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30000"/>
                <a:grayscl/>
              </a:blip>
              <a:srcRect/>
              <a:stretch>
                <a:fillRect/>
              </a:stretch>
            </p:blipFill>
            <p:spPr bwMode="auto">
              <a:xfrm>
                <a:off x="925003" y="2270658"/>
                <a:ext cx="300551" cy="386562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89" name="Pentagon 6"/>
          <p:cNvSpPr/>
          <p:nvPr/>
        </p:nvSpPr>
        <p:spPr bwMode="auto">
          <a:xfrm>
            <a:off x="1542693" y="1913389"/>
            <a:ext cx="2892785" cy="432000"/>
          </a:xfrm>
          <a:prstGeom prst="homePlate">
            <a:avLst>
              <a:gd name="adj" fmla="val 16841"/>
            </a:avLst>
          </a:prstGeom>
          <a:solidFill>
            <a:srgbClr val="1B3A8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장 완결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영업 활동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0" lang="ko-KR" altLang="en-US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바일 기반</a:t>
            </a:r>
            <a:r>
              <a:rPr kumimoji="0" lang="en-US" altLang="ko-KR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endParaRPr kumimoji="0" lang="ko-KR" altLang="en-US" sz="1200" b="1" i="0" u="none" strike="noStrike" cap="none" normalizeH="0" baseline="0" dirty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0" name="Pentagon 150"/>
          <p:cNvSpPr/>
          <p:nvPr/>
        </p:nvSpPr>
        <p:spPr bwMode="auto">
          <a:xfrm>
            <a:off x="4514662" y="1913389"/>
            <a:ext cx="2487795" cy="432000"/>
          </a:xfrm>
          <a:prstGeom prst="homePlate">
            <a:avLst>
              <a:gd name="adj" fmla="val 23519"/>
            </a:avLst>
          </a:prstGeom>
          <a:solidFill>
            <a:srgbClr val="1B3A8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오퍼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제공</a:t>
            </a:r>
            <a:endParaRPr kumimoji="0" lang="ko-KR" altLang="en-US" sz="1200" b="1" i="0" u="none" strike="noStrike" cap="none" normalizeH="0" baseline="0" dirty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1" name="Pentagon 152"/>
          <p:cNvSpPr/>
          <p:nvPr/>
        </p:nvSpPr>
        <p:spPr bwMode="auto">
          <a:xfrm>
            <a:off x="7081640" y="1913389"/>
            <a:ext cx="1446393" cy="432000"/>
          </a:xfrm>
          <a:prstGeom prst="homePlate">
            <a:avLst>
              <a:gd name="adj" fmla="val 16841"/>
            </a:avLst>
          </a:prstGeom>
          <a:solidFill>
            <a:srgbClr val="1B3A8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발급진행</a:t>
            </a:r>
          </a:p>
        </p:txBody>
      </p:sp>
      <p:sp>
        <p:nvSpPr>
          <p:cNvPr id="92" name="Rectangle 127"/>
          <p:cNvSpPr/>
          <p:nvPr/>
        </p:nvSpPr>
        <p:spPr>
          <a:xfrm>
            <a:off x="430983" y="5292942"/>
            <a:ext cx="2654199" cy="95279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Smart 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사 육성체계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>
              <a:lnSpc>
                <a:spcPct val="100000"/>
              </a:lnSpc>
            </a:pPr>
            <a:endParaRPr lang="en-US" altLang="ko-KR" sz="6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사이버를 통한 실시간 교육 강화</a:t>
            </a:r>
            <a:endParaRPr lang="en-US" altLang="ko-KR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3" name="직선 화살표 연결선 205"/>
          <p:cNvCxnSpPr/>
          <p:nvPr/>
        </p:nvCxnSpPr>
        <p:spPr bwMode="auto">
          <a:xfrm flipV="1">
            <a:off x="883323" y="4645481"/>
            <a:ext cx="0" cy="6564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4" name="Pentagon 152"/>
          <p:cNvSpPr/>
          <p:nvPr/>
        </p:nvSpPr>
        <p:spPr bwMode="auto">
          <a:xfrm>
            <a:off x="8643335" y="1913389"/>
            <a:ext cx="945164" cy="432000"/>
          </a:xfrm>
          <a:prstGeom prst="homePlate">
            <a:avLst>
              <a:gd name="adj" fmla="val 16841"/>
            </a:avLst>
          </a:prstGeom>
          <a:solidFill>
            <a:srgbClr val="1B3A8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수령</a:t>
            </a:r>
          </a:p>
        </p:txBody>
      </p:sp>
      <p:cxnSp>
        <p:nvCxnSpPr>
          <p:cNvPr id="95" name="직선 화살표 연결선 247"/>
          <p:cNvCxnSpPr/>
          <p:nvPr/>
        </p:nvCxnSpPr>
        <p:spPr bwMode="auto">
          <a:xfrm flipH="1" flipV="1">
            <a:off x="883323" y="3579629"/>
            <a:ext cx="0" cy="32600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6" name="TextBox 95"/>
          <p:cNvSpPr txBox="1"/>
          <p:nvPr/>
        </p:nvSpPr>
        <p:spPr>
          <a:xfrm>
            <a:off x="471278" y="4152879"/>
            <a:ext cx="824092" cy="46661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P</a:t>
            </a:r>
            <a:endParaRPr lang="ko-KR" altLang="en-US" sz="1100" dirty="0" err="1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74"/>
          <p:cNvSpPr/>
          <p:nvPr/>
        </p:nvSpPr>
        <p:spPr bwMode="auto">
          <a:xfrm flipV="1">
            <a:off x="4392201" y="2438098"/>
            <a:ext cx="4339178" cy="2404317"/>
          </a:xfrm>
          <a:prstGeom prst="corner">
            <a:avLst>
              <a:gd name="adj1" fmla="val 39835"/>
              <a:gd name="adj2" fmla="val 78103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직사각형 75"/>
          <p:cNvSpPr/>
          <p:nvPr/>
        </p:nvSpPr>
        <p:spPr bwMode="auto">
          <a:xfrm>
            <a:off x="4553645" y="2724962"/>
            <a:ext cx="752124" cy="5297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신규</a:t>
            </a:r>
            <a: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재유치</a:t>
            </a:r>
            <a: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</a:p>
        </p:txBody>
      </p:sp>
      <p:sp>
        <p:nvSpPr>
          <p:cNvPr id="128" name="직사각형 76"/>
          <p:cNvSpPr/>
          <p:nvPr/>
        </p:nvSpPr>
        <p:spPr bwMode="auto">
          <a:xfrm>
            <a:off x="4553645" y="3404297"/>
            <a:ext cx="752124" cy="5297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저신용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9" name="직사각형 77"/>
          <p:cNvSpPr/>
          <p:nvPr/>
        </p:nvSpPr>
        <p:spPr bwMode="auto">
          <a:xfrm>
            <a:off x="4553645" y="4083634"/>
            <a:ext cx="752124" cy="5297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직사각형 78"/>
          <p:cNvSpPr/>
          <p:nvPr/>
        </p:nvSpPr>
        <p:spPr bwMode="auto">
          <a:xfrm>
            <a:off x="5660587" y="2514283"/>
            <a:ext cx="1272825" cy="40751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tting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직사각형 79"/>
          <p:cNvSpPr/>
          <p:nvPr/>
        </p:nvSpPr>
        <p:spPr bwMode="auto">
          <a:xfrm>
            <a:off x="5660587" y="3052537"/>
            <a:ext cx="1272825" cy="40751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크카드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직사각형 80"/>
          <p:cNvSpPr/>
          <p:nvPr/>
        </p:nvSpPr>
        <p:spPr bwMode="auto">
          <a:xfrm>
            <a:off x="5660587" y="3590790"/>
            <a:ext cx="1272825" cy="40751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저 실적회원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igration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83"/>
          <p:cNvSpPr/>
          <p:nvPr/>
        </p:nvSpPr>
        <p:spPr bwMode="auto">
          <a:xfrm>
            <a:off x="5660587" y="4129045"/>
            <a:ext cx="1272825" cy="61126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 실적회원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리미엄카드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직사각형 84"/>
          <p:cNvSpPr/>
          <p:nvPr/>
        </p:nvSpPr>
        <p:spPr bwMode="auto">
          <a:xfrm>
            <a:off x="7282699" y="2794164"/>
            <a:ext cx="1330681" cy="5297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급 단계별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조회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직사각형 85"/>
          <p:cNvSpPr/>
          <p:nvPr/>
        </p:nvSpPr>
        <p:spPr bwMode="auto">
          <a:xfrm>
            <a:off x="7282699" y="3555980"/>
            <a:ext cx="1330681" cy="5297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상품</a:t>
            </a:r>
            <a: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체발급</a:t>
            </a:r>
            <a:endParaRPr kumimoji="0" lang="ko-KR" alt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직사각형 70"/>
          <p:cNvSpPr/>
          <p:nvPr/>
        </p:nvSpPr>
        <p:spPr bwMode="auto">
          <a:xfrm>
            <a:off x="1542693" y="2438098"/>
            <a:ext cx="2719218" cy="240431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0" bIns="144000" numCol="1" rtlCol="0" anchor="b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lang="en-US" altLang="ko-KR" sz="1100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100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장 신용조회</a:t>
            </a:r>
            <a:r>
              <a:rPr lang="en-US" altLang="ko-KR" sz="1100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00%)”</a:t>
            </a:r>
          </a:p>
          <a:p>
            <a:pPr marL="87313" indent="-87313">
              <a:lnSpc>
                <a:spcPct val="100000"/>
              </a:lnSpc>
              <a:buFontTx/>
              <a:buChar char="-"/>
            </a:pP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급가능여부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 정보</a:t>
            </a: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>
              <a:lnSpc>
                <a:spcPct val="100000"/>
              </a:lnSpc>
              <a:buFontTx/>
              <a:buChar char="-"/>
            </a:pP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상품</a:t>
            </a: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송일 안내</a:t>
            </a:r>
          </a:p>
        </p:txBody>
      </p:sp>
      <p:sp>
        <p:nvSpPr>
          <p:cNvPr id="106" name="순서도: 자기 디스크 71"/>
          <p:cNvSpPr/>
          <p:nvPr/>
        </p:nvSpPr>
        <p:spPr bwMode="auto">
          <a:xfrm>
            <a:off x="1918755" y="2596717"/>
            <a:ext cx="1967094" cy="570516"/>
          </a:xfrm>
          <a:prstGeom prst="can">
            <a:avLst>
              <a:gd name="adj" fmla="val 17944"/>
            </a:avLst>
          </a:prstGeom>
          <a:solidFill>
            <a:srgbClr val="D6EBF6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자격기준</a:t>
            </a:r>
            <a: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통합 조회</a:t>
            </a:r>
          </a:p>
        </p:txBody>
      </p:sp>
      <p:cxnSp>
        <p:nvCxnSpPr>
          <p:cNvPr id="107" name="꺾인 연결선 182"/>
          <p:cNvCxnSpPr>
            <a:stCxn id="105" idx="3"/>
            <a:endCxn id="127" idx="1"/>
          </p:cNvCxnSpPr>
          <p:nvPr/>
        </p:nvCxnSpPr>
        <p:spPr bwMode="auto">
          <a:xfrm flipV="1">
            <a:off x="4261911" y="2989846"/>
            <a:ext cx="291734" cy="65041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8" name="그림 15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927" t="1876" r="7927" b="27250"/>
          <a:stretch/>
        </p:blipFill>
        <p:spPr>
          <a:xfrm>
            <a:off x="2945777" y="3518047"/>
            <a:ext cx="1137663" cy="489014"/>
          </a:xfrm>
          <a:prstGeom prst="rect">
            <a:avLst/>
          </a:prstGeom>
        </p:spPr>
      </p:pic>
      <p:cxnSp>
        <p:nvCxnSpPr>
          <p:cNvPr id="109" name="꺾인 연결선 184"/>
          <p:cNvCxnSpPr>
            <a:stCxn id="105" idx="3"/>
            <a:endCxn id="129" idx="1"/>
          </p:cNvCxnSpPr>
          <p:nvPr/>
        </p:nvCxnSpPr>
        <p:spPr bwMode="auto">
          <a:xfrm>
            <a:off x="4261911" y="3640257"/>
            <a:ext cx="291734" cy="70826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0" name="꺾인 연결선 186"/>
          <p:cNvCxnSpPr>
            <a:stCxn id="105" idx="3"/>
            <a:endCxn id="128" idx="1"/>
          </p:cNvCxnSpPr>
          <p:nvPr/>
        </p:nvCxnSpPr>
        <p:spPr bwMode="auto">
          <a:xfrm>
            <a:off x="4261911" y="3640257"/>
            <a:ext cx="291734" cy="2892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1" name="꺾인 연결선 188"/>
          <p:cNvCxnSpPr>
            <a:stCxn id="129" idx="3"/>
            <a:endCxn id="101" idx="1"/>
          </p:cNvCxnSpPr>
          <p:nvPr/>
        </p:nvCxnSpPr>
        <p:spPr bwMode="auto">
          <a:xfrm flipV="1">
            <a:off x="5305769" y="3794546"/>
            <a:ext cx="354818" cy="55397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2" name="꺾인 연결선 190"/>
          <p:cNvCxnSpPr>
            <a:stCxn id="129" idx="3"/>
            <a:endCxn id="102" idx="1"/>
          </p:cNvCxnSpPr>
          <p:nvPr/>
        </p:nvCxnSpPr>
        <p:spPr bwMode="auto">
          <a:xfrm>
            <a:off x="5305769" y="4348517"/>
            <a:ext cx="354818" cy="8616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3" name="꺾인 연결선 192"/>
          <p:cNvCxnSpPr>
            <a:stCxn id="128" idx="3"/>
            <a:endCxn id="100" idx="1"/>
          </p:cNvCxnSpPr>
          <p:nvPr/>
        </p:nvCxnSpPr>
        <p:spPr bwMode="auto">
          <a:xfrm flipV="1">
            <a:off x="5305769" y="3256293"/>
            <a:ext cx="354818" cy="41288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4" name="꺾인 연결선 195"/>
          <p:cNvCxnSpPr>
            <a:stCxn id="127" idx="3"/>
            <a:endCxn id="99" idx="1"/>
          </p:cNvCxnSpPr>
          <p:nvPr/>
        </p:nvCxnSpPr>
        <p:spPr bwMode="auto">
          <a:xfrm flipV="1">
            <a:off x="5305769" y="2718039"/>
            <a:ext cx="354818" cy="271807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5" name="꺾인 연결선 197"/>
          <p:cNvCxnSpPr>
            <a:stCxn id="99" idx="3"/>
            <a:endCxn id="103" idx="1"/>
          </p:cNvCxnSpPr>
          <p:nvPr/>
        </p:nvCxnSpPr>
        <p:spPr bwMode="auto">
          <a:xfrm>
            <a:off x="6933413" y="2718039"/>
            <a:ext cx="349286" cy="34100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6" name="꺾인 연결선 199"/>
          <p:cNvCxnSpPr>
            <a:stCxn id="100" idx="3"/>
            <a:endCxn id="103" idx="1"/>
          </p:cNvCxnSpPr>
          <p:nvPr/>
        </p:nvCxnSpPr>
        <p:spPr bwMode="auto">
          <a:xfrm flipV="1">
            <a:off x="6933413" y="3059047"/>
            <a:ext cx="349286" cy="197246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7" name="꺾인 연결선 201"/>
          <p:cNvCxnSpPr>
            <a:stCxn id="103" idx="3"/>
            <a:endCxn id="120" idx="1"/>
          </p:cNvCxnSpPr>
          <p:nvPr/>
        </p:nvCxnSpPr>
        <p:spPr bwMode="auto">
          <a:xfrm>
            <a:off x="8613380" y="3059047"/>
            <a:ext cx="389415" cy="393466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18" name="그룹 23"/>
          <p:cNvGrpSpPr/>
          <p:nvPr/>
        </p:nvGrpSpPr>
        <p:grpSpPr>
          <a:xfrm rot="2651371">
            <a:off x="2700371" y="3119856"/>
            <a:ext cx="403863" cy="481589"/>
            <a:chOff x="-593873" y="1508843"/>
            <a:chExt cx="555606" cy="746709"/>
          </a:xfrm>
        </p:grpSpPr>
        <p:sp>
          <p:nvSpPr>
            <p:cNvPr id="125" name="아래로 구부러진 화살표 21"/>
            <p:cNvSpPr/>
            <p:nvPr/>
          </p:nvSpPr>
          <p:spPr bwMode="auto">
            <a:xfrm>
              <a:off x="-413858" y="1508843"/>
              <a:ext cx="375591" cy="458677"/>
            </a:xfrm>
            <a:prstGeom prst="curvedDownArrow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아래로 구부러진 화살표 55"/>
            <p:cNvSpPr/>
            <p:nvPr/>
          </p:nvSpPr>
          <p:spPr bwMode="auto">
            <a:xfrm flipH="1" flipV="1">
              <a:off x="-593873" y="1796876"/>
              <a:ext cx="375592" cy="458676"/>
            </a:xfrm>
            <a:prstGeom prst="curvedDownArrow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119" name="꺾인 연결선 201"/>
          <p:cNvCxnSpPr>
            <a:stCxn id="104" idx="3"/>
            <a:endCxn id="120" idx="1"/>
          </p:cNvCxnSpPr>
          <p:nvPr/>
        </p:nvCxnSpPr>
        <p:spPr bwMode="auto">
          <a:xfrm flipV="1">
            <a:off x="8613380" y="3452513"/>
            <a:ext cx="389415" cy="36835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20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2795" y="3248757"/>
            <a:ext cx="578557" cy="407511"/>
          </a:xfrm>
          <a:prstGeom prst="rect">
            <a:avLst/>
          </a:prstGeom>
        </p:spPr>
      </p:pic>
      <p:sp>
        <p:nvSpPr>
          <p:cNvPr id="121" name="TextBox 120"/>
          <p:cNvSpPr txBox="1"/>
          <p:nvPr/>
        </p:nvSpPr>
        <p:spPr>
          <a:xfrm>
            <a:off x="9031723" y="3604724"/>
            <a:ext cx="520701" cy="20375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</a:p>
        </p:txBody>
      </p:sp>
      <p:cxnSp>
        <p:nvCxnSpPr>
          <p:cNvPr id="122" name="꺾인 연결선 199"/>
          <p:cNvCxnSpPr>
            <a:stCxn id="102" idx="3"/>
            <a:endCxn id="104" idx="1"/>
          </p:cNvCxnSpPr>
          <p:nvPr/>
        </p:nvCxnSpPr>
        <p:spPr bwMode="auto">
          <a:xfrm flipV="1">
            <a:off x="6933413" y="3820862"/>
            <a:ext cx="349286" cy="61381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3" name="꺾인 연결선 199"/>
          <p:cNvCxnSpPr>
            <a:endCxn id="104" idx="1"/>
          </p:cNvCxnSpPr>
          <p:nvPr/>
        </p:nvCxnSpPr>
        <p:spPr bwMode="auto">
          <a:xfrm>
            <a:off x="6933413" y="3794546"/>
            <a:ext cx="349286" cy="2631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24" name="그림 12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3" r="16454"/>
          <a:stretch/>
        </p:blipFill>
        <p:spPr>
          <a:xfrm>
            <a:off x="1717959" y="3543064"/>
            <a:ext cx="984907" cy="507316"/>
          </a:xfrm>
          <a:prstGeom prst="rect">
            <a:avLst/>
          </a:prstGeom>
        </p:spPr>
      </p:pic>
      <p:grpSp>
        <p:nvGrpSpPr>
          <p:cNvPr id="75" name="그룹 7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2" name="그룹 15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5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8190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영업 </a:t>
            </a:r>
            <a:r>
              <a:rPr lang="ko-KR" altLang="en-US" dirty="0"/>
              <a:t>실적관리 체계 개선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전사 영업 목표 및 </a:t>
            </a:r>
            <a:r>
              <a:rPr lang="ko-KR" altLang="en-US" dirty="0" smtClean="0"/>
              <a:t>평가체계와 </a:t>
            </a:r>
            <a:r>
              <a:rPr lang="ko-KR" altLang="en-US" dirty="0"/>
              <a:t>연계된 영업 실적관리 </a:t>
            </a:r>
            <a:r>
              <a:rPr lang="ko-KR" altLang="en-US" dirty="0" smtClean="0"/>
              <a:t>체계를 구현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영업실적에 대한 가시성을 높이고</a:t>
            </a:r>
            <a:r>
              <a:rPr lang="en-US" altLang="ko-KR" dirty="0" smtClean="0"/>
              <a:t> </a:t>
            </a:r>
            <a:r>
              <a:rPr lang="ko-KR" altLang="en-US" dirty="0" smtClean="0"/>
              <a:t>중복</a:t>
            </a:r>
            <a:r>
              <a:rPr lang="en-US" altLang="ko-KR" dirty="0" smtClean="0"/>
              <a:t>/</a:t>
            </a:r>
            <a:r>
              <a:rPr lang="ko-KR" altLang="en-US" dirty="0" smtClean="0"/>
              <a:t>수작업 </a:t>
            </a:r>
            <a:r>
              <a:rPr lang="ko-KR" altLang="en-US" dirty="0"/>
              <a:t>업무를 최소화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 영업 실적 모니터링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적 기준 세분화에 따른 실적 추출 및 분석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 실적 공유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보고 체계 개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 실적관리 대상 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집인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NH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협은행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검토 및 정의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317232" y="5589240"/>
            <a:ext cx="4244280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영업 목표 변경 및 실적 모니터링 기준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적용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적 분석 관점 세분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보고서 템플릿 다양화 및 이력관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416496" y="5627219"/>
            <a:ext cx="4244280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목표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준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변경 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시스템 반영 리드타입 발생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적 산출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분석 기능 미비하여 담당자에 의한 수작업 처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정형화된 보고서 템플릿 관리 미흡으로 유사 중복 보고 반복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24079" y="3212976"/>
            <a:ext cx="4204426" cy="21478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사 목표</a:t>
            </a:r>
            <a:r>
              <a:rPr lang="en-US" altLang="ko-KR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평가체계 변화 미수용</a:t>
            </a:r>
            <a:r>
              <a:rPr lang="en-US" altLang="ko-KR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 관리 중복</a:t>
            </a:r>
            <a:r>
              <a:rPr lang="en-US" altLang="ko-KR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188524" y="4141492"/>
            <a:ext cx="790631" cy="653157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Ad-hoc </a:t>
            </a: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성</a:t>
            </a:r>
            <a: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반영으로</a:t>
            </a:r>
            <a: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실적 모니터링</a:t>
            </a:r>
            <a: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및 분석 간</a:t>
            </a:r>
            <a: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kumimoji="1" lang="en-US" altLang="ko-KR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연계성 저하</a:t>
            </a:r>
          </a:p>
        </p:txBody>
      </p:sp>
      <p:cxnSp>
        <p:nvCxnSpPr>
          <p:cNvPr id="59" name="직선 화살표 연결선 58"/>
          <p:cNvCxnSpPr>
            <a:stCxn id="57" idx="0"/>
            <a:endCxn id="56" idx="2"/>
          </p:cNvCxnSpPr>
          <p:nvPr/>
        </p:nvCxnSpPr>
        <p:spPr bwMode="auto">
          <a:xfrm flipH="1" flipV="1">
            <a:off x="1521862" y="4002202"/>
            <a:ext cx="61978" cy="13929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0" name="꺾인 연결선 59"/>
          <p:cNvCxnSpPr>
            <a:stCxn id="37" idx="0"/>
            <a:endCxn id="56" idx="1"/>
          </p:cNvCxnSpPr>
          <p:nvPr/>
        </p:nvCxnSpPr>
        <p:spPr bwMode="auto">
          <a:xfrm>
            <a:off x="829209" y="3607614"/>
            <a:ext cx="235359" cy="232440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61" name="꺾인 연결선 60"/>
          <p:cNvCxnSpPr>
            <a:stCxn id="166" idx="0"/>
            <a:endCxn id="56" idx="1"/>
          </p:cNvCxnSpPr>
          <p:nvPr/>
        </p:nvCxnSpPr>
        <p:spPr bwMode="auto">
          <a:xfrm flipV="1">
            <a:off x="829209" y="3840054"/>
            <a:ext cx="235359" cy="32105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62" name="꺾인 연결선 61"/>
          <p:cNvCxnSpPr>
            <a:stCxn id="167" idx="0"/>
            <a:endCxn id="56" idx="1"/>
          </p:cNvCxnSpPr>
          <p:nvPr/>
        </p:nvCxnSpPr>
        <p:spPr bwMode="auto">
          <a:xfrm flipV="1">
            <a:off x="829209" y="3840054"/>
            <a:ext cx="235359" cy="87454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63" name="직사각형 62"/>
          <p:cNvSpPr/>
          <p:nvPr/>
        </p:nvSpPr>
        <p:spPr bwMode="auto">
          <a:xfrm>
            <a:off x="2165872" y="3458469"/>
            <a:ext cx="2462631" cy="19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 모니터링 시스템</a:t>
            </a:r>
          </a:p>
        </p:txBody>
      </p:sp>
      <p:pic>
        <p:nvPicPr>
          <p:cNvPr id="64" name="Picture 99" descr="Picture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155" y="3420201"/>
            <a:ext cx="309549" cy="262640"/>
          </a:xfrm>
          <a:prstGeom prst="rect">
            <a:avLst/>
          </a:prstGeom>
          <a:noFill/>
        </p:spPr>
      </p:pic>
      <p:cxnSp>
        <p:nvCxnSpPr>
          <p:cNvPr id="68" name="직선 화살표 연결선 67"/>
          <p:cNvCxnSpPr>
            <a:stCxn id="56" idx="3"/>
            <a:endCxn id="65" idx="1"/>
          </p:cNvCxnSpPr>
          <p:nvPr/>
        </p:nvCxnSpPr>
        <p:spPr bwMode="auto">
          <a:xfrm>
            <a:off x="1979155" y="3840054"/>
            <a:ext cx="182706" cy="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9" name="직선 화살표 연결선 68"/>
          <p:cNvCxnSpPr>
            <a:stCxn id="65" idx="3"/>
            <a:endCxn id="66" idx="1"/>
          </p:cNvCxnSpPr>
          <p:nvPr/>
        </p:nvCxnSpPr>
        <p:spPr bwMode="auto">
          <a:xfrm flipV="1">
            <a:off x="2788015" y="3840054"/>
            <a:ext cx="182706" cy="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0" name="직선 화살표 연결선 69"/>
          <p:cNvCxnSpPr>
            <a:stCxn id="66" idx="3"/>
            <a:endCxn id="67" idx="1"/>
          </p:cNvCxnSpPr>
          <p:nvPr/>
        </p:nvCxnSpPr>
        <p:spPr bwMode="auto">
          <a:xfrm>
            <a:off x="3596875" y="3840054"/>
            <a:ext cx="18270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4" name="직선 화살표 연결선 73"/>
          <p:cNvCxnSpPr>
            <a:stCxn id="67" idx="2"/>
            <a:endCxn id="73" idx="0"/>
          </p:cNvCxnSpPr>
          <p:nvPr/>
        </p:nvCxnSpPr>
        <p:spPr bwMode="auto">
          <a:xfrm>
            <a:off x="4092657" y="4002202"/>
            <a:ext cx="0" cy="12298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5" name="직선 화살표 연결선 74"/>
          <p:cNvCxnSpPr>
            <a:stCxn id="73" idx="1"/>
            <a:endCxn id="72" idx="3"/>
          </p:cNvCxnSpPr>
          <p:nvPr/>
        </p:nvCxnSpPr>
        <p:spPr bwMode="auto">
          <a:xfrm flipH="1">
            <a:off x="3596875" y="4287332"/>
            <a:ext cx="18270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6" name="직선 화살표 연결선 75"/>
          <p:cNvCxnSpPr>
            <a:stCxn id="72" idx="1"/>
            <a:endCxn id="71" idx="3"/>
          </p:cNvCxnSpPr>
          <p:nvPr/>
        </p:nvCxnSpPr>
        <p:spPr bwMode="auto">
          <a:xfrm flipH="1">
            <a:off x="2788015" y="4287332"/>
            <a:ext cx="182706" cy="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7" name="순서도: 자기 디스크 76"/>
          <p:cNvSpPr/>
          <p:nvPr/>
        </p:nvSpPr>
        <p:spPr bwMode="auto">
          <a:xfrm>
            <a:off x="1979155" y="4633039"/>
            <a:ext cx="711036" cy="324905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2008164" y="4642917"/>
            <a:ext cx="653832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실적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 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DB</a:t>
            </a:r>
            <a:endParaRPr lang="ko-KR" altLang="en-US" sz="9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79" name="Picture 5" descr="Bule User sm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871789" y="4720967"/>
            <a:ext cx="355476" cy="26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" name="Picture 14" descr="Yellow User sm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92029" y="4720967"/>
            <a:ext cx="355476" cy="269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7" descr="Green User sm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78670" y="4720967"/>
            <a:ext cx="355476" cy="2694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" name="TextBox 81"/>
          <p:cNvSpPr txBox="1"/>
          <p:nvPr/>
        </p:nvSpPr>
        <p:spPr bwMode="auto">
          <a:xfrm>
            <a:off x="2700225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원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추진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3" name="TextBox 82"/>
          <p:cNvSpPr txBox="1"/>
          <p:nvPr/>
        </p:nvSpPr>
        <p:spPr bwMode="auto">
          <a:xfrm>
            <a:off x="3216576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영업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4" name="TextBox 83"/>
          <p:cNvSpPr txBox="1"/>
          <p:nvPr/>
        </p:nvSpPr>
        <p:spPr bwMode="auto">
          <a:xfrm>
            <a:off x="3728864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smtClean="0">
                <a:solidFill>
                  <a:srgbClr val="000000"/>
                </a:solidFill>
                <a:latin typeface="맑은 고딕"/>
                <a:ea typeface="맑은 고딕"/>
              </a:rPr>
              <a:t>가맹점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영업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85" name="그룹 84"/>
          <p:cNvGrpSpPr/>
          <p:nvPr/>
        </p:nvGrpSpPr>
        <p:grpSpPr>
          <a:xfrm>
            <a:off x="2942145" y="4531390"/>
            <a:ext cx="205200" cy="142654"/>
            <a:chOff x="2942145" y="4957017"/>
            <a:chExt cx="205200" cy="172611"/>
          </a:xfrm>
        </p:grpSpPr>
        <p:sp>
          <p:nvSpPr>
            <p:cNvPr id="106" name="아래로 구부러진 화살표 105"/>
            <p:cNvSpPr/>
            <p:nvPr/>
          </p:nvSpPr>
          <p:spPr bwMode="auto">
            <a:xfrm>
              <a:off x="2942146" y="4957017"/>
              <a:ext cx="203873" cy="73501"/>
            </a:xfrm>
            <a:prstGeom prst="curved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위로 구부러진 화살표 106"/>
            <p:cNvSpPr/>
            <p:nvPr/>
          </p:nvSpPr>
          <p:spPr bwMode="auto">
            <a:xfrm>
              <a:off x="2942145" y="5071711"/>
              <a:ext cx="205200" cy="57917"/>
            </a:xfrm>
            <a:prstGeom prst="curvedUp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6" name="그룹 85"/>
          <p:cNvGrpSpPr/>
          <p:nvPr/>
        </p:nvGrpSpPr>
        <p:grpSpPr>
          <a:xfrm>
            <a:off x="3429645" y="4531390"/>
            <a:ext cx="205200" cy="142654"/>
            <a:chOff x="2942145" y="4957017"/>
            <a:chExt cx="205200" cy="172611"/>
          </a:xfrm>
        </p:grpSpPr>
        <p:sp>
          <p:nvSpPr>
            <p:cNvPr id="104" name="아래로 구부러진 화살표 103"/>
            <p:cNvSpPr/>
            <p:nvPr/>
          </p:nvSpPr>
          <p:spPr bwMode="auto">
            <a:xfrm>
              <a:off x="2942146" y="4957017"/>
              <a:ext cx="203873" cy="73501"/>
            </a:xfrm>
            <a:prstGeom prst="curved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위로 구부러진 화살표 104"/>
            <p:cNvSpPr/>
            <p:nvPr/>
          </p:nvSpPr>
          <p:spPr bwMode="auto">
            <a:xfrm>
              <a:off x="2942145" y="5071711"/>
              <a:ext cx="205200" cy="57917"/>
            </a:xfrm>
            <a:prstGeom prst="curvedUp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7" name="그룹 86"/>
          <p:cNvGrpSpPr/>
          <p:nvPr/>
        </p:nvGrpSpPr>
        <p:grpSpPr>
          <a:xfrm>
            <a:off x="3967167" y="4531390"/>
            <a:ext cx="205200" cy="142654"/>
            <a:chOff x="2942145" y="4957017"/>
            <a:chExt cx="205200" cy="172611"/>
          </a:xfrm>
        </p:grpSpPr>
        <p:sp>
          <p:nvSpPr>
            <p:cNvPr id="102" name="아래로 구부러진 화살표 101"/>
            <p:cNvSpPr/>
            <p:nvPr/>
          </p:nvSpPr>
          <p:spPr bwMode="auto">
            <a:xfrm>
              <a:off x="2942146" y="4957017"/>
              <a:ext cx="203873" cy="73501"/>
            </a:xfrm>
            <a:prstGeom prst="curved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위로 구부러진 화살표 102"/>
            <p:cNvSpPr/>
            <p:nvPr/>
          </p:nvSpPr>
          <p:spPr bwMode="auto">
            <a:xfrm>
              <a:off x="2942145" y="5071711"/>
              <a:ext cx="205200" cy="57917"/>
            </a:xfrm>
            <a:prstGeom prst="curvedUp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8" name="직선 연결선 87"/>
          <p:cNvCxnSpPr>
            <a:stCxn id="106" idx="0"/>
            <a:endCxn id="107" idx="3"/>
          </p:cNvCxnSpPr>
          <p:nvPr/>
        </p:nvCxnSpPr>
        <p:spPr bwMode="auto">
          <a:xfrm>
            <a:off x="3039489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9" name="직선 연결선 88"/>
          <p:cNvCxnSpPr/>
          <p:nvPr/>
        </p:nvCxnSpPr>
        <p:spPr bwMode="auto">
          <a:xfrm>
            <a:off x="3528137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90" name="직선 연결선 89"/>
          <p:cNvCxnSpPr/>
          <p:nvPr/>
        </p:nvCxnSpPr>
        <p:spPr bwMode="auto">
          <a:xfrm>
            <a:off x="4055780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grpSp>
        <p:nvGrpSpPr>
          <p:cNvPr id="91" name="그룹 90"/>
          <p:cNvGrpSpPr/>
          <p:nvPr/>
        </p:nvGrpSpPr>
        <p:grpSpPr>
          <a:xfrm>
            <a:off x="4402687" y="4531390"/>
            <a:ext cx="205200" cy="142654"/>
            <a:chOff x="2942145" y="4957017"/>
            <a:chExt cx="205200" cy="172611"/>
          </a:xfrm>
        </p:grpSpPr>
        <p:sp>
          <p:nvSpPr>
            <p:cNvPr id="100" name="아래로 구부러진 화살표 99"/>
            <p:cNvSpPr/>
            <p:nvPr/>
          </p:nvSpPr>
          <p:spPr bwMode="auto">
            <a:xfrm>
              <a:off x="2942146" y="4957017"/>
              <a:ext cx="203873" cy="73501"/>
            </a:xfrm>
            <a:prstGeom prst="curved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위로 구부러진 화살표 100"/>
            <p:cNvSpPr/>
            <p:nvPr/>
          </p:nvSpPr>
          <p:spPr bwMode="auto">
            <a:xfrm>
              <a:off x="2942145" y="5071711"/>
              <a:ext cx="205200" cy="57917"/>
            </a:xfrm>
            <a:prstGeom prst="curvedUp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92" name="직선 연결선 91"/>
          <p:cNvCxnSpPr/>
          <p:nvPr/>
        </p:nvCxnSpPr>
        <p:spPr bwMode="auto">
          <a:xfrm>
            <a:off x="4491300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93" name="TextBox 92"/>
          <p:cNvSpPr txBox="1"/>
          <p:nvPr/>
        </p:nvSpPr>
        <p:spPr bwMode="auto">
          <a:xfrm>
            <a:off x="4174164" y="4729680"/>
            <a:ext cx="653832" cy="161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…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94" name="구부러진 연결선 93"/>
          <p:cNvCxnSpPr>
            <a:stCxn id="82" idx="2"/>
            <a:endCxn id="77" idx="3"/>
          </p:cNvCxnSpPr>
          <p:nvPr/>
        </p:nvCxnSpPr>
        <p:spPr bwMode="auto">
          <a:xfrm rot="5400000" flipH="1">
            <a:off x="2528911" y="4763706"/>
            <a:ext cx="303991" cy="692468"/>
          </a:xfrm>
          <a:prstGeom prst="curvedConnector3">
            <a:avLst>
              <a:gd name="adj1" fmla="val -62148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5" name="구부러진 연결선 94"/>
          <p:cNvCxnSpPr>
            <a:stCxn id="83" idx="2"/>
            <a:endCxn id="78" idx="2"/>
          </p:cNvCxnSpPr>
          <p:nvPr/>
        </p:nvCxnSpPr>
        <p:spPr bwMode="auto">
          <a:xfrm rot="5400000" flipH="1">
            <a:off x="2804627" y="4523072"/>
            <a:ext cx="269317" cy="1208412"/>
          </a:xfrm>
          <a:prstGeom prst="curvedConnector3">
            <a:avLst>
              <a:gd name="adj1" fmla="val -84881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6" name="구부러진 연결선 95"/>
          <p:cNvCxnSpPr>
            <a:stCxn id="84" idx="2"/>
            <a:endCxn id="78" idx="2"/>
          </p:cNvCxnSpPr>
          <p:nvPr/>
        </p:nvCxnSpPr>
        <p:spPr bwMode="auto">
          <a:xfrm rot="5400000" flipH="1">
            <a:off x="3060771" y="4266928"/>
            <a:ext cx="269317" cy="1720700"/>
          </a:xfrm>
          <a:prstGeom prst="curvedConnector3">
            <a:avLst>
              <a:gd name="adj1" fmla="val -84881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sp>
        <p:nvSpPr>
          <p:cNvPr id="97" name="곱셈 기호 96"/>
          <p:cNvSpPr/>
          <p:nvPr/>
        </p:nvSpPr>
        <p:spPr bwMode="auto">
          <a:xfrm>
            <a:off x="2266853" y="5053888"/>
            <a:ext cx="291651" cy="196036"/>
          </a:xfrm>
          <a:prstGeom prst="mathMultiply">
            <a:avLst/>
          </a:prstGeom>
          <a:solidFill>
            <a:schemeClr val="tx1"/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626359" y="5133224"/>
            <a:ext cx="1683553" cy="452973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kern="0" dirty="0" smtClean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전사 영업 실적 통합 관리체계 한계로 </a:t>
            </a:r>
            <a:r>
              <a:rPr kumimoji="1" lang="en-US" altLang="ko-KR" sz="800" kern="0" dirty="0" smtClean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1</a:t>
            </a:r>
            <a:r>
              <a:rPr kumimoji="1" lang="ko-KR" altLang="en-US" sz="800" kern="0" dirty="0" smtClean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회성 수작업 반복 및 부서 간 유사 보고서 중복 작업</a:t>
            </a:r>
            <a:endParaRPr kumimoji="1" lang="ko-KR" altLang="en-US" sz="800" kern="0" dirty="0">
              <a:solidFill>
                <a:schemeClr val="tx1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99" name="Oval 630"/>
          <p:cNvSpPr>
            <a:spLocks noChangeArrowheads="1"/>
          </p:cNvSpPr>
          <p:nvPr/>
        </p:nvSpPr>
        <p:spPr bwMode="auto">
          <a:xfrm>
            <a:off x="547623" y="5098298"/>
            <a:ext cx="169792" cy="162568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5357086" y="3212976"/>
            <a:ext cx="4204426" cy="21478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사 목표</a:t>
            </a:r>
            <a:r>
              <a:rPr lang="en-US" altLang="ko-KR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평가체계 변화 반영 및 실적 관리 효율화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121531" y="4141493"/>
            <a:ext cx="790631" cy="555330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비즈니스 </a:t>
            </a:r>
            <a:r>
              <a:rPr kumimoji="1" lang="ko-KR" altLang="en-US" sz="800" kern="0" dirty="0" err="1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니즈</a:t>
            </a: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 변화에 유연한 변경이 가능한 체계 구현</a:t>
            </a:r>
          </a:p>
        </p:txBody>
      </p:sp>
      <p:cxnSp>
        <p:nvCxnSpPr>
          <p:cNvPr id="120" name="직선 화살표 연결선 119"/>
          <p:cNvCxnSpPr>
            <a:stCxn id="118" idx="0"/>
            <a:endCxn id="152" idx="2"/>
          </p:cNvCxnSpPr>
          <p:nvPr/>
        </p:nvCxnSpPr>
        <p:spPr bwMode="auto">
          <a:xfrm flipH="1" flipV="1">
            <a:off x="6454869" y="4002202"/>
            <a:ext cx="0" cy="13929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1" name="꺾인 연결선 120"/>
          <p:cNvCxnSpPr>
            <a:stCxn id="168" idx="0"/>
            <a:endCxn id="152" idx="1"/>
          </p:cNvCxnSpPr>
          <p:nvPr/>
        </p:nvCxnSpPr>
        <p:spPr bwMode="auto">
          <a:xfrm>
            <a:off x="5731348" y="3607614"/>
            <a:ext cx="266227" cy="232440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22" name="꺾인 연결선 121"/>
          <p:cNvCxnSpPr>
            <a:stCxn id="169" idx="0"/>
            <a:endCxn id="152" idx="1"/>
          </p:cNvCxnSpPr>
          <p:nvPr/>
        </p:nvCxnSpPr>
        <p:spPr bwMode="auto">
          <a:xfrm flipV="1">
            <a:off x="5731348" y="3840054"/>
            <a:ext cx="266227" cy="32105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23" name="꺾인 연결선 122"/>
          <p:cNvCxnSpPr>
            <a:stCxn id="170" idx="0"/>
            <a:endCxn id="152" idx="1"/>
          </p:cNvCxnSpPr>
          <p:nvPr/>
        </p:nvCxnSpPr>
        <p:spPr bwMode="auto">
          <a:xfrm flipV="1">
            <a:off x="5731348" y="3840054"/>
            <a:ext cx="266227" cy="87454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24" name="직사각형 123"/>
          <p:cNvSpPr/>
          <p:nvPr/>
        </p:nvSpPr>
        <p:spPr bwMode="auto">
          <a:xfrm>
            <a:off x="7098879" y="3458469"/>
            <a:ext cx="2462631" cy="19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 모니터링 시스템</a:t>
            </a:r>
          </a:p>
        </p:txBody>
      </p:sp>
      <p:pic>
        <p:nvPicPr>
          <p:cNvPr id="125" name="Picture 99" descr="Picture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12162" y="3420201"/>
            <a:ext cx="309549" cy="262640"/>
          </a:xfrm>
          <a:prstGeom prst="rect">
            <a:avLst/>
          </a:prstGeom>
          <a:noFill/>
        </p:spPr>
      </p:pic>
      <p:sp>
        <p:nvSpPr>
          <p:cNvPr id="126" name="오각형 125"/>
          <p:cNvSpPr/>
          <p:nvPr/>
        </p:nvSpPr>
        <p:spPr bwMode="auto">
          <a:xfrm>
            <a:off x="7074874" y="3677905"/>
            <a:ext cx="642619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7" name="직선 화살표 연결선 126"/>
          <p:cNvCxnSpPr>
            <a:stCxn id="152" idx="3"/>
            <a:endCxn id="153" idx="1"/>
          </p:cNvCxnSpPr>
          <p:nvPr/>
        </p:nvCxnSpPr>
        <p:spPr bwMode="auto">
          <a:xfrm>
            <a:off x="6912162" y="3840054"/>
            <a:ext cx="182706" cy="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8" name="직선 화살표 연결선 127"/>
          <p:cNvCxnSpPr>
            <a:stCxn id="153" idx="3"/>
            <a:endCxn id="155" idx="1"/>
          </p:cNvCxnSpPr>
          <p:nvPr/>
        </p:nvCxnSpPr>
        <p:spPr bwMode="auto">
          <a:xfrm flipV="1">
            <a:off x="7721022" y="3840054"/>
            <a:ext cx="158891" cy="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9" name="직선 화살표 연결선 128"/>
          <p:cNvCxnSpPr>
            <a:stCxn id="155" idx="3"/>
            <a:endCxn id="157" idx="1"/>
          </p:cNvCxnSpPr>
          <p:nvPr/>
        </p:nvCxnSpPr>
        <p:spPr bwMode="auto">
          <a:xfrm>
            <a:off x="8506067" y="3840054"/>
            <a:ext cx="20175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0" name="직선 화살표 연결선 129"/>
          <p:cNvCxnSpPr>
            <a:stCxn id="157" idx="2"/>
            <a:endCxn id="159" idx="0"/>
          </p:cNvCxnSpPr>
          <p:nvPr/>
        </p:nvCxnSpPr>
        <p:spPr bwMode="auto">
          <a:xfrm>
            <a:off x="9063684" y="4002202"/>
            <a:ext cx="4763" cy="12262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1" name="직선 화살표 연결선 130"/>
          <p:cNvCxnSpPr>
            <a:stCxn id="159" idx="1"/>
            <a:endCxn id="160" idx="3"/>
          </p:cNvCxnSpPr>
          <p:nvPr/>
        </p:nvCxnSpPr>
        <p:spPr bwMode="auto">
          <a:xfrm flipH="1">
            <a:off x="8580747" y="4286971"/>
            <a:ext cx="13184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2" name="직선 화살표 연결선 131"/>
          <p:cNvCxnSpPr>
            <a:stCxn id="161" idx="1"/>
            <a:endCxn id="162" idx="3"/>
          </p:cNvCxnSpPr>
          <p:nvPr/>
        </p:nvCxnSpPr>
        <p:spPr bwMode="auto">
          <a:xfrm flipH="1">
            <a:off x="7717204" y="4287332"/>
            <a:ext cx="18652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3" name="순서도: 자기 디스크 132"/>
          <p:cNvSpPr/>
          <p:nvPr/>
        </p:nvSpPr>
        <p:spPr bwMode="auto">
          <a:xfrm>
            <a:off x="6912162" y="4633039"/>
            <a:ext cx="711036" cy="324905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TextBox 133"/>
          <p:cNvSpPr txBox="1"/>
          <p:nvPr/>
        </p:nvSpPr>
        <p:spPr bwMode="auto">
          <a:xfrm>
            <a:off x="6941171" y="4642917"/>
            <a:ext cx="653832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실적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 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DB</a:t>
            </a:r>
            <a:endParaRPr lang="ko-KR" altLang="en-US" sz="9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135" name="Picture 5" descr="Bule User sm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04796" y="4720967"/>
            <a:ext cx="355476" cy="26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14" descr="Yellow User sm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25036" y="4720967"/>
            <a:ext cx="355476" cy="269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7" descr="Green User sm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11677" y="4720967"/>
            <a:ext cx="355476" cy="2694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8" name="TextBox 137"/>
          <p:cNvSpPr txBox="1"/>
          <p:nvPr/>
        </p:nvSpPr>
        <p:spPr bwMode="auto">
          <a:xfrm>
            <a:off x="7633232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원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추진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39" name="TextBox 138"/>
          <p:cNvSpPr txBox="1"/>
          <p:nvPr/>
        </p:nvSpPr>
        <p:spPr bwMode="auto">
          <a:xfrm>
            <a:off x="8149583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영업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40" name="TextBox 139"/>
          <p:cNvSpPr txBox="1"/>
          <p:nvPr/>
        </p:nvSpPr>
        <p:spPr bwMode="auto">
          <a:xfrm>
            <a:off x="8661871" y="4998362"/>
            <a:ext cx="653832" cy="2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smtClean="0">
                <a:solidFill>
                  <a:srgbClr val="000000"/>
                </a:solidFill>
                <a:latin typeface="맑은 고딕"/>
                <a:ea typeface="맑은 고딕"/>
              </a:rPr>
              <a:t>가맹점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영업팀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141" name="직선 연결선 140"/>
          <p:cNvCxnSpPr/>
          <p:nvPr/>
        </p:nvCxnSpPr>
        <p:spPr bwMode="auto">
          <a:xfrm>
            <a:off x="7972496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42" name="직선 연결선 141"/>
          <p:cNvCxnSpPr/>
          <p:nvPr/>
        </p:nvCxnSpPr>
        <p:spPr bwMode="auto">
          <a:xfrm>
            <a:off x="8461144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43" name="직선 연결선 142"/>
          <p:cNvCxnSpPr/>
          <p:nvPr/>
        </p:nvCxnSpPr>
        <p:spPr bwMode="auto">
          <a:xfrm>
            <a:off x="8988787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44" name="직선 연결선 143"/>
          <p:cNvCxnSpPr/>
          <p:nvPr/>
        </p:nvCxnSpPr>
        <p:spPr bwMode="auto">
          <a:xfrm>
            <a:off x="9424307" y="4531390"/>
            <a:ext cx="1636" cy="1426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45" name="구부러진 연결선 144"/>
          <p:cNvCxnSpPr>
            <a:stCxn id="138" idx="2"/>
            <a:endCxn id="133" idx="3"/>
          </p:cNvCxnSpPr>
          <p:nvPr/>
        </p:nvCxnSpPr>
        <p:spPr bwMode="auto">
          <a:xfrm rot="5400000" flipH="1">
            <a:off x="7461918" y="4763706"/>
            <a:ext cx="303991" cy="692468"/>
          </a:xfrm>
          <a:prstGeom prst="curvedConnector3">
            <a:avLst>
              <a:gd name="adj1" fmla="val -62148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146" name="구부러진 연결선 145"/>
          <p:cNvCxnSpPr>
            <a:stCxn id="139" idx="2"/>
            <a:endCxn id="134" idx="2"/>
          </p:cNvCxnSpPr>
          <p:nvPr/>
        </p:nvCxnSpPr>
        <p:spPr bwMode="auto">
          <a:xfrm rot="5400000" flipH="1">
            <a:off x="7737634" y="4523072"/>
            <a:ext cx="269317" cy="1208412"/>
          </a:xfrm>
          <a:prstGeom prst="curvedConnector3">
            <a:avLst>
              <a:gd name="adj1" fmla="val -84881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147" name="구부러진 연결선 146"/>
          <p:cNvCxnSpPr>
            <a:stCxn id="140" idx="2"/>
            <a:endCxn id="134" idx="2"/>
          </p:cNvCxnSpPr>
          <p:nvPr/>
        </p:nvCxnSpPr>
        <p:spPr bwMode="auto">
          <a:xfrm rot="5400000" flipH="1">
            <a:off x="7993778" y="4266928"/>
            <a:ext cx="269317" cy="1720700"/>
          </a:xfrm>
          <a:prstGeom prst="curvedConnector3">
            <a:avLst>
              <a:gd name="adj1" fmla="val -84881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sp>
        <p:nvSpPr>
          <p:cNvPr id="149" name="Oval 630"/>
          <p:cNvSpPr>
            <a:spLocks noChangeArrowheads="1"/>
          </p:cNvSpPr>
          <p:nvPr/>
        </p:nvSpPr>
        <p:spPr bwMode="auto">
          <a:xfrm>
            <a:off x="5997575" y="5377680"/>
            <a:ext cx="225993" cy="162568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TextBox 149"/>
          <p:cNvSpPr txBox="1"/>
          <p:nvPr/>
        </p:nvSpPr>
        <p:spPr bwMode="auto">
          <a:xfrm>
            <a:off x="9110715" y="4729680"/>
            <a:ext cx="653832" cy="161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…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51" name="오각형 150"/>
          <p:cNvSpPr/>
          <p:nvPr/>
        </p:nvSpPr>
        <p:spPr bwMode="auto">
          <a:xfrm>
            <a:off x="5997575" y="3677905"/>
            <a:ext cx="914587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4" name="오각형 153"/>
          <p:cNvSpPr/>
          <p:nvPr/>
        </p:nvSpPr>
        <p:spPr bwMode="auto">
          <a:xfrm>
            <a:off x="7907547" y="3677905"/>
            <a:ext cx="598278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6" name="오각형 155"/>
          <p:cNvSpPr/>
          <p:nvPr/>
        </p:nvSpPr>
        <p:spPr bwMode="auto">
          <a:xfrm>
            <a:off x="8712345" y="3677905"/>
            <a:ext cx="713598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오각형 157"/>
          <p:cNvSpPr/>
          <p:nvPr/>
        </p:nvSpPr>
        <p:spPr bwMode="auto">
          <a:xfrm>
            <a:off x="8712345" y="4133114"/>
            <a:ext cx="713598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오각형 159"/>
          <p:cNvSpPr/>
          <p:nvPr/>
        </p:nvSpPr>
        <p:spPr bwMode="auto">
          <a:xfrm>
            <a:off x="7907546" y="4124822"/>
            <a:ext cx="673201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오각형 161"/>
          <p:cNvSpPr/>
          <p:nvPr/>
        </p:nvSpPr>
        <p:spPr bwMode="auto">
          <a:xfrm>
            <a:off x="6993472" y="4125183"/>
            <a:ext cx="723732" cy="324297"/>
          </a:xfrm>
          <a:prstGeom prst="homePlate">
            <a:avLst>
              <a:gd name="adj" fmla="val 20872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오각형 36"/>
          <p:cNvSpPr/>
          <p:nvPr/>
        </p:nvSpPr>
        <p:spPr bwMode="auto">
          <a:xfrm rot="5400000">
            <a:off x="371131" y="3458469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표</a:t>
            </a:r>
          </a:p>
        </p:txBody>
      </p:sp>
      <p:sp>
        <p:nvSpPr>
          <p:cNvPr id="166" name="오각형 165"/>
          <p:cNvSpPr/>
          <p:nvPr/>
        </p:nvSpPr>
        <p:spPr bwMode="auto">
          <a:xfrm rot="5400000">
            <a:off x="371131" y="4011961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표</a:t>
            </a:r>
          </a:p>
        </p:txBody>
      </p:sp>
      <p:sp>
        <p:nvSpPr>
          <p:cNvPr id="167" name="오각형 166"/>
          <p:cNvSpPr/>
          <p:nvPr/>
        </p:nvSpPr>
        <p:spPr bwMode="auto">
          <a:xfrm rot="5400000">
            <a:off x="371131" y="4565453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적평가</a:t>
            </a:r>
          </a:p>
        </p:txBody>
      </p:sp>
      <p:sp>
        <p:nvSpPr>
          <p:cNvPr id="168" name="오각형 167"/>
          <p:cNvSpPr/>
          <p:nvPr/>
        </p:nvSpPr>
        <p:spPr bwMode="auto">
          <a:xfrm rot="5400000">
            <a:off x="5273270" y="3458469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표</a:t>
            </a:r>
          </a:p>
        </p:txBody>
      </p:sp>
      <p:sp>
        <p:nvSpPr>
          <p:cNvPr id="169" name="오각형 168"/>
          <p:cNvSpPr/>
          <p:nvPr/>
        </p:nvSpPr>
        <p:spPr bwMode="auto">
          <a:xfrm rot="5400000">
            <a:off x="5273270" y="4011961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표</a:t>
            </a:r>
          </a:p>
        </p:txBody>
      </p:sp>
      <p:sp>
        <p:nvSpPr>
          <p:cNvPr id="170" name="오각형 169"/>
          <p:cNvSpPr/>
          <p:nvPr/>
        </p:nvSpPr>
        <p:spPr bwMode="auto">
          <a:xfrm rot="5400000">
            <a:off x="5273270" y="4565453"/>
            <a:ext cx="522778" cy="393378"/>
          </a:xfrm>
          <a:prstGeom prst="homePlate">
            <a:avLst>
              <a:gd name="adj" fmla="val 24172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적평가</a:t>
            </a:r>
          </a:p>
        </p:txBody>
      </p:sp>
      <p:sp>
        <p:nvSpPr>
          <p:cNvPr id="171" name="Oval 630"/>
          <p:cNvSpPr>
            <a:spLocks noChangeArrowheads="1"/>
          </p:cNvSpPr>
          <p:nvPr/>
        </p:nvSpPr>
        <p:spPr bwMode="auto">
          <a:xfrm>
            <a:off x="1107214" y="4118116"/>
            <a:ext cx="169792" cy="162568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2" name="Oval 630"/>
          <p:cNvSpPr>
            <a:spLocks noChangeArrowheads="1"/>
          </p:cNvSpPr>
          <p:nvPr/>
        </p:nvSpPr>
        <p:spPr bwMode="auto">
          <a:xfrm>
            <a:off x="5997575" y="4118116"/>
            <a:ext cx="169792" cy="162568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5463658" y="5133224"/>
            <a:ext cx="1683553" cy="452973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kern="0" dirty="0">
                <a:solidFill>
                  <a:schemeClr val="tx1"/>
                </a:solidFill>
                <a:latin typeface="맑은 고딕"/>
                <a:ea typeface="맑은 고딕"/>
                <a:cs typeface="Arial" panose="020B0604020202020204" pitchFamily="34" charset="0"/>
              </a:rPr>
              <a:t>유사 항목 보고서 공유 및 이력 관리체계화로 단순 수작업 부서별 중복 작업 최소화</a:t>
            </a:r>
          </a:p>
        </p:txBody>
      </p:sp>
      <p:sp>
        <p:nvSpPr>
          <p:cNvPr id="174" name="Oval 630"/>
          <p:cNvSpPr>
            <a:spLocks noChangeArrowheads="1"/>
          </p:cNvSpPr>
          <p:nvPr/>
        </p:nvSpPr>
        <p:spPr bwMode="auto">
          <a:xfrm>
            <a:off x="5384922" y="5098298"/>
            <a:ext cx="169792" cy="162568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rgbClr val="4D4D4D"/>
            </a:outerShdw>
          </a:effectLst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64568" y="3677905"/>
            <a:ext cx="914587" cy="3242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 모니터링 </a:t>
            </a:r>
            <a:r>
              <a:rPr kumimoji="1" lang="ko-KR" altLang="en-US" sz="8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니즈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반영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2161861" y="3677905"/>
            <a:ext cx="626154" cy="32537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추출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2970721" y="3677905"/>
            <a:ext cx="626154" cy="3242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계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r>
              <a:rPr kumimoji="1" lang="en-US" altLang="ko-KR" sz="8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779580" y="3677905"/>
            <a:ext cx="626154" cy="3242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과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인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2161861" y="4125183"/>
            <a:ext cx="626154" cy="32537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사결정 지원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연</a:t>
            </a: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2970721" y="4125183"/>
            <a:ext cx="626154" cy="3242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과 공유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3779580" y="4125183"/>
            <a:ext cx="626154" cy="32429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산출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작업</a:t>
            </a:r>
            <a:r>
              <a:rPr kumimoji="1" lang="en-US" altLang="ko-KR" sz="8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5997575" y="3677905"/>
            <a:ext cx="914587" cy="32429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구사항 정의</a:t>
            </a:r>
          </a:p>
        </p:txBody>
      </p:sp>
      <p:sp>
        <p:nvSpPr>
          <p:cNvPr id="153" name="직사각형 152"/>
          <p:cNvSpPr/>
          <p:nvPr/>
        </p:nvSpPr>
        <p:spPr bwMode="auto">
          <a:xfrm>
            <a:off x="7094868" y="3677905"/>
            <a:ext cx="626154" cy="32537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 추출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화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7879913" y="3677905"/>
            <a:ext cx="626154" cy="32429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계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화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8707824" y="3677905"/>
            <a:ext cx="711720" cy="32429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과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인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화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8712587" y="4124822"/>
            <a:ext cx="711720" cy="32429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산출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형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 템플릿 지원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7903728" y="4125183"/>
            <a:ext cx="626154" cy="32429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과 공유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화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6989141" y="4125183"/>
            <a:ext cx="731881" cy="32537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사결정 지원</a:t>
            </a:r>
            <a: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시지원</a:t>
            </a:r>
            <a:r>
              <a:rPr kumimoji="1"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85" name="그룹 18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8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8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8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8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9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9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9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94" name="그룹 19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9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9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190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/>
        </p:nvCxnSpPr>
        <p:spPr bwMode="auto">
          <a:xfrm>
            <a:off x="638756" y="4299674"/>
            <a:ext cx="897262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적관리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 eaLnBrk="1" hangingPunct="1"/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형 별로 다양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수당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급 체계를 마련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가 요건이 발생할 때마다 유연하게 변경 가능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관리 체계를 설계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지수당 관리 체계 개념도 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Rule Based System 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적용</a:t>
              </a:r>
              <a:r>
                <a:rPr kumimoji="1" lang="en-US" altLang="ko-KR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9" name="그룹 28"/>
          <p:cNvGrpSpPr/>
          <p:nvPr/>
        </p:nvGrpSpPr>
        <p:grpSpPr>
          <a:xfrm>
            <a:off x="638756" y="2043398"/>
            <a:ext cx="1145892" cy="2157741"/>
            <a:chOff x="638756" y="2220195"/>
            <a:chExt cx="1145892" cy="2576957"/>
          </a:xfrm>
        </p:grpSpPr>
        <p:sp>
          <p:nvSpPr>
            <p:cNvPr id="30" name="직사각형 29"/>
            <p:cNvSpPr/>
            <p:nvPr/>
          </p:nvSpPr>
          <p:spPr bwMode="auto">
            <a:xfrm>
              <a:off x="638756" y="2348880"/>
              <a:ext cx="1145892" cy="24482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944518" y="2220195"/>
              <a:ext cx="534368" cy="25736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사용자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19288" y="2883850"/>
              <a:ext cx="784828" cy="32830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CP</a:t>
              </a:r>
              <a:endPara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endParaRPr>
            </a:p>
          </p:txBody>
        </p: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188" y="2531096"/>
              <a:ext cx="317029" cy="299222"/>
            </a:xfrm>
            <a:prstGeom prst="rect">
              <a:avLst/>
            </a:prstGeom>
          </p:spPr>
        </p:pic>
        <p:sp>
          <p:nvSpPr>
            <p:cNvPr id="34" name="TextBox 33"/>
            <p:cNvSpPr txBox="1"/>
            <p:nvPr/>
          </p:nvSpPr>
          <p:spPr>
            <a:xfrm>
              <a:off x="819288" y="3618442"/>
              <a:ext cx="784828" cy="32830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업무담당자</a:t>
              </a:r>
            </a:p>
          </p:txBody>
        </p:sp>
        <p:pic>
          <p:nvPicPr>
            <p:cNvPr id="35" name="그림 3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188" y="3265688"/>
              <a:ext cx="317029" cy="299222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819288" y="4353032"/>
              <a:ext cx="784828" cy="32830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영업점</a:t>
              </a:r>
              <a:r>
                <a:rPr kumimoji="1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9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</a:rPr>
                <a:t>지점</a:t>
              </a:r>
              <a:endPara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endParaRPr>
            </a:p>
          </p:txBody>
        </p:sp>
        <p:pic>
          <p:nvPicPr>
            <p:cNvPr id="45" name="그림 4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3188" y="4000280"/>
              <a:ext cx="317029" cy="299222"/>
            </a:xfrm>
            <a:prstGeom prst="rect">
              <a:avLst/>
            </a:prstGeom>
          </p:spPr>
        </p:pic>
      </p:grpSp>
      <p:sp>
        <p:nvSpPr>
          <p:cNvPr id="46" name="직사각형 45"/>
          <p:cNvSpPr/>
          <p:nvPr/>
        </p:nvSpPr>
        <p:spPr>
          <a:xfrm>
            <a:off x="2450318" y="2172083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유지 수당 기준관리</a:t>
            </a:r>
          </a:p>
        </p:txBody>
      </p:sp>
      <p:sp>
        <p:nvSpPr>
          <p:cNvPr id="47" name="직사각형 46"/>
          <p:cNvSpPr/>
          <p:nvPr/>
        </p:nvSpPr>
        <p:spPr>
          <a:xfrm>
            <a:off x="2450318" y="2430176"/>
            <a:ext cx="1794419" cy="43074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유지수당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지급 기준 관리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Rule &amp;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Facto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2450318" y="3080740"/>
            <a:ext cx="3672408" cy="38357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prstDash val="dash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9" name="그룹 48"/>
          <p:cNvGrpSpPr/>
          <p:nvPr/>
        </p:nvGrpSpPr>
        <p:grpSpPr>
          <a:xfrm>
            <a:off x="2696702" y="3141576"/>
            <a:ext cx="3179641" cy="271854"/>
            <a:chOff x="2565447" y="1685870"/>
            <a:chExt cx="4768658" cy="576064"/>
          </a:xfrm>
          <a:solidFill>
            <a:srgbClr val="FFFFFF"/>
          </a:solidFill>
        </p:grpSpPr>
        <p:sp>
          <p:nvSpPr>
            <p:cNvPr id="50" name="원통 108"/>
            <p:cNvSpPr/>
            <p:nvPr/>
          </p:nvSpPr>
          <p:spPr>
            <a:xfrm>
              <a:off x="2565447" y="1685870"/>
              <a:ext cx="1080120" cy="576064"/>
            </a:xfrm>
            <a:prstGeom prst="can">
              <a:avLst/>
            </a:prstGeom>
            <a:solidFill>
              <a:srgbClr val="D6EBF6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접수실적</a:t>
              </a:r>
            </a:p>
          </p:txBody>
        </p:sp>
        <p:sp>
          <p:nvSpPr>
            <p:cNvPr id="51" name="원통 109"/>
            <p:cNvSpPr/>
            <p:nvPr/>
          </p:nvSpPr>
          <p:spPr>
            <a:xfrm>
              <a:off x="3794960" y="1685870"/>
              <a:ext cx="1080120" cy="576064"/>
            </a:xfrm>
            <a:prstGeom prst="can">
              <a:avLst/>
            </a:prstGeom>
            <a:solidFill>
              <a:srgbClr val="D6EBF6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발급실적</a:t>
              </a:r>
            </a:p>
          </p:txBody>
        </p:sp>
        <p:sp>
          <p:nvSpPr>
            <p:cNvPr id="52" name="원통 116"/>
            <p:cNvSpPr/>
            <p:nvPr/>
          </p:nvSpPr>
          <p:spPr>
            <a:xfrm>
              <a:off x="5024473" y="1685870"/>
              <a:ext cx="1080120" cy="576064"/>
            </a:xfrm>
            <a:prstGeom prst="can">
              <a:avLst/>
            </a:prstGeom>
            <a:solidFill>
              <a:srgbClr val="D6EBF6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이용실적</a:t>
              </a:r>
            </a:p>
          </p:txBody>
        </p:sp>
        <p:sp>
          <p:nvSpPr>
            <p:cNvPr id="53" name="원통 117"/>
            <p:cNvSpPr/>
            <p:nvPr/>
          </p:nvSpPr>
          <p:spPr>
            <a:xfrm>
              <a:off x="6253985" y="1685870"/>
              <a:ext cx="1080120" cy="576064"/>
            </a:xfrm>
            <a:prstGeom prst="can">
              <a:avLst/>
            </a:prstGeom>
            <a:solidFill>
              <a:srgbClr val="D6EBF6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연체금액 </a:t>
              </a:r>
            </a:p>
          </p:txBody>
        </p:sp>
      </p:grpSp>
      <p:cxnSp>
        <p:nvCxnSpPr>
          <p:cNvPr id="54" name="직선 화살표 연결선 53"/>
          <p:cNvCxnSpPr/>
          <p:nvPr/>
        </p:nvCxnSpPr>
        <p:spPr bwMode="auto">
          <a:xfrm>
            <a:off x="1953282" y="2430176"/>
            <a:ext cx="2880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55" name="직선 화살표 연결선 54"/>
          <p:cNvCxnSpPr/>
          <p:nvPr/>
        </p:nvCxnSpPr>
        <p:spPr bwMode="auto">
          <a:xfrm>
            <a:off x="3296684" y="2872026"/>
            <a:ext cx="0" cy="1641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6" name="직사각형 55"/>
          <p:cNvSpPr/>
          <p:nvPr/>
        </p:nvSpPr>
        <p:spPr>
          <a:xfrm>
            <a:off x="2450318" y="3783763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집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수당 관리</a:t>
            </a:r>
          </a:p>
        </p:txBody>
      </p:sp>
      <p:sp>
        <p:nvSpPr>
          <p:cNvPr id="57" name="직사각형 56"/>
          <p:cNvSpPr/>
          <p:nvPr/>
        </p:nvSpPr>
        <p:spPr>
          <a:xfrm>
            <a:off x="2450318" y="4041857"/>
            <a:ext cx="1794419" cy="68400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유지수당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대상자 선정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유지수당 생성조회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수수료 조회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공제 내역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cxnSp>
        <p:nvCxnSpPr>
          <p:cNvPr id="58" name="직선 화살표 연결선 57"/>
          <p:cNvCxnSpPr/>
          <p:nvPr/>
        </p:nvCxnSpPr>
        <p:spPr bwMode="auto">
          <a:xfrm>
            <a:off x="3296684" y="3464312"/>
            <a:ext cx="0" cy="28800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9" name="직사각형 58"/>
          <p:cNvSpPr/>
          <p:nvPr/>
        </p:nvSpPr>
        <p:spPr>
          <a:xfrm>
            <a:off x="2450290" y="5051657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평가 관리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2450580" y="5309751"/>
            <a:ext cx="1794419" cy="61909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평가관리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P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평가관리</a:t>
            </a:r>
          </a:p>
        </p:txBody>
      </p:sp>
      <p:sp>
        <p:nvSpPr>
          <p:cNvPr id="61" name="TextBox 60"/>
          <p:cNvSpPr txBox="1"/>
          <p:nvPr/>
        </p:nvSpPr>
        <p:spPr bwMode="auto">
          <a:xfrm>
            <a:off x="5588358" y="2820312"/>
            <a:ext cx="396510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b="0" i="1" dirty="0">
                <a:solidFill>
                  <a:srgbClr val="000000"/>
                </a:solidFill>
                <a:latin typeface="맑은 고딕"/>
                <a:ea typeface="맑은 고딕"/>
              </a:rPr>
              <a:t>Data</a:t>
            </a:r>
            <a:endParaRPr lang="ko-KR" altLang="en-US" sz="1200" b="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62" name="직선 화살표 연결선 61"/>
          <p:cNvCxnSpPr/>
          <p:nvPr/>
        </p:nvCxnSpPr>
        <p:spPr bwMode="auto">
          <a:xfrm>
            <a:off x="3296684" y="4750957"/>
            <a:ext cx="0" cy="28800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63" name="직사각형 62"/>
          <p:cNvSpPr/>
          <p:nvPr/>
        </p:nvSpPr>
        <p:spPr>
          <a:xfrm>
            <a:off x="4808852" y="5051657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평가 관리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4809142" y="5309751"/>
            <a:ext cx="1794419" cy="61909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평가관리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P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평가관리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7334755" y="5051657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평가 관리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7335045" y="5309751"/>
            <a:ext cx="1794419" cy="61909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점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평가관리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P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평가관리</a:t>
            </a:r>
          </a:p>
        </p:txBody>
      </p:sp>
      <p:cxnSp>
        <p:nvCxnSpPr>
          <p:cNvPr id="67" name="꺾인 연결선 131"/>
          <p:cNvCxnSpPr/>
          <p:nvPr/>
        </p:nvCxnSpPr>
        <p:spPr bwMode="auto">
          <a:xfrm rot="16200000" flipH="1">
            <a:off x="4313051" y="3709490"/>
            <a:ext cx="325800" cy="2358534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8" name="꺾인 연결선 132"/>
          <p:cNvCxnSpPr/>
          <p:nvPr/>
        </p:nvCxnSpPr>
        <p:spPr bwMode="auto">
          <a:xfrm rot="16200000" flipH="1">
            <a:off x="5576046" y="2446538"/>
            <a:ext cx="325800" cy="488443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69" name="그룹 68"/>
          <p:cNvGrpSpPr/>
          <p:nvPr/>
        </p:nvGrpSpPr>
        <p:grpSpPr>
          <a:xfrm>
            <a:off x="638756" y="4312374"/>
            <a:ext cx="1145892" cy="1708914"/>
            <a:chOff x="8196610" y="2220195"/>
            <a:chExt cx="1145892" cy="2576957"/>
          </a:xfrm>
        </p:grpSpPr>
        <p:sp>
          <p:nvSpPr>
            <p:cNvPr id="70" name="직사각형 69"/>
            <p:cNvSpPr/>
            <p:nvPr/>
          </p:nvSpPr>
          <p:spPr bwMode="auto">
            <a:xfrm>
              <a:off x="8196610" y="2348880"/>
              <a:ext cx="1145892" cy="24482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TextBox 70"/>
            <p:cNvSpPr txBox="1"/>
            <p:nvPr/>
          </p:nvSpPr>
          <p:spPr bwMode="auto">
            <a:xfrm>
              <a:off x="8412604" y="2220195"/>
              <a:ext cx="713904" cy="34168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연계시스템</a:t>
              </a:r>
            </a:p>
          </p:txBody>
        </p:sp>
        <p:sp>
          <p:nvSpPr>
            <p:cNvPr id="72" name="순서도: 문서 71"/>
            <p:cNvSpPr/>
            <p:nvPr/>
          </p:nvSpPr>
          <p:spPr>
            <a:xfrm>
              <a:off x="8430182" y="2557204"/>
              <a:ext cx="678748" cy="630247"/>
            </a:xfrm>
            <a:prstGeom prst="flowChartDocumen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대외기관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순서도: 문서 72"/>
            <p:cNvSpPr/>
            <p:nvPr/>
          </p:nvSpPr>
          <p:spPr>
            <a:xfrm>
              <a:off x="8430182" y="3325985"/>
              <a:ext cx="678748" cy="630247"/>
            </a:xfrm>
            <a:prstGeom prst="flowChartDocumen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보계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순서도: 문서 73"/>
            <p:cNvSpPr/>
            <p:nvPr/>
          </p:nvSpPr>
          <p:spPr>
            <a:xfrm>
              <a:off x="8430182" y="4061568"/>
              <a:ext cx="678748" cy="630247"/>
            </a:xfrm>
            <a:prstGeom prst="flowChartDocumen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타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독립시스템</a:t>
              </a:r>
            </a:p>
          </p:txBody>
        </p:sp>
      </p:grpSp>
      <p:sp>
        <p:nvSpPr>
          <p:cNvPr id="75" name="직사각형 74"/>
          <p:cNvSpPr/>
          <p:nvPr/>
        </p:nvSpPr>
        <p:spPr>
          <a:xfrm>
            <a:off x="7343000" y="2977336"/>
            <a:ext cx="1794419" cy="259890"/>
          </a:xfrm>
          <a:prstGeom prst="rect">
            <a:avLst/>
          </a:prstGeom>
          <a:solidFill>
            <a:srgbClr val="002060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뮬레이션</a:t>
            </a:r>
          </a:p>
        </p:txBody>
      </p:sp>
      <p:sp>
        <p:nvSpPr>
          <p:cNvPr id="76" name="직사각형 75"/>
          <p:cNvSpPr/>
          <p:nvPr/>
        </p:nvSpPr>
        <p:spPr>
          <a:xfrm>
            <a:off x="7343000" y="3235430"/>
            <a:ext cx="1794419" cy="43074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준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검증 시뮬레이션</a:t>
            </a:r>
            <a:endParaRPr lang="en-US" altLang="ko-KR" sz="10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가상결과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확인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7266175" y="2915980"/>
            <a:ext cx="1983138" cy="851817"/>
          </a:xfrm>
          <a:prstGeom prst="rect">
            <a:avLst/>
          </a:prstGeom>
          <a:noFill/>
          <a:ln>
            <a:solidFill>
              <a:srgbClr val="000000"/>
            </a:solidFill>
            <a:prstDash val="dash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7040457" y="2500802"/>
            <a:ext cx="2202366" cy="4147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r" latinLnBrk="0"/>
            <a:r>
              <a:rPr kumimoji="1" lang="ko-KR" altLang="en-US" sz="9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수수료 산출 </a:t>
            </a:r>
            <a:r>
              <a:rPr kumimoji="1" lang="ko-KR" altLang="en-US" sz="900" b="0" i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실행전</a:t>
            </a:r>
            <a:r>
              <a:rPr kumimoji="1" lang="ko-KR" altLang="en-US" sz="9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 시뮬레이션 통해 기준에 대한 검증 및 가상 결과 확인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496088" y="4734592"/>
            <a:ext cx="996840" cy="25735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 latinLnBrk="0"/>
            <a:r>
              <a:rPr kumimoji="1" lang="ko-KR" altLang="en-US" sz="9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평가결과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131339" y="4872006"/>
            <a:ext cx="996840" cy="25735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 latinLnBrk="0"/>
            <a:r>
              <a:rPr kumimoji="1" lang="ko-KR" altLang="en-US" sz="9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평가실적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194195" y="4680136"/>
            <a:ext cx="996840" cy="25735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 latinLnBrk="0"/>
            <a:r>
              <a:rPr kumimoji="1" lang="ko-KR" altLang="en-US" sz="9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수수료 작업 결과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606431" y="4678633"/>
            <a:ext cx="996840" cy="25735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 latinLnBrk="0"/>
            <a:r>
              <a:rPr kumimoji="1" lang="ko-KR" altLang="en-US" sz="9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수수료 작업 결과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820601" y="2212957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CP</a:t>
            </a:r>
            <a:r>
              <a: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정보</a:t>
            </a:r>
          </a:p>
        </p:txBody>
      </p:sp>
      <p:cxnSp>
        <p:nvCxnSpPr>
          <p:cNvPr id="84" name="직선 화살표 연결선 83"/>
          <p:cNvCxnSpPr/>
          <p:nvPr/>
        </p:nvCxnSpPr>
        <p:spPr bwMode="auto">
          <a:xfrm>
            <a:off x="1953282" y="3166939"/>
            <a:ext cx="2880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1820601" y="2949720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승인정보</a:t>
            </a:r>
          </a:p>
        </p:txBody>
      </p:sp>
      <p:cxnSp>
        <p:nvCxnSpPr>
          <p:cNvPr id="86" name="직선 화살표 연결선 85"/>
          <p:cNvCxnSpPr/>
          <p:nvPr/>
        </p:nvCxnSpPr>
        <p:spPr bwMode="auto">
          <a:xfrm>
            <a:off x="1953282" y="3804201"/>
            <a:ext cx="2880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87" name="TextBox 86"/>
          <p:cNvSpPr txBox="1"/>
          <p:nvPr/>
        </p:nvSpPr>
        <p:spPr>
          <a:xfrm>
            <a:off x="1820601" y="3586982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등록관리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820601" y="2471758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수수료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820601" y="3220881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제반정보</a:t>
            </a:r>
            <a:endParaRPr kumimoji="1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820601" y="3855079"/>
            <a:ext cx="553363" cy="2172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</a:rPr>
              <a:t>결과조회</a:t>
            </a:r>
          </a:p>
        </p:txBody>
      </p:sp>
      <p:sp>
        <p:nvSpPr>
          <p:cNvPr id="9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04" name="그룹 10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2554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적관리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 eaLnBrk="1" hangingPunct="1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집 실적 산정 모델을 기반으로 조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인별 목표 대비 실적을 실시간으로 확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능</a:t>
            </a:r>
            <a:r>
              <a:rPr lang="ko-KR" altLang="en-US" dirty="0" smtClean="0"/>
              <a:t>하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록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Daily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수수료 자동 산출 기능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집 </a:t>
              </a:r>
              <a:r>
                <a:rPr kumimoji="1" lang="ko-KR" altLang="en-US" sz="14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목표 관리 및 수수료 산출 기능 예시</a:t>
              </a:r>
              <a:endParaRPr kumimoji="1"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영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92" name="Rectangle 2"/>
          <p:cNvSpPr>
            <a:spLocks noChangeArrowheads="1"/>
          </p:cNvSpPr>
          <p:nvPr/>
        </p:nvSpPr>
        <p:spPr bwMode="auto">
          <a:xfrm>
            <a:off x="5437312" y="1881336"/>
            <a:ext cx="4114800" cy="2971800"/>
          </a:xfrm>
          <a:prstGeom prst="rect">
            <a:avLst/>
          </a:prstGeom>
          <a:solidFill>
            <a:srgbClr val="B2B2B2">
              <a:alpha val="69000"/>
            </a:srgbClr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eaLnBrk="0" hangingPunct="0">
              <a:buFont typeface="Wingdings" panose="05000000000000000000" pitchFamily="2" charset="2"/>
              <a:buNone/>
            </a:pPr>
            <a:endParaRPr lang="en-US" altLang="ko-KR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Rectangle 8"/>
          <p:cNvSpPr>
            <a:spLocks noChangeArrowheads="1"/>
          </p:cNvSpPr>
          <p:nvPr/>
        </p:nvSpPr>
        <p:spPr bwMode="auto">
          <a:xfrm>
            <a:off x="3837112" y="2003574"/>
            <a:ext cx="1143000" cy="6508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rIns="90000" anchor="ctr"/>
          <a:lstStyle>
            <a:lvl1pPr marL="101600" indent="-101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</a:t>
            </a: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가신규</a:t>
            </a: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족카드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.</a:t>
            </a: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auto">
          <a:xfrm>
            <a:off x="3837112" y="3679974"/>
            <a:ext cx="1143000" cy="6508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rIns="90000" anchor="ctr"/>
          <a:lstStyle>
            <a:lvl1pPr marL="101600" indent="-101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탈회회건수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민원 발생건수</a:t>
            </a: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정 발급건수</a:t>
            </a: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</p:txBody>
      </p:sp>
      <p:grpSp>
        <p:nvGrpSpPr>
          <p:cNvPr id="95" name="Group 8"/>
          <p:cNvGrpSpPr>
            <a:grpSpLocks/>
          </p:cNvGrpSpPr>
          <p:nvPr/>
        </p:nvGrpSpPr>
        <p:grpSpPr bwMode="auto">
          <a:xfrm>
            <a:off x="560512" y="2044849"/>
            <a:ext cx="3048000" cy="2244725"/>
            <a:chOff x="288" y="1322"/>
            <a:chExt cx="1417" cy="1490"/>
          </a:xfrm>
        </p:grpSpPr>
        <p:sp>
          <p:nvSpPr>
            <p:cNvPr id="96" name="Rectangle 12"/>
            <p:cNvSpPr>
              <a:spLocks noChangeArrowheads="1"/>
            </p:cNvSpPr>
            <p:nvPr/>
          </p:nvSpPr>
          <p:spPr bwMode="auto">
            <a:xfrm>
              <a:off x="646" y="1695"/>
              <a:ext cx="353" cy="373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발급</a:t>
              </a:r>
              <a:endParaRPr lang="en-US" altLang="ko-KR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적</a:t>
              </a:r>
            </a:p>
          </p:txBody>
        </p:sp>
        <p:sp>
          <p:nvSpPr>
            <p:cNvPr id="97" name="Rectangle 13"/>
            <p:cNvSpPr>
              <a:spLocks noChangeArrowheads="1"/>
            </p:cNvSpPr>
            <p:nvPr/>
          </p:nvSpPr>
          <p:spPr bwMode="auto">
            <a:xfrm>
              <a:off x="997" y="1695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8" name="Rectangle 14"/>
            <p:cNvSpPr>
              <a:spLocks noChangeArrowheads="1"/>
            </p:cNvSpPr>
            <p:nvPr/>
          </p:nvSpPr>
          <p:spPr bwMode="auto">
            <a:xfrm>
              <a:off x="1351" y="1695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Rectangle 15"/>
            <p:cNvSpPr>
              <a:spLocks noChangeArrowheads="1"/>
            </p:cNvSpPr>
            <p:nvPr/>
          </p:nvSpPr>
          <p:spPr bwMode="auto">
            <a:xfrm>
              <a:off x="646" y="2067"/>
              <a:ext cx="353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Rectangle 16"/>
            <p:cNvSpPr>
              <a:spLocks noChangeArrowheads="1"/>
            </p:cNvSpPr>
            <p:nvPr/>
          </p:nvSpPr>
          <p:spPr bwMode="auto">
            <a:xfrm>
              <a:off x="997" y="2067"/>
              <a:ext cx="354" cy="373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용</a:t>
              </a:r>
              <a:endParaRPr lang="en-US" altLang="ko-KR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적</a:t>
              </a:r>
            </a:p>
          </p:txBody>
        </p:sp>
        <p:sp>
          <p:nvSpPr>
            <p:cNvPr id="101" name="Rectangle 17"/>
            <p:cNvSpPr>
              <a:spLocks noChangeArrowheads="1"/>
            </p:cNvSpPr>
            <p:nvPr/>
          </p:nvSpPr>
          <p:spPr bwMode="auto">
            <a:xfrm>
              <a:off x="1351" y="2067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2" name="Rectangle 18"/>
            <p:cNvSpPr>
              <a:spLocks noChangeArrowheads="1"/>
            </p:cNvSpPr>
            <p:nvPr/>
          </p:nvSpPr>
          <p:spPr bwMode="auto">
            <a:xfrm>
              <a:off x="646" y="2439"/>
              <a:ext cx="353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3" name="Rectangle 19"/>
            <p:cNvSpPr>
              <a:spLocks noChangeArrowheads="1"/>
            </p:cNvSpPr>
            <p:nvPr/>
          </p:nvSpPr>
          <p:spPr bwMode="auto">
            <a:xfrm>
              <a:off x="997" y="2439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4" name="Rectangle 20"/>
            <p:cNvSpPr>
              <a:spLocks noChangeArrowheads="1"/>
            </p:cNvSpPr>
            <p:nvPr/>
          </p:nvSpPr>
          <p:spPr bwMode="auto">
            <a:xfrm>
              <a:off x="1351" y="2439"/>
              <a:ext cx="354" cy="373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탈회</a:t>
              </a:r>
              <a:endParaRPr lang="en-US" altLang="ko-KR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적</a:t>
              </a:r>
            </a:p>
          </p:txBody>
        </p:sp>
        <p:sp>
          <p:nvSpPr>
            <p:cNvPr id="105" name="Rectangle 21"/>
            <p:cNvSpPr>
              <a:spLocks noChangeArrowheads="1"/>
            </p:cNvSpPr>
            <p:nvPr/>
          </p:nvSpPr>
          <p:spPr bwMode="auto">
            <a:xfrm>
              <a:off x="646" y="1322"/>
              <a:ext cx="353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endParaRPr lang="ko-KR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6" name="Rectangle 22"/>
            <p:cNvSpPr>
              <a:spLocks noChangeArrowheads="1"/>
            </p:cNvSpPr>
            <p:nvPr/>
          </p:nvSpPr>
          <p:spPr bwMode="auto">
            <a:xfrm>
              <a:off x="997" y="1322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Rectangle 23"/>
            <p:cNvSpPr>
              <a:spLocks noChangeArrowheads="1"/>
            </p:cNvSpPr>
            <p:nvPr/>
          </p:nvSpPr>
          <p:spPr bwMode="auto">
            <a:xfrm>
              <a:off x="1351" y="1322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Rectangle 24"/>
            <p:cNvSpPr>
              <a:spLocks noChangeArrowheads="1"/>
            </p:cNvSpPr>
            <p:nvPr/>
          </p:nvSpPr>
          <p:spPr bwMode="auto">
            <a:xfrm>
              <a:off x="292" y="1701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endParaRPr lang="ko-KR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Rectangle 25"/>
            <p:cNvSpPr>
              <a:spLocks noChangeArrowheads="1"/>
            </p:cNvSpPr>
            <p:nvPr/>
          </p:nvSpPr>
          <p:spPr bwMode="auto">
            <a:xfrm>
              <a:off x="292" y="2071"/>
              <a:ext cx="354" cy="372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Rectangle 26"/>
            <p:cNvSpPr>
              <a:spLocks noChangeArrowheads="1"/>
            </p:cNvSpPr>
            <p:nvPr/>
          </p:nvSpPr>
          <p:spPr bwMode="auto">
            <a:xfrm>
              <a:off x="292" y="2438"/>
              <a:ext cx="354" cy="373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Rectangle 27"/>
            <p:cNvSpPr>
              <a:spLocks noChangeArrowheads="1"/>
            </p:cNvSpPr>
            <p:nvPr/>
          </p:nvSpPr>
          <p:spPr bwMode="auto">
            <a:xfrm>
              <a:off x="288" y="1322"/>
              <a:ext cx="354" cy="373"/>
            </a:xfrm>
            <a:prstGeom prst="rect">
              <a:avLst/>
            </a:prstGeom>
            <a:solidFill>
              <a:srgbClr val="808080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latinLnBrk="0" hangingPunct="0">
                <a:lnSpc>
                  <a:spcPct val="120000"/>
                </a:lnSpc>
              </a:pPr>
              <a:r>
                <a:rPr lang="ko-KR" altLang="en-US" sz="1100" b="1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</a:t>
              </a:r>
              <a:r>
                <a:rPr lang="en-US" altLang="ko-KR" sz="11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1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적</a:t>
              </a:r>
            </a:p>
          </p:txBody>
        </p:sp>
      </p:grpSp>
      <p:sp>
        <p:nvSpPr>
          <p:cNvPr id="112" name="Rectangle 29"/>
          <p:cNvSpPr>
            <a:spLocks noChangeArrowheads="1"/>
          </p:cNvSpPr>
          <p:nvPr/>
        </p:nvSpPr>
        <p:spPr bwMode="auto">
          <a:xfrm>
            <a:off x="3837112" y="2841774"/>
            <a:ext cx="1143000" cy="6508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rIns="90000" anchor="ctr"/>
          <a:lstStyle>
            <a:lvl1pPr marL="101600" indent="-101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초회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이용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월 이용</a:t>
            </a: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체 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eaLnBrk="0" latinLnBrk="0" hangingPunct="0">
              <a:lnSpc>
                <a:spcPct val="60000"/>
              </a:lnSpc>
              <a:spcAft>
                <a:spcPct val="40000"/>
              </a:spcAft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</p:txBody>
      </p:sp>
      <p:cxnSp>
        <p:nvCxnSpPr>
          <p:cNvPr id="113" name="AutoShape 26"/>
          <p:cNvCxnSpPr>
            <a:cxnSpLocks noChangeShapeType="1"/>
            <a:stCxn id="96" idx="3"/>
            <a:endCxn id="93" idx="1"/>
          </p:cNvCxnSpPr>
          <p:nvPr/>
        </p:nvCxnSpPr>
        <p:spPr bwMode="auto">
          <a:xfrm flipV="1">
            <a:off x="2089275" y="2329011"/>
            <a:ext cx="1747837" cy="558800"/>
          </a:xfrm>
          <a:prstGeom prst="bentConnector3">
            <a:avLst>
              <a:gd name="adj1" fmla="val 49954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</p:cxnSp>
      <p:cxnSp>
        <p:nvCxnSpPr>
          <p:cNvPr id="114" name="AutoShape 27"/>
          <p:cNvCxnSpPr>
            <a:cxnSpLocks noChangeShapeType="1"/>
            <a:stCxn id="100" idx="3"/>
            <a:endCxn id="112" idx="1"/>
          </p:cNvCxnSpPr>
          <p:nvPr/>
        </p:nvCxnSpPr>
        <p:spPr bwMode="auto">
          <a:xfrm flipV="1">
            <a:off x="2846512" y="3167211"/>
            <a:ext cx="990600" cy="280988"/>
          </a:xfrm>
          <a:prstGeom prst="bentConnector3">
            <a:avLst>
              <a:gd name="adj1" fmla="val 49838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</p:cxnSp>
      <p:cxnSp>
        <p:nvCxnSpPr>
          <p:cNvPr id="115" name="AutoShape 28"/>
          <p:cNvCxnSpPr>
            <a:cxnSpLocks noChangeShapeType="1"/>
            <a:stCxn id="104" idx="3"/>
            <a:endCxn id="94" idx="1"/>
          </p:cNvCxnSpPr>
          <p:nvPr/>
        </p:nvCxnSpPr>
        <p:spPr bwMode="auto">
          <a:xfrm flipV="1">
            <a:off x="3608512" y="4005411"/>
            <a:ext cx="228600" cy="317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</p:cxnSp>
      <p:cxnSp>
        <p:nvCxnSpPr>
          <p:cNvPr id="116" name="AutoShape 29"/>
          <p:cNvCxnSpPr>
            <a:cxnSpLocks noChangeShapeType="1"/>
            <a:stCxn id="111" idx="3"/>
            <a:endCxn id="93" idx="1"/>
          </p:cNvCxnSpPr>
          <p:nvPr/>
        </p:nvCxnSpPr>
        <p:spPr bwMode="auto">
          <a:xfrm>
            <a:off x="1322512" y="2325836"/>
            <a:ext cx="2514600" cy="317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</p:cxnSp>
      <p:sp>
        <p:nvSpPr>
          <p:cNvPr id="117" name="AutoShape 35"/>
          <p:cNvSpPr>
            <a:spLocks noChangeArrowheads="1"/>
          </p:cNvSpPr>
          <p:nvPr/>
        </p:nvSpPr>
        <p:spPr bwMode="auto">
          <a:xfrm>
            <a:off x="560512" y="3375174"/>
            <a:ext cx="1219200" cy="914400"/>
          </a:xfrm>
          <a:prstGeom prst="cube">
            <a:avLst>
              <a:gd name="adj" fmla="val 25000"/>
            </a:avLst>
          </a:prstGeom>
          <a:solidFill>
            <a:srgbClr val="1B3A87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kumimoji="1"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Text Box 31"/>
          <p:cNvSpPr txBox="1">
            <a:spLocks noChangeArrowheads="1"/>
          </p:cNvSpPr>
          <p:nvPr/>
        </p:nvSpPr>
        <p:spPr bwMode="auto">
          <a:xfrm>
            <a:off x="2003143" y="3694261"/>
            <a:ext cx="543739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rgbClr val="C0C0C0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177800" indent="-1778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2800" b="1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╊</a:t>
            </a:r>
          </a:p>
        </p:txBody>
      </p:sp>
      <p:sp>
        <p:nvSpPr>
          <p:cNvPr id="119" name="Text Box 32"/>
          <p:cNvSpPr txBox="1">
            <a:spLocks noChangeArrowheads="1"/>
          </p:cNvSpPr>
          <p:nvPr/>
        </p:nvSpPr>
        <p:spPr bwMode="auto">
          <a:xfrm>
            <a:off x="707743" y="2689374"/>
            <a:ext cx="543739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rgbClr val="C0C0C0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177800" indent="-1778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2800" b="1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╊</a:t>
            </a:r>
          </a:p>
        </p:txBody>
      </p:sp>
      <p:sp>
        <p:nvSpPr>
          <p:cNvPr id="120" name="Rectangle 17"/>
          <p:cNvSpPr>
            <a:spLocks noChangeArrowheads="1"/>
          </p:cNvSpPr>
          <p:nvPr/>
        </p:nvSpPr>
        <p:spPr bwMode="auto">
          <a:xfrm>
            <a:off x="5589712" y="5238328"/>
            <a:ext cx="3886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46800" rIns="18000" bIns="46800"/>
          <a:lstStyle>
            <a:lvl1pPr marL="101600" indent="-101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171450" indent="-171450" latinLnBrk="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실시간 </a:t>
            </a:r>
            <a:r>
              <a:rPr kumimoji="1"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실적 </a:t>
            </a: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인</a:t>
            </a:r>
          </a:p>
          <a:p>
            <a:pPr marL="171450" indent="-171450" latinLnBrk="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kumimoji="1"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Daily </a:t>
            </a:r>
            <a:r>
              <a:rPr kumimoji="1"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수수료 </a:t>
            </a: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산 </a:t>
            </a:r>
          </a:p>
          <a:p>
            <a:pPr marL="171450" indent="-171450" latinLnBrk="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도에 의한 </a:t>
            </a:r>
            <a:r>
              <a:rPr kumimoji="1"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+)(-)</a:t>
            </a: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여항목 공시</a:t>
            </a:r>
          </a:p>
          <a:p>
            <a:pPr marL="171450" indent="-171450" latinLnBrk="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성과급 대한 기초 자료를 개별적 확인 가능 </a:t>
            </a:r>
          </a:p>
          <a:p>
            <a:pPr marL="171450" indent="-171450" latinLnBrk="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kumimoji="1"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성과급 지급에 대한 시뮬레이션</a:t>
            </a:r>
            <a:endParaRPr kumimoji="1"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AutoShape 51"/>
          <p:cNvSpPr>
            <a:spLocks noChangeArrowheads="1"/>
          </p:cNvSpPr>
          <p:nvPr/>
        </p:nvSpPr>
        <p:spPr bwMode="auto">
          <a:xfrm rot="5400000">
            <a:off x="4141912" y="3024336"/>
            <a:ext cx="2209800" cy="2286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3806097" algn="ctr" rotWithShape="0">
              <a:schemeClr val="tx1"/>
            </a:outerShdw>
          </a:effectLst>
        </p:spPr>
        <p:txBody>
          <a:bodyPr rot="10800000" vert="eaVert" wrap="none" anchor="ctr"/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kumimoji="1"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AutoShape 6"/>
          <p:cNvSpPr>
            <a:spLocks noChangeArrowheads="1"/>
          </p:cNvSpPr>
          <p:nvPr/>
        </p:nvSpPr>
        <p:spPr bwMode="auto">
          <a:xfrm>
            <a:off x="5513512" y="1957536"/>
            <a:ext cx="1350963" cy="381000"/>
          </a:xfrm>
          <a:prstGeom prst="homePlate">
            <a:avLst>
              <a:gd name="adj" fmla="val 45915"/>
            </a:avLst>
          </a:prstGeom>
          <a:solidFill>
            <a:srgbClr val="EAEAEA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 지급</a:t>
            </a:r>
          </a:p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상담당자 선정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AutoShape 7"/>
          <p:cNvSpPr>
            <a:spLocks noChangeArrowheads="1"/>
          </p:cNvSpPr>
          <p:nvPr/>
        </p:nvSpPr>
        <p:spPr bwMode="auto">
          <a:xfrm>
            <a:off x="5542087" y="3872061"/>
            <a:ext cx="1322388" cy="381000"/>
          </a:xfrm>
          <a:prstGeom prst="homePlate">
            <a:avLst>
              <a:gd name="adj" fmla="val 44944"/>
            </a:avLst>
          </a:prstGeom>
          <a:solidFill>
            <a:srgbClr val="EAEAEA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 시뮬레이션</a:t>
            </a:r>
          </a:p>
        </p:txBody>
      </p:sp>
      <p:sp>
        <p:nvSpPr>
          <p:cNvPr id="124" name="AutoShape 8"/>
          <p:cNvSpPr>
            <a:spLocks/>
          </p:cNvSpPr>
          <p:nvPr/>
        </p:nvSpPr>
        <p:spPr bwMode="auto">
          <a:xfrm>
            <a:off x="7266112" y="1948011"/>
            <a:ext cx="2133600" cy="511175"/>
          </a:xfrm>
          <a:prstGeom prst="accentBorderCallout2">
            <a:avLst>
              <a:gd name="adj1" fmla="val 22361"/>
              <a:gd name="adj2" fmla="val -3569"/>
              <a:gd name="adj3" fmla="val 22361"/>
              <a:gd name="adj4" fmla="val -12278"/>
              <a:gd name="adj5" fmla="val 119875"/>
              <a:gd name="adj6" fmla="val -24403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Char char="•"/>
            </a:pP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본 수수료 기준관리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9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romotiont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 기준관리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기여도 기준관리</a:t>
            </a:r>
          </a:p>
        </p:txBody>
      </p:sp>
      <p:sp>
        <p:nvSpPr>
          <p:cNvPr id="125" name="AutoShape 9"/>
          <p:cNvSpPr>
            <a:spLocks noChangeArrowheads="1"/>
          </p:cNvSpPr>
          <p:nvPr/>
        </p:nvSpPr>
        <p:spPr bwMode="auto">
          <a:xfrm>
            <a:off x="5523037" y="2435374"/>
            <a:ext cx="1341438" cy="381000"/>
          </a:xfrm>
          <a:prstGeom prst="homePlate">
            <a:avLst>
              <a:gd name="adj" fmla="val 45592"/>
            </a:avLst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기준등록</a:t>
            </a:r>
          </a:p>
        </p:txBody>
      </p:sp>
      <p:sp>
        <p:nvSpPr>
          <p:cNvPr id="126" name="AutoShape 10"/>
          <p:cNvSpPr>
            <a:spLocks noChangeArrowheads="1"/>
          </p:cNvSpPr>
          <p:nvPr/>
        </p:nvSpPr>
        <p:spPr bwMode="auto">
          <a:xfrm>
            <a:off x="5523037" y="2914799"/>
            <a:ext cx="1341438" cy="381000"/>
          </a:xfrm>
          <a:prstGeom prst="homePlate">
            <a:avLst>
              <a:gd name="adj" fmla="val 45592"/>
            </a:avLst>
          </a:prstGeom>
          <a:solidFill>
            <a:srgbClr val="EAEAEA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직접</a:t>
            </a:r>
            <a:r>
              <a:rPr kumimoji="1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</a:t>
            </a:r>
          </a:p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 산정</a:t>
            </a:r>
          </a:p>
        </p:txBody>
      </p:sp>
      <p:sp>
        <p:nvSpPr>
          <p:cNvPr id="127" name="AutoShape 11"/>
          <p:cNvSpPr>
            <a:spLocks noChangeArrowheads="1"/>
          </p:cNvSpPr>
          <p:nvPr/>
        </p:nvSpPr>
        <p:spPr bwMode="auto">
          <a:xfrm>
            <a:off x="5523037" y="4351486"/>
            <a:ext cx="1341438" cy="381000"/>
          </a:xfrm>
          <a:prstGeom prst="homePlate">
            <a:avLst>
              <a:gd name="adj" fmla="val 45592"/>
            </a:avLst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latinLnBrk="0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확정</a:t>
            </a:r>
          </a:p>
        </p:txBody>
      </p:sp>
      <p:sp>
        <p:nvSpPr>
          <p:cNvPr id="128" name="AutoShape 12"/>
          <p:cNvSpPr>
            <a:spLocks/>
          </p:cNvSpPr>
          <p:nvPr/>
        </p:nvSpPr>
        <p:spPr bwMode="auto">
          <a:xfrm>
            <a:off x="7266112" y="2524274"/>
            <a:ext cx="2133600" cy="920750"/>
          </a:xfrm>
          <a:prstGeom prst="accentBorderCallout2">
            <a:avLst>
              <a:gd name="adj1" fmla="val 12412"/>
              <a:gd name="adj2" fmla="val -3569"/>
              <a:gd name="adj3" fmla="val 12412"/>
              <a:gd name="adj4" fmla="val -12574"/>
              <a:gd name="adj5" fmla="val 55690"/>
              <a:gd name="adj6" fmla="val -23736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Char char="•"/>
            </a:pP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규 카드건수 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족 신규건수</a:t>
            </a:r>
          </a:p>
          <a:p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인 및 가족 이용 건수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정상 입금액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정착 수수료</a:t>
            </a:r>
          </a:p>
          <a:p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탈회건수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기타 차감 기준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원 및  불법 </a:t>
            </a:r>
            <a:r>
              <a:rPr kumimoji="1" lang="ko-KR" altLang="en-US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</a:t>
            </a:r>
            <a:r>
              <a:rPr kumimoji="1" lang="en-US" altLang="ko-KR" sz="9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9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9" name="AutoShape 13"/>
          <p:cNvSpPr>
            <a:spLocks/>
          </p:cNvSpPr>
          <p:nvPr/>
        </p:nvSpPr>
        <p:spPr bwMode="auto">
          <a:xfrm>
            <a:off x="7266112" y="4091136"/>
            <a:ext cx="2133600" cy="374650"/>
          </a:xfrm>
          <a:prstGeom prst="accentBorderCallout2">
            <a:avLst>
              <a:gd name="adj1" fmla="val 30509"/>
              <a:gd name="adj2" fmla="val -3569"/>
              <a:gd name="adj3" fmla="val 30509"/>
              <a:gd name="adj4" fmla="val -13394"/>
              <a:gd name="adj5" fmla="val 426"/>
              <a:gd name="adj6" fmla="val -20833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Char char="•"/>
            </a:pP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1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현업담당자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직</a:t>
            </a: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접 담당자</a:t>
            </a:r>
          </a:p>
        </p:txBody>
      </p:sp>
      <p:sp>
        <p:nvSpPr>
          <p:cNvPr id="130" name="AutoShape 14"/>
          <p:cNvSpPr>
            <a:spLocks/>
          </p:cNvSpPr>
          <p:nvPr/>
        </p:nvSpPr>
        <p:spPr bwMode="auto">
          <a:xfrm>
            <a:off x="7266112" y="3510111"/>
            <a:ext cx="2133600" cy="511175"/>
          </a:xfrm>
          <a:prstGeom prst="accentBorderCallout2">
            <a:avLst>
              <a:gd name="adj1" fmla="val 22361"/>
              <a:gd name="adj2" fmla="val -3569"/>
              <a:gd name="adj3" fmla="val 22361"/>
              <a:gd name="adj4" fmla="val -11458"/>
              <a:gd name="adj5" fmla="val 10560"/>
              <a:gd name="adj6" fmla="val -21356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려 수수료 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성과  수수료</a:t>
            </a:r>
          </a:p>
          <a:p>
            <a:pPr>
              <a:buFontTx/>
              <a:buChar char="•"/>
            </a:pP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목표 달성 인센티브</a:t>
            </a:r>
          </a:p>
        </p:txBody>
      </p:sp>
      <p:sp>
        <p:nvSpPr>
          <p:cNvPr id="131" name="AutoShape 15"/>
          <p:cNvSpPr>
            <a:spLocks/>
          </p:cNvSpPr>
          <p:nvPr/>
        </p:nvSpPr>
        <p:spPr bwMode="auto">
          <a:xfrm>
            <a:off x="7266112" y="4538811"/>
            <a:ext cx="2133600" cy="238125"/>
          </a:xfrm>
          <a:prstGeom prst="accentBorderCallout2">
            <a:avLst>
              <a:gd name="adj1" fmla="val 48000"/>
              <a:gd name="adj2" fmla="val -3569"/>
              <a:gd name="adj3" fmla="val 48000"/>
              <a:gd name="adj4" fmla="val -12500"/>
              <a:gd name="adj5" fmla="val 11333"/>
              <a:gd name="adj6" fmla="val -20236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Char char="•"/>
            </a:pPr>
            <a:r>
              <a:rPr kumimoji="1" lang="en-US" altLang="ko-KR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여 시스템으로 자동이관</a:t>
            </a:r>
          </a:p>
        </p:txBody>
      </p:sp>
      <p:sp>
        <p:nvSpPr>
          <p:cNvPr id="132" name="AutoShape 16"/>
          <p:cNvSpPr>
            <a:spLocks noChangeArrowheads="1"/>
          </p:cNvSpPr>
          <p:nvPr/>
        </p:nvSpPr>
        <p:spPr bwMode="auto">
          <a:xfrm>
            <a:off x="5542087" y="3392636"/>
            <a:ext cx="1322388" cy="381000"/>
          </a:xfrm>
          <a:prstGeom prst="homePlate">
            <a:avLst>
              <a:gd name="adj" fmla="val 44944"/>
            </a:avLst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>
            <a:lvl1pPr marL="4763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센티브</a:t>
            </a:r>
          </a:p>
          <a:p>
            <a:pPr algn="ctr"/>
            <a:r>
              <a:rPr kumimoji="1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</a:p>
        </p:txBody>
      </p:sp>
      <p:sp>
        <p:nvSpPr>
          <p:cNvPr id="133" name="AutoShape 4"/>
          <p:cNvSpPr>
            <a:spLocks noChangeArrowheads="1"/>
          </p:cNvSpPr>
          <p:nvPr/>
        </p:nvSpPr>
        <p:spPr bwMode="auto">
          <a:xfrm>
            <a:off x="1398712" y="4700736"/>
            <a:ext cx="2362200" cy="838200"/>
          </a:xfrm>
          <a:prstGeom prst="upDownArrow">
            <a:avLst>
              <a:gd name="adj1" fmla="val 71222"/>
              <a:gd name="adj2" fmla="val 33593"/>
            </a:avLst>
          </a:prstGeom>
          <a:gradFill rotWithShape="1">
            <a:gsLst>
              <a:gs pos="0">
                <a:srgbClr val="777777">
                  <a:alpha val="19000"/>
                </a:srgbClr>
              </a:gs>
              <a:gs pos="50000">
                <a:srgbClr val="777777">
                  <a:gamma/>
                  <a:tint val="15686"/>
                  <a:invGamma/>
                  <a:alpha val="39999"/>
                </a:srgbClr>
              </a:gs>
              <a:gs pos="100000">
                <a:srgbClr val="777777">
                  <a:alpha val="19000"/>
                </a:srgbClr>
              </a:gs>
            </a:gsLst>
            <a:lin ang="5400000" scaled="1"/>
          </a:gra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kumimoji="1"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</a:t>
            </a:r>
            <a:r>
              <a:rPr kumimoji="1"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실적 </a:t>
            </a:r>
            <a:r>
              <a:rPr kumimoji="1"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인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kumimoji="1"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aily </a:t>
            </a:r>
            <a:r>
              <a:rPr kumimoji="1"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수수료 </a:t>
            </a:r>
            <a:r>
              <a:rPr kumimoji="1"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산</a:t>
            </a:r>
          </a:p>
        </p:txBody>
      </p:sp>
      <p:sp>
        <p:nvSpPr>
          <p:cNvPr id="134" name="Rectangle 48"/>
          <p:cNvSpPr>
            <a:spLocks noChangeArrowheads="1"/>
          </p:cNvSpPr>
          <p:nvPr/>
        </p:nvSpPr>
        <p:spPr bwMode="auto">
          <a:xfrm>
            <a:off x="560512" y="5691336"/>
            <a:ext cx="2155825" cy="457200"/>
          </a:xfrm>
          <a:prstGeom prst="rect">
            <a:avLst/>
          </a:prstGeom>
          <a:solidFill>
            <a:srgbClr val="B2B2B2">
              <a:alpha val="69000"/>
            </a:srgbClr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 eaLnBrk="0" hangingPunct="0">
              <a:buFont typeface="Wingdings" panose="05000000000000000000" pitchFamily="2" charset="2"/>
              <a:buNone/>
            </a:pPr>
            <a:r>
              <a:rPr lang="ko-KR" altLang="en-US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별 목표</a:t>
            </a:r>
          </a:p>
        </p:txBody>
      </p:sp>
      <p:sp>
        <p:nvSpPr>
          <p:cNvPr id="135" name="Rectangle 49"/>
          <p:cNvSpPr>
            <a:spLocks noChangeArrowheads="1"/>
          </p:cNvSpPr>
          <p:nvPr/>
        </p:nvSpPr>
        <p:spPr bwMode="auto">
          <a:xfrm>
            <a:off x="2770312" y="5691336"/>
            <a:ext cx="2155825" cy="457200"/>
          </a:xfrm>
          <a:prstGeom prst="rect">
            <a:avLst/>
          </a:prstGeom>
          <a:solidFill>
            <a:srgbClr val="B2B2B2">
              <a:alpha val="69000"/>
            </a:srgbClr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 eaLnBrk="0" hangingPunct="0">
              <a:buFont typeface="Wingdings" panose="05000000000000000000" pitchFamily="2" charset="2"/>
              <a:buNone/>
            </a:pPr>
            <a:r>
              <a:rPr lang="ko-KR" altLang="en-US" sz="12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별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</a:p>
        </p:txBody>
      </p:sp>
      <p:sp>
        <p:nvSpPr>
          <p:cNvPr id="136" name="AutoShape 51"/>
          <p:cNvSpPr>
            <a:spLocks noChangeArrowheads="1"/>
          </p:cNvSpPr>
          <p:nvPr/>
        </p:nvSpPr>
        <p:spPr bwMode="auto">
          <a:xfrm rot="10800000">
            <a:off x="5589712" y="4929336"/>
            <a:ext cx="3810000" cy="2286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3806097" algn="ctr" rotWithShape="0">
              <a:schemeClr val="tx1"/>
            </a:outerShdw>
          </a:effectLst>
        </p:spPr>
        <p:txBody>
          <a:bodyPr rot="10800000" wrap="none" anchor="ctr"/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kumimoji="1"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Text Box 39"/>
          <p:cNvSpPr txBox="1">
            <a:spLocks noChangeArrowheads="1"/>
          </p:cNvSpPr>
          <p:nvPr/>
        </p:nvSpPr>
        <p:spPr bwMode="gray">
          <a:xfrm>
            <a:off x="709926" y="3633936"/>
            <a:ext cx="748923" cy="600164"/>
          </a:xfrm>
          <a:prstGeom prst="rect">
            <a:avLst/>
          </a:prstGeom>
          <a:solidFill>
            <a:srgbClr val="1B3A87"/>
          </a:solidFill>
          <a:ln>
            <a:noFill/>
          </a:ln>
          <a:extLst/>
        </p:spPr>
        <p:txBody>
          <a:bodyPr wrap="none">
            <a:spAutoFit/>
          </a:bodyPr>
          <a:lstStyle>
            <a:lvl1pPr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kumimoji="1" lang="ko-KR" altLang="en-US" sz="11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채널</a:t>
            </a:r>
            <a:endParaRPr kumimoji="1" lang="ko-KR" altLang="en-US" sz="11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kumimoji="1" lang="ko-KR" altLang="en-US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╊</a:t>
            </a:r>
          </a:p>
          <a:p>
            <a:pPr algn="ctr"/>
            <a:r>
              <a:rPr kumimoji="1" lang="ko-KR" altLang="en-US" sz="11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경로</a:t>
            </a:r>
            <a:endParaRPr kumimoji="1" lang="ko-KR" altLang="en-US" sz="11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Text Box 33"/>
          <p:cNvSpPr txBox="1">
            <a:spLocks noChangeArrowheads="1"/>
          </p:cNvSpPr>
          <p:nvPr/>
        </p:nvSpPr>
        <p:spPr bwMode="gray">
          <a:xfrm>
            <a:off x="524909" y="1781668"/>
            <a:ext cx="1621254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DDC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pPr algn="l" eaLnBrk="0" latinLnBrk="0" hangingPunct="0"/>
            <a:r>
              <a:rPr kumimoji="1" lang="ko-KR" altLang="en-US" sz="1200" b="1" u="sng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수수료 </a:t>
            </a:r>
            <a:r>
              <a:rPr kumimoji="1" lang="ko-KR" altLang="en-US" sz="1200" b="1" u="sng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정모델</a:t>
            </a:r>
          </a:p>
        </p:txBody>
      </p:sp>
      <p:grpSp>
        <p:nvGrpSpPr>
          <p:cNvPr id="81" name="그룹 8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</a:p>
          </p:txBody>
        </p:sp>
        <p:sp>
          <p:nvSpPr>
            <p:cNvPr id="8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</a:t>
              </a:r>
            </a:p>
          </p:txBody>
        </p:sp>
        <p:sp>
          <p:nvSpPr>
            <p:cNvPr id="8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케팅</a:t>
              </a:r>
            </a:p>
          </p:txBody>
        </p:sp>
        <p:sp>
          <p:nvSpPr>
            <p:cNvPr id="8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용관리</a:t>
              </a:r>
            </a:p>
          </p:txBody>
        </p:sp>
        <p:sp>
          <p:nvSpPr>
            <p:cNvPr id="8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관리</a:t>
              </a:r>
            </a:p>
          </p:txBody>
        </p:sp>
        <p:sp>
          <p:nvSpPr>
            <p:cNvPr id="8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관리</a:t>
              </a:r>
            </a:p>
          </p:txBody>
        </p:sp>
        <p:grpSp>
          <p:nvGrpSpPr>
            <p:cNvPr id="90" name="그룹 8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정보계</a:t>
                </a:r>
              </a:p>
            </p:txBody>
          </p:sp>
          <p:sp>
            <p:nvSpPr>
              <p:cNvPr id="14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056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케팅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마케팅 </a:t>
            </a:r>
            <a:r>
              <a:rPr lang="ko-KR" altLang="en-US" dirty="0"/>
              <a:t>프로세스의 가설적 이슈를 기반으로 </a:t>
            </a:r>
            <a:r>
              <a:rPr lang="en-US" altLang="ko-KR" dirty="0" smtClean="0"/>
              <a:t>Real-Time </a:t>
            </a:r>
            <a:r>
              <a:rPr lang="ko-KR" altLang="en-US" dirty="0" smtClean="0"/>
              <a:t>마케팅 체계 구축</a:t>
            </a:r>
            <a:r>
              <a:rPr lang="en-US" altLang="ko-KR" dirty="0" smtClean="0"/>
              <a:t>, </a:t>
            </a:r>
            <a:r>
              <a:rPr lang="ko-KR" altLang="en-US" dirty="0" smtClean="0"/>
              <a:t>마케팅 성과분석 및 </a:t>
            </a:r>
            <a:r>
              <a:rPr lang="en-US" altLang="ko-KR" dirty="0" smtClean="0"/>
              <a:t>CMS </a:t>
            </a:r>
            <a:r>
              <a:rPr lang="ko-KR" altLang="en-US" dirty="0" smtClean="0"/>
              <a:t>개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고객</a:t>
            </a:r>
            <a:r>
              <a:rPr lang="en-US" altLang="ko-KR" dirty="0" smtClean="0"/>
              <a:t>/</a:t>
            </a:r>
            <a:r>
              <a:rPr lang="ko-KR" altLang="en-US" dirty="0" smtClean="0"/>
              <a:t>상품별 오퍼 제공 과제를 </a:t>
            </a:r>
            <a:r>
              <a:rPr lang="ko-KR" altLang="en-US" dirty="0"/>
              <a:t>도출함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04" y="2638100"/>
            <a:ext cx="3040025" cy="3527204"/>
            <a:chOff x="488504" y="2638100"/>
            <a:chExt cx="3040025" cy="3527204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488504" y="2638100"/>
              <a:ext cx="3040025" cy="35885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이슈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488504" y="2995532"/>
              <a:ext cx="3040025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361950" indent="-180975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8639"/>
            <a:ext cx="9334604" cy="27833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6879456 w 9334604"/>
              <a:gd name="connsiteY2" fmla="*/ 7654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74533 h 274533"/>
              <a:gd name="connsiteX1" fmla="*/ 5873682 w 9334604"/>
              <a:gd name="connsiteY1" fmla="*/ 0 h 274533"/>
              <a:gd name="connsiteX2" fmla="*/ 6879456 w 9334604"/>
              <a:gd name="connsiteY2" fmla="*/ 1530 h 274533"/>
              <a:gd name="connsiteX3" fmla="*/ 9334604 w 9334604"/>
              <a:gd name="connsiteY3" fmla="*/ 272120 h 274533"/>
              <a:gd name="connsiteX4" fmla="*/ 0 w 9334604"/>
              <a:gd name="connsiteY4" fmla="*/ 274533 h 274533"/>
              <a:gd name="connsiteX0" fmla="*/ 0 w 9334604"/>
              <a:gd name="connsiteY0" fmla="*/ 273003 h 273003"/>
              <a:gd name="connsiteX1" fmla="*/ 2339907 w 9334604"/>
              <a:gd name="connsiteY1" fmla="*/ 4594 h 273003"/>
              <a:gd name="connsiteX2" fmla="*/ 6879456 w 9334604"/>
              <a:gd name="connsiteY2" fmla="*/ 0 h 273003"/>
              <a:gd name="connsiteX3" fmla="*/ 9334604 w 9334604"/>
              <a:gd name="connsiteY3" fmla="*/ 270590 h 273003"/>
              <a:gd name="connsiteX4" fmla="*/ 0 w 9334604"/>
              <a:gd name="connsiteY4" fmla="*/ 273003 h 273003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3367906 w 9334604"/>
              <a:gd name="connsiteY2" fmla="*/ 1530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68409">
                <a:moveTo>
                  <a:pt x="0" y="268409"/>
                </a:moveTo>
                <a:lnTo>
                  <a:pt x="2339907" y="0"/>
                </a:lnTo>
                <a:lnTo>
                  <a:pt x="3367906" y="1530"/>
                </a:lnTo>
                <a:lnTo>
                  <a:pt x="9334604" y="265996"/>
                </a:lnTo>
                <a:lnTo>
                  <a:pt x="0" y="268409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590244" y="3068960"/>
            <a:ext cx="2755244" cy="1162232"/>
            <a:chOff x="6590244" y="3565354"/>
            <a:chExt cx="2755244" cy="1162232"/>
          </a:xfrm>
        </p:grpSpPr>
        <p:sp>
          <p:nvSpPr>
            <p:cNvPr id="56" name="TextBox 55"/>
            <p:cNvSpPr txBox="1"/>
            <p:nvPr/>
          </p:nvSpPr>
          <p:spPr bwMode="auto">
            <a:xfrm>
              <a:off x="6590244" y="3565354"/>
              <a:ext cx="2755244" cy="11622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Real-Time 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마케팅 체계 구축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트리거 마케팅 기능 고도화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전사 통합관점 마케팅 전략 체계 정립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 세분화 기준체계 수립</a:t>
              </a: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590244" y="3570970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6590244" y="4293096"/>
            <a:ext cx="2755244" cy="1162232"/>
            <a:chOff x="6590244" y="4179743"/>
            <a:chExt cx="2755244" cy="1162232"/>
          </a:xfrm>
        </p:grpSpPr>
        <p:sp>
          <p:nvSpPr>
            <p:cNvPr id="73" name="TextBox 72"/>
            <p:cNvSpPr txBox="1"/>
            <p:nvPr/>
          </p:nvSpPr>
          <p:spPr bwMode="auto">
            <a:xfrm>
              <a:off x="6590244" y="4179743"/>
              <a:ext cx="2755244" cy="11622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마케팅 성과분석 및 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CMS 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개선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마케팅 성과분석 체계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마케팅 비용분석 체계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CMS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 기능 고도화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	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6590244" y="4185359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512840" y="2782116"/>
            <a:ext cx="2987565" cy="3352450"/>
            <a:chOff x="3651451" y="2782116"/>
            <a:chExt cx="3078595" cy="3352450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212976"/>
              <a:ext cx="2895819" cy="292159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651451" y="3284984"/>
              <a:ext cx="2893881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간 마케팅 실행 체계 개선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 협업 및 실행 체계 개선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cxnSp>
        <p:nvCxnSpPr>
          <p:cNvPr id="58" name="직선 연결선 57"/>
          <p:cNvCxnSpPr/>
          <p:nvPr/>
        </p:nvCxnSpPr>
        <p:spPr bwMode="auto">
          <a:xfrm>
            <a:off x="1396600" y="3789040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9" name="TextBox 58"/>
          <p:cNvSpPr txBox="1"/>
          <p:nvPr/>
        </p:nvSpPr>
        <p:spPr bwMode="auto">
          <a:xfrm>
            <a:off x="1489495" y="3069574"/>
            <a:ext cx="2016311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마켓 센싱 기능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외부 데이터 분석환경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전사 마케팅 총괄관리 미흡</a:t>
            </a:r>
          </a:p>
        </p:txBody>
      </p:sp>
      <p:cxnSp>
        <p:nvCxnSpPr>
          <p:cNvPr id="60" name="직선 연결선 59"/>
          <p:cNvCxnSpPr/>
          <p:nvPr/>
        </p:nvCxnSpPr>
        <p:spPr bwMode="auto">
          <a:xfrm>
            <a:off x="1399561" y="4351036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1402522" y="5310586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1" name="화살표: 오각형 50"/>
          <p:cNvSpPr/>
          <p:nvPr/>
        </p:nvSpPr>
        <p:spPr bwMode="auto">
          <a:xfrm rot="5400000">
            <a:off x="628314" y="3037476"/>
            <a:ext cx="720000" cy="816567"/>
          </a:xfrm>
          <a:prstGeom prst="homePlate">
            <a:avLst>
              <a:gd name="adj" fmla="val 2083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획</a:t>
            </a:r>
          </a:p>
        </p:txBody>
      </p:sp>
      <p:sp>
        <p:nvSpPr>
          <p:cNvPr id="52" name="화살표: 오각형 51"/>
          <p:cNvSpPr/>
          <p:nvPr/>
        </p:nvSpPr>
        <p:spPr bwMode="auto">
          <a:xfrm rot="5400000">
            <a:off x="763836" y="3671956"/>
            <a:ext cx="448955" cy="816567"/>
          </a:xfrm>
          <a:prstGeom prst="homePlate">
            <a:avLst>
              <a:gd name="adj" fmla="val 1735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준비</a:t>
            </a:r>
          </a:p>
        </p:txBody>
      </p:sp>
      <p:sp>
        <p:nvSpPr>
          <p:cNvPr id="53" name="화살표: 오각형 52"/>
          <p:cNvSpPr/>
          <p:nvPr/>
        </p:nvSpPr>
        <p:spPr bwMode="auto">
          <a:xfrm rot="5400000">
            <a:off x="530855" y="4414362"/>
            <a:ext cx="914924" cy="816567"/>
          </a:xfrm>
          <a:prstGeom prst="homePlate">
            <a:avLst>
              <a:gd name="adj" fmla="val 188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실행</a:t>
            </a:r>
          </a:p>
        </p:txBody>
      </p:sp>
      <p:sp>
        <p:nvSpPr>
          <p:cNvPr id="54" name="화살표: 오각형 53"/>
          <p:cNvSpPr/>
          <p:nvPr/>
        </p:nvSpPr>
        <p:spPr bwMode="auto">
          <a:xfrm rot="5400000">
            <a:off x="628315" y="5298544"/>
            <a:ext cx="720000" cy="816567"/>
          </a:xfrm>
          <a:prstGeom prst="homePlate">
            <a:avLst>
              <a:gd name="adj" fmla="val 2062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평가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1490266" y="3846980"/>
            <a:ext cx="2016311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세분화 기준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오퍼 이력관리 기능 부재</a:t>
            </a:r>
          </a:p>
        </p:txBody>
      </p:sp>
      <p:sp>
        <p:nvSpPr>
          <p:cNvPr id="66" name="TextBox 65"/>
          <p:cNvSpPr txBox="1"/>
          <p:nvPr/>
        </p:nvSpPr>
        <p:spPr bwMode="auto">
          <a:xfrm>
            <a:off x="1490179" y="4401942"/>
            <a:ext cx="2016311" cy="9021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 회원 중심의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CMS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운영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캠페인 현황 모니터링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금융 할인율 제공 이력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트리거 실행 인프라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7" name="TextBox 66"/>
          <p:cNvSpPr txBox="1"/>
          <p:nvPr/>
        </p:nvSpPr>
        <p:spPr bwMode="auto">
          <a:xfrm>
            <a:off x="1490266" y="5385766"/>
            <a:ext cx="2016311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캠페인 성과 수작업 집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마케팅 성과 분석 비표준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비용처리 시스템 지원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71" name="그룹 70"/>
          <p:cNvGrpSpPr/>
          <p:nvPr/>
        </p:nvGrpSpPr>
        <p:grpSpPr>
          <a:xfrm>
            <a:off x="6588082" y="5373216"/>
            <a:ext cx="2755244" cy="866767"/>
            <a:chOff x="6590244" y="4179743"/>
            <a:chExt cx="2755244" cy="866767"/>
          </a:xfrm>
        </p:grpSpPr>
        <p:sp>
          <p:nvSpPr>
            <p:cNvPr id="72" name="TextBox 71"/>
            <p:cNvSpPr txBox="1"/>
            <p:nvPr/>
          </p:nvSpPr>
          <p:spPr bwMode="auto">
            <a:xfrm>
              <a:off x="6590244" y="4179743"/>
              <a:ext cx="2755244" cy="8667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상품별 혜택 오퍼 제공 체계 도입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마케팅 허들관리 체계 정립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	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6590244" y="4185359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485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격한 사업규모 성장에 따른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계 발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자카드시스템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9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효회원 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5%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용액 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7%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가라는 괄목할만한 성장을 보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8" name="차트 7"/>
          <p:cNvGraphicFramePr/>
          <p:nvPr>
            <p:extLst/>
          </p:nvPr>
        </p:nvGraphicFramePr>
        <p:xfrm>
          <a:off x="3537479" y="2571744"/>
          <a:ext cx="28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차트 9"/>
          <p:cNvGraphicFramePr/>
          <p:nvPr>
            <p:extLst/>
          </p:nvPr>
        </p:nvGraphicFramePr>
        <p:xfrm>
          <a:off x="501364" y="2571744"/>
          <a:ext cx="28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차트 11"/>
          <p:cNvGraphicFramePr/>
          <p:nvPr>
            <p:extLst/>
          </p:nvPr>
        </p:nvGraphicFramePr>
        <p:xfrm>
          <a:off x="6573594" y="2571744"/>
          <a:ext cx="28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직사각형 12"/>
          <p:cNvSpPr/>
          <p:nvPr/>
        </p:nvSpPr>
        <p:spPr bwMode="auto">
          <a:xfrm>
            <a:off x="501364" y="2278743"/>
            <a:ext cx="2808000" cy="315052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3547798" y="2278743"/>
            <a:ext cx="2808000" cy="315052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6598994" y="2278743"/>
            <a:ext cx="2808000" cy="315052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Line 571"/>
          <p:cNvSpPr>
            <a:spLocks noChangeShapeType="1"/>
          </p:cNvSpPr>
          <p:nvPr/>
        </p:nvSpPr>
        <p:spPr bwMode="auto">
          <a:xfrm rot="20538198" flipV="1">
            <a:off x="1492482" y="3330797"/>
            <a:ext cx="824674" cy="390081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 type="triangle" w="med" len="med"/>
          </a:ln>
          <a:effectLst/>
        </p:spPr>
        <p:txBody>
          <a:bodyPr lIns="0" tIns="0" rIns="0" bIns="0"/>
          <a:lstStyle/>
          <a:p>
            <a:pPr algn="ctr" eaLnBrk="0" fontAlgn="t" hangingPunct="0">
              <a:spcBef>
                <a:spcPct val="50000"/>
              </a:spcBef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501364" y="1900444"/>
            <a:ext cx="2808000" cy="41910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400" dirty="0">
                <a:solidFill>
                  <a:srgbClr val="FFFFFF"/>
                </a:solidFill>
                <a:latin typeface="맑은 고딕"/>
                <a:ea typeface="맑은 고딕"/>
              </a:rPr>
              <a:t>유효회원 </a:t>
            </a:r>
            <a:r>
              <a:rPr lang="ko-KR" altLang="en-US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현황 </a:t>
            </a:r>
            <a:r>
              <a:rPr lang="en-US" altLang="ko-KR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(</a:t>
            </a:r>
            <a:r>
              <a:rPr lang="ko-KR" altLang="en-US" sz="1400" dirty="0">
                <a:solidFill>
                  <a:srgbClr val="FFFFFF"/>
                </a:solidFill>
                <a:latin typeface="맑은 고딕"/>
                <a:ea typeface="맑은 고딕"/>
              </a:rPr>
              <a:t>천명</a:t>
            </a:r>
            <a:r>
              <a:rPr lang="en-US" altLang="ko-KR" sz="1400" dirty="0">
                <a:solidFill>
                  <a:srgbClr val="FFFFFF"/>
                </a:solidFill>
                <a:latin typeface="맑은 고딕"/>
                <a:ea typeface="맑은 고딕"/>
              </a:rPr>
              <a:t>)</a:t>
            </a:r>
            <a:endParaRPr lang="ko-KR" altLang="en-US" sz="1400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3547798" y="1900444"/>
            <a:ext cx="2808000" cy="41910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400" dirty="0">
                <a:solidFill>
                  <a:srgbClr val="FFFFFF"/>
                </a:solidFill>
                <a:latin typeface="맑은 고딕"/>
                <a:ea typeface="맑은 고딕"/>
              </a:rPr>
              <a:t>이용액 </a:t>
            </a:r>
            <a:r>
              <a:rPr lang="ko-KR" altLang="en-US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현황 </a:t>
            </a:r>
            <a:r>
              <a:rPr lang="en-US" altLang="ko-KR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(</a:t>
            </a:r>
            <a:r>
              <a:rPr lang="ko-KR" altLang="en-US" sz="1400" dirty="0">
                <a:solidFill>
                  <a:srgbClr val="FFFFFF"/>
                </a:solidFill>
                <a:latin typeface="맑은 고딕"/>
                <a:ea typeface="맑은 고딕"/>
              </a:rPr>
              <a:t>조원</a:t>
            </a:r>
            <a:r>
              <a:rPr lang="en-US" altLang="ko-KR" sz="1400" dirty="0">
                <a:solidFill>
                  <a:srgbClr val="FFFFFF"/>
                </a:solidFill>
                <a:latin typeface="맑은 고딕"/>
                <a:ea typeface="맑은 고딕"/>
              </a:rPr>
              <a:t>)</a:t>
            </a:r>
            <a:endParaRPr lang="ko-KR" altLang="en-US" sz="1400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6598994" y="1900444"/>
            <a:ext cx="2808000" cy="41910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en-US" altLang="ko-KR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Market Share</a:t>
            </a:r>
            <a:r>
              <a:rPr lang="ko-KR" altLang="en-US" sz="1400" dirty="0" smtClean="0">
                <a:solidFill>
                  <a:srgbClr val="FFFFFF"/>
                </a:solidFill>
                <a:latin typeface="맑은 고딕"/>
                <a:ea typeface="맑은 고딕"/>
              </a:rPr>
              <a:t> </a:t>
            </a:r>
            <a:r>
              <a:rPr lang="ko-KR" altLang="en-US" sz="1400" dirty="0">
                <a:solidFill>
                  <a:srgbClr val="FFFFFF"/>
                </a:solidFill>
                <a:latin typeface="맑은 고딕"/>
                <a:ea typeface="맑은 고딕"/>
              </a:rPr>
              <a:t>현황</a:t>
            </a:r>
          </a:p>
        </p:txBody>
      </p:sp>
      <p:sp>
        <p:nvSpPr>
          <p:cNvPr id="26" name="TextBox 25"/>
          <p:cNvSpPr txBox="1"/>
          <p:nvPr/>
        </p:nvSpPr>
        <p:spPr bwMode="auto">
          <a:xfrm>
            <a:off x="1062010" y="3630614"/>
            <a:ext cx="410937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8,393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2355832" y="2773358"/>
            <a:ext cx="48788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15,505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952472" y="3214686"/>
            <a:ext cx="1143008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9800" eaLnBrk="0" hangingPunct="0">
              <a:lnSpc>
                <a:spcPts val="1500"/>
              </a:lnSpc>
              <a:spcBef>
                <a:spcPct val="20000"/>
              </a:spcBef>
              <a:buClr>
                <a:srgbClr val="000000"/>
              </a:buClr>
              <a:buSzPct val="90000"/>
            </a:pPr>
            <a:r>
              <a:rPr lang="en-US" altLang="ko-KR" sz="11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4.7%</a:t>
            </a:r>
          </a:p>
        </p:txBody>
      </p:sp>
      <p:sp>
        <p:nvSpPr>
          <p:cNvPr id="29" name="Line 571"/>
          <p:cNvSpPr>
            <a:spLocks noChangeShapeType="1"/>
          </p:cNvSpPr>
          <p:nvPr/>
        </p:nvSpPr>
        <p:spPr bwMode="auto">
          <a:xfrm rot="20538198" flipV="1">
            <a:off x="4492298" y="3267039"/>
            <a:ext cx="876015" cy="395362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 type="triangle" w="med" len="med"/>
          </a:ln>
          <a:effectLst/>
        </p:spPr>
        <p:txBody>
          <a:bodyPr lIns="0" tIns="0" rIns="0" bIns="0"/>
          <a:lstStyle/>
          <a:p>
            <a:pPr algn="ctr" eaLnBrk="0" fontAlgn="t" hangingPunct="0">
              <a:spcBef>
                <a:spcPct val="50000"/>
              </a:spcBef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050005" y="3234468"/>
            <a:ext cx="1143008" cy="265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9800" eaLnBrk="0" hangingPunct="0">
              <a:lnSpc>
                <a:spcPts val="1500"/>
              </a:lnSpc>
              <a:spcBef>
                <a:spcPct val="20000"/>
              </a:spcBef>
              <a:buClr>
                <a:srgbClr val="000000"/>
              </a:buClr>
              <a:buSzPct val="90000"/>
            </a:pPr>
            <a:r>
              <a:rPr lang="en-US" altLang="ko-KR" sz="11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6.9%</a:t>
            </a:r>
          </a:p>
        </p:txBody>
      </p:sp>
      <p:sp>
        <p:nvSpPr>
          <p:cNvPr id="32" name="Line 571"/>
          <p:cNvSpPr>
            <a:spLocks noChangeShapeType="1"/>
          </p:cNvSpPr>
          <p:nvPr/>
        </p:nvSpPr>
        <p:spPr bwMode="auto">
          <a:xfrm rot="20538198" flipV="1">
            <a:off x="7492694" y="3481352"/>
            <a:ext cx="876015" cy="395362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 type="triangle" w="med" len="med"/>
          </a:ln>
          <a:effectLst/>
        </p:spPr>
        <p:txBody>
          <a:bodyPr lIns="0" tIns="0" rIns="0" bIns="0"/>
          <a:lstStyle/>
          <a:p>
            <a:pPr algn="ctr" eaLnBrk="0" fontAlgn="t" hangingPunct="0">
              <a:spcBef>
                <a:spcPct val="50000"/>
              </a:spcBef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7024702" y="3429000"/>
            <a:ext cx="1143008" cy="265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9800" eaLnBrk="0" hangingPunct="0">
              <a:lnSpc>
                <a:spcPts val="1500"/>
              </a:lnSpc>
              <a:spcBef>
                <a:spcPct val="20000"/>
              </a:spcBef>
              <a:buClr>
                <a:srgbClr val="000000"/>
              </a:buClr>
              <a:buSzPct val="90000"/>
            </a:pPr>
            <a:r>
              <a:rPr lang="en-US" altLang="ko-KR" sz="105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,4%p</a:t>
            </a:r>
          </a:p>
        </p:txBody>
      </p:sp>
      <p:sp>
        <p:nvSpPr>
          <p:cNvPr id="36" name="TextBox 35"/>
          <p:cNvSpPr txBox="1"/>
          <p:nvPr/>
        </p:nvSpPr>
        <p:spPr bwMode="auto">
          <a:xfrm>
            <a:off x="3595678" y="1384310"/>
            <a:ext cx="2534916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</a:pP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2009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년 이후 급격한 외형 성장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551554" y="5598561"/>
            <a:ext cx="8786873" cy="569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“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사업규모의 급격한 성장에 따라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거래처리량 및 업무현업 업무량 증가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 복잡도 증가 등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양한 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이슈가 파생됨</a:t>
            </a:r>
            <a:r>
              <a:rPr kumimoji="1" lang="en-US" altLang="ko-KR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kumimoji="1" lang="en-US" altLang="ko-KR" sz="13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4" name="직선 연결선 33"/>
          <p:cNvCxnSpPr/>
          <p:nvPr/>
        </p:nvCxnSpPr>
        <p:spPr bwMode="auto">
          <a:xfrm>
            <a:off x="523844" y="1697295"/>
            <a:ext cx="8892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137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en-US" altLang="ko-KR" dirty="0" smtClean="0"/>
              <a:t>Real-Time </a:t>
            </a:r>
            <a:r>
              <a:rPr lang="ko-KR" altLang="en-US" dirty="0"/>
              <a:t>마케팅 체계 </a:t>
            </a:r>
            <a:r>
              <a:rPr lang="ko-KR" altLang="en-US" dirty="0" smtClean="0"/>
              <a:t>구축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8988" cy="605126"/>
          </a:xfrm>
        </p:spPr>
        <p:txBody>
          <a:bodyPr/>
          <a:lstStyle/>
          <a:p>
            <a:r>
              <a:rPr lang="ko-KR" altLang="en-US" dirty="0"/>
              <a:t>개인</a:t>
            </a:r>
            <a:r>
              <a:rPr lang="en-US" altLang="ko-KR" dirty="0"/>
              <a:t>, </a:t>
            </a:r>
            <a:r>
              <a:rPr lang="ko-KR" altLang="en-US" dirty="0"/>
              <a:t>가맹점 대상 마케팅</a:t>
            </a:r>
            <a:r>
              <a:rPr lang="en-US" altLang="ko-KR" dirty="0"/>
              <a:t> </a:t>
            </a:r>
            <a:r>
              <a:rPr lang="ko-KR" altLang="en-US" dirty="0"/>
              <a:t>캠페인 확대를 위해 </a:t>
            </a:r>
            <a:r>
              <a:rPr lang="en-US" altLang="ko-KR" dirty="0"/>
              <a:t>Rule</a:t>
            </a:r>
            <a:r>
              <a:rPr lang="ko-KR" altLang="en-US" dirty="0"/>
              <a:t> 기반의 실시간 마케팅 체계를 고도화하고</a:t>
            </a:r>
            <a:r>
              <a:rPr lang="en-US" altLang="ko-KR" dirty="0"/>
              <a:t>, </a:t>
            </a:r>
            <a:r>
              <a:rPr lang="ko-KR" altLang="en-US" dirty="0"/>
              <a:t>대상 추출 및 캠페인 프로세스를 </a:t>
            </a:r>
            <a:r>
              <a:rPr lang="ko-KR" altLang="en-US" dirty="0" smtClean="0"/>
              <a:t>표준화함  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맞춤형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 마케팅 체계 구축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맹점 실시간 마케팅 체계 구축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전사 마케팅 총괄 관리 조직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역할 검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MS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와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BM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능이 통합된 솔루션 검토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564704" y="5370030"/>
            <a:ext cx="4076456" cy="9021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266700" indent="-2667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널간 마케팅 실행정보 공유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indent="-2667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트리거 마케팅 대상 정의를 위한 고객 분석 지원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미흡 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indent="-2667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시간 고객 니즈 분석을 위한 인프라 성능 부족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indent="-2667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금융상품 트리거 마케팅 실행 이력조회 불가</a:t>
            </a: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9" y="5854314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반 이벤트 트리거에 의한 실시간 캠페인 수행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가맹점 실시간 마케팅 기반 구축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501809" y="3386366"/>
            <a:ext cx="4139352" cy="1920932"/>
            <a:chOff x="624652" y="1781177"/>
            <a:chExt cx="4299775" cy="2314573"/>
          </a:xfrm>
        </p:grpSpPr>
        <p:sp>
          <p:nvSpPr>
            <p:cNvPr id="42" name="직사각형 41"/>
            <p:cNvSpPr/>
            <p:nvPr/>
          </p:nvSpPr>
          <p:spPr bwMode="auto">
            <a:xfrm>
              <a:off x="624652" y="1781177"/>
              <a:ext cx="736600" cy="231457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널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742188" y="2255834"/>
              <a:ext cx="501527" cy="23495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모바일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742188" y="2617784"/>
              <a:ext cx="501527" cy="23495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EM</a:t>
              </a: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742188" y="2979734"/>
              <a:ext cx="501527" cy="23495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MS</a:t>
              </a: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742188" y="3341684"/>
              <a:ext cx="501527" cy="23495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TM</a:t>
              </a: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1682872" y="2316006"/>
              <a:ext cx="1803174" cy="8653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EBM</a:t>
              </a: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1775404" y="2584450"/>
              <a:ext cx="796346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간</a:t>
              </a:r>
              <a:r>
                <a:rPr kumimoji="1" lang="en-US" altLang="ko-KR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벤트관리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1682872" y="3409950"/>
              <a:ext cx="1803174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콜센터</a:t>
              </a: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 bwMode="auto">
            <a:xfrm>
              <a:off x="1952361" y="3707130"/>
              <a:ext cx="1272277" cy="2482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마케팅 상담 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2606388" y="2584450"/>
              <a:ext cx="796346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벤트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평가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3642218" y="1781177"/>
              <a:ext cx="1282208" cy="148907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업무 시스템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3901441" y="2144616"/>
              <a:ext cx="796346" cy="18762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3901441" y="2434805"/>
              <a:ext cx="796346" cy="18762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3901441" y="2724992"/>
              <a:ext cx="796346" cy="18762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발급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3901441" y="3015181"/>
              <a:ext cx="796346" cy="18762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7" name="직선 화살표 연결선 56"/>
            <p:cNvCxnSpPr/>
            <p:nvPr/>
          </p:nvCxnSpPr>
          <p:spPr bwMode="auto">
            <a:xfrm>
              <a:off x="1361252" y="2871818"/>
              <a:ext cx="299952" cy="189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grpSp>
          <p:nvGrpSpPr>
            <p:cNvPr id="58" name="그룹 57"/>
            <p:cNvGrpSpPr/>
            <p:nvPr/>
          </p:nvGrpSpPr>
          <p:grpSpPr>
            <a:xfrm>
              <a:off x="3642219" y="3368676"/>
              <a:ext cx="1282208" cy="727073"/>
              <a:chOff x="3658441" y="3368677"/>
              <a:chExt cx="1815883" cy="323854"/>
            </a:xfrm>
          </p:grpSpPr>
          <p:sp>
            <p:nvSpPr>
              <p:cNvPr id="63" name="직사각형 62"/>
              <p:cNvSpPr/>
              <p:nvPr/>
            </p:nvSpPr>
            <p:spPr bwMode="auto">
              <a:xfrm>
                <a:off x="3658441" y="3368677"/>
                <a:ext cx="844437" cy="32385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b="1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DW</a:t>
                </a:r>
                <a:endPara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4" name="직사각형 63"/>
              <p:cNvSpPr/>
              <p:nvPr/>
            </p:nvSpPr>
            <p:spPr bwMode="auto">
              <a:xfrm>
                <a:off x="4629887" y="3368677"/>
                <a:ext cx="844437" cy="32385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b="1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EDW</a:t>
                </a:r>
                <a:endPara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cxnSp>
          <p:nvCxnSpPr>
            <p:cNvPr id="59" name="직선 화살표 연결선 58"/>
            <p:cNvCxnSpPr/>
            <p:nvPr/>
          </p:nvCxnSpPr>
          <p:spPr bwMode="auto">
            <a:xfrm flipH="1" flipV="1">
              <a:off x="2566995" y="3181350"/>
              <a:ext cx="1115" cy="22860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60" name="직사각형 59"/>
            <p:cNvSpPr/>
            <p:nvPr/>
          </p:nvSpPr>
          <p:spPr bwMode="auto">
            <a:xfrm>
              <a:off x="1661204" y="1781177"/>
              <a:ext cx="1824841" cy="30797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MS</a:t>
              </a:r>
            </a:p>
          </p:txBody>
        </p:sp>
        <p:cxnSp>
          <p:nvCxnSpPr>
            <p:cNvPr id="62" name="직선 화살표 연결선 61"/>
            <p:cNvCxnSpPr>
              <a:endCxn id="47" idx="3"/>
            </p:cNvCxnSpPr>
            <p:nvPr/>
          </p:nvCxnSpPr>
          <p:spPr bwMode="auto">
            <a:xfrm flipH="1">
              <a:off x="3486046" y="2724992"/>
              <a:ext cx="156173" cy="2368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sp>
        <p:nvSpPr>
          <p:cNvPr id="7" name="직사각형 6"/>
          <p:cNvSpPr/>
          <p:nvPr/>
        </p:nvSpPr>
        <p:spPr bwMode="auto">
          <a:xfrm>
            <a:off x="1065184" y="3254694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1484943" y="3954051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032395" y="3935940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671970" y="4843926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4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46761" y="5383347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46761" y="5612010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46761" y="5828034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46761" y="6056697"/>
            <a:ext cx="216024" cy="18864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4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9" name="Picture 21" descr="building 2_s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48" y="3513532"/>
            <a:ext cx="315665" cy="32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3" descr="storage system_s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413" y="3485841"/>
            <a:ext cx="271750" cy="37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03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5492140"/>
            <a:ext cx="341634" cy="3470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13" descr="storage system_s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863" y="3485841"/>
            <a:ext cx="271750" cy="37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58" descr="envelopes front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312" y="3606017"/>
            <a:ext cx="227559" cy="1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3" descr="storage system_s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33" y="4959367"/>
            <a:ext cx="271750" cy="37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30"/>
          <p:cNvSpPr>
            <a:spLocks noChangeArrowheads="1"/>
          </p:cNvSpPr>
          <p:nvPr/>
        </p:nvSpPr>
        <p:spPr bwMode="gray">
          <a:xfrm>
            <a:off x="8173241" y="3320853"/>
            <a:ext cx="1388271" cy="1044251"/>
          </a:xfrm>
          <a:prstGeom prst="rect">
            <a:avLst/>
          </a:prstGeom>
          <a:noFill/>
          <a:ln w="9525" algn="ctr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rIns="0" anchor="t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rigger Marketing</a:t>
            </a:r>
          </a:p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홍길동 고객님을 위한 제안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!</a:t>
            </a:r>
          </a:p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B</a:t>
            </a: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맹점 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10% </a:t>
            </a: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할인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연결 </a:t>
            </a:r>
            <a:r>
              <a:rPr kumimoji="0" lang="en-US" altLang="ko-KR" sz="800" b="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url</a:t>
            </a:r>
            <a:endParaRPr kumimoji="0" lang="en-US" altLang="ko-KR" sz="800" b="0" kern="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C</a:t>
            </a: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가맹점 음료 무료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/>
            </a:r>
            <a:b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연결 </a:t>
            </a:r>
            <a:r>
              <a:rPr kumimoji="0" lang="en-US" altLang="ko-KR" sz="800" b="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url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/>
            </a:r>
            <a:b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…</a:t>
            </a:r>
            <a:endParaRPr kumimoji="0" lang="en-US" altLang="ko-KR" sz="800" b="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Rectangle 30"/>
          <p:cNvSpPr>
            <a:spLocks noChangeArrowheads="1"/>
          </p:cNvSpPr>
          <p:nvPr/>
        </p:nvSpPr>
        <p:spPr bwMode="gray">
          <a:xfrm>
            <a:off x="8173241" y="4569844"/>
            <a:ext cx="1388271" cy="1164294"/>
          </a:xfrm>
          <a:prstGeom prst="rect">
            <a:avLst/>
          </a:prstGeom>
          <a:noFill/>
          <a:ln w="9525" algn="ctr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rIns="0" anchor="t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LO App.</a:t>
            </a:r>
            <a:endParaRPr kumimoji="0" lang="en-US" altLang="ko-KR" sz="9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8223660" y="4869160"/>
            <a:ext cx="1287433" cy="257450"/>
            <a:chOff x="8223660" y="4831060"/>
            <a:chExt cx="1287433" cy="257450"/>
          </a:xfrm>
        </p:grpSpPr>
        <p:sp>
          <p:nvSpPr>
            <p:cNvPr id="83" name="Rectangle 30"/>
            <p:cNvSpPr>
              <a:spLocks noChangeArrowheads="1"/>
            </p:cNvSpPr>
            <p:nvPr/>
          </p:nvSpPr>
          <p:spPr bwMode="gray">
            <a:xfrm>
              <a:off x="8223660" y="4838524"/>
              <a:ext cx="1287433" cy="249986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prstDash val="dash"/>
              <a:miter lim="800000"/>
              <a:headEnd/>
              <a:tailEnd/>
            </a:ln>
            <a:effectLst/>
          </p:spPr>
          <p:txBody>
            <a:bodyPr rIns="0" anchor="t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kumimoji="0" lang="en-US" altLang="ko-KR" sz="8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4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1775" y="4888698"/>
              <a:ext cx="147260" cy="15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Rectangle 30"/>
            <p:cNvSpPr>
              <a:spLocks noChangeArrowheads="1"/>
            </p:cNvSpPr>
            <p:nvPr/>
          </p:nvSpPr>
          <p:spPr bwMode="gray">
            <a:xfrm>
              <a:off x="8506278" y="4850110"/>
              <a:ext cx="660657" cy="227260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B</a:t>
              </a: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맹점</a:t>
              </a: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% </a:t>
              </a: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할인</a:t>
              </a:r>
              <a:endParaRPr kumimoji="0" lang="en-US" altLang="ko-KR" sz="7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" name="타원 8"/>
            <p:cNvSpPr/>
            <p:nvPr/>
          </p:nvSpPr>
          <p:spPr bwMode="auto">
            <a:xfrm>
              <a:off x="9129464" y="4876827"/>
              <a:ext cx="318881" cy="180000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6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결</a:t>
              </a:r>
            </a:p>
          </p:txBody>
        </p:sp>
        <p:grpSp>
          <p:nvGrpSpPr>
            <p:cNvPr id="87" name="Group 4"/>
            <p:cNvGrpSpPr>
              <a:grpSpLocks noChangeAspect="1"/>
            </p:cNvGrpSpPr>
            <p:nvPr/>
          </p:nvGrpSpPr>
          <p:grpSpPr bwMode="auto">
            <a:xfrm>
              <a:off x="9106110" y="4831060"/>
              <a:ext cx="138795" cy="124885"/>
              <a:chOff x="3109" y="1896"/>
              <a:chExt cx="369" cy="316"/>
            </a:xfrm>
          </p:grpSpPr>
          <p:sp>
            <p:nvSpPr>
              <p:cNvPr id="88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9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0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1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3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grpSp>
        <p:nvGrpSpPr>
          <p:cNvPr id="94" name="그룹 93"/>
          <p:cNvGrpSpPr/>
          <p:nvPr/>
        </p:nvGrpSpPr>
        <p:grpSpPr>
          <a:xfrm>
            <a:off x="8223660" y="5159708"/>
            <a:ext cx="1287433" cy="257450"/>
            <a:chOff x="8223660" y="4831060"/>
            <a:chExt cx="1287433" cy="257450"/>
          </a:xfrm>
        </p:grpSpPr>
        <p:sp>
          <p:nvSpPr>
            <p:cNvPr id="95" name="Rectangle 30"/>
            <p:cNvSpPr>
              <a:spLocks noChangeArrowheads="1"/>
            </p:cNvSpPr>
            <p:nvPr/>
          </p:nvSpPr>
          <p:spPr bwMode="gray">
            <a:xfrm>
              <a:off x="8223660" y="4838524"/>
              <a:ext cx="1287433" cy="249986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prstDash val="dash"/>
              <a:miter lim="800000"/>
              <a:headEnd/>
              <a:tailEnd/>
            </a:ln>
            <a:effectLst/>
          </p:spPr>
          <p:txBody>
            <a:bodyPr rIns="0" anchor="t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kumimoji="0" lang="en-US" altLang="ko-KR" sz="8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6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1775" y="4888698"/>
              <a:ext cx="147260" cy="15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" name="Rectangle 30"/>
            <p:cNvSpPr>
              <a:spLocks noChangeArrowheads="1"/>
            </p:cNvSpPr>
            <p:nvPr/>
          </p:nvSpPr>
          <p:spPr bwMode="gray">
            <a:xfrm>
              <a:off x="8506278" y="4850110"/>
              <a:ext cx="660657" cy="227260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C</a:t>
              </a: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맹점</a:t>
              </a: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음료 무료</a:t>
              </a:r>
              <a:endParaRPr kumimoji="0" lang="en-US" altLang="ko-KR" sz="7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8" name="타원 97"/>
            <p:cNvSpPr/>
            <p:nvPr/>
          </p:nvSpPr>
          <p:spPr bwMode="auto">
            <a:xfrm>
              <a:off x="9129464" y="4876827"/>
              <a:ext cx="318881" cy="180000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6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결</a:t>
              </a:r>
            </a:p>
          </p:txBody>
        </p:sp>
        <p:grpSp>
          <p:nvGrpSpPr>
            <p:cNvPr id="99" name="Group 4"/>
            <p:cNvGrpSpPr>
              <a:grpSpLocks noChangeAspect="1"/>
            </p:cNvGrpSpPr>
            <p:nvPr/>
          </p:nvGrpSpPr>
          <p:grpSpPr bwMode="auto">
            <a:xfrm>
              <a:off x="9106110" y="4831060"/>
              <a:ext cx="138795" cy="124885"/>
              <a:chOff x="3109" y="1896"/>
              <a:chExt cx="369" cy="316"/>
            </a:xfrm>
          </p:grpSpPr>
          <p:sp>
            <p:nvSpPr>
              <p:cNvPr id="10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1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2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3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4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5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grpSp>
        <p:nvGrpSpPr>
          <p:cNvPr id="119" name="그룹 118"/>
          <p:cNvGrpSpPr/>
          <p:nvPr/>
        </p:nvGrpSpPr>
        <p:grpSpPr>
          <a:xfrm>
            <a:off x="8223660" y="5450257"/>
            <a:ext cx="1287433" cy="257450"/>
            <a:chOff x="8223660" y="4831060"/>
            <a:chExt cx="1287433" cy="257450"/>
          </a:xfrm>
        </p:grpSpPr>
        <p:sp>
          <p:nvSpPr>
            <p:cNvPr id="120" name="Rectangle 30"/>
            <p:cNvSpPr>
              <a:spLocks noChangeArrowheads="1"/>
            </p:cNvSpPr>
            <p:nvPr/>
          </p:nvSpPr>
          <p:spPr bwMode="gray">
            <a:xfrm>
              <a:off x="8223660" y="4838524"/>
              <a:ext cx="1287433" cy="249986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prstDash val="dash"/>
              <a:miter lim="800000"/>
              <a:headEnd/>
              <a:tailEnd/>
            </a:ln>
            <a:effectLst/>
          </p:spPr>
          <p:txBody>
            <a:bodyPr rIns="0" anchor="t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kumimoji="0" lang="en-US" altLang="ko-KR" sz="8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21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1775" y="4888698"/>
              <a:ext cx="147260" cy="15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2" name="Rectangle 30"/>
            <p:cNvSpPr>
              <a:spLocks noChangeArrowheads="1"/>
            </p:cNvSpPr>
            <p:nvPr/>
          </p:nvSpPr>
          <p:spPr bwMode="gray">
            <a:xfrm>
              <a:off x="8506278" y="4850110"/>
              <a:ext cx="660657" cy="227260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700" b="0" kern="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D</a:t>
              </a: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맹점</a:t>
              </a: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kumimoji="0" lang="en-US" altLang="ko-KR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% </a:t>
              </a:r>
              <a:r>
                <a:rPr kumimoji="0" lang="ko-KR" altLang="en-US" sz="7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할인</a:t>
              </a:r>
              <a:endParaRPr kumimoji="0" lang="en-US" altLang="ko-KR" sz="7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3" name="타원 122"/>
            <p:cNvSpPr/>
            <p:nvPr/>
          </p:nvSpPr>
          <p:spPr bwMode="auto">
            <a:xfrm>
              <a:off x="9129464" y="4876827"/>
              <a:ext cx="318881" cy="180000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6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결</a:t>
              </a:r>
            </a:p>
          </p:txBody>
        </p:sp>
        <p:grpSp>
          <p:nvGrpSpPr>
            <p:cNvPr id="124" name="Group 4"/>
            <p:cNvGrpSpPr>
              <a:grpSpLocks noChangeAspect="1"/>
            </p:cNvGrpSpPr>
            <p:nvPr/>
          </p:nvGrpSpPr>
          <p:grpSpPr bwMode="auto">
            <a:xfrm>
              <a:off x="9106110" y="4831060"/>
              <a:ext cx="138795" cy="124885"/>
              <a:chOff x="3109" y="1896"/>
              <a:chExt cx="369" cy="316"/>
            </a:xfrm>
          </p:grpSpPr>
          <p:sp>
            <p:nvSpPr>
              <p:cNvPr id="12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7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8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9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0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9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131" name="Rectangle 30"/>
          <p:cNvSpPr>
            <a:spLocks noChangeArrowheads="1"/>
          </p:cNvSpPr>
          <p:nvPr/>
        </p:nvSpPr>
        <p:spPr bwMode="gray">
          <a:xfrm>
            <a:off x="8656777" y="4739880"/>
            <a:ext cx="879335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7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최대 </a:t>
            </a:r>
            <a:r>
              <a:rPr kumimoji="0" lang="en-US" altLang="ko-KR" sz="7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5</a:t>
            </a:r>
            <a:r>
              <a:rPr kumimoji="0" lang="ko-KR" altLang="en-US" sz="7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 수령 가능</a:t>
            </a:r>
            <a:endParaRPr kumimoji="0" lang="en-US" altLang="ko-KR" sz="700" b="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3" name="직선 화살표 연결선 22"/>
          <p:cNvCxnSpPr>
            <a:stCxn id="69" idx="3"/>
            <a:endCxn id="71" idx="1"/>
          </p:cNvCxnSpPr>
          <p:nvPr/>
        </p:nvCxnSpPr>
        <p:spPr bwMode="auto">
          <a:xfrm flipV="1">
            <a:off x="5700713" y="3674689"/>
            <a:ext cx="505700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25" name="꺾인 연결선 24"/>
          <p:cNvCxnSpPr>
            <a:stCxn id="71" idx="3"/>
            <a:endCxn id="80" idx="1"/>
          </p:cNvCxnSpPr>
          <p:nvPr/>
        </p:nvCxnSpPr>
        <p:spPr bwMode="auto">
          <a:xfrm>
            <a:off x="6478163" y="3674689"/>
            <a:ext cx="509970" cy="14735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132" name="Rectangle 30"/>
          <p:cNvSpPr>
            <a:spLocks noChangeArrowheads="1"/>
          </p:cNvSpPr>
          <p:nvPr/>
        </p:nvSpPr>
        <p:spPr bwMode="gray">
          <a:xfrm>
            <a:off x="5293851" y="3863749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</a:t>
            </a:r>
            <a:r>
              <a:rPr kumimoji="0" lang="ko-KR" altLang="en-US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맹점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Rectangle 30"/>
          <p:cNvSpPr>
            <a:spLocks noChangeArrowheads="1"/>
          </p:cNvSpPr>
          <p:nvPr/>
        </p:nvSpPr>
        <p:spPr bwMode="gray">
          <a:xfrm>
            <a:off x="6110619" y="3863749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7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계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Rectangle 30"/>
          <p:cNvSpPr>
            <a:spLocks noChangeArrowheads="1"/>
          </p:cNvSpPr>
          <p:nvPr/>
        </p:nvSpPr>
        <p:spPr bwMode="gray">
          <a:xfrm>
            <a:off x="6898390" y="3863749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MS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Rectangle 30"/>
          <p:cNvSpPr>
            <a:spLocks noChangeArrowheads="1"/>
          </p:cNvSpPr>
          <p:nvPr/>
        </p:nvSpPr>
        <p:spPr bwMode="gray">
          <a:xfrm>
            <a:off x="7633887" y="3429000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7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알림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36" name="직선 화살표 연결선 135"/>
          <p:cNvCxnSpPr>
            <a:stCxn id="71" idx="3"/>
            <a:endCxn id="76" idx="1"/>
          </p:cNvCxnSpPr>
          <p:nvPr/>
        </p:nvCxnSpPr>
        <p:spPr bwMode="auto">
          <a:xfrm>
            <a:off x="6478163" y="3674689"/>
            <a:ext cx="5057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139" name="직선 화살표 연결선 138"/>
          <p:cNvCxnSpPr>
            <a:stCxn id="76" idx="3"/>
            <a:endCxn id="78" idx="1"/>
          </p:cNvCxnSpPr>
          <p:nvPr/>
        </p:nvCxnSpPr>
        <p:spPr bwMode="auto">
          <a:xfrm>
            <a:off x="7255613" y="3674689"/>
            <a:ext cx="50569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142" name="직선 화살표 연결선 141"/>
          <p:cNvCxnSpPr>
            <a:stCxn id="78" idx="2"/>
            <a:endCxn id="81" idx="1"/>
          </p:cNvCxnSpPr>
          <p:nvPr/>
        </p:nvCxnSpPr>
        <p:spPr bwMode="auto">
          <a:xfrm>
            <a:off x="7875092" y="3743361"/>
            <a:ext cx="298149" cy="9961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146" name="직선 화살표 연결선 145"/>
          <p:cNvCxnSpPr>
            <a:stCxn id="73" idx="1"/>
            <a:endCxn id="134" idx="2"/>
          </p:cNvCxnSpPr>
          <p:nvPr/>
        </p:nvCxnSpPr>
        <p:spPr bwMode="auto">
          <a:xfrm flipV="1">
            <a:off x="7116547" y="4004860"/>
            <a:ext cx="7462" cy="27533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sm" len="sm"/>
            <a:tailEnd type="triangle" w="sm" len="sm"/>
          </a:ln>
          <a:effectLst/>
        </p:spPr>
      </p:cxnSp>
      <p:cxnSp>
        <p:nvCxnSpPr>
          <p:cNvPr id="148" name="꺾인 연결선 147"/>
          <p:cNvCxnSpPr>
            <a:stCxn id="134" idx="2"/>
            <a:endCxn id="79" idx="1"/>
          </p:cNvCxnSpPr>
          <p:nvPr/>
        </p:nvCxnSpPr>
        <p:spPr bwMode="auto">
          <a:xfrm rot="16200000" flipH="1">
            <a:off x="7348553" y="3780316"/>
            <a:ext cx="275332" cy="72442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sm" len="sm"/>
            <a:tailEnd type="triangle" w="sm" len="sm"/>
          </a:ln>
          <a:effectLst/>
        </p:spPr>
      </p:cxnSp>
      <p:sp>
        <p:nvSpPr>
          <p:cNvPr id="73" name="원통 72"/>
          <p:cNvSpPr/>
          <p:nvPr/>
        </p:nvSpPr>
        <p:spPr bwMode="auto">
          <a:xfrm>
            <a:off x="6993388" y="4280192"/>
            <a:ext cx="246318" cy="176812"/>
          </a:xfrm>
          <a:prstGeom prst="can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Rectangle 30"/>
          <p:cNvSpPr>
            <a:spLocks noChangeArrowheads="1"/>
          </p:cNvSpPr>
          <p:nvPr/>
        </p:nvSpPr>
        <p:spPr bwMode="gray">
          <a:xfrm>
            <a:off x="6954498" y="4496216"/>
            <a:ext cx="339021" cy="18781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riggerRule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4" name="그룹 153"/>
          <p:cNvGrpSpPr/>
          <p:nvPr/>
        </p:nvGrpSpPr>
        <p:grpSpPr>
          <a:xfrm>
            <a:off x="7671179" y="4280192"/>
            <a:ext cx="376651" cy="403842"/>
            <a:chOff x="7671179" y="4365104"/>
            <a:chExt cx="376651" cy="403842"/>
          </a:xfrm>
        </p:grpSpPr>
        <p:sp>
          <p:nvSpPr>
            <p:cNvPr id="79" name="원통 78"/>
            <p:cNvSpPr/>
            <p:nvPr/>
          </p:nvSpPr>
          <p:spPr bwMode="auto">
            <a:xfrm>
              <a:off x="7725270" y="4365104"/>
              <a:ext cx="246318" cy="176812"/>
            </a:xfrm>
            <a:prstGeom prst="can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6" name="Rectangle 30"/>
            <p:cNvSpPr>
              <a:spLocks noChangeArrowheads="1"/>
            </p:cNvSpPr>
            <p:nvPr/>
          </p:nvSpPr>
          <p:spPr bwMode="gray">
            <a:xfrm>
              <a:off x="7671179" y="4581128"/>
              <a:ext cx="376651" cy="187818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고객접촉 이력</a:t>
              </a:r>
              <a:endParaRPr kumimoji="0" lang="en-US" altLang="ko-KR" sz="7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160" name="직선 화살표 연결선 159"/>
          <p:cNvCxnSpPr>
            <a:stCxn id="80" idx="0"/>
            <a:endCxn id="155" idx="2"/>
          </p:cNvCxnSpPr>
          <p:nvPr/>
        </p:nvCxnSpPr>
        <p:spPr bwMode="auto">
          <a:xfrm flipV="1">
            <a:off x="7124008" y="4684034"/>
            <a:ext cx="1" cy="27533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sm" len="sm"/>
            <a:tailEnd type="triangle" w="sm" len="sm"/>
          </a:ln>
          <a:effectLst/>
        </p:spPr>
      </p:cxnSp>
      <p:sp>
        <p:nvSpPr>
          <p:cNvPr id="168" name="Rectangle 30"/>
          <p:cNvSpPr>
            <a:spLocks noChangeArrowheads="1"/>
          </p:cNvSpPr>
          <p:nvPr/>
        </p:nvSpPr>
        <p:spPr bwMode="gray">
          <a:xfrm>
            <a:off x="6875828" y="5348162"/>
            <a:ext cx="496361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LO </a:t>
            </a:r>
            <a:r>
              <a:rPr kumimoji="0" lang="ko-KR" altLang="en-US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플랫폼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72" name="Picture 43" descr="Mobile Phone sm"/>
          <p:cNvPicPr preferRelativeResize="0"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965" y="4969743"/>
            <a:ext cx="151078" cy="35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3" name="직선 화살표 연결선 172"/>
          <p:cNvCxnSpPr>
            <a:stCxn id="80" idx="3"/>
            <a:endCxn id="172" idx="1"/>
          </p:cNvCxnSpPr>
          <p:nvPr/>
        </p:nvCxnSpPr>
        <p:spPr bwMode="auto">
          <a:xfrm flipV="1">
            <a:off x="7259883" y="5147853"/>
            <a:ext cx="524082" cy="36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176" name="Rectangle 30"/>
          <p:cNvSpPr>
            <a:spLocks noChangeArrowheads="1"/>
          </p:cNvSpPr>
          <p:nvPr/>
        </p:nvSpPr>
        <p:spPr bwMode="gray">
          <a:xfrm>
            <a:off x="7621048" y="5348162"/>
            <a:ext cx="496361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Mobile Web </a:t>
            </a:r>
            <a:r>
              <a:rPr kumimoji="0" lang="ko-KR" altLang="en-US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적용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78" name="꺾인 연결선 177"/>
          <p:cNvCxnSpPr>
            <a:stCxn id="80" idx="0"/>
            <a:endCxn id="156" idx="2"/>
          </p:cNvCxnSpPr>
          <p:nvPr/>
        </p:nvCxnSpPr>
        <p:spPr bwMode="auto">
          <a:xfrm rot="5400000" flipH="1" flipV="1">
            <a:off x="7354090" y="4453953"/>
            <a:ext cx="275333" cy="7354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sm" len="sm"/>
            <a:tailEnd type="triangle" w="sm" len="sm"/>
          </a:ln>
          <a:effectLst/>
        </p:spPr>
      </p:cxnSp>
      <p:cxnSp>
        <p:nvCxnSpPr>
          <p:cNvPr id="180" name="꺾인 연결선 179"/>
          <p:cNvCxnSpPr>
            <a:stCxn id="72" idx="3"/>
            <a:endCxn id="168" idx="2"/>
          </p:cNvCxnSpPr>
          <p:nvPr/>
        </p:nvCxnSpPr>
        <p:spPr bwMode="auto">
          <a:xfrm flipV="1">
            <a:off x="6014714" y="5489273"/>
            <a:ext cx="1109295" cy="176383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183" name="Rectangle 30"/>
          <p:cNvSpPr>
            <a:spLocks noChangeArrowheads="1"/>
          </p:cNvSpPr>
          <p:nvPr/>
        </p:nvSpPr>
        <p:spPr bwMode="gray">
          <a:xfrm>
            <a:off x="5628491" y="5388821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7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맹점주</a:t>
            </a:r>
            <a:endParaRPr kumimoji="0" lang="en-US" altLang="ko-KR" sz="7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4" name="Rectangle 30"/>
          <p:cNvSpPr>
            <a:spLocks noChangeArrowheads="1"/>
          </p:cNvSpPr>
          <p:nvPr/>
        </p:nvSpPr>
        <p:spPr bwMode="gray">
          <a:xfrm>
            <a:off x="6310032" y="5507437"/>
            <a:ext cx="45123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7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Offer </a:t>
            </a:r>
            <a:r>
              <a:rPr kumimoji="0" lang="ko-KR" altLang="en-US" sz="7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등록</a:t>
            </a:r>
            <a:endParaRPr kumimoji="0" lang="en-US" altLang="ko-KR" sz="700" b="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모서리가 둥근 사각형 설명선 181"/>
          <p:cNvSpPr/>
          <p:nvPr/>
        </p:nvSpPr>
        <p:spPr bwMode="auto">
          <a:xfrm>
            <a:off x="5349679" y="4149080"/>
            <a:ext cx="1259505" cy="637793"/>
          </a:xfrm>
          <a:prstGeom prst="wedgeRoundRectCallout">
            <a:avLst>
              <a:gd name="adj1" fmla="val 81009"/>
              <a:gd name="adj2" fmla="val -15158"/>
              <a:gd name="adj3" fmla="val 1666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ilot test</a:t>
            </a:r>
            <a:r>
              <a:rPr kumimoji="1" lang="ko-KR" altLang="en-US" sz="1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를 통해 검증된 캠페인 가설을 </a:t>
            </a:r>
            <a:r>
              <a:rPr kumimoji="1" lang="en-US" altLang="ko-KR" sz="1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ule</a:t>
            </a:r>
            <a:r>
              <a:rPr kumimoji="1" lang="ko-KR" altLang="en-US" sz="1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 등록</a:t>
            </a:r>
            <a:endParaRPr kumimoji="1" lang="ko-KR" altLang="en-US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6" name="직선 화살표 연결선 185"/>
          <p:cNvCxnSpPr/>
          <p:nvPr/>
        </p:nvCxnSpPr>
        <p:spPr bwMode="auto">
          <a:xfrm>
            <a:off x="7935043" y="5135153"/>
            <a:ext cx="238198" cy="413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grpSp>
        <p:nvGrpSpPr>
          <p:cNvPr id="153" name="그룹 15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5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5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6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6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6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6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66" name="그룹 16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6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930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ces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rigger Marketin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eal Time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화를 위한 실시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ffer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공 및 성과 모니터링 체계 구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間 중복 제거를 고려할 필요가 있음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케팅 프로세스 실시간 이벤트 개선 방향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08219" y="1999834"/>
            <a:ext cx="9413291" cy="4246606"/>
            <a:chOff x="273049" y="1686084"/>
            <a:chExt cx="9413291" cy="4604556"/>
          </a:xfrm>
        </p:grpSpPr>
        <p:sp>
          <p:nvSpPr>
            <p:cNvPr id="95" name="직사각형 94"/>
            <p:cNvSpPr/>
            <p:nvPr/>
          </p:nvSpPr>
          <p:spPr bwMode="auto">
            <a:xfrm>
              <a:off x="273049" y="3979768"/>
              <a:ext cx="934709" cy="228519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rgbClr val="808080"/>
              </a:solidFill>
              <a:prstDash val="solid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Process </a:t>
              </a:r>
              <a:r>
                <a:rPr lang="ko-KR" altLang="en-US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선 방향</a:t>
              </a:r>
            </a:p>
          </p:txBody>
        </p:sp>
        <p:sp>
          <p:nvSpPr>
            <p:cNvPr id="96" name="Rectangle 91"/>
            <p:cNvSpPr>
              <a:spLocks noChangeArrowheads="1"/>
            </p:cNvSpPr>
            <p:nvPr/>
          </p:nvSpPr>
          <p:spPr bwMode="auto">
            <a:xfrm>
              <a:off x="1374794" y="4045897"/>
              <a:ext cx="2717569" cy="373188"/>
            </a:xfrm>
            <a:prstGeom prst="rect">
              <a:avLst/>
            </a:prstGeom>
            <a:solidFill>
              <a:srgbClr val="D5ECF6"/>
            </a:solidFill>
            <a:ln w="9525" cap="flat" cmpd="sng" algn="ctr">
              <a:solidFill>
                <a:srgbClr val="80B3CC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rigger Marketing Real Time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</a:t>
              </a:r>
              <a:endPara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Rectangle 95"/>
            <p:cNvSpPr>
              <a:spLocks noChangeArrowheads="1"/>
            </p:cNvSpPr>
            <p:nvPr/>
          </p:nvSpPr>
          <p:spPr bwMode="auto">
            <a:xfrm>
              <a:off x="1374794" y="4431104"/>
              <a:ext cx="2717569" cy="182579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/>
            <a:lstStyle/>
            <a:p>
              <a:pPr marL="92075" indent="-92075" fontAlgn="auto" latinLnBrk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ko-KR" altLang="en-US" sz="10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8" name="Rectangle 91"/>
            <p:cNvSpPr>
              <a:spLocks noChangeArrowheads="1"/>
            </p:cNvSpPr>
            <p:nvPr/>
          </p:nvSpPr>
          <p:spPr bwMode="auto">
            <a:xfrm>
              <a:off x="4171782" y="4045897"/>
              <a:ext cx="2717569" cy="373188"/>
            </a:xfrm>
            <a:prstGeom prst="rect">
              <a:avLst/>
            </a:prstGeom>
            <a:solidFill>
              <a:srgbClr val="D5ECF6"/>
            </a:solidFill>
            <a:ln w="9525" cap="flat" cmpd="sng" algn="ctr">
              <a:solidFill>
                <a:srgbClr val="80B3CC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범위 확대 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Real Time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117" name="Rectangle 95"/>
            <p:cNvSpPr>
              <a:spLocks noChangeArrowheads="1"/>
            </p:cNvSpPr>
            <p:nvPr/>
          </p:nvSpPr>
          <p:spPr bwMode="auto">
            <a:xfrm>
              <a:off x="4171782" y="4431104"/>
              <a:ext cx="2717569" cy="182579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/>
            <a:lstStyle/>
            <a:p>
              <a:pPr marL="92075" indent="-92075" fontAlgn="auto" latinLnBrk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8" name="Rectangle 91"/>
            <p:cNvSpPr>
              <a:spLocks noChangeArrowheads="1"/>
            </p:cNvSpPr>
            <p:nvPr/>
          </p:nvSpPr>
          <p:spPr bwMode="auto">
            <a:xfrm>
              <a:off x="6968771" y="4045897"/>
              <a:ext cx="2717569" cy="373188"/>
            </a:xfrm>
            <a:prstGeom prst="rect">
              <a:avLst/>
            </a:prstGeom>
            <a:solidFill>
              <a:srgbClr val="D5ECF6"/>
            </a:solidFill>
            <a:ln w="9525" cap="flat" cmpd="sng" algn="ctr">
              <a:solidFill>
                <a:srgbClr val="80B3CC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사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중복 프로그램 통합 및 조정</a:t>
              </a:r>
              <a:endPara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9" name="Rectangle 95"/>
            <p:cNvSpPr>
              <a:spLocks noChangeArrowheads="1"/>
            </p:cNvSpPr>
            <p:nvPr/>
          </p:nvSpPr>
          <p:spPr bwMode="auto">
            <a:xfrm>
              <a:off x="6968771" y="4431104"/>
              <a:ext cx="2717569" cy="182579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/>
            <a:lstStyle/>
            <a:p>
              <a:pPr marL="92075" indent="-92075" fontAlgn="auto" latinLnBrk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ko-KR" altLang="en-US" sz="10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직사각형 119"/>
            <p:cNvSpPr/>
            <p:nvPr/>
          </p:nvSpPr>
          <p:spPr bwMode="auto">
            <a:xfrm>
              <a:off x="1334300" y="1686084"/>
              <a:ext cx="8231652" cy="1965688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ysDot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1" name="모서리가 둥근 직사각형 87"/>
            <p:cNvSpPr/>
            <p:nvPr/>
          </p:nvSpPr>
          <p:spPr bwMode="auto">
            <a:xfrm>
              <a:off x="2829773" y="2264815"/>
              <a:ext cx="3934883" cy="850739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BFD9E6">
                  <a:lumMod val="25000"/>
                </a:srgb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80" name="직사각형 179"/>
            <p:cNvSpPr/>
            <p:nvPr/>
          </p:nvSpPr>
          <p:spPr bwMode="auto">
            <a:xfrm>
              <a:off x="273049" y="1686084"/>
              <a:ext cx="934709" cy="196568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rgbClr val="808080"/>
              </a:solidFill>
              <a:prstDash val="solid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마케팅</a:t>
              </a: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/>
              </a:r>
              <a:b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Process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1" name="오각형 89"/>
            <p:cNvSpPr/>
            <p:nvPr/>
          </p:nvSpPr>
          <p:spPr bwMode="auto">
            <a:xfrm>
              <a:off x="1632460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/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마케팅 기획</a:t>
              </a:r>
            </a:p>
          </p:txBody>
        </p:sp>
        <p:sp>
          <p:nvSpPr>
            <p:cNvPr id="182" name="오각형 90"/>
            <p:cNvSpPr/>
            <p:nvPr/>
          </p:nvSpPr>
          <p:spPr bwMode="auto">
            <a:xfrm>
              <a:off x="2939601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>
                <a:lumMod val="50000"/>
              </a:srgbClr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en-US" altLang="ko-KR" sz="1100" ker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Target</a:t>
              </a:r>
              <a:r>
                <a:rPr lang="ko-KR" altLang="en-US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선정</a:t>
              </a:r>
            </a:p>
          </p:txBody>
        </p:sp>
        <p:sp>
          <p:nvSpPr>
            <p:cNvPr id="183" name="오각형 131"/>
            <p:cNvSpPr/>
            <p:nvPr/>
          </p:nvSpPr>
          <p:spPr bwMode="auto">
            <a:xfrm>
              <a:off x="4246743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>
                <a:lumMod val="50000"/>
              </a:srgbClr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en-US" altLang="ko-KR" sz="1100" ker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Offer </a:t>
              </a:r>
              <a:r>
                <a:rPr lang="ko-KR" altLang="en-US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선정</a:t>
              </a:r>
            </a:p>
          </p:txBody>
        </p:sp>
        <p:sp>
          <p:nvSpPr>
            <p:cNvPr id="184" name="오각형 132"/>
            <p:cNvSpPr/>
            <p:nvPr/>
          </p:nvSpPr>
          <p:spPr bwMode="auto">
            <a:xfrm>
              <a:off x="5553885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>
                <a:lumMod val="50000"/>
              </a:srgbClr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en-US" altLang="ko-KR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Channel </a:t>
              </a:r>
              <a:r>
                <a:rPr lang="en-US" altLang="ko-KR" sz="11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/>
              </a:r>
              <a:br>
                <a:rPr lang="en-US" altLang="ko-KR" sz="11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r>
                <a:rPr lang="ko-KR" altLang="en-US" sz="11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선정</a:t>
              </a:r>
              <a:endParaRPr lang="ko-KR" altLang="en-US" sz="11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5" name="오각형 133"/>
            <p:cNvSpPr/>
            <p:nvPr/>
          </p:nvSpPr>
          <p:spPr bwMode="auto">
            <a:xfrm>
              <a:off x="6861028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/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마케팅 실행</a:t>
              </a:r>
            </a:p>
          </p:txBody>
        </p:sp>
        <p:sp>
          <p:nvSpPr>
            <p:cNvPr id="186" name="오각형 134"/>
            <p:cNvSpPr/>
            <p:nvPr/>
          </p:nvSpPr>
          <p:spPr bwMode="auto">
            <a:xfrm>
              <a:off x="8168170" y="2393224"/>
              <a:ext cx="1108425" cy="595534"/>
            </a:xfrm>
            <a:prstGeom prst="homePlate">
              <a:avLst>
                <a:gd name="adj" fmla="val 32150"/>
              </a:avLst>
            </a:prstGeom>
            <a:solidFill>
              <a:srgbClr val="FFFFFF"/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성과 분석</a:t>
              </a:r>
              <a:endPara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187" name="직선 화살표 연결선 186"/>
            <p:cNvCxnSpPr>
              <a:stCxn id="181" idx="3"/>
              <a:endCxn id="182" idx="1"/>
            </p:cNvCxnSpPr>
            <p:nvPr/>
          </p:nvCxnSpPr>
          <p:spPr bwMode="auto">
            <a:xfrm>
              <a:off x="2740885" y="2690991"/>
              <a:ext cx="198716" cy="0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88" name="직선 화살표 연결선 187"/>
            <p:cNvCxnSpPr>
              <a:stCxn id="182" idx="3"/>
              <a:endCxn id="183" idx="1"/>
            </p:cNvCxnSpPr>
            <p:nvPr/>
          </p:nvCxnSpPr>
          <p:spPr bwMode="auto">
            <a:xfrm>
              <a:off x="4048026" y="2690991"/>
              <a:ext cx="198717" cy="0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89" name="직선 화살표 연결선 188"/>
            <p:cNvCxnSpPr>
              <a:stCxn id="183" idx="3"/>
              <a:endCxn id="184" idx="1"/>
            </p:cNvCxnSpPr>
            <p:nvPr/>
          </p:nvCxnSpPr>
          <p:spPr bwMode="auto">
            <a:xfrm>
              <a:off x="5355168" y="2690991"/>
              <a:ext cx="198717" cy="0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90" name="직선 화살표 연결선 189"/>
            <p:cNvCxnSpPr>
              <a:stCxn id="184" idx="3"/>
              <a:endCxn id="185" idx="1"/>
            </p:cNvCxnSpPr>
            <p:nvPr/>
          </p:nvCxnSpPr>
          <p:spPr bwMode="auto">
            <a:xfrm>
              <a:off x="6662310" y="2690991"/>
              <a:ext cx="198718" cy="0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91" name="직선 화살표 연결선 190"/>
            <p:cNvCxnSpPr>
              <a:stCxn id="185" idx="3"/>
              <a:endCxn id="186" idx="1"/>
            </p:cNvCxnSpPr>
            <p:nvPr/>
          </p:nvCxnSpPr>
          <p:spPr bwMode="auto">
            <a:xfrm>
              <a:off x="7969453" y="2690991"/>
              <a:ext cx="198717" cy="0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sp>
          <p:nvSpPr>
            <p:cNvPr id="192" name="모서리가 둥근 직사각형 140"/>
            <p:cNvSpPr/>
            <p:nvPr/>
          </p:nvSpPr>
          <p:spPr bwMode="auto">
            <a:xfrm>
              <a:off x="1677247" y="1801059"/>
              <a:ext cx="1019087" cy="378865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80B3CC"/>
              </a:solidFill>
              <a:prstDash val="sysDot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100" ker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마케팅 전략</a:t>
              </a:r>
              <a:endPara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3" name="모서리가 둥근 직사각형 141"/>
            <p:cNvSpPr/>
            <p:nvPr/>
          </p:nvSpPr>
          <p:spPr bwMode="auto">
            <a:xfrm>
              <a:off x="4291530" y="1801059"/>
              <a:ext cx="1019087" cy="378865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80B3CC"/>
              </a:solidFill>
              <a:prstDash val="sysDot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11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Offer </a:t>
              </a:r>
              <a:r>
                <a:rPr lang="ko-KR" altLang="en-US" sz="11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발</a:t>
              </a:r>
            </a:p>
          </p:txBody>
        </p:sp>
        <p:cxnSp>
          <p:nvCxnSpPr>
            <p:cNvPr id="194" name="직선 화살표 연결선 193"/>
            <p:cNvCxnSpPr>
              <a:stCxn id="192" idx="2"/>
            </p:cNvCxnSpPr>
            <p:nvPr/>
          </p:nvCxnSpPr>
          <p:spPr bwMode="auto">
            <a:xfrm>
              <a:off x="2186791" y="2179924"/>
              <a:ext cx="1352" cy="213298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95" name="직선 화살표 연결선 194"/>
            <p:cNvCxnSpPr>
              <a:stCxn id="193" idx="2"/>
            </p:cNvCxnSpPr>
            <p:nvPr/>
          </p:nvCxnSpPr>
          <p:spPr bwMode="auto">
            <a:xfrm>
              <a:off x="4801074" y="2179924"/>
              <a:ext cx="1350" cy="213297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96" name="직선 화살표 연결선 195"/>
            <p:cNvCxnSpPr/>
            <p:nvPr/>
          </p:nvCxnSpPr>
          <p:spPr bwMode="auto">
            <a:xfrm flipV="1">
              <a:off x="7416709" y="2386949"/>
              <a:ext cx="0" cy="6274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sp>
          <p:nvSpPr>
            <p:cNvPr id="197" name="모서리가 둥근 직사각형 145"/>
            <p:cNvSpPr/>
            <p:nvPr/>
          </p:nvSpPr>
          <p:spPr bwMode="auto">
            <a:xfrm>
              <a:off x="6905815" y="1801059"/>
              <a:ext cx="1019087" cy="378865"/>
            </a:xfrm>
            <a:prstGeom prst="roundRect">
              <a:avLst/>
            </a:prstGeom>
            <a:solidFill>
              <a:srgbClr val="FFFFFF">
                <a:lumMod val="50000"/>
              </a:srgbClr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 접촉</a:t>
              </a:r>
            </a:p>
          </p:txBody>
        </p:sp>
        <p:pic>
          <p:nvPicPr>
            <p:cNvPr id="198" name="Picture 28"/>
            <p:cNvPicPr>
              <a:picLocks noChangeAspect="1" noChangeArrowheads="1"/>
            </p:cNvPicPr>
            <p:nvPr/>
          </p:nvPicPr>
          <p:blipFill>
            <a:blip r:embed="rId2" cstate="print">
              <a:lum bright="30000"/>
              <a:grayscl/>
            </a:blip>
            <a:srcRect/>
            <a:stretch>
              <a:fillRect/>
            </a:stretch>
          </p:blipFill>
          <p:spPr bwMode="auto">
            <a:xfrm>
              <a:off x="6955761" y="1904338"/>
              <a:ext cx="133391" cy="18402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</p:pic>
        <p:sp>
          <p:nvSpPr>
            <p:cNvPr id="199" name="오각형 147"/>
            <p:cNvSpPr/>
            <p:nvPr/>
          </p:nvSpPr>
          <p:spPr bwMode="auto">
            <a:xfrm>
              <a:off x="4515349" y="3286404"/>
              <a:ext cx="1876325" cy="319515"/>
            </a:xfrm>
            <a:prstGeom prst="homePlate">
              <a:avLst>
                <a:gd name="adj" fmla="val 0"/>
              </a:avLst>
            </a:prstGeom>
            <a:solidFill>
              <a:srgbClr val="FFFFFF">
                <a:lumMod val="50000"/>
              </a:srgbClr>
            </a:solidFill>
            <a:ln w="12700" cap="flat" cmpd="sng" algn="ctr">
              <a:solidFill>
                <a:srgbClr val="80B3CC"/>
              </a:solidFill>
              <a:prstDash val="solid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성과 </a:t>
              </a:r>
              <a:r>
                <a:rPr lang="en-US" altLang="ko-KR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Feed-back</a:t>
              </a:r>
              <a:endParaRPr lang="ko-KR" altLang="en-US" sz="11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200" name="꺾인 연결선 148"/>
            <p:cNvCxnSpPr>
              <a:stCxn id="186" idx="2"/>
              <a:endCxn id="199" idx="3"/>
            </p:cNvCxnSpPr>
            <p:nvPr/>
          </p:nvCxnSpPr>
          <p:spPr bwMode="auto">
            <a:xfrm rot="5400000">
              <a:off x="7280460" y="2099972"/>
              <a:ext cx="457404" cy="2234976"/>
            </a:xfrm>
            <a:prstGeom prst="bentConnector2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201" name="꺾인 연결선 423"/>
            <p:cNvCxnSpPr>
              <a:stCxn id="199" idx="1"/>
              <a:endCxn id="181" idx="2"/>
            </p:cNvCxnSpPr>
            <p:nvPr/>
          </p:nvCxnSpPr>
          <p:spPr bwMode="auto">
            <a:xfrm rot="10800000">
              <a:off x="2090941" y="2988758"/>
              <a:ext cx="2424409" cy="457404"/>
            </a:xfrm>
            <a:prstGeom prst="bentConnector2">
              <a:avLst/>
            </a:prstGeom>
            <a:solidFill>
              <a:srgbClr val="FFFFFF"/>
            </a:solidFill>
            <a:ln w="952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sp>
          <p:nvSpPr>
            <p:cNvPr id="202" name="타원 201"/>
            <p:cNvSpPr/>
            <p:nvPr/>
          </p:nvSpPr>
          <p:spPr bwMode="auto">
            <a:xfrm>
              <a:off x="6716286" y="1689596"/>
              <a:ext cx="1382652" cy="561309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</a:pPr>
              <a:endParaRPr lang="ko-KR" altLang="en-US" sz="16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03" name="타원 202"/>
            <p:cNvSpPr/>
            <p:nvPr/>
          </p:nvSpPr>
          <p:spPr bwMode="auto">
            <a:xfrm>
              <a:off x="4442986" y="3194768"/>
              <a:ext cx="2066641" cy="4879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</a:pPr>
              <a:endParaRPr lang="ko-KR" altLang="en-US" sz="16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204" name="직선 화살표 연결선 203"/>
            <p:cNvCxnSpPr>
              <a:endCxn id="96" idx="0"/>
            </p:cNvCxnSpPr>
            <p:nvPr/>
          </p:nvCxnSpPr>
          <p:spPr bwMode="auto">
            <a:xfrm flipH="1">
              <a:off x="2733579" y="3142952"/>
              <a:ext cx="685877" cy="902945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5" name="직선 화살표 연결선 204"/>
            <p:cNvCxnSpPr>
              <a:stCxn id="202" idx="5"/>
              <a:endCxn id="118" idx="0"/>
            </p:cNvCxnSpPr>
            <p:nvPr/>
          </p:nvCxnSpPr>
          <p:spPr bwMode="auto">
            <a:xfrm>
              <a:off x="7896453" y="2168703"/>
              <a:ext cx="431103" cy="1877194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6" name="직선 화살표 연결선 205"/>
            <p:cNvCxnSpPr>
              <a:stCxn id="203" idx="4"/>
              <a:endCxn id="98" idx="0"/>
            </p:cNvCxnSpPr>
            <p:nvPr/>
          </p:nvCxnSpPr>
          <p:spPr bwMode="auto">
            <a:xfrm>
              <a:off x="5476307" y="3682686"/>
              <a:ext cx="54260" cy="363211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7" name="TextBox 206"/>
            <p:cNvSpPr txBox="1"/>
            <p:nvPr/>
          </p:nvSpPr>
          <p:spPr>
            <a:xfrm>
              <a:off x="1426177" y="4455185"/>
              <a:ext cx="2601903" cy="14683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이벤트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Rule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을 시스템에 적용하여 고객 사용시점에서 실시간으로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Offer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공</a:t>
              </a:r>
              <a:endParaRPr lang="en-US" altLang="ko-KR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이벤트 결과에 대한 실시간 모니터링 및 측정 성과에 대한 피드백 수행</a:t>
              </a:r>
            </a:p>
          </p:txBody>
        </p:sp>
        <p:sp>
          <p:nvSpPr>
            <p:cNvPr id="208" name="TextBox 207"/>
            <p:cNvSpPr txBox="1"/>
            <p:nvPr/>
          </p:nvSpPr>
          <p:spPr>
            <a:xfrm>
              <a:off x="4212920" y="4455185"/>
              <a:ext cx="2601903" cy="14683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SMS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의 경우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Real Time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모니터링 수행</a:t>
              </a:r>
            </a:p>
            <a:p>
              <a:pPr marL="355600" lvl="1" indent="-177800" fontAlgn="auto" latinLnBrk="0">
                <a:spcBef>
                  <a:spcPts val="1200"/>
                </a:spcBef>
                <a:spcAft>
                  <a:spcPts val="0"/>
                </a:spcAft>
                <a:buFontTx/>
                <a:buChar char="-"/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용혜택 안내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,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생일 축하 등 단순 안내의 경우 모니터링 대상에서 제외되어 있으나 포함시킴</a:t>
              </a:r>
              <a:endParaRPr lang="en-US" altLang="ko-KR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6999663" y="4455184"/>
              <a:ext cx="2601903" cy="1835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1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담당자별로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기획한 </a:t>
              </a:r>
              <a:r>
                <a:rPr lang="ko-KR" altLang="en-US" sz="1200" b="1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마케팅案에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대해서 연계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통합 마케팅을 수행할 수 있도록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‘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조정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Process’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강화</a:t>
              </a:r>
            </a:p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 별 마케팅 정보를 누적 관리하여 빈번한 고객 접촉지양</a:t>
              </a:r>
            </a:p>
            <a:p>
              <a:pPr marL="177800" indent="-177800" fontAlgn="auto" latinLnBrk="0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프로모션 운영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R&amp;R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립</a:t>
              </a:r>
            </a:p>
          </p:txBody>
        </p:sp>
      </p:grpSp>
      <p:grpSp>
        <p:nvGrpSpPr>
          <p:cNvPr id="74" name="그룹 7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3" name="그룹 8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229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23341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 프로세스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ven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 준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 실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평가 단계로 진행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rigger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케팅 운영 프로세스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" name="오각형 4"/>
          <p:cNvSpPr/>
          <p:nvPr/>
        </p:nvSpPr>
        <p:spPr bwMode="auto">
          <a:xfrm>
            <a:off x="291000" y="2047506"/>
            <a:ext cx="1766231" cy="576064"/>
          </a:xfrm>
          <a:prstGeom prst="homePlate">
            <a:avLst>
              <a:gd name="adj" fmla="val 21978"/>
            </a:avLst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Trigger 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정의</a:t>
            </a:r>
          </a:p>
        </p:txBody>
      </p:sp>
      <p:sp>
        <p:nvSpPr>
          <p:cNvPr id="28" name="오각형 27"/>
          <p:cNvSpPr/>
          <p:nvPr/>
        </p:nvSpPr>
        <p:spPr bwMode="auto">
          <a:xfrm>
            <a:off x="2180442" y="2060848"/>
            <a:ext cx="3655672" cy="576064"/>
          </a:xfrm>
          <a:prstGeom prst="homePlate">
            <a:avLst>
              <a:gd name="adj" fmla="val 20696"/>
            </a:avLst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실시간 마케팅 준비</a:t>
            </a:r>
          </a:p>
        </p:txBody>
      </p:sp>
      <p:sp>
        <p:nvSpPr>
          <p:cNvPr id="29" name="오각형 28"/>
          <p:cNvSpPr/>
          <p:nvPr/>
        </p:nvSpPr>
        <p:spPr bwMode="auto">
          <a:xfrm>
            <a:off x="5959326" y="2060848"/>
            <a:ext cx="1766231" cy="576064"/>
          </a:xfrm>
          <a:prstGeom prst="homePlate">
            <a:avLst>
              <a:gd name="adj" fmla="val 23138"/>
            </a:avLst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latin typeface="맑은 고딕" pitchFamily="50" charset="-127"/>
                <a:ea typeface="맑은 고딕" pitchFamily="50" charset="-127"/>
              </a:rPr>
              <a:t>실시간 마케팅 실행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모서리가 둥근 직사각형 141"/>
          <p:cNvSpPr/>
          <p:nvPr/>
        </p:nvSpPr>
        <p:spPr bwMode="auto">
          <a:xfrm>
            <a:off x="371283" y="2786261"/>
            <a:ext cx="1605665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도출 및 실행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u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의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모서리가 둥근 직사각형 141"/>
          <p:cNvSpPr/>
          <p:nvPr/>
        </p:nvSpPr>
        <p:spPr bwMode="auto">
          <a:xfrm>
            <a:off x="2266518" y="2786261"/>
            <a:ext cx="1521858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감지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b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결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모서리가 둥근 직사각형 141"/>
          <p:cNvSpPr/>
          <p:nvPr/>
        </p:nvSpPr>
        <p:spPr bwMode="auto">
          <a:xfrm>
            <a:off x="6039609" y="2786261"/>
            <a:ext cx="1605665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모서리가 둥근 직사각형 141"/>
          <p:cNvSpPr/>
          <p:nvPr/>
        </p:nvSpPr>
        <p:spPr bwMode="auto">
          <a:xfrm>
            <a:off x="7929052" y="2786261"/>
            <a:ext cx="1605665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후평가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모서리가 둥근 직사각형 141"/>
          <p:cNvSpPr/>
          <p:nvPr/>
        </p:nvSpPr>
        <p:spPr bwMode="auto">
          <a:xfrm>
            <a:off x="2266518" y="3423706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감지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모서리가 둥근 직사각형 141"/>
          <p:cNvSpPr/>
          <p:nvPr/>
        </p:nvSpPr>
        <p:spPr bwMode="auto">
          <a:xfrm>
            <a:off x="2266518" y="4075320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니즈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pping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모서리가 둥근 직사각형 141"/>
          <p:cNvSpPr/>
          <p:nvPr/>
        </p:nvSpPr>
        <p:spPr bwMode="auto">
          <a:xfrm>
            <a:off x="2266518" y="4726934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매성향</a:t>
            </a:r>
            <a: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인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모서리가 둥근 직사각형 141"/>
          <p:cNvSpPr/>
          <p:nvPr/>
        </p:nvSpPr>
        <p:spPr bwMode="auto">
          <a:xfrm>
            <a:off x="2266518" y="5378549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구매성향 서비스결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모서리가 둥근 직사각형 141"/>
          <p:cNvSpPr/>
          <p:nvPr/>
        </p:nvSpPr>
        <p:spPr bwMode="auto">
          <a:xfrm>
            <a:off x="4251406" y="3423706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ontact Ru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의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모서리가 둥근 직사각형 141"/>
          <p:cNvSpPr/>
          <p:nvPr/>
        </p:nvSpPr>
        <p:spPr bwMode="auto">
          <a:xfrm>
            <a:off x="4251406" y="4075320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 우선순위 결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모서리가 둥근 직사각형 141"/>
          <p:cNvSpPr/>
          <p:nvPr/>
        </p:nvSpPr>
        <p:spPr bwMode="auto">
          <a:xfrm>
            <a:off x="4251406" y="4726934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널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apacity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협의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모서리가 둥근 직사각형 141"/>
          <p:cNvSpPr/>
          <p:nvPr/>
        </p:nvSpPr>
        <p:spPr bwMode="auto">
          <a:xfrm>
            <a:off x="4251406" y="5378549"/>
            <a:ext cx="1521818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널 결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모서리가 둥근 직사각형 141"/>
          <p:cNvSpPr/>
          <p:nvPr/>
        </p:nvSpPr>
        <p:spPr bwMode="auto">
          <a:xfrm>
            <a:off x="7929052" y="3423706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성과평가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4" name="모서리가 둥근 직사각형 141"/>
          <p:cNvSpPr/>
          <p:nvPr/>
        </p:nvSpPr>
        <p:spPr bwMode="auto">
          <a:xfrm>
            <a:off x="7929052" y="4410667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구매성향 수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모서리가 둥근 직사각형 141"/>
          <p:cNvSpPr/>
          <p:nvPr/>
        </p:nvSpPr>
        <p:spPr bwMode="auto">
          <a:xfrm>
            <a:off x="7929052" y="5378549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rigger Ru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모서리가 둥근 직사각형 141"/>
          <p:cNvSpPr/>
          <p:nvPr/>
        </p:nvSpPr>
        <p:spPr bwMode="auto">
          <a:xfrm>
            <a:off x="6039609" y="3423706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외대상 고객 제거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모서리가 둥근 직사각형 141"/>
          <p:cNvSpPr/>
          <p:nvPr/>
        </p:nvSpPr>
        <p:spPr bwMode="auto">
          <a:xfrm>
            <a:off x="6039609" y="4410667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널할당 및 실행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모서리가 둥근 직사각형 141"/>
          <p:cNvSpPr/>
          <p:nvPr/>
        </p:nvSpPr>
        <p:spPr bwMode="auto">
          <a:xfrm>
            <a:off x="371283" y="3423706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igger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도출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모서리가 둥근 직사각형 141"/>
          <p:cNvSpPr/>
          <p:nvPr/>
        </p:nvSpPr>
        <p:spPr bwMode="auto">
          <a:xfrm>
            <a:off x="371283" y="4410667"/>
            <a:ext cx="1605665" cy="360000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u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의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오각형 49"/>
          <p:cNvSpPr/>
          <p:nvPr/>
        </p:nvSpPr>
        <p:spPr bwMode="auto">
          <a:xfrm>
            <a:off x="7848769" y="2060848"/>
            <a:ext cx="1766231" cy="576064"/>
          </a:xfrm>
          <a:prstGeom prst="homePlate">
            <a:avLst>
              <a:gd name="adj" fmla="val 20696"/>
            </a:avLst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실시간 마케팅 성과평가</a:t>
            </a:r>
          </a:p>
        </p:txBody>
      </p:sp>
      <p:sp>
        <p:nvSpPr>
          <p:cNvPr id="52" name="모서리가 둥근 직사각형 141"/>
          <p:cNvSpPr/>
          <p:nvPr/>
        </p:nvSpPr>
        <p:spPr bwMode="auto">
          <a:xfrm>
            <a:off x="4251364" y="2786261"/>
            <a:ext cx="1521858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80B3CC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우선순위</a:t>
            </a:r>
            <a: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결정</a:t>
            </a:r>
          </a:p>
        </p:txBody>
      </p:sp>
      <p:cxnSp>
        <p:nvCxnSpPr>
          <p:cNvPr id="7" name="직선 화살표 연결선 6"/>
          <p:cNvCxnSpPr>
            <a:stCxn id="48" idx="2"/>
            <a:endCxn id="49" idx="0"/>
          </p:cNvCxnSpPr>
          <p:nvPr/>
        </p:nvCxnSpPr>
        <p:spPr bwMode="auto">
          <a:xfrm>
            <a:off x="1174116" y="3783706"/>
            <a:ext cx="0" cy="62696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" name="꺾인 연결선 12"/>
          <p:cNvCxnSpPr>
            <a:stCxn id="49" idx="3"/>
            <a:endCxn id="35" idx="1"/>
          </p:cNvCxnSpPr>
          <p:nvPr/>
        </p:nvCxnSpPr>
        <p:spPr bwMode="auto">
          <a:xfrm flipV="1">
            <a:off x="1976948" y="3603706"/>
            <a:ext cx="289570" cy="98696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4" name="직선 화살표 연결선 53"/>
          <p:cNvCxnSpPr>
            <a:stCxn id="35" idx="2"/>
            <a:endCxn id="36" idx="0"/>
          </p:cNvCxnSpPr>
          <p:nvPr/>
        </p:nvCxnSpPr>
        <p:spPr bwMode="auto">
          <a:xfrm>
            <a:off x="3027427" y="3783706"/>
            <a:ext cx="0" cy="2916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2" name="직선 화살표 연결선 61"/>
          <p:cNvCxnSpPr>
            <a:stCxn id="36" idx="2"/>
            <a:endCxn id="37" idx="0"/>
          </p:cNvCxnSpPr>
          <p:nvPr/>
        </p:nvCxnSpPr>
        <p:spPr bwMode="auto">
          <a:xfrm>
            <a:off x="3027427" y="4435320"/>
            <a:ext cx="0" cy="2916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3" name="직선 화살표 연결선 62"/>
          <p:cNvCxnSpPr>
            <a:stCxn id="37" idx="2"/>
            <a:endCxn id="38" idx="0"/>
          </p:cNvCxnSpPr>
          <p:nvPr/>
        </p:nvCxnSpPr>
        <p:spPr bwMode="auto">
          <a:xfrm>
            <a:off x="3027427" y="5086934"/>
            <a:ext cx="0" cy="29161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4" name="꺾인 연결선 63"/>
          <p:cNvCxnSpPr>
            <a:stCxn id="38" idx="3"/>
            <a:endCxn id="39" idx="1"/>
          </p:cNvCxnSpPr>
          <p:nvPr/>
        </p:nvCxnSpPr>
        <p:spPr bwMode="auto">
          <a:xfrm flipV="1">
            <a:off x="3788336" y="3603706"/>
            <a:ext cx="463070" cy="195484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6" name="직선 화살표 연결선 65"/>
          <p:cNvCxnSpPr>
            <a:stCxn id="39" idx="2"/>
            <a:endCxn id="40" idx="0"/>
          </p:cNvCxnSpPr>
          <p:nvPr/>
        </p:nvCxnSpPr>
        <p:spPr bwMode="auto">
          <a:xfrm>
            <a:off x="5012315" y="3783706"/>
            <a:ext cx="0" cy="2916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9" name="직선 화살표 연결선 68"/>
          <p:cNvCxnSpPr>
            <a:stCxn id="40" idx="2"/>
            <a:endCxn id="41" idx="0"/>
          </p:cNvCxnSpPr>
          <p:nvPr/>
        </p:nvCxnSpPr>
        <p:spPr bwMode="auto">
          <a:xfrm>
            <a:off x="5012315" y="4435320"/>
            <a:ext cx="0" cy="2916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2" name="직선 화살표 연결선 71"/>
          <p:cNvCxnSpPr>
            <a:stCxn id="41" idx="2"/>
            <a:endCxn id="42" idx="0"/>
          </p:cNvCxnSpPr>
          <p:nvPr/>
        </p:nvCxnSpPr>
        <p:spPr bwMode="auto">
          <a:xfrm>
            <a:off x="5012315" y="5086934"/>
            <a:ext cx="0" cy="29161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5" name="꺾인 연결선 74"/>
          <p:cNvCxnSpPr>
            <a:stCxn id="42" idx="3"/>
            <a:endCxn id="46" idx="1"/>
          </p:cNvCxnSpPr>
          <p:nvPr/>
        </p:nvCxnSpPr>
        <p:spPr bwMode="auto">
          <a:xfrm flipV="1">
            <a:off x="5773224" y="3603706"/>
            <a:ext cx="266385" cy="195484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8" name="직선 화살표 연결선 77"/>
          <p:cNvCxnSpPr>
            <a:stCxn id="46" idx="2"/>
            <a:endCxn id="47" idx="0"/>
          </p:cNvCxnSpPr>
          <p:nvPr/>
        </p:nvCxnSpPr>
        <p:spPr bwMode="auto">
          <a:xfrm>
            <a:off x="6842442" y="3783706"/>
            <a:ext cx="0" cy="62696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1" name="꺾인 연결선 80"/>
          <p:cNvCxnSpPr>
            <a:stCxn id="47" idx="3"/>
            <a:endCxn id="43" idx="1"/>
          </p:cNvCxnSpPr>
          <p:nvPr/>
        </p:nvCxnSpPr>
        <p:spPr bwMode="auto">
          <a:xfrm flipV="1">
            <a:off x="7645274" y="3603706"/>
            <a:ext cx="283778" cy="98696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4" name="직선 화살표 연결선 83"/>
          <p:cNvCxnSpPr>
            <a:stCxn id="43" idx="2"/>
            <a:endCxn id="44" idx="0"/>
          </p:cNvCxnSpPr>
          <p:nvPr/>
        </p:nvCxnSpPr>
        <p:spPr bwMode="auto">
          <a:xfrm>
            <a:off x="8731885" y="3783706"/>
            <a:ext cx="0" cy="62696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8" name="직선 화살표 연결선 87"/>
          <p:cNvCxnSpPr>
            <a:stCxn id="44" idx="2"/>
            <a:endCxn id="45" idx="0"/>
          </p:cNvCxnSpPr>
          <p:nvPr/>
        </p:nvCxnSpPr>
        <p:spPr bwMode="auto">
          <a:xfrm>
            <a:off x="8731885" y="4770667"/>
            <a:ext cx="0" cy="6078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83" name="그룹 8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4" name="그룹 9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21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 프로세스에 해당하는 시스템 주요 기능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속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마케팅 시스템 구성 및 기능 정의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5569098"/>
              </p:ext>
            </p:extLst>
          </p:nvPr>
        </p:nvGraphicFramePr>
        <p:xfrm>
          <a:off x="320325" y="1843325"/>
          <a:ext cx="9293577" cy="4479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6331"/>
                <a:gridCol w="1728192"/>
                <a:gridCol w="6029054"/>
              </a:tblGrid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unctio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 기능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설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11756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건관리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초 정보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9375" indent="-79375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 수행에 필요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주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정보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공조건 등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및 성과 측정을 위한 기초 정보 등록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175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 기획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 등록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외설정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뮬레이션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영 등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1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복제거 및 제외조건 적용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 대상고객 피로도 최소화를 위하여 일정기간 내 고객 접촉의 중복 제거 및 다양한 기준의 제외 조건을 지정하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단계에 반영 처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x.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.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기간내의 </a:t>
                      </a:r>
                      <a:r>
                        <a:rPr lang="ko-KR" altLang="en-US" sz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접촉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금지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접촉 재한 횟수 정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제외 조건 정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가 제외 조건 정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금지자 제외 정보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1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 처리를 위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용이하게 추가하도록 직관적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UI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형태로 개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x. Trigger Rul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CA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지급한도 초과 발생시 우수고객 대상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MS, TM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송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 상세조건 지정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수고객 추출을 위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 설정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1756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준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ti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서버는 다양한 정보를 참조하여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 연계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수행하며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클린징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처리 후 관련된 데이터를 실시간 채널 전송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175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의사결정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추출하여 기획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비교 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여부 의사결정  처리 지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175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발생되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검출하여 시스템에 등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39" name="그룹 3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4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4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8" name="그룹 4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35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 프로세스에 해당하는 시스템 주요 기능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마케팅 시스템 구성 및 기능 정의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054489"/>
              </p:ext>
            </p:extLst>
          </p:nvPr>
        </p:nvGraphicFramePr>
        <p:xfrm>
          <a:off x="320325" y="1843324"/>
          <a:ext cx="9293577" cy="44235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6331"/>
                <a:gridCol w="1728192"/>
                <a:gridCol w="6029054"/>
              </a:tblGrid>
              <a:tr h="2934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unctio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 기능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설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2203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준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9375" indent="-79375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서버는 다양한 정보를 참조하여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   연계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수행하며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클린징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처리 후 관련된 데이터를 실시간으로 채널로 전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의사결정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추출하여 기획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비교 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여부 의사결정  처리 지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발생되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검출하여 시스템에 등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실행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준비에서 고객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tion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 확정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정보가 입력되는 즉시 우선순위가 높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서버에 등록되어 해당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클린징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 시 선택한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클린징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수행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채널 전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클린징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처리 후 관련된 데이터를 실시간으로 채널 및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계로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각각 전송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수행 정보 전달 및 수행 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8466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성과 평가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니터링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 모니터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 모니터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대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 수 및 처리율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 빈도 파악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상태 모니터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송 대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R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빈도 파악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내역 관리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Trigger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래유형별 캠페인 거래 조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20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분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 분석을 위해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효과를 확인하고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gg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에 적용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40" name="그룹 3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4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4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697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터에 의한 실시간 마케팅 관리 화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필요 데이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터페이스 요건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마케팅 시스템 구성 및 기능 정의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42288" y="2169945"/>
            <a:ext cx="4439976" cy="406736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" name="직선 연결선 11"/>
          <p:cNvCxnSpPr/>
          <p:nvPr/>
        </p:nvCxnSpPr>
        <p:spPr bwMode="auto">
          <a:xfrm flipH="1">
            <a:off x="5114204" y="2943705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31" name="직사각형 30"/>
          <p:cNvSpPr/>
          <p:nvPr/>
        </p:nvSpPr>
        <p:spPr bwMode="auto">
          <a:xfrm>
            <a:off x="461208" y="2276872"/>
            <a:ext cx="1489356" cy="9177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감지 채널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계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Web/Mobile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M/ARS</a:t>
            </a:r>
          </a:p>
        </p:txBody>
      </p:sp>
      <p:sp>
        <p:nvSpPr>
          <p:cNvPr id="32" name="직사각형 31"/>
          <p:cNvSpPr/>
          <p:nvPr/>
        </p:nvSpPr>
        <p:spPr bwMode="auto">
          <a:xfrm>
            <a:off x="2239508" y="2276872"/>
            <a:ext cx="1489356" cy="9177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채널 전송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MS/E-mail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Web/Mobile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M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461208" y="3662384"/>
            <a:ext cx="1489356" cy="11104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감지 정보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이력 정보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정보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위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운영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2239508" y="3662384"/>
            <a:ext cx="1489356" cy="111048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마케팅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벤트 감지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외 실행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메시지 전송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화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등록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461208" y="5258970"/>
            <a:ext cx="1489356" cy="83432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이력 정보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 정보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위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2239508" y="5258970"/>
            <a:ext cx="1489356" cy="83432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캠페인 생성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캠페인 성과 조회</a:t>
            </a:r>
          </a:p>
        </p:txBody>
      </p:sp>
      <p:cxnSp>
        <p:nvCxnSpPr>
          <p:cNvPr id="49" name="직선 화살표 연결선 48"/>
          <p:cNvCxnSpPr>
            <a:stCxn id="31" idx="2"/>
            <a:endCxn id="33" idx="0"/>
          </p:cNvCxnSpPr>
          <p:nvPr/>
        </p:nvCxnSpPr>
        <p:spPr bwMode="auto">
          <a:xfrm>
            <a:off x="1205886" y="3194631"/>
            <a:ext cx="0" cy="4677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50" name="꺾인 연결선 49"/>
          <p:cNvCxnSpPr>
            <a:stCxn id="68" idx="2"/>
            <a:endCxn id="36" idx="3"/>
          </p:cNvCxnSpPr>
          <p:nvPr/>
        </p:nvCxnSpPr>
        <p:spPr bwMode="auto">
          <a:xfrm rot="5400000">
            <a:off x="3712712" y="5010983"/>
            <a:ext cx="681302" cy="648998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triangle" w="sm" len="sm"/>
          </a:ln>
          <a:effectLst/>
        </p:spPr>
      </p:cxnSp>
      <p:cxnSp>
        <p:nvCxnSpPr>
          <p:cNvPr id="53" name="직선 화살표 연결선 52"/>
          <p:cNvCxnSpPr>
            <a:stCxn id="35" idx="0"/>
            <a:endCxn id="33" idx="2"/>
          </p:cNvCxnSpPr>
          <p:nvPr/>
        </p:nvCxnSpPr>
        <p:spPr bwMode="auto">
          <a:xfrm flipV="1">
            <a:off x="1205886" y="4772873"/>
            <a:ext cx="0" cy="48609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62" name="직선 화살표 연결선 61"/>
          <p:cNvCxnSpPr>
            <a:stCxn id="33" idx="3"/>
            <a:endCxn id="34" idx="1"/>
          </p:cNvCxnSpPr>
          <p:nvPr/>
        </p:nvCxnSpPr>
        <p:spPr bwMode="auto">
          <a:xfrm>
            <a:off x="1950564" y="4217629"/>
            <a:ext cx="2889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63" name="직선 화살표 연결선 62"/>
          <p:cNvCxnSpPr>
            <a:stCxn id="36" idx="0"/>
            <a:endCxn id="34" idx="2"/>
          </p:cNvCxnSpPr>
          <p:nvPr/>
        </p:nvCxnSpPr>
        <p:spPr bwMode="auto">
          <a:xfrm flipV="1">
            <a:off x="2984186" y="4772873"/>
            <a:ext cx="0" cy="48609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64" name="직선 화살표 연결선 63"/>
          <p:cNvCxnSpPr>
            <a:stCxn id="34" idx="0"/>
          </p:cNvCxnSpPr>
          <p:nvPr/>
        </p:nvCxnSpPr>
        <p:spPr bwMode="auto">
          <a:xfrm flipV="1">
            <a:off x="2984186" y="3266640"/>
            <a:ext cx="0" cy="39574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67" name="직사각형 66"/>
          <p:cNvSpPr/>
          <p:nvPr/>
        </p:nvSpPr>
        <p:spPr bwMode="auto">
          <a:xfrm>
            <a:off x="4076111" y="4040711"/>
            <a:ext cx="603502" cy="3538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076111" y="4640996"/>
            <a:ext cx="603502" cy="3538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F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68"/>
          <p:cNvCxnSpPr>
            <a:stCxn id="67" idx="1"/>
            <a:endCxn id="34" idx="3"/>
          </p:cNvCxnSpPr>
          <p:nvPr/>
        </p:nvCxnSpPr>
        <p:spPr bwMode="auto">
          <a:xfrm flipH="1">
            <a:off x="3728864" y="4217629"/>
            <a:ext cx="34724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triangle" w="sm" len="sm"/>
          </a:ln>
          <a:effectLst/>
        </p:spPr>
      </p:cxnSp>
      <p:sp>
        <p:nvSpPr>
          <p:cNvPr id="75" name="직사각형 74"/>
          <p:cNvSpPr/>
          <p:nvPr/>
        </p:nvSpPr>
        <p:spPr bwMode="auto">
          <a:xfrm>
            <a:off x="4079493" y="5233982"/>
            <a:ext cx="603502" cy="19973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AI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920552" y="4947712"/>
            <a:ext cx="603502" cy="13641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L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2582556" y="4869709"/>
            <a:ext cx="803261" cy="2924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행확정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캠페인 적재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904135" y="3396302"/>
            <a:ext cx="603502" cy="13641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DC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2682435" y="3396302"/>
            <a:ext cx="603502" cy="13641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AI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0" name="그룹 79"/>
          <p:cNvGrpSpPr/>
          <p:nvPr/>
        </p:nvGrpSpPr>
        <p:grpSpPr>
          <a:xfrm>
            <a:off x="5114204" y="1858134"/>
            <a:ext cx="4439976" cy="302400"/>
            <a:chOff x="5405153" y="1916190"/>
            <a:chExt cx="4084351" cy="302400"/>
          </a:xfrm>
        </p:grpSpPr>
        <p:sp>
          <p:nvSpPr>
            <p:cNvPr id="81" name="직사각형 80"/>
            <p:cNvSpPr/>
            <p:nvPr/>
          </p:nvSpPr>
          <p:spPr bwMode="auto">
            <a:xfrm>
              <a:off x="6079176" y="1916190"/>
              <a:ext cx="2736304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간 마케팅 시스템 구성</a:t>
              </a: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2" name="직선 연결선 81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83" name="모서리가 둥근 직사각형 141"/>
          <p:cNvSpPr/>
          <p:nvPr/>
        </p:nvSpPr>
        <p:spPr bwMode="auto">
          <a:xfrm>
            <a:off x="5114204" y="2403354"/>
            <a:ext cx="996991" cy="479160"/>
          </a:xfrm>
          <a:prstGeom prst="roundRect">
            <a:avLst/>
          </a:prstGeom>
          <a:solidFill>
            <a:srgbClr val="D6EBF6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모서리가 둥근 직사각형 141"/>
          <p:cNvSpPr/>
          <p:nvPr/>
        </p:nvSpPr>
        <p:spPr bwMode="auto">
          <a:xfrm>
            <a:off x="5114204" y="3004896"/>
            <a:ext cx="996991" cy="1367099"/>
          </a:xfrm>
          <a:prstGeom prst="roundRect">
            <a:avLst/>
          </a:prstGeom>
          <a:solidFill>
            <a:srgbClr val="D6EBF6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모서리가 둥근 직사각형 141"/>
          <p:cNvSpPr/>
          <p:nvPr/>
        </p:nvSpPr>
        <p:spPr bwMode="auto">
          <a:xfrm>
            <a:off x="6144474" y="3004896"/>
            <a:ext cx="3409706" cy="136709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복수 감지 채널 사용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복수 채널 전송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서비스 제공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외 실행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 피로도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우선순위 적용</a:t>
            </a: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모서리가 둥근 직사각형 141"/>
          <p:cNvSpPr/>
          <p:nvPr/>
        </p:nvSpPr>
        <p:spPr bwMode="auto">
          <a:xfrm>
            <a:off x="5114204" y="4494377"/>
            <a:ext cx="996991" cy="848861"/>
          </a:xfrm>
          <a:prstGeom prst="roundRect">
            <a:avLst/>
          </a:prstGeom>
          <a:solidFill>
            <a:srgbClr val="D6EBF6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모서리가 둥근 직사각형 141"/>
          <p:cNvSpPr/>
          <p:nvPr/>
        </p:nvSpPr>
        <p:spPr bwMode="auto">
          <a:xfrm>
            <a:off x="6144474" y="4494378"/>
            <a:ext cx="3409706" cy="84886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마케팅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축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lang="ko-KR" altLang="en-US" sz="11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감지체널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이력 정보 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속성 정보 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이력 정보 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맹점 정보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좌표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/ 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통 정보 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등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1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모서리가 둥근 직사각형 141"/>
          <p:cNvSpPr/>
          <p:nvPr/>
        </p:nvSpPr>
        <p:spPr bwMode="auto">
          <a:xfrm>
            <a:off x="5114204" y="5465620"/>
            <a:ext cx="996991" cy="771692"/>
          </a:xfrm>
          <a:prstGeom prst="roundRect">
            <a:avLst/>
          </a:prstGeom>
          <a:solidFill>
            <a:srgbClr val="D6EBF6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타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I/F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모서리가 둥근 직사각형 141"/>
          <p:cNvSpPr/>
          <p:nvPr/>
        </p:nvSpPr>
        <p:spPr bwMode="auto">
          <a:xfrm>
            <a:off x="6144474" y="5465620"/>
            <a:ext cx="3409706" cy="77169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서비스 요청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 전송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RDW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감지정보 사용</a:t>
            </a: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5" name="직선 연결선 114"/>
          <p:cNvCxnSpPr/>
          <p:nvPr/>
        </p:nvCxnSpPr>
        <p:spPr bwMode="auto">
          <a:xfrm flipH="1">
            <a:off x="5114204" y="4433186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116" name="직선 연결선 115"/>
          <p:cNvCxnSpPr/>
          <p:nvPr/>
        </p:nvCxnSpPr>
        <p:spPr bwMode="auto">
          <a:xfrm flipH="1">
            <a:off x="5114204" y="5404430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121" name="모서리가 둥근 직사각형 141"/>
          <p:cNvSpPr/>
          <p:nvPr/>
        </p:nvSpPr>
        <p:spPr bwMode="auto">
          <a:xfrm>
            <a:off x="6144474" y="2400690"/>
            <a:ext cx="3409706" cy="48182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마케팅 정의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]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마케팅 모니터링</a:t>
            </a:r>
          </a:p>
        </p:txBody>
      </p:sp>
      <p:sp>
        <p:nvSpPr>
          <p:cNvPr id="65" name="Rectangle 30"/>
          <p:cNvSpPr/>
          <p:nvPr/>
        </p:nvSpPr>
        <p:spPr bwMode="gray">
          <a:xfrm>
            <a:off x="342288" y="1844824"/>
            <a:ext cx="4439976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 마케팅 시스템 구성</a:t>
            </a:r>
          </a:p>
        </p:txBody>
      </p:sp>
      <p:grpSp>
        <p:nvGrpSpPr>
          <p:cNvPr id="61" name="그룹 6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5" name="그룹 10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7321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타사 구축 사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도사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의 실시간 마케팅 엔진을 도입하여 승인 시점 위치기반 가맹점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서비스를 개발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선도사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실시간 이벤트 마케팅 위치기반 서비스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08257" y="1834530"/>
            <a:ext cx="9425264" cy="4402782"/>
            <a:chOff x="208257" y="1495450"/>
            <a:chExt cx="9612140" cy="4543672"/>
          </a:xfrm>
        </p:grpSpPr>
        <p:sp>
          <p:nvSpPr>
            <p:cNvPr id="103" name="이등변 삼각형 102"/>
            <p:cNvSpPr/>
            <p:nvPr/>
          </p:nvSpPr>
          <p:spPr bwMode="auto">
            <a:xfrm rot="16200000">
              <a:off x="2609576" y="2487330"/>
              <a:ext cx="1573413" cy="1551511"/>
            </a:xfrm>
            <a:prstGeom prst="triangle">
              <a:avLst/>
            </a:prstGeom>
            <a:solidFill>
              <a:srgbClr val="808080">
                <a:lumMod val="20000"/>
                <a:lumOff val="80000"/>
              </a:srgbClr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</a:p>
          </p:txBody>
        </p:sp>
        <p:sp>
          <p:nvSpPr>
            <p:cNvPr id="104" name="AutoShape 65"/>
            <p:cNvSpPr>
              <a:spLocks noChangeArrowheads="1"/>
            </p:cNvSpPr>
            <p:nvPr/>
          </p:nvSpPr>
          <p:spPr bwMode="auto">
            <a:xfrm>
              <a:off x="2596974" y="2705674"/>
              <a:ext cx="906463" cy="1134352"/>
            </a:xfrm>
            <a:prstGeom prst="roundRect">
              <a:avLst>
                <a:gd name="adj" fmla="val 7162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5" name="Picture 6" descr="http://t2.gstatic.com/images?q=tbn:ANd9GcREvKKZdI-Uk8lKeDofjMovotjw4RmaUae-6AITKw0G2bM9A0HdAQ"/>
            <p:cNvPicPr>
              <a:picLocks noChangeAspect="1" noChangeArrowheads="1"/>
            </p:cNvPicPr>
            <p:nvPr/>
          </p:nvPicPr>
          <p:blipFill>
            <a:blip r:embed="rId4" cstate="print"/>
            <a:srcRect l="59441" t="13060" r="6424" b="42644"/>
            <a:stretch>
              <a:fillRect/>
            </a:stretch>
          </p:blipFill>
          <p:spPr bwMode="auto">
            <a:xfrm>
              <a:off x="3161667" y="4268825"/>
              <a:ext cx="521615" cy="531773"/>
            </a:xfrm>
            <a:prstGeom prst="rect">
              <a:avLst/>
            </a:prstGeom>
            <a:noFill/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</p:pic>
        <p:sp>
          <p:nvSpPr>
            <p:cNvPr id="106" name="Text Box 24"/>
            <p:cNvSpPr txBox="1">
              <a:spLocks noChangeArrowheads="1"/>
            </p:cNvSpPr>
            <p:nvPr/>
          </p:nvSpPr>
          <p:spPr bwMode="auto">
            <a:xfrm>
              <a:off x="208257" y="5205245"/>
              <a:ext cx="1990155" cy="8338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180975" eaLnBrk="0" fontAlgn="auto" hangingPunct="0">
                <a:spcBef>
                  <a:spcPct val="30000"/>
                </a:spcBef>
                <a:spcAft>
                  <a:spcPts val="0"/>
                </a:spcAft>
              </a:pP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“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채널 별 분산되어 있는 </a:t>
              </a:r>
              <a:r>
                <a:rPr lang="ko-KR" altLang="en-US" sz="1400" i="1" u="sng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접촉정보의 실시간 통합 관리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”</a:t>
              </a:r>
            </a:p>
          </p:txBody>
        </p:sp>
        <p:sp>
          <p:nvSpPr>
            <p:cNvPr id="107" name="Text Box 24"/>
            <p:cNvSpPr txBox="1">
              <a:spLocks noChangeArrowheads="1"/>
            </p:cNvSpPr>
            <p:nvPr/>
          </p:nvSpPr>
          <p:spPr bwMode="auto">
            <a:xfrm>
              <a:off x="2233301" y="5300913"/>
              <a:ext cx="1824038" cy="590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180975" eaLnBrk="0" fontAlgn="auto" hangingPunct="0">
                <a:spcBef>
                  <a:spcPct val="30000"/>
                </a:spcBef>
                <a:spcAft>
                  <a:spcPts val="0"/>
                </a:spcAft>
              </a:pP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“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400" i="1" u="sng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별 맞춤화 된 </a:t>
              </a:r>
              <a:r>
                <a:rPr lang="en-US" altLang="ko-KR" sz="1400" i="1" u="sng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Offering</a:t>
              </a: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도출 ”</a:t>
              </a:r>
            </a:p>
          </p:txBody>
        </p:sp>
        <p:sp>
          <p:nvSpPr>
            <p:cNvPr id="108" name="Text Box 24"/>
            <p:cNvSpPr txBox="1">
              <a:spLocks noChangeArrowheads="1"/>
            </p:cNvSpPr>
            <p:nvPr/>
          </p:nvSpPr>
          <p:spPr bwMode="auto">
            <a:xfrm>
              <a:off x="4168697" y="5300913"/>
              <a:ext cx="1979371" cy="590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180975" eaLnBrk="0" fontAlgn="auto" hangingPunct="0">
                <a:spcBef>
                  <a:spcPct val="30000"/>
                </a:spcBef>
                <a:spcAft>
                  <a:spcPts val="0"/>
                </a:spcAft>
              </a:pP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“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 </a:t>
              </a:r>
              <a:r>
                <a:rPr lang="ko-KR" altLang="en-US" sz="1400" i="1" dirty="0" err="1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접촉시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400" i="1" u="sng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마케팅</a:t>
              </a:r>
              <a:r>
                <a:rPr lang="ko-KR" altLang="en-US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수행</a:t>
              </a:r>
              <a:r>
                <a:rPr lang="en-US" altLang="ko-KR" sz="1400" i="1" dirty="0">
                  <a:solidFill>
                    <a:srgbClr val="CC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”</a:t>
              </a: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383447" y="3723775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0" name="Text Box 17"/>
            <p:cNvSpPr txBox="1">
              <a:spLocks noChangeArrowheads="1"/>
            </p:cNvSpPr>
            <p:nvPr/>
          </p:nvSpPr>
          <p:spPr bwMode="auto">
            <a:xfrm>
              <a:off x="454444" y="3771486"/>
              <a:ext cx="3462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모바일</a:t>
              </a:r>
              <a:endPara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383447" y="2357920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2" name="Text Box 20"/>
            <p:cNvSpPr txBox="1">
              <a:spLocks noChangeArrowheads="1"/>
            </p:cNvSpPr>
            <p:nvPr/>
          </p:nvSpPr>
          <p:spPr bwMode="auto">
            <a:xfrm>
              <a:off x="454444" y="2401360"/>
              <a:ext cx="2420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Web</a:t>
              </a: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383447" y="2813205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4" name="Text Box 23"/>
            <p:cNvSpPr txBox="1">
              <a:spLocks noChangeArrowheads="1"/>
            </p:cNvSpPr>
            <p:nvPr/>
          </p:nvSpPr>
          <p:spPr bwMode="auto">
            <a:xfrm>
              <a:off x="424282" y="2862748"/>
              <a:ext cx="366712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이메일</a:t>
              </a:r>
              <a:endPara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383447" y="4179060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16" name="Text Box 26"/>
            <p:cNvSpPr txBox="1">
              <a:spLocks noChangeArrowheads="1"/>
            </p:cNvSpPr>
            <p:nvPr/>
          </p:nvSpPr>
          <p:spPr bwMode="auto">
            <a:xfrm>
              <a:off x="487102" y="4221525"/>
              <a:ext cx="230832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승인</a:t>
              </a: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383447" y="1902634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3" name="Text Box 29"/>
            <p:cNvSpPr txBox="1">
              <a:spLocks noChangeArrowheads="1"/>
            </p:cNvSpPr>
            <p:nvPr/>
          </p:nvSpPr>
          <p:spPr bwMode="auto">
            <a:xfrm>
              <a:off x="454444" y="1952287"/>
              <a:ext cx="3462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콜센터</a:t>
              </a:r>
              <a:endPara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383447" y="3268490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5" name="Text Box 17"/>
            <p:cNvSpPr txBox="1">
              <a:spLocks noChangeArrowheads="1"/>
            </p:cNvSpPr>
            <p:nvPr/>
          </p:nvSpPr>
          <p:spPr bwMode="auto">
            <a:xfrm>
              <a:off x="454444" y="3322636"/>
              <a:ext cx="20839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9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ARS</a:t>
              </a: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383447" y="4634343"/>
              <a:ext cx="460746" cy="2272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DCE9F0">
                  <a:lumMod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7" name="Text Box 26"/>
            <p:cNvSpPr txBox="1">
              <a:spLocks noChangeArrowheads="1"/>
            </p:cNvSpPr>
            <p:nvPr/>
          </p:nvSpPr>
          <p:spPr bwMode="auto">
            <a:xfrm>
              <a:off x="454444" y="4689082"/>
              <a:ext cx="3462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그룹사</a:t>
              </a:r>
              <a:endPara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8" name="Rectangle 35"/>
            <p:cNvSpPr>
              <a:spLocks noChangeArrowheads="1"/>
            </p:cNvSpPr>
            <p:nvPr/>
          </p:nvSpPr>
          <p:spPr bwMode="auto">
            <a:xfrm>
              <a:off x="1138657" y="2071143"/>
              <a:ext cx="866775" cy="140080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0" tIns="0" rIns="0" bIns="0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sz="1200" u="sng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MCI</a:t>
              </a:r>
              <a:endPara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채널 연계 기능 통합관리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9" name="AutoShape 36"/>
            <p:cNvSpPr>
              <a:spLocks noChangeArrowheads="1"/>
            </p:cNvSpPr>
            <p:nvPr/>
          </p:nvSpPr>
          <p:spPr bwMode="auto">
            <a:xfrm>
              <a:off x="1233907" y="2899205"/>
              <a:ext cx="666750" cy="492008"/>
            </a:xfrm>
            <a:prstGeom prst="can">
              <a:avLst>
                <a:gd name="adj" fmla="val 17583"/>
              </a:avLst>
            </a:prstGeom>
            <a:solidFill>
              <a:srgbClr val="6EA5C4"/>
            </a:solidFill>
            <a:ln w="12700" algn="ctr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auto" hangingPunct="0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정보</a:t>
              </a:r>
            </a:p>
          </p:txBody>
        </p:sp>
        <p:sp>
          <p:nvSpPr>
            <p:cNvPr id="130" name="AutoShape 44"/>
            <p:cNvSpPr>
              <a:spLocks noChangeArrowheads="1"/>
            </p:cNvSpPr>
            <p:nvPr/>
          </p:nvSpPr>
          <p:spPr bwMode="auto">
            <a:xfrm>
              <a:off x="1243432" y="4268825"/>
              <a:ext cx="668337" cy="492008"/>
            </a:xfrm>
            <a:prstGeom prst="can">
              <a:avLst>
                <a:gd name="adj" fmla="val 17583"/>
              </a:avLst>
            </a:prstGeom>
            <a:solidFill>
              <a:srgbClr val="6EA5C4"/>
            </a:solidFill>
            <a:ln w="12700" algn="ctr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auto" hangingPunct="0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0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정보</a:t>
              </a:r>
            </a:p>
          </p:txBody>
        </p:sp>
        <p:sp>
          <p:nvSpPr>
            <p:cNvPr id="131" name="Rectangle 45"/>
            <p:cNvSpPr>
              <a:spLocks noChangeArrowheads="1"/>
            </p:cNvSpPr>
            <p:nvPr/>
          </p:nvSpPr>
          <p:spPr bwMode="auto">
            <a:xfrm>
              <a:off x="2664295" y="2792496"/>
              <a:ext cx="700513" cy="3046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</a:t>
              </a:r>
              <a:b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lang="en-US" altLang="ko-KR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Event </a:t>
              </a:r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감지</a:t>
              </a:r>
            </a:p>
          </p:txBody>
        </p:sp>
        <p:sp>
          <p:nvSpPr>
            <p:cNvPr id="132" name="Rectangle 249"/>
            <p:cNvSpPr>
              <a:spLocks noChangeArrowheads="1"/>
            </p:cNvSpPr>
            <p:nvPr/>
          </p:nvSpPr>
          <p:spPr bwMode="auto">
            <a:xfrm>
              <a:off x="2476510" y="2114581"/>
              <a:ext cx="365125" cy="22037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25525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마케팅시스템</a:t>
              </a:r>
            </a:p>
          </p:txBody>
        </p:sp>
        <p:sp>
          <p:nvSpPr>
            <p:cNvPr id="133" name="Line 66"/>
            <p:cNvSpPr>
              <a:spLocks noChangeShapeType="1"/>
            </p:cNvSpPr>
            <p:nvPr/>
          </p:nvSpPr>
          <p:spPr bwMode="auto">
            <a:xfrm flipH="1">
              <a:off x="3088578" y="1936911"/>
              <a:ext cx="330200" cy="0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/>
              <a:tailEnd type="triangle" w="med" len="med"/>
            </a:ln>
          </p:spPr>
          <p:txBody>
            <a:bodyPr lIns="0" tIns="0" rIns="0" bIns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34" name="Line 67"/>
            <p:cNvSpPr>
              <a:spLocks noChangeShapeType="1"/>
            </p:cNvSpPr>
            <p:nvPr/>
          </p:nvSpPr>
          <p:spPr bwMode="auto">
            <a:xfrm>
              <a:off x="2868437" y="2334960"/>
              <a:ext cx="0" cy="293838"/>
            </a:xfrm>
            <a:prstGeom prst="line">
              <a:avLst/>
            </a:prstGeom>
            <a:noFill/>
            <a:ln w="9525">
              <a:solidFill>
                <a:srgbClr val="5F5F5F"/>
              </a:solidFill>
              <a:round/>
              <a:headEnd type="triangle" w="med" len="med"/>
              <a:tailEnd type="triangle" w="med" len="med"/>
            </a:ln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35" name="Rectangle 45"/>
            <p:cNvSpPr>
              <a:spLocks noChangeArrowheads="1"/>
            </p:cNvSpPr>
            <p:nvPr/>
          </p:nvSpPr>
          <p:spPr bwMode="auto">
            <a:xfrm>
              <a:off x="2690637" y="3624621"/>
              <a:ext cx="758221" cy="152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MOT </a:t>
              </a:r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엔진</a:t>
              </a:r>
              <a:r>
                <a:rPr lang="en-US" altLang="ko-KR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</a:p>
          </p:txBody>
        </p:sp>
        <p:sp>
          <p:nvSpPr>
            <p:cNvPr id="136" name="AutoShape 15"/>
            <p:cNvSpPr>
              <a:spLocks noChangeArrowheads="1"/>
            </p:cNvSpPr>
            <p:nvPr/>
          </p:nvSpPr>
          <p:spPr bwMode="auto">
            <a:xfrm>
              <a:off x="2485849" y="4268825"/>
              <a:ext cx="600075" cy="527883"/>
            </a:xfrm>
            <a:prstGeom prst="can">
              <a:avLst>
                <a:gd name="adj" fmla="val 24398"/>
              </a:avLst>
            </a:prstGeom>
            <a:solidFill>
              <a:srgbClr val="6EA5C4"/>
            </a:solidFill>
            <a:ln w="12700">
              <a:solidFill>
                <a:srgbClr val="80808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</a:t>
              </a:r>
              <a:br>
                <a:rPr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속성정보</a:t>
              </a:r>
              <a:endParaRPr lang="en-US" altLang="ko-KR" sz="10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37" name="Rectangle 45"/>
            <p:cNvSpPr>
              <a:spLocks noChangeArrowheads="1"/>
            </p:cNvSpPr>
            <p:nvPr/>
          </p:nvSpPr>
          <p:spPr bwMode="auto">
            <a:xfrm>
              <a:off x="3160586" y="4859903"/>
              <a:ext cx="539750" cy="124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GIS</a:t>
              </a:r>
              <a:r>
                <a:rPr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정보</a:t>
              </a:r>
            </a:p>
          </p:txBody>
        </p:sp>
        <p:sp>
          <p:nvSpPr>
            <p:cNvPr id="138" name="Rectangle 45"/>
            <p:cNvSpPr>
              <a:spLocks noChangeArrowheads="1"/>
            </p:cNvSpPr>
            <p:nvPr/>
          </p:nvSpPr>
          <p:spPr bwMode="auto">
            <a:xfrm>
              <a:off x="3584619" y="3085681"/>
              <a:ext cx="561052" cy="3046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</a:t>
              </a:r>
            </a:p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Offering</a:t>
              </a:r>
            </a:p>
          </p:txBody>
        </p:sp>
        <p:cxnSp>
          <p:nvCxnSpPr>
            <p:cNvPr id="139" name="AutoShape 75"/>
            <p:cNvCxnSpPr>
              <a:cxnSpLocks noChangeShapeType="1"/>
              <a:stCxn id="136" idx="1"/>
            </p:cNvCxnSpPr>
            <p:nvPr/>
          </p:nvCxnSpPr>
          <p:spPr bwMode="auto">
            <a:xfrm rot="16200000">
              <a:off x="2675001" y="3892828"/>
              <a:ext cx="486884" cy="265112"/>
            </a:xfrm>
            <a:prstGeom prst="curvedConnector3">
              <a:avLst>
                <a:gd name="adj1" fmla="val 50176"/>
              </a:avLst>
            </a:prstGeom>
            <a:noFill/>
            <a:ln w="9525">
              <a:solidFill>
                <a:srgbClr val="5F5F5F"/>
              </a:solidFill>
              <a:prstDash val="solid"/>
              <a:round/>
              <a:headEnd/>
              <a:tailEnd type="triangle" w="med" len="med"/>
            </a:ln>
          </p:spPr>
        </p:cxnSp>
        <p:cxnSp>
          <p:nvCxnSpPr>
            <p:cNvPr id="140" name="AutoShape 76"/>
            <p:cNvCxnSpPr>
              <a:cxnSpLocks noChangeShapeType="1"/>
            </p:cNvCxnSpPr>
            <p:nvPr/>
          </p:nvCxnSpPr>
          <p:spPr bwMode="auto">
            <a:xfrm rot="5400000" flipH="1">
              <a:off x="2993295" y="3839646"/>
              <a:ext cx="486884" cy="371475"/>
            </a:xfrm>
            <a:prstGeom prst="curvedConnector3">
              <a:avLst>
                <a:gd name="adj1" fmla="val 50176"/>
              </a:avLst>
            </a:prstGeom>
            <a:noFill/>
            <a:ln w="9525">
              <a:solidFill>
                <a:srgbClr val="5F5F5F"/>
              </a:solidFill>
              <a:prstDash val="solid"/>
              <a:round/>
              <a:headEnd/>
              <a:tailEnd type="triangle" w="med" len="med"/>
            </a:ln>
          </p:spPr>
        </p:cxnSp>
        <p:sp>
          <p:nvSpPr>
            <p:cNvPr id="141" name="Line 104"/>
            <p:cNvSpPr>
              <a:spLocks noChangeShapeType="1"/>
            </p:cNvSpPr>
            <p:nvPr/>
          </p:nvSpPr>
          <p:spPr bwMode="auto">
            <a:xfrm flipV="1">
              <a:off x="4186245" y="1952286"/>
              <a:ext cx="354055" cy="53599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2" name="Line 105"/>
            <p:cNvSpPr>
              <a:spLocks noChangeShapeType="1"/>
            </p:cNvSpPr>
            <p:nvPr/>
          </p:nvSpPr>
          <p:spPr bwMode="auto">
            <a:xfrm>
              <a:off x="4197129" y="4058026"/>
              <a:ext cx="270019" cy="803529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prstDash val="dash"/>
              <a:round/>
              <a:headEnd/>
              <a:tailEnd/>
            </a:ln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3" name="Rectangle 45"/>
            <p:cNvSpPr>
              <a:spLocks noChangeArrowheads="1"/>
            </p:cNvSpPr>
            <p:nvPr/>
          </p:nvSpPr>
          <p:spPr bwMode="auto">
            <a:xfrm>
              <a:off x="3520626" y="2189049"/>
              <a:ext cx="423193" cy="152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마케터</a:t>
              </a:r>
              <a:endPara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4" name="Rectangle 110"/>
            <p:cNvSpPr>
              <a:spLocks noChangeArrowheads="1"/>
            </p:cNvSpPr>
            <p:nvPr/>
          </p:nvSpPr>
          <p:spPr bwMode="auto">
            <a:xfrm>
              <a:off x="323576" y="1779742"/>
              <a:ext cx="1816154" cy="3288597"/>
            </a:xfrm>
            <a:prstGeom prst="rect">
              <a:avLst/>
            </a:prstGeom>
            <a:noFill/>
            <a:ln w="12700" algn="ctr">
              <a:solidFill>
                <a:srgbClr val="CC0000"/>
              </a:solidFill>
              <a:prstDash val="dash"/>
              <a:miter lim="800000"/>
              <a:headEnd/>
              <a:tailEnd/>
            </a:ln>
          </p:spPr>
          <p:txBody>
            <a:bodyPr wrap="none" lIns="7200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5" name="Rectangle 112"/>
            <p:cNvSpPr>
              <a:spLocks noChangeArrowheads="1"/>
            </p:cNvSpPr>
            <p:nvPr/>
          </p:nvSpPr>
          <p:spPr bwMode="auto">
            <a:xfrm>
              <a:off x="4492734" y="1790000"/>
              <a:ext cx="1392238" cy="3315930"/>
            </a:xfrm>
            <a:prstGeom prst="rect">
              <a:avLst/>
            </a:prstGeom>
            <a:noFill/>
            <a:ln w="12700" algn="ctr">
              <a:solidFill>
                <a:srgbClr val="CC0000"/>
              </a:solidFill>
              <a:prstDash val="dash"/>
              <a:miter lim="800000"/>
              <a:headEnd/>
              <a:tailEnd/>
            </a:ln>
          </p:spPr>
          <p:txBody>
            <a:bodyPr wrap="none" lIns="7200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46" name="구부러진 연결선 113"/>
            <p:cNvCxnSpPr>
              <a:stCxn id="122" idx="3"/>
              <a:endCxn id="128" idx="1"/>
            </p:cNvCxnSpPr>
            <p:nvPr/>
          </p:nvCxnSpPr>
          <p:spPr bwMode="auto">
            <a:xfrm>
              <a:off x="844193" y="2016241"/>
              <a:ext cx="294464" cy="755303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47" name="구부러진 연결선 114"/>
            <p:cNvCxnSpPr>
              <a:stCxn id="111" idx="3"/>
              <a:endCxn id="128" idx="1"/>
            </p:cNvCxnSpPr>
            <p:nvPr/>
          </p:nvCxnSpPr>
          <p:spPr bwMode="auto">
            <a:xfrm>
              <a:off x="844193" y="2471526"/>
              <a:ext cx="294464" cy="300018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48" name="구부러진 연결선 115"/>
            <p:cNvCxnSpPr>
              <a:stCxn id="113" idx="3"/>
              <a:endCxn id="128" idx="1"/>
            </p:cNvCxnSpPr>
            <p:nvPr/>
          </p:nvCxnSpPr>
          <p:spPr bwMode="auto">
            <a:xfrm flipV="1">
              <a:off x="844193" y="2771544"/>
              <a:ext cx="294464" cy="155267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49" name="구부러진 연결선 116"/>
            <p:cNvCxnSpPr>
              <a:stCxn id="109" idx="3"/>
              <a:endCxn id="128" idx="1"/>
            </p:cNvCxnSpPr>
            <p:nvPr/>
          </p:nvCxnSpPr>
          <p:spPr bwMode="auto">
            <a:xfrm flipV="1">
              <a:off x="844193" y="2771544"/>
              <a:ext cx="294464" cy="1065837"/>
            </a:xfrm>
            <a:prstGeom prst="curvedConnector3">
              <a:avLst>
                <a:gd name="adj1" fmla="val 72181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0" name="구부러진 연결선 117"/>
            <p:cNvCxnSpPr>
              <a:stCxn id="124" idx="3"/>
              <a:endCxn id="128" idx="1"/>
            </p:cNvCxnSpPr>
            <p:nvPr/>
          </p:nvCxnSpPr>
          <p:spPr bwMode="auto">
            <a:xfrm flipV="1">
              <a:off x="844193" y="2771544"/>
              <a:ext cx="294464" cy="610552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1" name="구부러진 연결선 118"/>
            <p:cNvCxnSpPr>
              <a:stCxn id="115" idx="3"/>
              <a:endCxn id="130" idx="2"/>
            </p:cNvCxnSpPr>
            <p:nvPr/>
          </p:nvCxnSpPr>
          <p:spPr bwMode="auto">
            <a:xfrm>
              <a:off x="844193" y="4292666"/>
              <a:ext cx="399239" cy="222163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2" name="구부러진 연결선 119"/>
            <p:cNvCxnSpPr>
              <a:stCxn id="126" idx="3"/>
              <a:endCxn id="130" idx="2"/>
            </p:cNvCxnSpPr>
            <p:nvPr/>
          </p:nvCxnSpPr>
          <p:spPr bwMode="auto">
            <a:xfrm flipV="1">
              <a:off x="844193" y="4514830"/>
              <a:ext cx="399239" cy="233120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53" name="Oval 25"/>
            <p:cNvSpPr>
              <a:spLocks noChangeArrowheads="1"/>
            </p:cNvSpPr>
            <p:nvPr/>
          </p:nvSpPr>
          <p:spPr bwMode="auto">
            <a:xfrm>
              <a:off x="208257" y="1658449"/>
              <a:ext cx="216000" cy="232445"/>
            </a:xfrm>
            <a:prstGeom prst="ellipse">
              <a:avLst/>
            </a:prstGeom>
            <a:solidFill>
              <a:srgbClr val="006699"/>
            </a:solidFill>
            <a:ln w="9525" algn="ctr">
              <a:solidFill>
                <a:srgbClr val="4D4D4D"/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1</a:t>
              </a:r>
            </a:p>
          </p:txBody>
        </p:sp>
        <p:sp>
          <p:nvSpPr>
            <p:cNvPr id="154" name="Oval 25"/>
            <p:cNvSpPr>
              <a:spLocks noChangeArrowheads="1"/>
            </p:cNvSpPr>
            <p:nvPr/>
          </p:nvSpPr>
          <p:spPr bwMode="auto">
            <a:xfrm>
              <a:off x="4377453" y="1658449"/>
              <a:ext cx="216000" cy="232445"/>
            </a:xfrm>
            <a:prstGeom prst="ellipse">
              <a:avLst/>
            </a:prstGeom>
            <a:solidFill>
              <a:srgbClr val="006699"/>
            </a:solidFill>
            <a:ln w="9525" algn="ctr">
              <a:solidFill>
                <a:srgbClr val="4D4D4D"/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3</a:t>
              </a:r>
            </a:p>
          </p:txBody>
        </p:sp>
        <p:pic>
          <p:nvPicPr>
            <p:cNvPr id="155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2785887" y="3142558"/>
              <a:ext cx="537489" cy="36015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softEdge rad="63500"/>
            </a:effectLst>
          </p:spPr>
        </p:pic>
        <p:pic>
          <p:nvPicPr>
            <p:cNvPr id="156" name="Picture 99" descr="Picture3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728538" y="1801715"/>
              <a:ext cx="237714" cy="327965"/>
            </a:xfrm>
            <a:prstGeom prst="rect">
              <a:avLst/>
            </a:prstGeom>
            <a:noFill/>
          </p:spPr>
        </p:pic>
        <p:pic>
          <p:nvPicPr>
            <p:cNvPr id="157" name="Picture 86" descr="3"/>
            <p:cNvPicPr>
              <a:picLocks noChangeAspect="1" noChangeArrowheads="1"/>
            </p:cNvPicPr>
            <p:nvPr/>
          </p:nvPicPr>
          <p:blipFill>
            <a:blip r:embed="rId7" cstate="print"/>
            <a:srcRect l="2647" t="1872" r="71417" b="75826"/>
            <a:stretch>
              <a:fillRect/>
            </a:stretch>
          </p:blipFill>
          <p:spPr bwMode="gray">
            <a:xfrm>
              <a:off x="3524936" y="1809829"/>
              <a:ext cx="319619" cy="3730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58" name="구부러진 연결선 125"/>
            <p:cNvCxnSpPr>
              <a:stCxn id="128" idx="3"/>
              <a:endCxn id="104" idx="1"/>
            </p:cNvCxnSpPr>
            <p:nvPr/>
          </p:nvCxnSpPr>
          <p:spPr bwMode="auto">
            <a:xfrm>
              <a:off x="2005432" y="2771544"/>
              <a:ext cx="591542" cy="501306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9" name="구부러진 연결선 126"/>
            <p:cNvCxnSpPr>
              <a:stCxn id="130" idx="4"/>
              <a:endCxn id="104" idx="1"/>
            </p:cNvCxnSpPr>
            <p:nvPr/>
          </p:nvCxnSpPr>
          <p:spPr bwMode="auto">
            <a:xfrm flipV="1">
              <a:off x="1911769" y="3272850"/>
              <a:ext cx="685205" cy="1241979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5F5F5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60" name="Rounded Rectangle 264"/>
            <p:cNvSpPr/>
            <p:nvPr/>
          </p:nvSpPr>
          <p:spPr bwMode="auto">
            <a:xfrm>
              <a:off x="4572958" y="1896278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위치기반 가맹점 </a:t>
              </a:r>
              <a:r>
                <a:rPr lang="ko-KR" altLang="en-US" sz="1100" kern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링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1" name="Rounded Rectangle 264"/>
            <p:cNvSpPr/>
            <p:nvPr/>
          </p:nvSpPr>
          <p:spPr bwMode="auto">
            <a:xfrm>
              <a:off x="4572958" y="2370239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</a:t>
              </a:r>
              <a:r>
                <a:rPr lang="en-US" altLang="ko-KR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In-Bound </a:t>
              </a: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영업상담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2" name="Rounded Rectangle 264"/>
            <p:cNvSpPr/>
            <p:nvPr/>
          </p:nvSpPr>
          <p:spPr bwMode="auto">
            <a:xfrm>
              <a:off x="4572958" y="2844200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</a:t>
              </a:r>
              <a:r>
                <a:rPr lang="en-US" altLang="ko-KR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Out-Bound </a:t>
              </a: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영업상담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3" name="Rounded Rectangle 264"/>
            <p:cNvSpPr/>
            <p:nvPr/>
          </p:nvSpPr>
          <p:spPr bwMode="auto">
            <a:xfrm>
              <a:off x="4572958" y="3318162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홈페이지 실시간 </a:t>
              </a:r>
              <a:r>
                <a:rPr lang="ko-KR" altLang="en-US" sz="1100" kern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링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4" name="Rounded Rectangle 264"/>
            <p:cNvSpPr/>
            <p:nvPr/>
          </p:nvSpPr>
          <p:spPr bwMode="auto">
            <a:xfrm>
              <a:off x="4572958" y="3792123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승인시점 실시간 한도 상향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5" name="Rectangle 112"/>
            <p:cNvSpPr>
              <a:spLocks noChangeArrowheads="1"/>
            </p:cNvSpPr>
            <p:nvPr/>
          </p:nvSpPr>
          <p:spPr bwMode="auto">
            <a:xfrm>
              <a:off x="2380415" y="1790000"/>
              <a:ext cx="1588113" cy="3315930"/>
            </a:xfrm>
            <a:prstGeom prst="rect">
              <a:avLst/>
            </a:prstGeom>
            <a:noFill/>
            <a:ln w="12700" algn="ctr">
              <a:solidFill>
                <a:srgbClr val="CC0000"/>
              </a:solidFill>
              <a:prstDash val="dash"/>
              <a:miter lim="800000"/>
              <a:headEnd/>
              <a:tailEnd/>
            </a:ln>
          </p:spPr>
          <p:txBody>
            <a:bodyPr wrap="none" lIns="7200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6" name="Oval 25"/>
            <p:cNvSpPr>
              <a:spLocks noChangeArrowheads="1"/>
            </p:cNvSpPr>
            <p:nvPr/>
          </p:nvSpPr>
          <p:spPr bwMode="auto">
            <a:xfrm>
              <a:off x="2263832" y="1650335"/>
              <a:ext cx="216000" cy="232445"/>
            </a:xfrm>
            <a:prstGeom prst="ellipse">
              <a:avLst/>
            </a:prstGeom>
            <a:solidFill>
              <a:srgbClr val="006699"/>
            </a:solidFill>
            <a:ln w="9525" algn="ctr">
              <a:solidFill>
                <a:srgbClr val="4D4D4D"/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2</a:t>
              </a:r>
            </a:p>
          </p:txBody>
        </p:sp>
        <p:sp>
          <p:nvSpPr>
            <p:cNvPr id="167" name="직사각형 166"/>
            <p:cNvSpPr/>
            <p:nvPr/>
          </p:nvSpPr>
          <p:spPr>
            <a:xfrm>
              <a:off x="7282619" y="2752326"/>
              <a:ext cx="2286774" cy="7525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특정 </a:t>
              </a:r>
              <a:r>
                <a:rPr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지역내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상위 전략 가맹점 주변 승인 발생시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Event Catch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5964141" y="1495450"/>
              <a:ext cx="3475146" cy="3017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hangingPunct="0">
                <a:defRPr/>
              </a:pPr>
              <a:r>
                <a:rPr lang="ko-KR" altLang="en-US" sz="13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특정 가맹점 위치기반 서비스</a:t>
              </a:r>
              <a:endParaRPr lang="en-AU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69" name="Straight Connector 22"/>
            <p:cNvCxnSpPr/>
            <p:nvPr/>
          </p:nvCxnSpPr>
          <p:spPr bwMode="auto">
            <a:xfrm>
              <a:off x="6094491" y="1868764"/>
              <a:ext cx="3189793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0" name="Oval 40"/>
            <p:cNvSpPr>
              <a:spLocks noChangeArrowheads="1"/>
            </p:cNvSpPr>
            <p:nvPr/>
          </p:nvSpPr>
          <p:spPr bwMode="auto">
            <a:xfrm>
              <a:off x="6121708" y="2883404"/>
              <a:ext cx="1185792" cy="429097"/>
            </a:xfrm>
            <a:prstGeom prst="roundRect">
              <a:avLst/>
            </a:prstGeom>
            <a:solidFill>
              <a:srgbClr val="DCE9F0">
                <a:lumMod val="50000"/>
              </a:srgbClr>
            </a:solidFill>
            <a:ln w="9525">
              <a:solidFill>
                <a:srgbClr val="000000">
                  <a:lumMod val="65000"/>
                  <a:lumOff val="35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fontAlgn="auto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 </a:t>
              </a:r>
              <a:r>
                <a:rPr lang="en-US" altLang="ko-KR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Event Catch</a:t>
              </a:r>
            </a:p>
          </p:txBody>
        </p:sp>
        <p:sp>
          <p:nvSpPr>
            <p:cNvPr id="171" name="Rounded Rectangle 264"/>
            <p:cNvSpPr/>
            <p:nvPr/>
          </p:nvSpPr>
          <p:spPr bwMode="auto">
            <a:xfrm>
              <a:off x="4572958" y="4266086"/>
              <a:ext cx="1248801" cy="363182"/>
            </a:xfrm>
            <a:prstGeom prst="round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72009" tIns="72009" rIns="72009" bIns="72009" rtlCol="0" anchor="ctr">
              <a:no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  <a:defRPr/>
              </a:pP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기념일 고객 </a:t>
              </a:r>
              <a:r>
                <a:rPr lang="en-US" altLang="ko-KR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Care</a:t>
              </a:r>
              <a:r>
                <a: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서비스</a:t>
              </a:r>
              <a:endParaRPr lang="en-US" altLang="ko-KR" sz="11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72" name="직사각형 171"/>
            <p:cNvSpPr/>
            <p:nvPr/>
          </p:nvSpPr>
          <p:spPr>
            <a:xfrm>
              <a:off x="5019231" y="4641822"/>
              <a:ext cx="3561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600"/>
                </a:spcAft>
                <a:buSzPct val="100000"/>
              </a:pPr>
              <a:r>
                <a:rPr lang="en-US" altLang="ko-KR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…</a:t>
              </a:r>
            </a:p>
          </p:txBody>
        </p:sp>
        <p:sp>
          <p:nvSpPr>
            <p:cNvPr id="173" name="직사각형 172"/>
            <p:cNvSpPr/>
            <p:nvPr/>
          </p:nvSpPr>
          <p:spPr>
            <a:xfrm>
              <a:off x="6000707" y="1902462"/>
              <a:ext cx="3511150" cy="7241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승인 데이터를 활용하여</a:t>
              </a:r>
              <a:r>
                <a:rPr lang="en-US" altLang="ko-KR" sz="1200" b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lang="ko-KR" altLang="en-US" sz="1200" b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특정가맹점에서 승인 발생시 주변 가맹점의 </a:t>
              </a:r>
              <a:r>
                <a:rPr lang="ko-KR" altLang="en-US" sz="1200" b="1" u="sng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를</a:t>
              </a:r>
              <a:r>
                <a:rPr lang="ko-KR" altLang="en-US" sz="1200" b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실시간으로 제공 </a:t>
              </a:r>
              <a:r>
                <a:rPr lang="en-US" altLang="ko-KR" sz="1200" b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endParaRPr lang="ko-KR" altLang="en-US" sz="1200" b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74" name="아래쪽 화살표 173"/>
            <p:cNvSpPr/>
            <p:nvPr>
              <p:custDataLst>
                <p:tags r:id="rId1"/>
              </p:custDataLst>
            </p:nvPr>
          </p:nvSpPr>
          <p:spPr>
            <a:xfrm>
              <a:off x="6583736" y="3334274"/>
              <a:ext cx="289857" cy="524273"/>
            </a:xfrm>
            <a:prstGeom prst="downArrow">
              <a:avLst/>
            </a:prstGeom>
            <a:solidFill>
              <a:srgbClr val="808080"/>
            </a:solidFill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5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75" name="Oval 40"/>
            <p:cNvSpPr>
              <a:spLocks noChangeArrowheads="1"/>
            </p:cNvSpPr>
            <p:nvPr/>
          </p:nvSpPr>
          <p:spPr bwMode="auto">
            <a:xfrm>
              <a:off x="6109969" y="3854668"/>
              <a:ext cx="1185792" cy="429097"/>
            </a:xfrm>
            <a:prstGeom prst="roundRect">
              <a:avLst/>
            </a:prstGeom>
            <a:solidFill>
              <a:srgbClr val="DCE9F0">
                <a:lumMod val="50000"/>
              </a:srgbClr>
            </a:solidFill>
            <a:ln w="9525">
              <a:solidFill>
                <a:srgbClr val="000000">
                  <a:lumMod val="65000"/>
                  <a:lumOff val="35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fontAlgn="auto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서비스 대상 </a:t>
              </a:r>
              <a:r>
                <a:rPr lang="en-US" altLang="ko-KR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Targeting</a:t>
              </a:r>
            </a:p>
          </p:txBody>
        </p:sp>
        <p:sp>
          <p:nvSpPr>
            <p:cNvPr id="176" name="직사각형 175"/>
            <p:cNvSpPr/>
            <p:nvPr/>
          </p:nvSpPr>
          <p:spPr>
            <a:xfrm>
              <a:off x="7285965" y="3672525"/>
              <a:ext cx="2286774" cy="7525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현장 </a:t>
              </a:r>
              <a:r>
                <a:rPr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가능한 상위전략   가맹점 또는 사전 제휴된 가맹점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List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추출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77" name="Oval 40"/>
            <p:cNvSpPr>
              <a:spLocks noChangeArrowheads="1"/>
            </p:cNvSpPr>
            <p:nvPr/>
          </p:nvSpPr>
          <p:spPr bwMode="auto">
            <a:xfrm>
              <a:off x="6095737" y="4825931"/>
              <a:ext cx="1185792" cy="429097"/>
            </a:xfrm>
            <a:prstGeom prst="roundRect">
              <a:avLst/>
            </a:prstGeom>
            <a:solidFill>
              <a:srgbClr val="DCE9F0">
                <a:lumMod val="50000"/>
              </a:srgbClr>
            </a:solidFill>
            <a:ln w="9525">
              <a:solidFill>
                <a:srgbClr val="000000">
                  <a:lumMod val="65000"/>
                  <a:lumOff val="35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 fontAlgn="auto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실시간</a:t>
              </a:r>
              <a:r>
                <a:rPr lang="en-US" altLang="ko-KR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Offering</a:t>
              </a:r>
            </a:p>
          </p:txBody>
        </p:sp>
        <p:sp>
          <p:nvSpPr>
            <p:cNvPr id="178" name="직사각형 177"/>
            <p:cNvSpPr/>
            <p:nvPr/>
          </p:nvSpPr>
          <p:spPr>
            <a:xfrm>
              <a:off x="7271733" y="4592724"/>
              <a:ext cx="2548664" cy="1353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제공 채널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: LMS, MMS </a:t>
              </a:r>
            </a:p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제공 </a:t>
              </a:r>
              <a:r>
                <a:rPr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: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가맹점 현장 </a:t>
              </a:r>
              <a:r>
                <a:rPr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오퍼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 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예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 TGIF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할인 쿠폰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온더보드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 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만원 할인 쿠폰 등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</a:p>
            <a:p>
              <a:pPr marL="174625" indent="-174625" fontAlgn="ctr" latinLnBrk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</a:pPr>
              <a:r>
                <a:rPr lang="ko-KR" altLang="en-US" sz="1200" b="0" u="sng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승인후</a:t>
              </a:r>
              <a:r>
                <a:rPr lang="ko-KR" altLang="en-US" sz="1200" b="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en-US" altLang="ko-KR" sz="1200" b="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0.5</a:t>
              </a:r>
              <a:r>
                <a:rPr lang="ko-KR" altLang="en-US" sz="1200" b="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초 이내 승인 </a:t>
              </a:r>
              <a:r>
                <a:rPr lang="en-US" altLang="ko-KR" sz="1200" b="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SMS   </a:t>
              </a:r>
              <a:r>
                <a:rPr lang="ko-KR" altLang="en-US" sz="1200" b="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전문에 포함되어 발송</a:t>
              </a:r>
            </a:p>
          </p:txBody>
        </p:sp>
        <p:sp>
          <p:nvSpPr>
            <p:cNvPr id="179" name="아래쪽 화살표 178"/>
            <p:cNvSpPr/>
            <p:nvPr>
              <p:custDataLst>
                <p:tags r:id="rId2"/>
              </p:custDataLst>
            </p:nvPr>
          </p:nvSpPr>
          <p:spPr>
            <a:xfrm>
              <a:off x="6583736" y="4309593"/>
              <a:ext cx="289857" cy="524273"/>
            </a:xfrm>
            <a:prstGeom prst="downArrow">
              <a:avLst/>
            </a:prstGeom>
            <a:solidFill>
              <a:srgbClr val="808080"/>
            </a:solidFill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5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192" name="그룹 19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9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9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9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9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9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9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9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01" name="그룹 2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0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0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445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al-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타사 구축 사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중심으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ilo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화된 실시간 정보분석 인프라를 빅데이터 인프라로 통합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 범위를 정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정형 데이터로 확대함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빅데이터를 활용한 실시간 마케팅 시스템 구축 사례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99798" y="1835834"/>
            <a:ext cx="5764782" cy="4397326"/>
            <a:chOff x="399798" y="2179314"/>
            <a:chExt cx="5764782" cy="4053846"/>
          </a:xfrm>
        </p:grpSpPr>
        <p:sp>
          <p:nvSpPr>
            <p:cNvPr id="95" name="Rectangle 92"/>
            <p:cNvSpPr/>
            <p:nvPr/>
          </p:nvSpPr>
          <p:spPr>
            <a:xfrm>
              <a:off x="1148657" y="3623072"/>
              <a:ext cx="198803" cy="52417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6" name="Rectangle 106"/>
            <p:cNvSpPr/>
            <p:nvPr/>
          </p:nvSpPr>
          <p:spPr>
            <a:xfrm>
              <a:off x="1438667" y="2179314"/>
              <a:ext cx="1132252" cy="1882336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7" name="Right Arrow 94"/>
            <p:cNvSpPr/>
            <p:nvPr/>
          </p:nvSpPr>
          <p:spPr bwMode="gray">
            <a:xfrm>
              <a:off x="2544772" y="5245643"/>
              <a:ext cx="393080" cy="118406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pl-PL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8" name="Rectangle 95"/>
            <p:cNvSpPr/>
            <p:nvPr/>
          </p:nvSpPr>
          <p:spPr>
            <a:xfrm rot="5400000">
              <a:off x="1816128" y="4541562"/>
              <a:ext cx="1510571" cy="53284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7" name="Rectangle 107"/>
            <p:cNvSpPr/>
            <p:nvPr/>
          </p:nvSpPr>
          <p:spPr>
            <a:xfrm>
              <a:off x="1433685" y="5067054"/>
              <a:ext cx="1137235" cy="1110680"/>
            </a:xfrm>
            <a:prstGeom prst="rect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8" name="Rectangle 7"/>
            <p:cNvSpPr/>
            <p:nvPr/>
          </p:nvSpPr>
          <p:spPr>
            <a:xfrm>
              <a:off x="1438667" y="2179315"/>
              <a:ext cx="1132252" cy="277639"/>
            </a:xfrm>
            <a:prstGeom prst="rect">
              <a:avLst/>
            </a:prstGeom>
            <a:solidFill>
              <a:srgbClr val="1B3A87"/>
            </a:solidFill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마케팅 데이터 </a:t>
              </a:r>
              <a:r>
                <a:rPr lang="en-US" altLang="ko-KR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Mart</a:t>
              </a:r>
              <a:endParaRPr lang="en-US" sz="9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9" name="Can 8"/>
            <p:cNvSpPr/>
            <p:nvPr/>
          </p:nvSpPr>
          <p:spPr bwMode="gray">
            <a:xfrm>
              <a:off x="1794201" y="4111340"/>
              <a:ext cx="587113" cy="490182"/>
            </a:xfrm>
            <a:prstGeom prst="can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RDW</a:t>
              </a:r>
              <a:endParaRPr lang="en-US" sz="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0" name="Can 9"/>
            <p:cNvSpPr/>
            <p:nvPr/>
          </p:nvSpPr>
          <p:spPr bwMode="gray">
            <a:xfrm>
              <a:off x="1782225" y="3396486"/>
              <a:ext cx="587113" cy="499806"/>
            </a:xfrm>
            <a:prstGeom prst="can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고객 추천 </a:t>
              </a:r>
              <a:r>
                <a:rPr lang="en-US" altLang="ko-KR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/>
              </a:r>
              <a:br>
                <a:rPr lang="en-US" altLang="ko-KR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en-US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scorings</a:t>
              </a:r>
            </a:p>
          </p:txBody>
        </p:sp>
        <p:sp>
          <p:nvSpPr>
            <p:cNvPr id="121" name="Rectangle 12"/>
            <p:cNvSpPr/>
            <p:nvPr/>
          </p:nvSpPr>
          <p:spPr>
            <a:xfrm>
              <a:off x="1438667" y="5951892"/>
              <a:ext cx="1132252" cy="225841"/>
            </a:xfrm>
            <a:prstGeom prst="rect">
              <a:avLst/>
            </a:prstGeom>
            <a:solidFill>
              <a:srgbClr val="1B3A87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 latinLnBrk="0">
                <a:lnSpc>
                  <a:spcPct val="85000"/>
                </a:lnSpc>
              </a:pPr>
              <a:r>
                <a:rPr lang="ko-KR" alt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실시간 이벤트 감지</a:t>
              </a:r>
              <a:endParaRPr lang="en-US" sz="9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0" name="Right Arrow 28"/>
            <p:cNvSpPr/>
            <p:nvPr/>
          </p:nvSpPr>
          <p:spPr bwMode="gray">
            <a:xfrm>
              <a:off x="1557329" y="3146655"/>
              <a:ext cx="214886" cy="215404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1" name="Rectangle 29"/>
            <p:cNvSpPr/>
            <p:nvPr/>
          </p:nvSpPr>
          <p:spPr>
            <a:xfrm rot="16200000">
              <a:off x="948515" y="3344793"/>
              <a:ext cx="1200893" cy="133332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sz="8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ETL</a:t>
              </a:r>
            </a:p>
          </p:txBody>
        </p:sp>
        <p:sp>
          <p:nvSpPr>
            <p:cNvPr id="182" name="Right Arrow 32"/>
            <p:cNvSpPr/>
            <p:nvPr/>
          </p:nvSpPr>
          <p:spPr bwMode="gray">
            <a:xfrm>
              <a:off x="1223808" y="5044968"/>
              <a:ext cx="328380" cy="187739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3" name="Rectangle 33"/>
            <p:cNvSpPr/>
            <p:nvPr/>
          </p:nvSpPr>
          <p:spPr>
            <a:xfrm rot="5400000">
              <a:off x="1156066" y="5021260"/>
              <a:ext cx="222881" cy="87398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4" name="Rectangle 34"/>
            <p:cNvSpPr/>
            <p:nvPr/>
          </p:nvSpPr>
          <p:spPr>
            <a:xfrm>
              <a:off x="1148657" y="4900336"/>
              <a:ext cx="162548" cy="88325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5" name="Right Arrow 36"/>
            <p:cNvSpPr/>
            <p:nvPr/>
          </p:nvSpPr>
          <p:spPr bwMode="gray">
            <a:xfrm flipV="1">
              <a:off x="1223498" y="5164065"/>
              <a:ext cx="328380" cy="187739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6" name="Rectangle 37"/>
            <p:cNvSpPr/>
            <p:nvPr/>
          </p:nvSpPr>
          <p:spPr>
            <a:xfrm rot="16200000" flipV="1">
              <a:off x="1155757" y="5288115"/>
              <a:ext cx="222881" cy="87398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7" name="Rectangle 38"/>
            <p:cNvSpPr/>
            <p:nvPr/>
          </p:nvSpPr>
          <p:spPr>
            <a:xfrm flipV="1">
              <a:off x="1147028" y="5407429"/>
              <a:ext cx="163868" cy="6347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8" name="Rectangle 41"/>
            <p:cNvSpPr/>
            <p:nvPr/>
          </p:nvSpPr>
          <p:spPr>
            <a:xfrm>
              <a:off x="4591621" y="2179314"/>
              <a:ext cx="1572959" cy="277640"/>
            </a:xfrm>
            <a:prstGeom prst="rect">
              <a:avLst/>
            </a:prstGeom>
            <a:solidFill>
              <a:srgbClr val="1B3A87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접촉 채널</a:t>
              </a:r>
              <a:endParaRPr lang="en-US" sz="9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9" name="Right Arrow 55"/>
            <p:cNvSpPr/>
            <p:nvPr/>
          </p:nvSpPr>
          <p:spPr bwMode="gray">
            <a:xfrm>
              <a:off x="2463781" y="5451485"/>
              <a:ext cx="493546" cy="101973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0" name="Rectangle 69"/>
            <p:cNvSpPr/>
            <p:nvPr/>
          </p:nvSpPr>
          <p:spPr>
            <a:xfrm>
              <a:off x="2693796" y="2179315"/>
              <a:ext cx="1499012" cy="277639"/>
            </a:xfrm>
            <a:prstGeom prst="rect">
              <a:avLst/>
            </a:prstGeom>
            <a:solidFill>
              <a:srgbClr val="1B3A87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90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빅데이터</a:t>
              </a:r>
              <a:r>
                <a:rPr lang="ko-KR" alt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플랫폼</a:t>
              </a:r>
              <a:endParaRPr lang="en-US" sz="9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1" name="Rectangle 70"/>
            <p:cNvSpPr/>
            <p:nvPr/>
          </p:nvSpPr>
          <p:spPr>
            <a:xfrm>
              <a:off x="2693796" y="2183976"/>
              <a:ext cx="1499012" cy="1981552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2" name="Rectangle 71"/>
            <p:cNvSpPr/>
            <p:nvPr/>
          </p:nvSpPr>
          <p:spPr bwMode="gray">
            <a:xfrm>
              <a:off x="2762792" y="2530836"/>
              <a:ext cx="1361021" cy="2137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Data Visualization</a:t>
              </a:r>
            </a:p>
          </p:txBody>
        </p:sp>
        <p:sp>
          <p:nvSpPr>
            <p:cNvPr id="193" name="Rectangle 72"/>
            <p:cNvSpPr/>
            <p:nvPr/>
          </p:nvSpPr>
          <p:spPr bwMode="gray">
            <a:xfrm>
              <a:off x="2762792" y="2819761"/>
              <a:ext cx="1361021" cy="12837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36000" rtlCol="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Analytics /</a:t>
              </a:r>
              <a:br>
                <a:rPr 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Data Mining</a:t>
              </a:r>
            </a:p>
          </p:txBody>
        </p:sp>
        <p:sp>
          <p:nvSpPr>
            <p:cNvPr id="194" name="Rectangle 73"/>
            <p:cNvSpPr/>
            <p:nvPr/>
          </p:nvSpPr>
          <p:spPr bwMode="gray">
            <a:xfrm>
              <a:off x="2851555" y="3123394"/>
              <a:ext cx="1183496" cy="277639"/>
            </a:xfrm>
            <a:prstGeom prst="rect">
              <a:avLst/>
            </a:prstGeom>
            <a:pattFill prst="diagBrick">
              <a:fgClr>
                <a:schemeClr val="accent3">
                  <a:lumMod val="90000"/>
                </a:schemeClr>
              </a:fgClr>
              <a:bgClr>
                <a:schemeClr val="bg1"/>
              </a:bgClr>
            </a:pattFill>
            <a:ln w="952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고객</a:t>
              </a: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Segmentation</a:t>
              </a:r>
            </a:p>
          </p:txBody>
        </p:sp>
        <p:sp>
          <p:nvSpPr>
            <p:cNvPr id="195" name="Rectangle 74"/>
            <p:cNvSpPr/>
            <p:nvPr/>
          </p:nvSpPr>
          <p:spPr bwMode="gray">
            <a:xfrm>
              <a:off x="2851555" y="3443127"/>
              <a:ext cx="1183496" cy="277639"/>
            </a:xfrm>
            <a:prstGeom prst="rect">
              <a:avLst/>
            </a:prstGeom>
            <a:pattFill prst="diagBrick">
              <a:fgClr>
                <a:schemeClr val="accent3">
                  <a:lumMod val="90000"/>
                </a:schemeClr>
              </a:fgClr>
              <a:bgClr>
                <a:schemeClr val="bg1"/>
              </a:bgClr>
            </a:pattFill>
            <a:ln w="952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고객 행동 예측 모델</a:t>
              </a: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b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(NBA)</a:t>
              </a:r>
            </a:p>
          </p:txBody>
        </p:sp>
        <p:sp>
          <p:nvSpPr>
            <p:cNvPr id="196" name="Rectangle 77"/>
            <p:cNvSpPr/>
            <p:nvPr/>
          </p:nvSpPr>
          <p:spPr bwMode="gray">
            <a:xfrm>
              <a:off x="2764706" y="5739532"/>
              <a:ext cx="1357193" cy="2449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캠페인 관리 </a:t>
              </a:r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워크플로우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7" name="Rectangle 78"/>
            <p:cNvSpPr/>
            <p:nvPr/>
          </p:nvSpPr>
          <p:spPr bwMode="gray">
            <a:xfrm>
              <a:off x="2966763" y="5344723"/>
              <a:ext cx="920563" cy="3412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실시간 마케팅 </a:t>
              </a:r>
              <a: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/>
              </a:r>
              <a:b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플랫폼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8" name="Rectangle 79"/>
            <p:cNvSpPr/>
            <p:nvPr/>
          </p:nvSpPr>
          <p:spPr bwMode="gray">
            <a:xfrm>
              <a:off x="2835804" y="4269901"/>
              <a:ext cx="1298184" cy="4087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고객추천</a:t>
              </a:r>
              <a: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/</a:t>
              </a: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응답</a:t>
              </a:r>
              <a: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/>
              </a:r>
              <a:b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Marketing Optimization</a:t>
              </a:r>
            </a:p>
          </p:txBody>
        </p:sp>
        <p:sp>
          <p:nvSpPr>
            <p:cNvPr id="199" name="Can 80"/>
            <p:cNvSpPr/>
            <p:nvPr/>
          </p:nvSpPr>
          <p:spPr bwMode="gray">
            <a:xfrm>
              <a:off x="3130907" y="4784425"/>
              <a:ext cx="831314" cy="446745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고객추천</a:t>
              </a:r>
              <a: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/</a:t>
              </a:r>
              <a:b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응답 </a:t>
              </a:r>
              <a:r>
                <a: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DB</a:t>
              </a:r>
              <a:endParaRPr lang="en-US" sz="6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0" name="Rectangle 81"/>
            <p:cNvSpPr/>
            <p:nvPr/>
          </p:nvSpPr>
          <p:spPr>
            <a:xfrm>
              <a:off x="3825240" y="5344723"/>
              <a:ext cx="308749" cy="3412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API Online</a:t>
              </a:r>
            </a:p>
          </p:txBody>
        </p:sp>
        <p:sp>
          <p:nvSpPr>
            <p:cNvPr id="201" name="Up-Down Arrow 82"/>
            <p:cNvSpPr/>
            <p:nvPr/>
          </p:nvSpPr>
          <p:spPr bwMode="gray">
            <a:xfrm rot="16200000">
              <a:off x="4522584" y="5072430"/>
              <a:ext cx="121965" cy="882394"/>
            </a:xfrm>
            <a:prstGeom prst="upDownArrow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2" name="Rectangle 83"/>
            <p:cNvSpPr/>
            <p:nvPr/>
          </p:nvSpPr>
          <p:spPr>
            <a:xfrm>
              <a:off x="4451951" y="5574612"/>
              <a:ext cx="814147" cy="35041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cs typeface="Arial" panose="020B0604020202020204" pitchFamily="34" charset="0"/>
                </a:rPr>
                <a:t>Web Service</a:t>
              </a:r>
            </a:p>
            <a:p>
              <a:pPr algn="ctr" latinLnBrk="0">
                <a:lnSpc>
                  <a:spcPct val="85000"/>
                </a:lnSpc>
              </a:pPr>
              <a:r>
                <a:rPr lang="en-US" sz="500" dirty="0">
                  <a:cs typeface="Arial" panose="020B0604020202020204" pitchFamily="34" charset="0"/>
                </a:rPr>
                <a:t>(</a:t>
              </a:r>
              <a:r>
                <a:rPr lang="ko-KR" altLang="en-US" sz="500" dirty="0">
                  <a:cs typeface="Arial" panose="020B0604020202020204" pitchFamily="34" charset="0"/>
                </a:rPr>
                <a:t>실시간 이벤트</a:t>
              </a:r>
              <a:r>
                <a:rPr lang="en-US" sz="500" dirty="0">
                  <a:cs typeface="Arial" panose="020B0604020202020204" pitchFamily="34" charset="0"/>
                </a:rPr>
                <a:t>,  </a:t>
              </a:r>
              <a:br>
                <a:rPr lang="en-US" sz="500" dirty="0">
                  <a:cs typeface="Arial" panose="020B0604020202020204" pitchFamily="34" charset="0"/>
                </a:rPr>
              </a:br>
              <a:r>
                <a:rPr lang="ko-KR" altLang="en-US" sz="500" dirty="0">
                  <a:cs typeface="Arial" panose="020B0604020202020204" pitchFamily="34" charset="0"/>
                </a:rPr>
                <a:t>실시간 </a:t>
              </a:r>
              <a:r>
                <a:rPr lang="ko-KR" altLang="en-US" sz="500" dirty="0" err="1">
                  <a:cs typeface="Arial" panose="020B0604020202020204" pitchFamily="34" charset="0"/>
                </a:rPr>
                <a:t>오퍼</a:t>
              </a:r>
              <a:r>
                <a:rPr lang="en-US" sz="500" dirty="0">
                  <a:cs typeface="Arial" panose="020B0604020202020204" pitchFamily="34" charset="0"/>
                </a:rPr>
                <a:t>, </a:t>
              </a:r>
              <a:r>
                <a:rPr lang="ko-KR" altLang="en-US" sz="500" dirty="0">
                  <a:cs typeface="Arial" panose="020B0604020202020204" pitchFamily="34" charset="0"/>
                </a:rPr>
                <a:t>고객반응 모니터링</a:t>
              </a:r>
              <a:r>
                <a:rPr lang="en-US" sz="500" dirty="0"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03" name="Right Arrow 85"/>
            <p:cNvSpPr/>
            <p:nvPr/>
          </p:nvSpPr>
          <p:spPr bwMode="gray">
            <a:xfrm>
              <a:off x="2511733" y="2642656"/>
              <a:ext cx="231042" cy="101972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pl-PL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4" name="Rectangle 86"/>
            <p:cNvSpPr/>
            <p:nvPr/>
          </p:nvSpPr>
          <p:spPr>
            <a:xfrm rot="5400000">
              <a:off x="2411474" y="2793901"/>
              <a:ext cx="252240" cy="51721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5" name="Rectangle 87"/>
            <p:cNvSpPr/>
            <p:nvPr/>
          </p:nvSpPr>
          <p:spPr>
            <a:xfrm>
              <a:off x="2430696" y="2920155"/>
              <a:ext cx="132760" cy="5921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6" name="Left-Right Arrow 88"/>
            <p:cNvSpPr/>
            <p:nvPr/>
          </p:nvSpPr>
          <p:spPr bwMode="gray">
            <a:xfrm>
              <a:off x="2430692" y="3211227"/>
              <a:ext cx="312081" cy="101972"/>
            </a:xfrm>
            <a:prstGeom prst="left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7" name="Right Arrow 90"/>
            <p:cNvSpPr/>
            <p:nvPr/>
          </p:nvSpPr>
          <p:spPr bwMode="gray">
            <a:xfrm>
              <a:off x="2617154" y="4366631"/>
              <a:ext cx="199868" cy="101972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pl-PL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8" name="Rectangle 91"/>
            <p:cNvSpPr/>
            <p:nvPr/>
          </p:nvSpPr>
          <p:spPr>
            <a:xfrm rot="5400000">
              <a:off x="2239993" y="4009725"/>
              <a:ext cx="807607" cy="5328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9" name="Rectangle 92"/>
            <p:cNvSpPr/>
            <p:nvPr/>
          </p:nvSpPr>
          <p:spPr>
            <a:xfrm>
              <a:off x="2430687" y="3616258"/>
              <a:ext cx="239751" cy="5923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0" name="Rectangle 96"/>
            <p:cNvSpPr/>
            <p:nvPr/>
          </p:nvSpPr>
          <p:spPr>
            <a:xfrm>
              <a:off x="2430692" y="3793985"/>
              <a:ext cx="167364" cy="68777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1" name="Right Arrow 98"/>
            <p:cNvSpPr/>
            <p:nvPr/>
          </p:nvSpPr>
          <p:spPr bwMode="gray">
            <a:xfrm rot="16200000">
              <a:off x="2018647" y="4450563"/>
              <a:ext cx="862183" cy="108904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2" name="Rectangle 99"/>
            <p:cNvSpPr/>
            <p:nvPr/>
          </p:nvSpPr>
          <p:spPr>
            <a:xfrm>
              <a:off x="2421442" y="4917934"/>
              <a:ext cx="674707" cy="9331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3" name="Rectangle 100"/>
            <p:cNvSpPr/>
            <p:nvPr/>
          </p:nvSpPr>
          <p:spPr>
            <a:xfrm>
              <a:off x="2716371" y="4927504"/>
              <a:ext cx="343029" cy="83745"/>
            </a:xfrm>
            <a:prstGeom prst="rect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ETL</a:t>
              </a:r>
            </a:p>
          </p:txBody>
        </p:sp>
        <p:sp>
          <p:nvSpPr>
            <p:cNvPr id="214" name="Up-Down Arrow 101"/>
            <p:cNvSpPr/>
            <p:nvPr/>
          </p:nvSpPr>
          <p:spPr bwMode="gray">
            <a:xfrm>
              <a:off x="3454000" y="5191081"/>
              <a:ext cx="74951" cy="138820"/>
            </a:xfrm>
            <a:prstGeom prst="upDown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5" name="Up-Down Arrow 102"/>
            <p:cNvSpPr/>
            <p:nvPr/>
          </p:nvSpPr>
          <p:spPr bwMode="gray">
            <a:xfrm>
              <a:off x="3454000" y="4693138"/>
              <a:ext cx="74951" cy="138820"/>
            </a:xfrm>
            <a:prstGeom prst="upDown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6" name="Right Arrow 103"/>
            <p:cNvSpPr/>
            <p:nvPr/>
          </p:nvSpPr>
          <p:spPr bwMode="gray">
            <a:xfrm flipV="1">
              <a:off x="4285862" y="3592444"/>
              <a:ext cx="338583" cy="109118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7" name="Rectangle 104"/>
            <p:cNvSpPr/>
            <p:nvPr/>
          </p:nvSpPr>
          <p:spPr>
            <a:xfrm rot="16200000" flipV="1">
              <a:off x="3908700" y="4007635"/>
              <a:ext cx="807607" cy="5328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8" name="Rectangle 105"/>
            <p:cNvSpPr/>
            <p:nvPr/>
          </p:nvSpPr>
          <p:spPr>
            <a:xfrm flipV="1">
              <a:off x="4215596" y="4395154"/>
              <a:ext cx="123549" cy="59232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grpSp>
          <p:nvGrpSpPr>
            <p:cNvPr id="219" name="그룹 218"/>
            <p:cNvGrpSpPr/>
            <p:nvPr/>
          </p:nvGrpSpPr>
          <p:grpSpPr>
            <a:xfrm>
              <a:off x="399798" y="2183975"/>
              <a:ext cx="738850" cy="4049185"/>
              <a:chOff x="473962" y="2183975"/>
              <a:chExt cx="590521" cy="4049185"/>
            </a:xfrm>
          </p:grpSpPr>
          <p:sp>
            <p:nvSpPr>
              <p:cNvPr id="220" name="Oval 5"/>
              <p:cNvSpPr/>
              <p:nvPr/>
            </p:nvSpPr>
            <p:spPr>
              <a:xfrm rot="16200000">
                <a:off x="659801" y="4323693"/>
                <a:ext cx="94262" cy="104434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defRPr>
                </a:lvl9pPr>
              </a:lstStyle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dirty="0">
                  <a:cs typeface="Arial" panose="020B0604020202020204" pitchFamily="34" charset="0"/>
                </a:endParaRPr>
              </a:p>
            </p:txBody>
          </p:sp>
          <p:sp>
            <p:nvSpPr>
              <p:cNvPr id="221" name="Rectangle 13"/>
              <p:cNvSpPr/>
              <p:nvPr/>
            </p:nvSpPr>
            <p:spPr>
              <a:xfrm>
                <a:off x="473962" y="2183975"/>
                <a:ext cx="590521" cy="288219"/>
              </a:xfrm>
              <a:prstGeom prst="rect">
                <a:avLst/>
              </a:prstGeom>
              <a:solidFill>
                <a:srgbClr val="1B3A87"/>
              </a:solidFill>
              <a:ln w="9525"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6000" rIns="0" bIns="36000" rtlCol="0" anchor="ctr"/>
              <a:lstStyle/>
              <a:p>
                <a:pPr algn="ctr" latinLnBrk="0">
                  <a:lnSpc>
                    <a:spcPct val="85000"/>
                  </a:lnSpc>
                </a:pPr>
                <a:r>
                  <a:rPr lang="ko-KR" altLang="en-US" sz="900" dirty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데이터 소스</a:t>
                </a:r>
                <a:endParaRPr 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2" name="Rectangle 14"/>
              <p:cNvSpPr/>
              <p:nvPr/>
            </p:nvSpPr>
            <p:spPr>
              <a:xfrm>
                <a:off x="473962" y="2183976"/>
                <a:ext cx="590521" cy="2292742"/>
              </a:xfrm>
              <a:prstGeom prst="rect">
                <a:avLst/>
              </a:prstGeom>
              <a:noFill/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endParaRPr 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3" name="Rectangle 15"/>
              <p:cNvSpPr/>
              <p:nvPr/>
            </p:nvSpPr>
            <p:spPr>
              <a:xfrm>
                <a:off x="516593" y="2541546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ko-KR" alt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상품처리</a:t>
                </a:r>
                <a:r>
                  <a:rPr lang="en-US" altLang="ko-KR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/</a:t>
                </a:r>
                <a:br>
                  <a:rPr lang="en-US" altLang="ko-KR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</a:br>
                <a:r>
                  <a:rPr lang="ko-KR" alt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승인</a:t>
                </a:r>
                <a:endParaRPr lang="en-US" altLang="ko-KR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4" name="Rectangle 16"/>
              <p:cNvSpPr/>
              <p:nvPr/>
            </p:nvSpPr>
            <p:spPr>
              <a:xfrm>
                <a:off x="516593" y="2864826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ko-KR" alt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홈페이지</a:t>
                </a:r>
                <a:endPara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5" name="Rectangle 17"/>
              <p:cNvSpPr/>
              <p:nvPr/>
            </p:nvSpPr>
            <p:spPr>
              <a:xfrm>
                <a:off x="516593" y="3188106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ko-KR" altLang="en-US" sz="700" dirty="0" err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모바일</a:t>
                </a:r>
                <a:endPara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6" name="Rectangle 18"/>
              <p:cNvSpPr/>
              <p:nvPr/>
            </p:nvSpPr>
            <p:spPr>
              <a:xfrm>
                <a:off x="516593" y="3511385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ko-KR" altLang="en-US" sz="700" dirty="0" err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콜센터</a:t>
                </a:r>
                <a:r>
                  <a:rPr lang="en-US" altLang="ko-KR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/</a:t>
                </a:r>
                <a:br>
                  <a:rPr lang="en-US" altLang="ko-KR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</a:br>
                <a:r>
                  <a:rPr lang="en-US" altLang="ko-KR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ARS</a:t>
                </a:r>
                <a:endPara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7" name="Rectangle 19"/>
              <p:cNvSpPr/>
              <p:nvPr/>
            </p:nvSpPr>
            <p:spPr>
              <a:xfrm>
                <a:off x="516593" y="4193677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…</a:t>
                </a:r>
              </a:p>
            </p:txBody>
          </p:sp>
          <p:sp>
            <p:nvSpPr>
              <p:cNvPr id="228" name="Rectangle 21"/>
              <p:cNvSpPr/>
              <p:nvPr/>
            </p:nvSpPr>
            <p:spPr>
              <a:xfrm>
                <a:off x="473962" y="5950855"/>
                <a:ext cx="590521" cy="277640"/>
              </a:xfrm>
              <a:prstGeom prst="rect">
                <a:avLst/>
              </a:prstGeom>
              <a:solidFill>
                <a:srgbClr val="1B3A87"/>
              </a:solidFill>
              <a:ln w="9525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6000" rIns="0" bIns="36000" rtlCol="0" anchor="ctr"/>
              <a:lstStyle/>
              <a:p>
                <a:pPr algn="ctr" latinLnBrk="0">
                  <a:lnSpc>
                    <a:spcPct val="85000"/>
                  </a:lnSpc>
                </a:pPr>
                <a:r>
                  <a:rPr lang="ko-KR" altLang="en-US" sz="900" dirty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이벤트 데이터</a:t>
                </a:r>
                <a:r>
                  <a:rPr lang="en-US" altLang="ko-KR" sz="900" dirty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/>
                </a:r>
                <a:br>
                  <a:rPr lang="en-US" altLang="ko-KR" sz="900" dirty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</a:br>
                <a:r>
                  <a:rPr lang="ko-KR" altLang="en-US" sz="900" dirty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소스</a:t>
                </a:r>
                <a:endParaRPr lang="en-US" sz="9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29" name="Rectangle 22"/>
              <p:cNvSpPr/>
              <p:nvPr/>
            </p:nvSpPr>
            <p:spPr>
              <a:xfrm>
                <a:off x="473962" y="4844921"/>
                <a:ext cx="590521" cy="1388239"/>
              </a:xfrm>
              <a:prstGeom prst="rect">
                <a:avLst/>
              </a:prstGeom>
              <a:noFill/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endParaRPr 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grpSp>
            <p:nvGrpSpPr>
              <p:cNvPr id="230" name="Group 23"/>
              <p:cNvGrpSpPr/>
              <p:nvPr/>
            </p:nvGrpSpPr>
            <p:grpSpPr>
              <a:xfrm>
                <a:off x="516592" y="4900456"/>
                <a:ext cx="505260" cy="1011517"/>
                <a:chOff x="1149897" y="2314717"/>
                <a:chExt cx="615455" cy="131157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232" name="Rectangle 24"/>
                <p:cNvSpPr/>
                <p:nvPr/>
              </p:nvSpPr>
              <p:spPr>
                <a:xfrm>
                  <a:off x="1149897" y="2314717"/>
                  <a:ext cx="615454" cy="285987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latinLnBrk="0"/>
                  <a:r>
                    <a:rPr lang="ko-KR" altLang="en-US" sz="700" dirty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승인</a:t>
                  </a:r>
                  <a:endParaRPr 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3" name="Rectangle 25"/>
                <p:cNvSpPr/>
                <p:nvPr/>
              </p:nvSpPr>
              <p:spPr>
                <a:xfrm>
                  <a:off x="1149898" y="2656581"/>
                  <a:ext cx="615454" cy="285987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latinLnBrk="0"/>
                  <a:r>
                    <a:rPr lang="en-US" sz="700" dirty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MCI</a:t>
                  </a:r>
                </a:p>
              </p:txBody>
            </p:sp>
            <p:sp>
              <p:nvSpPr>
                <p:cNvPr id="234" name="Rectangle 26"/>
                <p:cNvSpPr/>
                <p:nvPr/>
              </p:nvSpPr>
              <p:spPr>
                <a:xfrm>
                  <a:off x="1149898" y="2998445"/>
                  <a:ext cx="615454" cy="285987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latinLnBrk="0"/>
                  <a:r>
                    <a:rPr lang="ko-KR" altLang="en-US" sz="700" dirty="0" err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콜센터</a:t>
                  </a:r>
                  <a:endParaRPr 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5" name="Rectangle 27"/>
                <p:cNvSpPr/>
                <p:nvPr/>
              </p:nvSpPr>
              <p:spPr>
                <a:xfrm>
                  <a:off x="1149898" y="3340308"/>
                  <a:ext cx="615454" cy="285987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200" b="1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latinLnBrk="0"/>
                  <a:r>
                    <a:rPr lang="en-US" sz="700" dirty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rPr>
                    <a:t>…</a:t>
                  </a:r>
                </a:p>
              </p:txBody>
            </p:sp>
          </p:grpSp>
          <p:sp>
            <p:nvSpPr>
              <p:cNvPr id="231" name="Rectangle 108"/>
              <p:cNvSpPr/>
              <p:nvPr/>
            </p:nvSpPr>
            <p:spPr>
              <a:xfrm>
                <a:off x="516593" y="3871011"/>
                <a:ext cx="505260" cy="21933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200" b="1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/>
                <a:r>
                  <a:rPr lang="en-US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Big Data</a:t>
                </a:r>
                <a:endParaRPr lang="pl-PL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  <a:p>
                <a:pPr algn="ctr" latinLnBrk="0"/>
                <a:r>
                  <a:rPr lang="pl-PL" sz="70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Platform</a:t>
                </a:r>
                <a:endPara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6" name="Rectangle 109"/>
            <p:cNvSpPr/>
            <p:nvPr/>
          </p:nvSpPr>
          <p:spPr bwMode="gray">
            <a:xfrm>
              <a:off x="2851555" y="3767679"/>
              <a:ext cx="1183496" cy="277639"/>
            </a:xfrm>
            <a:prstGeom prst="rect">
              <a:avLst/>
            </a:prstGeom>
            <a:pattFill prst="diagBrick">
              <a:fgClr>
                <a:schemeClr val="accent3">
                  <a:lumMod val="90000"/>
                </a:schemeClr>
              </a:fgClr>
              <a:bgClr>
                <a:schemeClr val="bg1"/>
              </a:bgClr>
            </a:pattFill>
            <a:ln w="952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시그날</a:t>
              </a: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포착</a:t>
              </a: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&amp; </a:t>
              </a:r>
              <a:b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복합 </a:t>
              </a:r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시그날</a:t>
              </a: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검출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7" name="Rectangle 110"/>
            <p:cNvSpPr/>
            <p:nvPr/>
          </p:nvSpPr>
          <p:spPr>
            <a:xfrm>
              <a:off x="1585291" y="5111159"/>
              <a:ext cx="845406" cy="6905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sz="8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Event / Streaming Processing Engine</a:t>
              </a:r>
            </a:p>
          </p:txBody>
        </p:sp>
        <p:sp>
          <p:nvSpPr>
            <p:cNvPr id="238" name="Rectangle 42"/>
            <p:cNvSpPr/>
            <p:nvPr/>
          </p:nvSpPr>
          <p:spPr>
            <a:xfrm>
              <a:off x="5163504" y="2637337"/>
              <a:ext cx="921834" cy="1667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9" name="Rectangle 43"/>
            <p:cNvSpPr/>
            <p:nvPr/>
          </p:nvSpPr>
          <p:spPr bwMode="gray">
            <a:xfrm>
              <a:off x="5239214" y="3017564"/>
              <a:ext cx="770417" cy="2802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Email, SMS</a:t>
              </a:r>
            </a:p>
          </p:txBody>
        </p:sp>
        <p:sp>
          <p:nvSpPr>
            <p:cNvPr id="240" name="Rectangle 44"/>
            <p:cNvSpPr/>
            <p:nvPr/>
          </p:nvSpPr>
          <p:spPr bwMode="gray">
            <a:xfrm>
              <a:off x="5239214" y="3745615"/>
              <a:ext cx="77041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DM</a:t>
              </a:r>
            </a:p>
          </p:txBody>
        </p:sp>
        <p:sp>
          <p:nvSpPr>
            <p:cNvPr id="241" name="Rectangle 45"/>
            <p:cNvSpPr/>
            <p:nvPr/>
          </p:nvSpPr>
          <p:spPr bwMode="gray">
            <a:xfrm>
              <a:off x="5239214" y="4052828"/>
              <a:ext cx="770417" cy="1665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콜센터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2" name="Rectangle 46"/>
            <p:cNvSpPr/>
            <p:nvPr/>
          </p:nvSpPr>
          <p:spPr bwMode="gray">
            <a:xfrm>
              <a:off x="5239214" y="3438401"/>
              <a:ext cx="770417" cy="1665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청구서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3" name="Rectangle 47"/>
            <p:cNvSpPr/>
            <p:nvPr/>
          </p:nvSpPr>
          <p:spPr>
            <a:xfrm>
              <a:off x="5163504" y="2637338"/>
              <a:ext cx="921834" cy="2776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아웃바운드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4" name="Rectangle 48"/>
            <p:cNvSpPr/>
            <p:nvPr/>
          </p:nvSpPr>
          <p:spPr>
            <a:xfrm>
              <a:off x="5163504" y="4413012"/>
              <a:ext cx="921832" cy="17183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5" name="Rectangle 49"/>
            <p:cNvSpPr/>
            <p:nvPr/>
          </p:nvSpPr>
          <p:spPr>
            <a:xfrm>
              <a:off x="5163504" y="4413012"/>
              <a:ext cx="921832" cy="2776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인바운드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6" name="Rectangle 50"/>
            <p:cNvSpPr/>
            <p:nvPr/>
          </p:nvSpPr>
          <p:spPr bwMode="gray">
            <a:xfrm>
              <a:off x="5232027" y="4790994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홈페이지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7" name="Rectangle 51"/>
            <p:cNvSpPr/>
            <p:nvPr/>
          </p:nvSpPr>
          <p:spPr bwMode="gray">
            <a:xfrm>
              <a:off x="5232027" y="5218501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콜센터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8" name="Rectangle 52"/>
            <p:cNvSpPr/>
            <p:nvPr/>
          </p:nvSpPr>
          <p:spPr bwMode="gray">
            <a:xfrm>
              <a:off x="5232027" y="5432255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ARS</a:t>
              </a:r>
            </a:p>
          </p:txBody>
        </p:sp>
        <p:sp>
          <p:nvSpPr>
            <p:cNvPr id="249" name="Rectangle 53"/>
            <p:cNvSpPr/>
            <p:nvPr/>
          </p:nvSpPr>
          <p:spPr bwMode="gray">
            <a:xfrm>
              <a:off x="5232027" y="5859761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250" name="Rectangle 54"/>
            <p:cNvSpPr/>
            <p:nvPr/>
          </p:nvSpPr>
          <p:spPr bwMode="gray">
            <a:xfrm>
              <a:off x="5232027" y="5646008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은행지점</a:t>
              </a:r>
              <a:endParaRPr lang="en-US" sz="7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1" name="Rectangle 111"/>
            <p:cNvSpPr/>
            <p:nvPr/>
          </p:nvSpPr>
          <p:spPr bwMode="gray">
            <a:xfrm>
              <a:off x="5232027" y="5004747"/>
              <a:ext cx="784787" cy="1665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en-US" sz="7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App</a:t>
              </a:r>
            </a:p>
          </p:txBody>
        </p:sp>
        <p:sp>
          <p:nvSpPr>
            <p:cNvPr id="252" name="Can 112"/>
            <p:cNvSpPr/>
            <p:nvPr/>
          </p:nvSpPr>
          <p:spPr bwMode="gray">
            <a:xfrm>
              <a:off x="4638320" y="3371205"/>
              <a:ext cx="248707" cy="499806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600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오퍼</a:t>
              </a:r>
              <a:r>
                <a:rPr lang="en-US" altLang="ko-KR" sz="6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/>
              </a:r>
              <a:br>
                <a:rPr lang="en-US" altLang="ko-KR" sz="6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ko-KR" altLang="en-US" sz="6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데이터</a:t>
              </a:r>
              <a:endParaRPr lang="en-US" sz="6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3" name="Up-Down Arrow 113"/>
            <p:cNvSpPr/>
            <p:nvPr/>
          </p:nvSpPr>
          <p:spPr bwMode="gray">
            <a:xfrm rot="16200000">
              <a:off x="4974572" y="3538127"/>
              <a:ext cx="100383" cy="227641"/>
            </a:xfrm>
            <a:prstGeom prst="upDownArrow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4" name="Right Arrow 120"/>
            <p:cNvSpPr/>
            <p:nvPr/>
          </p:nvSpPr>
          <p:spPr bwMode="gray">
            <a:xfrm rot="10800000" flipV="1">
              <a:off x="4187106" y="4936108"/>
              <a:ext cx="599141" cy="109119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5" name="Rectangle 121"/>
            <p:cNvSpPr/>
            <p:nvPr/>
          </p:nvSpPr>
          <p:spPr>
            <a:xfrm rot="16200000" flipV="1">
              <a:off x="4210213" y="4422571"/>
              <a:ext cx="1104932" cy="5328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6" name="Can 126"/>
            <p:cNvSpPr/>
            <p:nvPr/>
          </p:nvSpPr>
          <p:spPr bwMode="gray">
            <a:xfrm>
              <a:off x="1782225" y="2978897"/>
              <a:ext cx="587113" cy="499806"/>
            </a:xfrm>
            <a:prstGeom prst="can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시그날</a:t>
              </a:r>
              <a:r>
                <a:rPr lang="en-US" altLang="ko-KR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&amp;</a:t>
              </a:r>
              <a:br>
                <a:rPr lang="en-US" altLang="ko-KR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</a:br>
              <a:r>
                <a:rPr lang="ko-KR" altLang="en-US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이벤트</a:t>
              </a:r>
              <a:r>
                <a:rPr lang="en-US" sz="700" dirty="0" smtClea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</a:t>
              </a:r>
              <a:r>
                <a:rPr 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repository</a:t>
              </a:r>
              <a:endParaRPr lang="en-US" sz="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7" name="Can 10"/>
            <p:cNvSpPr/>
            <p:nvPr/>
          </p:nvSpPr>
          <p:spPr bwMode="gray">
            <a:xfrm>
              <a:off x="1782225" y="2575237"/>
              <a:ext cx="587113" cy="499806"/>
            </a:xfrm>
            <a:prstGeom prst="can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r>
                <a:rPr lang="ko-KR" altLang="en-US" sz="7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리포트</a:t>
              </a:r>
              <a:endParaRPr lang="en-US" sz="7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8" name="Can 11"/>
            <p:cNvSpPr/>
            <p:nvPr/>
          </p:nvSpPr>
          <p:spPr bwMode="gray">
            <a:xfrm>
              <a:off x="1738503" y="2513361"/>
              <a:ext cx="674556" cy="1445502"/>
            </a:xfrm>
            <a:prstGeom prst="can">
              <a:avLst/>
            </a:prstGeom>
            <a:noFill/>
            <a:ln w="158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85000"/>
                </a:lnSpc>
              </a:pPr>
              <a:endParaRPr lang="en-US" sz="5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9" name="Up-Down Arrow 128"/>
            <p:cNvSpPr/>
            <p:nvPr/>
          </p:nvSpPr>
          <p:spPr bwMode="gray">
            <a:xfrm>
              <a:off x="2028519" y="4604658"/>
              <a:ext cx="92903" cy="498861"/>
            </a:xfrm>
            <a:prstGeom prst="upDown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0" name="Oval 57"/>
            <p:cNvSpPr/>
            <p:nvPr/>
          </p:nvSpPr>
          <p:spPr bwMode="gray">
            <a:xfrm>
              <a:off x="5033144" y="5412239"/>
              <a:ext cx="186637" cy="180465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261" name="Picture 2" descr="C:\Users\klaudia.wypustek\AppData\Local\Temp\wzadbd\PNG\256\message-256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1689" y="5446944"/>
              <a:ext cx="109546" cy="11105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</p:pic>
        <p:sp>
          <p:nvSpPr>
            <p:cNvPr id="262" name="Right Arrow 90"/>
            <p:cNvSpPr/>
            <p:nvPr/>
          </p:nvSpPr>
          <p:spPr bwMode="gray">
            <a:xfrm>
              <a:off x="1333885" y="4361022"/>
              <a:ext cx="448902" cy="117379"/>
            </a:xfrm>
            <a:prstGeom prst="rightArrow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pl-PL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3" name="Rectangle 91"/>
            <p:cNvSpPr/>
            <p:nvPr/>
          </p:nvSpPr>
          <p:spPr>
            <a:xfrm rot="5400000">
              <a:off x="904983" y="4009412"/>
              <a:ext cx="807607" cy="74049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4" name="Right Arrow 30"/>
            <p:cNvSpPr/>
            <p:nvPr/>
          </p:nvSpPr>
          <p:spPr bwMode="gray">
            <a:xfrm>
              <a:off x="1148658" y="2972176"/>
              <a:ext cx="459205" cy="242970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endParaRPr 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65" name="Text 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23874" y="2348880"/>
            <a:ext cx="3048519" cy="19067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0" bIns="0" anchor="t" anchorCtr="0">
            <a:noAutofit/>
          </a:bodyPr>
          <a:lstStyle/>
          <a:p>
            <a:pPr marL="182563" indent="-182563" latinLnBrk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다양한 고객 데이터 수집 및 분석 정교화  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447675" lvl="1" indent="-173038" latinLnBrk="0">
              <a:buFontTx/>
              <a:buChar char="-"/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객행동패턴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상품서비스 이용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홈페이지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바일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채널 이용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시간 트랜잭션 데이터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등 통합 다차원 분석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447675" lvl="1" indent="-173038" latinLnBrk="0">
              <a:buFontTx/>
              <a:buChar char="-"/>
            </a:pPr>
            <a:endParaRPr lang="en-US" altLang="ko-KR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2563" indent="-182563" latinLnBrk="0">
              <a:buFont typeface="Wingdings" panose="05000000000000000000" pitchFamily="2" charset="2"/>
              <a:buChar char="§"/>
              <a:tabLst>
                <a:tab pos="1825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객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etention,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마케팅 </a:t>
            </a:r>
            <a:r>
              <a:rPr lang="ko-KR" altLang="en-US" sz="12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오퍼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2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반응율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개선</a:t>
            </a:r>
            <a:endParaRPr lang="ko-KR" altLang="en-US" sz="14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6424387" y="1844824"/>
            <a:ext cx="3049200" cy="327688"/>
            <a:chOff x="6424387" y="1972308"/>
            <a:chExt cx="3049200" cy="327688"/>
          </a:xfrm>
        </p:grpSpPr>
        <p:sp>
          <p:nvSpPr>
            <p:cNvPr id="266" name="Text Box 1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424387" y="1972308"/>
              <a:ext cx="3048519" cy="3276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72000" tIns="72000" rIns="0" bIns="0" anchor="t" anchorCtr="0">
              <a:noAutofit/>
            </a:bodyPr>
            <a:lstStyle/>
            <a:p>
              <a:pPr algn="ctr" latinLnBrk="0">
                <a:spcAft>
                  <a:spcPts val="600"/>
                </a:spcAft>
              </a:pPr>
              <a:r>
                <a:rPr lang="ko-KR" altLang="en-US" sz="14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정성적 효과</a:t>
              </a:r>
              <a:endPara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6" name="직선 연결선 5"/>
            <p:cNvCxnSpPr/>
            <p:nvPr/>
          </p:nvCxnSpPr>
          <p:spPr bwMode="auto">
            <a:xfrm>
              <a:off x="6424387" y="2299996"/>
              <a:ext cx="30492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34" name="그룹 13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3" name="그룹 14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677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마케팅 </a:t>
            </a:r>
            <a:r>
              <a:rPr lang="ko-KR" altLang="en-US" dirty="0"/>
              <a:t>성과분석 및 </a:t>
            </a:r>
            <a:r>
              <a:rPr lang="en-US" altLang="ko-KR" dirty="0"/>
              <a:t>CMS </a:t>
            </a:r>
            <a:r>
              <a:rPr lang="ko-KR" altLang="en-US" dirty="0"/>
              <a:t>개선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/>
              <a:t>캠페인 관리 시스템 </a:t>
            </a:r>
            <a:r>
              <a:rPr lang="en-US" altLang="ko-KR" dirty="0"/>
              <a:t>(CMS)</a:t>
            </a:r>
            <a:r>
              <a:rPr lang="ko-KR" altLang="en-US" dirty="0"/>
              <a:t>의 </a:t>
            </a:r>
            <a:r>
              <a:rPr lang="ko-KR" altLang="en-US" dirty="0" smtClean="0"/>
              <a:t>기능</a:t>
            </a:r>
            <a:r>
              <a:rPr lang="en-US" altLang="ko-KR" dirty="0"/>
              <a:t> </a:t>
            </a:r>
            <a:r>
              <a:rPr lang="ko-KR" altLang="en-US" dirty="0" smtClean="0"/>
              <a:t>및</a:t>
            </a:r>
            <a:r>
              <a:rPr lang="en-US" altLang="ko-KR" dirty="0" smtClean="0"/>
              <a:t> </a:t>
            </a:r>
            <a:r>
              <a:rPr lang="ko-KR" altLang="en-US" dirty="0" smtClean="0"/>
              <a:t>인프라를 </a:t>
            </a:r>
            <a:r>
              <a:rPr lang="ko-KR" altLang="en-US" dirty="0"/>
              <a:t>강화하고</a:t>
            </a:r>
            <a:r>
              <a:rPr lang="en-US" altLang="ko-KR" dirty="0"/>
              <a:t>, </a:t>
            </a:r>
            <a:r>
              <a:rPr lang="ko-KR" altLang="en-US" dirty="0"/>
              <a:t>성과분석 지표</a:t>
            </a:r>
            <a:r>
              <a:rPr lang="en-US" altLang="ko-KR" dirty="0"/>
              <a:t>, </a:t>
            </a:r>
            <a:r>
              <a:rPr lang="ko-KR" altLang="en-US" dirty="0"/>
              <a:t>절차 </a:t>
            </a:r>
            <a:r>
              <a:rPr lang="ko-KR" altLang="en-US" dirty="0" smtClean="0"/>
              <a:t>등의 </a:t>
            </a:r>
            <a:r>
              <a:rPr lang="ko-KR" altLang="en-US" dirty="0"/>
              <a:t>체계를 표준화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업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SOHO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상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MS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전 프로세스 관리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캠페인 리드타임 단축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D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일 대상 발췌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 성과관리 프로세스 개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성과분석 수작업 자동화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 분석 및 즉시 대상 발췌를 위한 시스템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인프라 연계 검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 관련 총괄관리 조직 또는 협의체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R&amp;R </a:t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검토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9" y="5854314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캠페인 대상 고객 확대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SOHO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전회원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마케팅 비효율 개선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407988" y="4326316"/>
            <a:ext cx="1041745" cy="886596"/>
            <a:chOff x="916478" y="3733444"/>
            <a:chExt cx="1041745" cy="886596"/>
          </a:xfrm>
          <a:solidFill>
            <a:srgbClr val="D6EBF6"/>
          </a:solidFill>
        </p:grpSpPr>
        <p:sp>
          <p:nvSpPr>
            <p:cNvPr id="33" name="모서리가 둥근 직사각형 141"/>
            <p:cNvSpPr/>
            <p:nvPr/>
          </p:nvSpPr>
          <p:spPr bwMode="auto">
            <a:xfrm>
              <a:off x="916478" y="3733444"/>
              <a:ext cx="906355" cy="771692"/>
            </a:xfrm>
            <a:prstGeom prst="rec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4" name="모서리가 둥근 직사각형 141"/>
            <p:cNvSpPr/>
            <p:nvPr/>
          </p:nvSpPr>
          <p:spPr bwMode="auto">
            <a:xfrm>
              <a:off x="992560" y="3789040"/>
              <a:ext cx="906355" cy="771692"/>
            </a:xfrm>
            <a:prstGeom prst="rec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endParaRPr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" name="모서리가 둥근 직사각형 141"/>
            <p:cNvSpPr/>
            <p:nvPr/>
          </p:nvSpPr>
          <p:spPr bwMode="auto">
            <a:xfrm>
              <a:off x="1051868" y="3848348"/>
              <a:ext cx="906355" cy="771692"/>
            </a:xfrm>
            <a:prstGeom prst="rec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MS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시스템</a:t>
              </a:r>
              <a:endParaRPr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6" name="모서리가 둥근 직사각형 141"/>
          <p:cNvSpPr/>
          <p:nvPr/>
        </p:nvSpPr>
        <p:spPr bwMode="auto">
          <a:xfrm>
            <a:off x="1666703" y="3372227"/>
            <a:ext cx="2926257" cy="91714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모서리가 둥근 직사각형 141"/>
          <p:cNvSpPr/>
          <p:nvPr/>
        </p:nvSpPr>
        <p:spPr bwMode="auto">
          <a:xfrm>
            <a:off x="1712259" y="3412957"/>
            <a:ext cx="754375" cy="152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체관리 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X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모서리가 둥근 직사각형 141"/>
          <p:cNvSpPr/>
          <p:nvPr/>
        </p:nvSpPr>
        <p:spPr bwMode="auto">
          <a:xfrm>
            <a:off x="3053816" y="3417637"/>
            <a:ext cx="1497615" cy="83377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는 본인회원 대상 캠페인만 입력 가능함</a:t>
            </a:r>
            <a:endParaRPr lang="en-US" altLang="ko-KR" sz="7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법인회원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SOHO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은 입력이 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 회원조회 및 캠페인 등록이 불가함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모서리가 둥근 직사각형 141"/>
          <p:cNvSpPr/>
          <p:nvPr/>
        </p:nvSpPr>
        <p:spPr bwMode="auto">
          <a:xfrm>
            <a:off x="1666703" y="4357168"/>
            <a:ext cx="2926257" cy="91714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모서리가 둥근 직사각형 141"/>
          <p:cNvSpPr/>
          <p:nvPr/>
        </p:nvSpPr>
        <p:spPr bwMode="auto">
          <a:xfrm>
            <a:off x="1712259" y="4397898"/>
            <a:ext cx="754375" cy="152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7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7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 어려움</a:t>
            </a:r>
            <a:endParaRPr lang="ko-KR" altLang="en-US" sz="70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모서리가 둥근 직사각형 141"/>
          <p:cNvSpPr/>
          <p:nvPr/>
        </p:nvSpPr>
        <p:spPr bwMode="auto">
          <a:xfrm>
            <a:off x="1666703" y="5329160"/>
            <a:ext cx="2926257" cy="91714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모서리가 둥근 직사각형 141"/>
          <p:cNvSpPr/>
          <p:nvPr/>
        </p:nvSpPr>
        <p:spPr bwMode="auto">
          <a:xfrm>
            <a:off x="1712259" y="5369890"/>
            <a:ext cx="754375" cy="152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분석 어려움</a:t>
            </a:r>
            <a:endParaRPr lang="ko-KR" altLang="en-US" sz="70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모서리가 둥근 직사각형 141"/>
          <p:cNvSpPr/>
          <p:nvPr/>
        </p:nvSpPr>
        <p:spPr bwMode="auto">
          <a:xfrm>
            <a:off x="3053816" y="4398857"/>
            <a:ext cx="1497615" cy="83377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소 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4~5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의 화면을 열람해야만 캠페인 상세정보 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상 고객 리스트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진행률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류 정보 등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확인할 수 있음</a:t>
            </a:r>
            <a:endParaRPr lang="en-US" altLang="ko-KR" sz="7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명을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모르면 조회 불가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모서리가 둥근 직사각형 141"/>
          <p:cNvSpPr/>
          <p:nvPr/>
        </p:nvSpPr>
        <p:spPr bwMode="auto">
          <a:xfrm>
            <a:off x="3053816" y="5370849"/>
            <a:ext cx="1497615" cy="83377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와 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 연계 되지 않아 캠페인 진행 결과는 대부분 수작업으로 계산</a:t>
            </a:r>
            <a:endParaRPr lang="en-US" altLang="ko-KR" sz="7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2075" indent="-92075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 조회되는 정보를 바탕으로 분석해 보려 할 때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데이터조회 부터 추출까지 다시 작업해야 함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모서리가 둥근 직사각형 141"/>
          <p:cNvSpPr/>
          <p:nvPr/>
        </p:nvSpPr>
        <p:spPr bwMode="auto">
          <a:xfrm>
            <a:off x="1924891" y="3631610"/>
            <a:ext cx="829813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 </a:t>
            </a: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대상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모서리가 둥근 직사각형 141"/>
          <p:cNvSpPr/>
          <p:nvPr/>
        </p:nvSpPr>
        <p:spPr bwMode="auto">
          <a:xfrm>
            <a:off x="1722165" y="3859538"/>
            <a:ext cx="566773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회원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모서리가 둥근 직사각형 141"/>
          <p:cNvSpPr/>
          <p:nvPr/>
        </p:nvSpPr>
        <p:spPr bwMode="auto">
          <a:xfrm>
            <a:off x="2390657" y="3859538"/>
            <a:ext cx="566773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회원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모서리가 둥근 직사각형 141"/>
          <p:cNvSpPr/>
          <p:nvPr/>
        </p:nvSpPr>
        <p:spPr bwMode="auto">
          <a:xfrm>
            <a:off x="1722165" y="4087465"/>
            <a:ext cx="252129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인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모서리가 둥근 직사각형 141"/>
          <p:cNvSpPr/>
          <p:nvPr/>
        </p:nvSpPr>
        <p:spPr bwMode="auto">
          <a:xfrm>
            <a:off x="2036809" y="4087465"/>
            <a:ext cx="252129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인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모서리가 둥근 직사각형 141"/>
          <p:cNvSpPr/>
          <p:nvPr/>
        </p:nvSpPr>
        <p:spPr bwMode="auto">
          <a:xfrm>
            <a:off x="2389642" y="4087465"/>
            <a:ext cx="252129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인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모서리가 둥근 직사각형 141"/>
          <p:cNvSpPr/>
          <p:nvPr/>
        </p:nvSpPr>
        <p:spPr bwMode="auto">
          <a:xfrm>
            <a:off x="2704286" y="4087465"/>
            <a:ext cx="252129" cy="1526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인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3" name="꺾인 연결선 22"/>
          <p:cNvCxnSpPr>
            <a:stCxn id="63" idx="2"/>
            <a:endCxn id="64" idx="0"/>
          </p:cNvCxnSpPr>
          <p:nvPr/>
        </p:nvCxnSpPr>
        <p:spPr bwMode="auto">
          <a:xfrm rot="5400000">
            <a:off x="2135049" y="3654788"/>
            <a:ext cx="75253" cy="33424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2" name="꺾인 연결선 71"/>
          <p:cNvCxnSpPr>
            <a:stCxn id="63" idx="2"/>
            <a:endCxn id="65" idx="0"/>
          </p:cNvCxnSpPr>
          <p:nvPr/>
        </p:nvCxnSpPr>
        <p:spPr bwMode="auto">
          <a:xfrm rot="16200000" flipH="1">
            <a:off x="2469295" y="3654788"/>
            <a:ext cx="75253" cy="33424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3" name="모서리가 둥근 직사각형 141"/>
          <p:cNvSpPr/>
          <p:nvPr/>
        </p:nvSpPr>
        <p:spPr bwMode="auto">
          <a:xfrm>
            <a:off x="1691413" y="4590653"/>
            <a:ext cx="1336421" cy="1526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대상 </a:t>
            </a:r>
            <a:r>
              <a:rPr lang="ko-KR" altLang="en-US" sz="7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군</a:t>
            </a: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조회 시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모서리가 둥근 직사각형 141"/>
          <p:cNvSpPr/>
          <p:nvPr/>
        </p:nvSpPr>
        <p:spPr bwMode="auto">
          <a:xfrm>
            <a:off x="1712640" y="4750728"/>
            <a:ext cx="468407" cy="4028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모서리가 둥근 직사각형 141"/>
          <p:cNvSpPr/>
          <p:nvPr/>
        </p:nvSpPr>
        <p:spPr bwMode="auto">
          <a:xfrm>
            <a:off x="2149580" y="4826324"/>
            <a:ext cx="468407" cy="4028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모서리가 둥근 직사각형 141"/>
          <p:cNvSpPr/>
          <p:nvPr/>
        </p:nvSpPr>
        <p:spPr bwMode="auto">
          <a:xfrm>
            <a:off x="2586520" y="4750728"/>
            <a:ext cx="468407" cy="4028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8" name="구부러진 연결선 77"/>
          <p:cNvCxnSpPr/>
          <p:nvPr/>
        </p:nvCxnSpPr>
        <p:spPr bwMode="auto">
          <a:xfrm>
            <a:off x="2089446" y="4815742"/>
            <a:ext cx="199492" cy="136424"/>
          </a:xfrm>
          <a:prstGeom prst="curved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0" name="구부러진 연결선 79"/>
          <p:cNvCxnSpPr/>
          <p:nvPr/>
        </p:nvCxnSpPr>
        <p:spPr bwMode="auto">
          <a:xfrm flipV="1">
            <a:off x="2527692" y="5027762"/>
            <a:ext cx="197066" cy="26380"/>
          </a:xfrm>
          <a:prstGeom prst="curved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3" name="모서리가 둥근 직사각형 141"/>
          <p:cNvSpPr/>
          <p:nvPr/>
        </p:nvSpPr>
        <p:spPr bwMode="auto">
          <a:xfrm>
            <a:off x="1712640" y="5690420"/>
            <a:ext cx="566773" cy="4028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모서리가 둥근 직사각형 141"/>
          <p:cNvSpPr/>
          <p:nvPr/>
        </p:nvSpPr>
        <p:spPr bwMode="auto">
          <a:xfrm>
            <a:off x="2488154" y="5690420"/>
            <a:ext cx="566773" cy="4028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6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br>
              <a:rPr lang="en-US" altLang="ko-KR" sz="6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6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6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또는 고급분석기능</a:t>
            </a:r>
            <a:r>
              <a:rPr lang="en-US" altLang="ko-KR" sz="6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6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왼쪽/오른쪽 화살표 81"/>
          <p:cNvSpPr/>
          <p:nvPr/>
        </p:nvSpPr>
        <p:spPr bwMode="auto">
          <a:xfrm>
            <a:off x="2280812" y="5830314"/>
            <a:ext cx="205943" cy="123089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번개 7"/>
          <p:cNvSpPr/>
          <p:nvPr/>
        </p:nvSpPr>
        <p:spPr bwMode="auto">
          <a:xfrm>
            <a:off x="2344163" y="5758306"/>
            <a:ext cx="84691" cy="262982"/>
          </a:xfrm>
          <a:prstGeom prst="lightningBol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오른쪽 화살표 8"/>
          <p:cNvSpPr/>
          <p:nvPr/>
        </p:nvSpPr>
        <p:spPr bwMode="auto">
          <a:xfrm>
            <a:off x="5621966" y="3292072"/>
            <a:ext cx="3965968" cy="445196"/>
          </a:xfrm>
          <a:prstGeom prst="rightArrow">
            <a:avLst>
              <a:gd name="adj1" fmla="val 85879"/>
              <a:gd name="adj2" fmla="val 52358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dirty="0" smtClean="0">
                <a:latin typeface="맑은 고딕" pitchFamily="50" charset="-127"/>
                <a:ea typeface="맑은 고딕" pitchFamily="50" charset="-127"/>
              </a:rPr>
              <a:t>캠페인 관리 프로세스</a:t>
            </a:r>
          </a:p>
        </p:txBody>
      </p:sp>
      <p:sp>
        <p:nvSpPr>
          <p:cNvPr id="68" name="모서리가 둥근 직사각형 141"/>
          <p:cNvSpPr/>
          <p:nvPr/>
        </p:nvSpPr>
        <p:spPr bwMode="auto">
          <a:xfrm>
            <a:off x="5621966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센싱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모서리가 둥근 직사각형 141"/>
          <p:cNvSpPr/>
          <p:nvPr/>
        </p:nvSpPr>
        <p:spPr bwMode="auto">
          <a:xfrm>
            <a:off x="6296360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퍼 관리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모서리가 둥근 직사각형 141"/>
          <p:cNvSpPr/>
          <p:nvPr/>
        </p:nvSpPr>
        <p:spPr bwMode="auto">
          <a:xfrm>
            <a:off x="6970753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준비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모서리가 둥근 직사각형 141"/>
          <p:cNvSpPr/>
          <p:nvPr/>
        </p:nvSpPr>
        <p:spPr bwMode="auto">
          <a:xfrm>
            <a:off x="7645147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등록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모서리가 둥근 직사각형 141"/>
          <p:cNvSpPr/>
          <p:nvPr/>
        </p:nvSpPr>
        <p:spPr bwMode="auto">
          <a:xfrm>
            <a:off x="8319540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실행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모서리가 둥근 직사각형 141"/>
          <p:cNvSpPr/>
          <p:nvPr/>
        </p:nvSpPr>
        <p:spPr bwMode="auto">
          <a:xfrm>
            <a:off x="8993934" y="353757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7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 평가</a:t>
            </a:r>
            <a:endParaRPr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모서리가 둥근 직사각형 141"/>
          <p:cNvSpPr/>
          <p:nvPr/>
        </p:nvSpPr>
        <p:spPr bwMode="auto">
          <a:xfrm>
            <a:off x="5621966" y="3836462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센싱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보 등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모서리가 둥근 직사각형 141"/>
          <p:cNvSpPr/>
          <p:nvPr/>
        </p:nvSpPr>
        <p:spPr bwMode="auto">
          <a:xfrm>
            <a:off x="5621966" y="4091351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센싱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보 요청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모서리가 둥근 직사각형 141"/>
          <p:cNvSpPr/>
          <p:nvPr/>
        </p:nvSpPr>
        <p:spPr bwMode="auto">
          <a:xfrm>
            <a:off x="5621966" y="4346240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센싱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보 조회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모서리가 둥근 직사각형 141"/>
          <p:cNvSpPr/>
          <p:nvPr/>
        </p:nvSpPr>
        <p:spPr bwMode="auto">
          <a:xfrm>
            <a:off x="5621966" y="4601129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센싱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보 다운로드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모서리가 둥근 직사각형 141"/>
          <p:cNvSpPr/>
          <p:nvPr/>
        </p:nvSpPr>
        <p:spPr bwMode="auto">
          <a:xfrm>
            <a:off x="5621966" y="4856018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우선순위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피로도 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모서리가 둥근 직사각형 141"/>
          <p:cNvSpPr/>
          <p:nvPr/>
        </p:nvSpPr>
        <p:spPr bwMode="auto">
          <a:xfrm>
            <a:off x="5621966" y="5365796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별 마케팅 일정 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모서리가 둥근 직사각형 141"/>
          <p:cNvSpPr/>
          <p:nvPr/>
        </p:nvSpPr>
        <p:spPr bwMode="auto">
          <a:xfrm>
            <a:off x="5621966" y="5620683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피로도 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모서리가 둥근 직사각형 141"/>
          <p:cNvSpPr/>
          <p:nvPr/>
        </p:nvSpPr>
        <p:spPr bwMode="auto">
          <a:xfrm>
            <a:off x="5621966" y="5110907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우선순위 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모서리가 둥근 직사각형 141"/>
          <p:cNvSpPr/>
          <p:nvPr/>
        </p:nvSpPr>
        <p:spPr bwMode="auto">
          <a:xfrm>
            <a:off x="6296360" y="3836462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퍼 등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모서리가 둥근 직사각형 141"/>
          <p:cNvSpPr/>
          <p:nvPr/>
        </p:nvSpPr>
        <p:spPr bwMode="auto">
          <a:xfrm>
            <a:off x="6296360" y="4091351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퍼 처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모서리가 둥근 직사각형 141"/>
          <p:cNvSpPr/>
          <p:nvPr/>
        </p:nvSpPr>
        <p:spPr bwMode="auto">
          <a:xfrm>
            <a:off x="6296360" y="434624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eg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모서리가 둥근 직사각형 141"/>
          <p:cNvSpPr/>
          <p:nvPr/>
        </p:nvSpPr>
        <p:spPr bwMode="auto">
          <a:xfrm>
            <a:off x="6296360" y="4601129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eg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회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모서리가 둥근 직사각형 141"/>
          <p:cNvSpPr/>
          <p:nvPr/>
        </p:nvSpPr>
        <p:spPr bwMode="auto">
          <a:xfrm>
            <a:off x="6296360" y="4856018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eg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분화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모서리가 둥근 직사각형 141"/>
          <p:cNvSpPr/>
          <p:nvPr/>
        </p:nvSpPr>
        <p:spPr bwMode="auto">
          <a:xfrm>
            <a:off x="6296360" y="5365796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eg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스트 다운로드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모서리가 둥근 직사각형 141"/>
          <p:cNvSpPr/>
          <p:nvPr/>
        </p:nvSpPr>
        <p:spPr bwMode="auto">
          <a:xfrm>
            <a:off x="6296360" y="5620683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프로파일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모서리가 둥근 직사각형 141"/>
          <p:cNvSpPr/>
          <p:nvPr/>
        </p:nvSpPr>
        <p:spPr bwMode="auto">
          <a:xfrm>
            <a:off x="6296360" y="5110907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7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eg</a:t>
            </a: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로드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모서리가 둥근 직사각형 141"/>
          <p:cNvSpPr/>
          <p:nvPr/>
        </p:nvSpPr>
        <p:spPr bwMode="auto">
          <a:xfrm>
            <a:off x="6970753" y="3836462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연관 계획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모서리가 둥근 직사각형 141"/>
          <p:cNvSpPr/>
          <p:nvPr/>
        </p:nvSpPr>
        <p:spPr bwMode="auto">
          <a:xfrm>
            <a:off x="6970753" y="4091351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정의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모서리가 둥근 직사각형 141"/>
          <p:cNvSpPr/>
          <p:nvPr/>
        </p:nvSpPr>
        <p:spPr bwMode="auto">
          <a:xfrm>
            <a:off x="6970753" y="434624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예산 수립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모서리가 둥근 직사각형 141"/>
          <p:cNvSpPr/>
          <p:nvPr/>
        </p:nvSpPr>
        <p:spPr bwMode="auto">
          <a:xfrm>
            <a:off x="6970753" y="4601129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기대효과 분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모서리가 둥근 직사각형 141"/>
          <p:cNvSpPr/>
          <p:nvPr/>
        </p:nvSpPr>
        <p:spPr bwMode="auto">
          <a:xfrm>
            <a:off x="6970753" y="4856018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실행 계획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모서리가 둥근 직사각형 141"/>
          <p:cNvSpPr/>
          <p:nvPr/>
        </p:nvSpPr>
        <p:spPr bwMode="auto">
          <a:xfrm>
            <a:off x="7645147" y="3836462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등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모서리가 둥근 직사각형 141"/>
          <p:cNvSpPr/>
          <p:nvPr/>
        </p:nvSpPr>
        <p:spPr bwMode="auto">
          <a:xfrm>
            <a:off x="7645147" y="4091351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상고객 추출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모서리가 둥근 직사각형 141"/>
          <p:cNvSpPr/>
          <p:nvPr/>
        </p:nvSpPr>
        <p:spPr bwMode="auto">
          <a:xfrm>
            <a:off x="7645147" y="434624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복제거 조건 정의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모서리가 둥근 직사각형 141"/>
          <p:cNvSpPr/>
          <p:nvPr/>
        </p:nvSpPr>
        <p:spPr bwMode="auto">
          <a:xfrm>
            <a:off x="7645147" y="4601129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rigger </a:t>
            </a: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건관리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모서리가 둥근 직사각형 141"/>
          <p:cNvSpPr/>
          <p:nvPr/>
        </p:nvSpPr>
        <p:spPr bwMode="auto">
          <a:xfrm>
            <a:off x="7645147" y="4856018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시뮬레이션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모서리가 둥근 직사각형 141"/>
          <p:cNvSpPr/>
          <p:nvPr/>
        </p:nvSpPr>
        <p:spPr bwMode="auto">
          <a:xfrm>
            <a:off x="7645147" y="5365796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지표 선정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모서리가 둥근 직사각형 141"/>
          <p:cNvSpPr/>
          <p:nvPr/>
        </p:nvSpPr>
        <p:spPr bwMode="auto">
          <a:xfrm>
            <a:off x="7645147" y="5110907"/>
            <a:ext cx="594000" cy="1988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예산등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모서리가 둥근 직사각형 141"/>
          <p:cNvSpPr/>
          <p:nvPr/>
        </p:nvSpPr>
        <p:spPr bwMode="auto">
          <a:xfrm>
            <a:off x="8320776" y="3836462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실행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모서리가 둥근 직사각형 141"/>
          <p:cNvSpPr/>
          <p:nvPr/>
        </p:nvSpPr>
        <p:spPr bwMode="auto">
          <a:xfrm>
            <a:off x="8320776" y="4091351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실행 제어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모서리가 둥근 직사각형 141"/>
          <p:cNvSpPr/>
          <p:nvPr/>
        </p:nvSpPr>
        <p:spPr bwMode="auto">
          <a:xfrm>
            <a:off x="8320776" y="4346240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자동 실행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모서리가 둥근 직사각형 141"/>
          <p:cNvSpPr/>
          <p:nvPr/>
        </p:nvSpPr>
        <p:spPr bwMode="auto">
          <a:xfrm>
            <a:off x="8320776" y="4856018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모니터링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모서리가 둥근 직사각형 141"/>
          <p:cNvSpPr/>
          <p:nvPr/>
        </p:nvSpPr>
        <p:spPr bwMode="auto">
          <a:xfrm>
            <a:off x="8320776" y="5365796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반응 수집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모서리가 둥근 직사각형 141"/>
          <p:cNvSpPr/>
          <p:nvPr/>
        </p:nvSpPr>
        <p:spPr bwMode="auto">
          <a:xfrm>
            <a:off x="8320776" y="5110907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실행 모니터링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모서리가 둥근 직사각형 141"/>
          <p:cNvSpPr/>
          <p:nvPr/>
        </p:nvSpPr>
        <p:spPr bwMode="auto">
          <a:xfrm>
            <a:off x="8982640" y="3836462"/>
            <a:ext cx="594000" cy="1988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용정산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모서리가 둥근 직사각형 141"/>
          <p:cNvSpPr/>
          <p:nvPr/>
        </p:nvSpPr>
        <p:spPr bwMode="auto">
          <a:xfrm>
            <a:off x="8982640" y="4091351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평가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모서리가 둥근 직사각형 141"/>
          <p:cNvSpPr/>
          <p:nvPr/>
        </p:nvSpPr>
        <p:spPr bwMode="auto">
          <a:xfrm>
            <a:off x="8982640" y="4346240"/>
            <a:ext cx="594000" cy="198825"/>
          </a:xfrm>
          <a:prstGeom prst="rect">
            <a:avLst/>
          </a:prstGeom>
          <a:solidFill>
            <a:srgbClr val="D6EBF6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700" b="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응정보 분석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모서리가 둥근 직사각형 141"/>
          <p:cNvSpPr/>
          <p:nvPr/>
        </p:nvSpPr>
        <p:spPr bwMode="auto">
          <a:xfrm>
            <a:off x="5277206" y="3717032"/>
            <a:ext cx="304816" cy="1988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</a:t>
            </a:r>
            <a:endParaRPr lang="ko-KR" altLang="en-US" sz="600" i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모서리가 둥근 직사각형 141"/>
          <p:cNvSpPr/>
          <p:nvPr/>
        </p:nvSpPr>
        <p:spPr bwMode="auto">
          <a:xfrm>
            <a:off x="5277206" y="3983264"/>
            <a:ext cx="304816" cy="1988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600" i="1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업</a:t>
            </a:r>
            <a:endParaRPr lang="ko-KR" altLang="en-US" sz="600" i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모서리가 둥근 직사각형 141"/>
          <p:cNvSpPr/>
          <p:nvPr/>
        </p:nvSpPr>
        <p:spPr bwMode="auto">
          <a:xfrm>
            <a:off x="5277206" y="4209764"/>
            <a:ext cx="304816" cy="1988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OHO</a:t>
            </a:r>
            <a:endParaRPr lang="ko-KR" altLang="en-US" sz="600" i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모서리가 둥근 직사각형 141"/>
          <p:cNvSpPr/>
          <p:nvPr/>
        </p:nvSpPr>
        <p:spPr bwMode="auto">
          <a:xfrm>
            <a:off x="5277206" y="5369890"/>
            <a:ext cx="304816" cy="1988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lang="en-US" altLang="ko-KR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endParaRPr lang="ko-KR" altLang="en-US" sz="600" i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모서리가 둥근 직사각형 141"/>
          <p:cNvSpPr/>
          <p:nvPr/>
        </p:nvSpPr>
        <p:spPr bwMode="auto">
          <a:xfrm>
            <a:off x="5277206" y="5618425"/>
            <a:ext cx="304816" cy="1988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0" rIns="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금융</a:t>
            </a:r>
            <a:r>
              <a:rPr lang="en-US" altLang="ko-KR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6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endParaRPr lang="ko-KR" altLang="en-US" sz="600" i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5" name="그룹 14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4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4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4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5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5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4" name="그룹 15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5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117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74953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캠페인 실행을 자동화하기 위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argeting/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매칭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널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rface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자동화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함께 반응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연계를 포함한 캠페인 운영 시스템 구축 방안을 수립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캠페인 관리 시스템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CMS)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99" name="그룹 198"/>
          <p:cNvGrpSpPr/>
          <p:nvPr/>
        </p:nvGrpSpPr>
        <p:grpSpPr>
          <a:xfrm>
            <a:off x="404854" y="1979110"/>
            <a:ext cx="9096293" cy="4239312"/>
            <a:chOff x="537226" y="2429301"/>
            <a:chExt cx="9096293" cy="3955186"/>
          </a:xfrm>
        </p:grpSpPr>
        <p:sp>
          <p:nvSpPr>
            <p:cNvPr id="200" name="Rectangle 4" descr="20%"/>
            <p:cNvSpPr>
              <a:spLocks noChangeArrowheads="1"/>
            </p:cNvSpPr>
            <p:nvPr/>
          </p:nvSpPr>
          <p:spPr bwMode="auto">
            <a:xfrm>
              <a:off x="560513" y="2429301"/>
              <a:ext cx="3210337" cy="1223569"/>
            </a:xfrm>
            <a:prstGeom prst="rect">
              <a:avLst/>
            </a:prstGeom>
            <a:pattFill prst="pct20">
              <a:fgClr>
                <a:srgbClr val="EAEAEA"/>
              </a:fgClr>
              <a:bgClr>
                <a:srgbClr val="FFFFFF"/>
              </a:bgClr>
            </a:patt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신용카드 시스템 </a:t>
              </a: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(Data Sources)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01" name="AutoShape 5"/>
            <p:cNvSpPr>
              <a:spLocks noChangeArrowheads="1"/>
            </p:cNvSpPr>
            <p:nvPr/>
          </p:nvSpPr>
          <p:spPr bwMode="auto">
            <a:xfrm>
              <a:off x="631854" y="2848480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고객정보</a:t>
              </a:r>
            </a:p>
          </p:txBody>
        </p:sp>
        <p:sp>
          <p:nvSpPr>
            <p:cNvPr id="202" name="AutoShape 6"/>
            <p:cNvSpPr>
              <a:spLocks noChangeArrowheads="1"/>
            </p:cNvSpPr>
            <p:nvPr/>
          </p:nvSpPr>
          <p:spPr bwMode="auto">
            <a:xfrm>
              <a:off x="1416603" y="2848480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DW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정보</a:t>
              </a:r>
            </a:p>
          </p:txBody>
        </p:sp>
        <p:sp>
          <p:nvSpPr>
            <p:cNvPr id="203" name="AutoShape 7"/>
            <p:cNvSpPr>
              <a:spLocks noChangeArrowheads="1"/>
            </p:cNvSpPr>
            <p:nvPr/>
          </p:nvSpPr>
          <p:spPr bwMode="auto">
            <a:xfrm>
              <a:off x="2201352" y="2848480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접촉이력</a:t>
              </a:r>
            </a:p>
          </p:txBody>
        </p:sp>
        <p:sp>
          <p:nvSpPr>
            <p:cNvPr id="204" name="AutoShape 8"/>
            <p:cNvSpPr>
              <a:spLocks noChangeArrowheads="1"/>
            </p:cNvSpPr>
            <p:nvPr/>
          </p:nvSpPr>
          <p:spPr bwMode="auto">
            <a:xfrm>
              <a:off x="2986101" y="2848480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신용정보</a:t>
              </a:r>
            </a:p>
          </p:txBody>
        </p:sp>
        <p:sp>
          <p:nvSpPr>
            <p:cNvPr id="205" name="AutoShape 9"/>
            <p:cNvSpPr>
              <a:spLocks noChangeArrowheads="1"/>
            </p:cNvSpPr>
            <p:nvPr/>
          </p:nvSpPr>
          <p:spPr bwMode="auto">
            <a:xfrm>
              <a:off x="631854" y="3214112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실적정보</a:t>
              </a:r>
            </a:p>
          </p:txBody>
        </p:sp>
        <p:sp>
          <p:nvSpPr>
            <p:cNvPr id="206" name="AutoShape 10"/>
            <p:cNvSpPr>
              <a:spLocks noChangeArrowheads="1"/>
            </p:cNvSpPr>
            <p:nvPr/>
          </p:nvSpPr>
          <p:spPr bwMode="auto">
            <a:xfrm>
              <a:off x="1416603" y="3214112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가치세분화</a:t>
              </a:r>
            </a:p>
          </p:txBody>
        </p:sp>
        <p:sp>
          <p:nvSpPr>
            <p:cNvPr id="207" name="AutoShape 11"/>
            <p:cNvSpPr>
              <a:spLocks noChangeArrowheads="1"/>
            </p:cNvSpPr>
            <p:nvPr/>
          </p:nvSpPr>
          <p:spPr bwMode="auto">
            <a:xfrm>
              <a:off x="2201352" y="3214112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니즈세분화</a:t>
              </a:r>
              <a:endPara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endParaRPr>
            </a:p>
          </p:txBody>
        </p:sp>
        <p:sp>
          <p:nvSpPr>
            <p:cNvPr id="208" name="AutoShape 12"/>
            <p:cNvSpPr>
              <a:spLocks noChangeArrowheads="1"/>
            </p:cNvSpPr>
            <p:nvPr/>
          </p:nvSpPr>
          <p:spPr bwMode="auto">
            <a:xfrm>
              <a:off x="2986101" y="3214112"/>
              <a:ext cx="713408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기타</a:t>
              </a:r>
            </a:p>
          </p:txBody>
        </p:sp>
        <p:grpSp>
          <p:nvGrpSpPr>
            <p:cNvPr id="209" name="Group 13"/>
            <p:cNvGrpSpPr>
              <a:grpSpLocks/>
            </p:cNvGrpSpPr>
            <p:nvPr/>
          </p:nvGrpSpPr>
          <p:grpSpPr bwMode="auto">
            <a:xfrm>
              <a:off x="1523614" y="4274438"/>
              <a:ext cx="1640840" cy="731263"/>
              <a:chOff x="864" y="2400"/>
              <a:chExt cx="1104" cy="480"/>
            </a:xfrm>
          </p:grpSpPr>
          <p:sp>
            <p:nvSpPr>
              <p:cNvPr id="256" name="AutoShape 14"/>
              <p:cNvSpPr>
                <a:spLocks noChangeArrowheads="1"/>
              </p:cNvSpPr>
              <p:nvPr/>
            </p:nvSpPr>
            <p:spPr bwMode="auto">
              <a:xfrm>
                <a:off x="1008" y="2400"/>
                <a:ext cx="960" cy="336"/>
              </a:xfrm>
              <a:prstGeom prst="flowChartProcess">
                <a:avLst/>
              </a:prstGeom>
              <a:solidFill>
                <a:srgbClr val="FFFFFF"/>
              </a:solidFill>
              <a:ln w="12700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 wrap="none" lIns="90000" tIns="46800" rIns="90000" bIns="468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endParaRPr>
              </a:p>
            </p:txBody>
          </p:sp>
          <p:sp>
            <p:nvSpPr>
              <p:cNvPr id="257" name="AutoShape 15"/>
              <p:cNvSpPr>
                <a:spLocks noChangeArrowheads="1"/>
              </p:cNvSpPr>
              <p:nvPr/>
            </p:nvSpPr>
            <p:spPr bwMode="auto">
              <a:xfrm>
                <a:off x="960" y="2448"/>
                <a:ext cx="960" cy="336"/>
              </a:xfrm>
              <a:prstGeom prst="flowChartProcess">
                <a:avLst/>
              </a:prstGeom>
              <a:solidFill>
                <a:srgbClr val="FFFFFF"/>
              </a:solidFill>
              <a:ln w="12700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 wrap="none" lIns="90000" tIns="46800" rIns="90000" bIns="468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endParaRPr>
              </a:p>
            </p:txBody>
          </p:sp>
          <p:sp>
            <p:nvSpPr>
              <p:cNvPr id="258" name="AutoShape 16"/>
              <p:cNvSpPr>
                <a:spLocks noChangeArrowheads="1"/>
              </p:cNvSpPr>
              <p:nvPr/>
            </p:nvSpPr>
            <p:spPr bwMode="auto">
              <a:xfrm>
                <a:off x="912" y="2496"/>
                <a:ext cx="960" cy="336"/>
              </a:xfrm>
              <a:prstGeom prst="flowChartProcess">
                <a:avLst/>
              </a:prstGeom>
              <a:solidFill>
                <a:srgbClr val="FFFFFF"/>
              </a:solidFill>
              <a:ln w="12700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 wrap="none" lIns="90000" tIns="46800" rIns="90000" bIns="468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endParaRPr>
              </a:p>
            </p:txBody>
          </p:sp>
          <p:sp>
            <p:nvSpPr>
              <p:cNvPr id="259" name="AutoShape 17"/>
              <p:cNvSpPr>
                <a:spLocks noChangeArrowheads="1"/>
              </p:cNvSpPr>
              <p:nvPr/>
            </p:nvSpPr>
            <p:spPr bwMode="auto">
              <a:xfrm>
                <a:off x="864" y="2544"/>
                <a:ext cx="960" cy="336"/>
              </a:xfrm>
              <a:prstGeom prst="flowChartProcess">
                <a:avLst/>
              </a:prstGeom>
              <a:solidFill>
                <a:srgbClr val="FFFFFF"/>
              </a:solidFill>
              <a:ln w="12700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 wrap="none" lIns="90000" tIns="46800" rIns="90000" bIns="468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93663" marR="0" lvl="0" indent="-93663" algn="ctr" defTabSz="914400" rtl="0" eaLnBrk="1" fontAlgn="auto" latinLnBrk="1" hangingPunct="1">
                  <a:lnSpc>
                    <a:spcPct val="90000"/>
                  </a:lnSpc>
                  <a:spcBef>
                    <a:spcPct val="3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Campaign</a:t>
                </a:r>
              </a:p>
              <a:p>
                <a:pPr marL="93663" marR="0" lvl="0" indent="-93663" algn="ctr" defTabSz="914400" rtl="0" eaLnBrk="1" fontAlgn="auto" latinLnBrk="1" hangingPunct="1">
                  <a:lnSpc>
                    <a:spcPct val="90000"/>
                  </a:lnSpc>
                  <a:spcBef>
                    <a:spcPct val="3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List </a:t>
                </a:r>
                <a:r>
                  <a:rPr kumimoji="0" lang="ko-KR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추출 </a:t>
                </a: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Program</a:t>
                </a:r>
              </a:p>
            </p:txBody>
          </p:sp>
        </p:grpSp>
        <p:sp>
          <p:nvSpPr>
            <p:cNvPr id="210" name="AutoShape 18"/>
            <p:cNvSpPr>
              <a:spLocks noChangeArrowheads="1"/>
            </p:cNvSpPr>
            <p:nvPr/>
          </p:nvSpPr>
          <p:spPr bwMode="auto">
            <a:xfrm>
              <a:off x="1523614" y="5627282"/>
              <a:ext cx="1538287" cy="731264"/>
            </a:xfrm>
            <a:prstGeom prst="flowChartMultidocument">
              <a:avLst/>
            </a:prstGeom>
            <a:solidFill>
              <a:srgbClr val="FFFFFF"/>
            </a:solidFill>
            <a:ln w="12700">
              <a:solidFill>
                <a:srgbClr val="808080">
                  <a:lumMod val="75000"/>
                </a:srgb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Campaign</a:t>
              </a:r>
            </a:p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정의서</a:t>
              </a:r>
            </a:p>
          </p:txBody>
        </p:sp>
        <p:sp>
          <p:nvSpPr>
            <p:cNvPr id="211" name="AutoShape 19"/>
            <p:cNvSpPr>
              <a:spLocks noChangeArrowheads="1"/>
            </p:cNvSpPr>
            <p:nvPr/>
          </p:nvSpPr>
          <p:spPr bwMode="auto">
            <a:xfrm rot="16200000">
              <a:off x="2132272" y="4815623"/>
              <a:ext cx="423524" cy="1001744"/>
            </a:xfrm>
            <a:prstGeom prst="rightArrow">
              <a:avLst>
                <a:gd name="adj1" fmla="val 65880"/>
                <a:gd name="adj2" fmla="val 56009"/>
              </a:avLst>
            </a:prstGeom>
            <a:solidFill>
              <a:srgbClr val="EAEAEA"/>
            </a:solidFill>
            <a:ln w="6350" algn="ctr">
              <a:solidFill>
                <a:srgbClr val="808080"/>
              </a:solidFill>
              <a:prstDash val="dash"/>
              <a:miter lim="800000"/>
              <a:headEnd/>
              <a:tailEnd/>
            </a:ln>
          </p:spPr>
          <p:txBody>
            <a:bodyPr vert="eaVert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12" name="AutoShape 20"/>
            <p:cNvSpPr>
              <a:spLocks noChangeArrowheads="1"/>
            </p:cNvSpPr>
            <p:nvPr/>
          </p:nvSpPr>
          <p:spPr bwMode="auto">
            <a:xfrm rot="5400000" flipV="1">
              <a:off x="2132272" y="3462785"/>
              <a:ext cx="423524" cy="1001744"/>
            </a:xfrm>
            <a:prstGeom prst="rightArrow">
              <a:avLst>
                <a:gd name="adj1" fmla="val 65880"/>
                <a:gd name="adj2" fmla="val 56009"/>
              </a:avLst>
            </a:prstGeom>
            <a:solidFill>
              <a:srgbClr val="EAEAEA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Extract</a:t>
              </a:r>
            </a:p>
          </p:txBody>
        </p:sp>
        <p:sp>
          <p:nvSpPr>
            <p:cNvPr id="213" name="Text Box 21"/>
            <p:cNvSpPr txBox="1">
              <a:spLocks noChangeArrowheads="1"/>
            </p:cNvSpPr>
            <p:nvPr/>
          </p:nvSpPr>
          <p:spPr bwMode="auto">
            <a:xfrm>
              <a:off x="751249" y="3725996"/>
              <a:ext cx="1212794" cy="387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Daily or Monthly 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자동 추출 및 저장</a:t>
              </a:r>
            </a:p>
          </p:txBody>
        </p:sp>
        <p:sp>
          <p:nvSpPr>
            <p:cNvPr id="214" name="AutoShape 22"/>
            <p:cNvSpPr>
              <a:spLocks noChangeArrowheads="1"/>
            </p:cNvSpPr>
            <p:nvPr/>
          </p:nvSpPr>
          <p:spPr bwMode="auto">
            <a:xfrm>
              <a:off x="3628169" y="4164755"/>
              <a:ext cx="927431" cy="731264"/>
            </a:xfrm>
            <a:prstGeom prst="flowChartMagneticDisk">
              <a:avLst/>
            </a:prstGeom>
            <a:solidFill>
              <a:srgbClr val="C7CDF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3333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분석</a:t>
              </a: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Mart</a:t>
              </a:r>
            </a:p>
          </p:txBody>
        </p:sp>
        <p:sp>
          <p:nvSpPr>
            <p:cNvPr id="215" name="Line 23"/>
            <p:cNvSpPr>
              <a:spLocks noChangeShapeType="1"/>
            </p:cNvSpPr>
            <p:nvPr/>
          </p:nvSpPr>
          <p:spPr bwMode="auto">
            <a:xfrm>
              <a:off x="3200124" y="4530386"/>
              <a:ext cx="356704" cy="0"/>
            </a:xfrm>
            <a:prstGeom prst="line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16" name="Rectangle 24" descr="20%"/>
            <p:cNvSpPr>
              <a:spLocks noChangeArrowheads="1"/>
            </p:cNvSpPr>
            <p:nvPr/>
          </p:nvSpPr>
          <p:spPr bwMode="auto">
            <a:xfrm>
              <a:off x="4341577" y="2429301"/>
              <a:ext cx="3138997" cy="1223569"/>
            </a:xfrm>
            <a:prstGeom prst="rect">
              <a:avLst/>
            </a:prstGeom>
            <a:pattFill prst="pct20">
              <a:fgClr>
                <a:srgbClr val="EAEAEA"/>
              </a:fgClr>
              <a:bgClr>
                <a:srgbClr val="FFFFFF"/>
              </a:bgClr>
            </a:patt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CMS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17" name="AutoShape 25"/>
            <p:cNvSpPr>
              <a:spLocks noChangeArrowheads="1"/>
            </p:cNvSpPr>
            <p:nvPr/>
          </p:nvSpPr>
          <p:spPr bwMode="auto">
            <a:xfrm>
              <a:off x="4484259" y="2848480"/>
              <a:ext cx="1355476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Target List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추출 기능</a:t>
              </a:r>
            </a:p>
          </p:txBody>
        </p:sp>
        <p:sp>
          <p:nvSpPr>
            <p:cNvPr id="218" name="AutoShape 26"/>
            <p:cNvSpPr>
              <a:spLocks noChangeArrowheads="1"/>
            </p:cNvSpPr>
            <p:nvPr/>
          </p:nvSpPr>
          <p:spPr bwMode="auto">
            <a:xfrm>
              <a:off x="6053757" y="2848480"/>
              <a:ext cx="1355476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채널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Interface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기능</a:t>
              </a:r>
            </a:p>
          </p:txBody>
        </p:sp>
        <p:sp>
          <p:nvSpPr>
            <p:cNvPr id="219" name="Rectangle 27" descr="20%"/>
            <p:cNvSpPr>
              <a:spLocks noChangeArrowheads="1"/>
            </p:cNvSpPr>
            <p:nvPr/>
          </p:nvSpPr>
          <p:spPr bwMode="auto">
            <a:xfrm>
              <a:off x="5911075" y="5115398"/>
              <a:ext cx="2068884" cy="1243149"/>
            </a:xfrm>
            <a:prstGeom prst="rect">
              <a:avLst/>
            </a:prstGeom>
            <a:pattFill prst="pct20">
              <a:fgClr>
                <a:srgbClr val="EAEAEA"/>
              </a:fgClr>
              <a:bgClr>
                <a:srgbClr val="FFFFFF"/>
              </a:bgClr>
            </a:patt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anchor="t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CMS OLAP </a:t>
              </a:r>
              <a:r>
                <a:rPr kumimoji="1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기능</a:t>
              </a: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20" name="AutoShape 28"/>
            <p:cNvSpPr>
              <a:spLocks noChangeArrowheads="1"/>
            </p:cNvSpPr>
            <p:nvPr/>
          </p:nvSpPr>
          <p:spPr bwMode="auto">
            <a:xfrm>
              <a:off x="6053757" y="5554156"/>
              <a:ext cx="1783521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캠페인 실적 집계 기능</a:t>
              </a:r>
            </a:p>
          </p:txBody>
        </p:sp>
        <p:sp>
          <p:nvSpPr>
            <p:cNvPr id="221" name="AutoShape 29"/>
            <p:cNvSpPr>
              <a:spLocks noChangeArrowheads="1"/>
            </p:cNvSpPr>
            <p:nvPr/>
          </p:nvSpPr>
          <p:spPr bwMode="auto">
            <a:xfrm>
              <a:off x="5269008" y="3214112"/>
              <a:ext cx="1355476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접촉 반응 수집</a:t>
              </a:r>
            </a:p>
          </p:txBody>
        </p:sp>
        <p:cxnSp>
          <p:nvCxnSpPr>
            <p:cNvPr id="222" name="AutoShape 30"/>
            <p:cNvCxnSpPr>
              <a:cxnSpLocks noChangeShapeType="1"/>
              <a:stCxn id="214" idx="1"/>
              <a:endCxn id="217" idx="1"/>
            </p:cNvCxnSpPr>
            <p:nvPr/>
          </p:nvCxnSpPr>
          <p:spPr bwMode="auto">
            <a:xfrm rot="16200000">
              <a:off x="3703060" y="3383556"/>
              <a:ext cx="1170022" cy="392375"/>
            </a:xfrm>
            <a:prstGeom prst="bentConnector2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3" name="AutoShape 31"/>
            <p:cNvCxnSpPr>
              <a:cxnSpLocks noChangeShapeType="1"/>
              <a:stCxn id="217" idx="3"/>
              <a:endCxn id="218" idx="1"/>
            </p:cNvCxnSpPr>
            <p:nvPr/>
          </p:nvCxnSpPr>
          <p:spPr bwMode="auto">
            <a:xfrm>
              <a:off x="5839734" y="2994732"/>
              <a:ext cx="214022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4" name="AutoShape 32"/>
            <p:cNvSpPr>
              <a:spLocks noChangeArrowheads="1"/>
            </p:cNvSpPr>
            <p:nvPr/>
          </p:nvSpPr>
          <p:spPr bwMode="auto">
            <a:xfrm>
              <a:off x="8488263" y="2482848"/>
              <a:ext cx="561809" cy="438758"/>
            </a:xfrm>
            <a:prstGeom prst="flowChartMagneticDisk">
              <a:avLst/>
            </a:prstGeom>
            <a:solidFill>
              <a:srgbClr val="C7CDF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3333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EDW</a:t>
              </a:r>
            </a:p>
          </p:txBody>
        </p:sp>
        <p:sp>
          <p:nvSpPr>
            <p:cNvPr id="225" name="AutoShape 33"/>
            <p:cNvSpPr>
              <a:spLocks noChangeArrowheads="1"/>
            </p:cNvSpPr>
            <p:nvPr/>
          </p:nvSpPr>
          <p:spPr bwMode="auto">
            <a:xfrm>
              <a:off x="8488263" y="3506617"/>
              <a:ext cx="561809" cy="438758"/>
            </a:xfrm>
            <a:prstGeom prst="flowChartMagneticDisk">
              <a:avLst/>
            </a:prstGeom>
            <a:solidFill>
              <a:srgbClr val="C7CDF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3333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Etc.</a:t>
              </a:r>
            </a:p>
          </p:txBody>
        </p:sp>
        <p:sp>
          <p:nvSpPr>
            <p:cNvPr id="226" name="AutoShape 34"/>
            <p:cNvSpPr>
              <a:spLocks noChangeArrowheads="1"/>
            </p:cNvSpPr>
            <p:nvPr/>
          </p:nvSpPr>
          <p:spPr bwMode="auto">
            <a:xfrm>
              <a:off x="8060218" y="4164755"/>
              <a:ext cx="561809" cy="438758"/>
            </a:xfrm>
            <a:prstGeom prst="flowChartMagneticDisk">
              <a:avLst/>
            </a:prstGeom>
            <a:solidFill>
              <a:srgbClr val="C7CDF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3333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Host</a:t>
              </a:r>
            </a:p>
          </p:txBody>
        </p:sp>
        <p:sp>
          <p:nvSpPr>
            <p:cNvPr id="227" name="AutoShape 35"/>
            <p:cNvSpPr>
              <a:spLocks noChangeArrowheads="1"/>
            </p:cNvSpPr>
            <p:nvPr/>
          </p:nvSpPr>
          <p:spPr bwMode="auto">
            <a:xfrm>
              <a:off x="8488263" y="2994732"/>
              <a:ext cx="561809" cy="438758"/>
            </a:xfrm>
            <a:prstGeom prst="flowChartMagneticDisk">
              <a:avLst/>
            </a:prstGeom>
            <a:solidFill>
              <a:srgbClr val="C7CDF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3333FF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고객센터</a:t>
              </a:r>
            </a:p>
          </p:txBody>
        </p:sp>
        <p:sp>
          <p:nvSpPr>
            <p:cNvPr id="228" name="AutoShape 36"/>
            <p:cNvSpPr>
              <a:spLocks/>
            </p:cNvSpPr>
            <p:nvPr/>
          </p:nvSpPr>
          <p:spPr bwMode="auto">
            <a:xfrm>
              <a:off x="8336663" y="2482848"/>
              <a:ext cx="71341" cy="1462528"/>
            </a:xfrm>
            <a:prstGeom prst="leftBracket">
              <a:avLst>
                <a:gd name="adj" fmla="val 28981"/>
              </a:avLst>
            </a:prstGeom>
            <a:noFill/>
            <a:ln w="12700">
              <a:solidFill>
                <a:srgbClr val="5F5F5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54000" rIns="54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29" name="Line 37"/>
            <p:cNvSpPr>
              <a:spLocks noChangeShapeType="1"/>
            </p:cNvSpPr>
            <p:nvPr/>
          </p:nvSpPr>
          <p:spPr bwMode="auto">
            <a:xfrm>
              <a:off x="7409233" y="2994732"/>
              <a:ext cx="927431" cy="0"/>
            </a:xfrm>
            <a:prstGeom prst="line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30" name="Text Box 38"/>
            <p:cNvSpPr txBox="1">
              <a:spLocks noChangeArrowheads="1"/>
            </p:cNvSpPr>
            <p:nvPr/>
          </p:nvSpPr>
          <p:spPr bwMode="auto">
            <a:xfrm>
              <a:off x="7266551" y="2775353"/>
              <a:ext cx="1212794" cy="252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Target List </a:t>
              </a:r>
              <a:endPara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endParaRPr>
            </a:p>
          </p:txBody>
        </p:sp>
        <p:sp>
          <p:nvSpPr>
            <p:cNvPr id="231" name="Line 39"/>
            <p:cNvSpPr>
              <a:spLocks noChangeShapeType="1"/>
            </p:cNvSpPr>
            <p:nvPr/>
          </p:nvSpPr>
          <p:spPr bwMode="auto">
            <a:xfrm flipH="1">
              <a:off x="6695824" y="3360364"/>
              <a:ext cx="1640839" cy="0"/>
            </a:xfrm>
            <a:prstGeom prst="line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32" name="Text Box 40"/>
            <p:cNvSpPr txBox="1">
              <a:spLocks noChangeArrowheads="1"/>
            </p:cNvSpPr>
            <p:nvPr/>
          </p:nvSpPr>
          <p:spPr bwMode="auto">
            <a:xfrm>
              <a:off x="7266551" y="3140985"/>
              <a:ext cx="1212794" cy="252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반응수집</a:t>
              </a:r>
            </a:p>
          </p:txBody>
        </p:sp>
        <p:sp>
          <p:nvSpPr>
            <p:cNvPr id="233" name="Line 41"/>
            <p:cNvSpPr>
              <a:spLocks noChangeShapeType="1"/>
            </p:cNvSpPr>
            <p:nvPr/>
          </p:nvSpPr>
          <p:spPr bwMode="auto">
            <a:xfrm flipH="1">
              <a:off x="8622027" y="4384134"/>
              <a:ext cx="570727" cy="0"/>
            </a:xfrm>
            <a:prstGeom prst="line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34" name="Text Box 42"/>
            <p:cNvSpPr txBox="1">
              <a:spLocks noChangeArrowheads="1"/>
            </p:cNvSpPr>
            <p:nvPr/>
          </p:nvSpPr>
          <p:spPr bwMode="auto">
            <a:xfrm>
              <a:off x="8693368" y="4105340"/>
              <a:ext cx="499386" cy="281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매출</a:t>
              </a:r>
            </a:p>
          </p:txBody>
        </p:sp>
        <p:cxnSp>
          <p:nvCxnSpPr>
            <p:cNvPr id="235" name="AutoShape 43"/>
            <p:cNvCxnSpPr>
              <a:cxnSpLocks noChangeShapeType="1"/>
              <a:stCxn id="216" idx="2"/>
              <a:endCxn id="219" idx="0"/>
            </p:cNvCxnSpPr>
            <p:nvPr/>
          </p:nvCxnSpPr>
          <p:spPr bwMode="auto">
            <a:xfrm rot="16200000" flipH="1">
              <a:off x="5697032" y="3866913"/>
              <a:ext cx="1462528" cy="1034441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rgbClr val="808080">
                  <a:lumMod val="75000"/>
                </a:srgbClr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36" name="Text Box 44"/>
            <p:cNvSpPr txBox="1">
              <a:spLocks noChangeArrowheads="1"/>
            </p:cNvSpPr>
            <p:nvPr/>
          </p:nvSpPr>
          <p:spPr bwMode="auto">
            <a:xfrm>
              <a:off x="5839734" y="3988032"/>
              <a:ext cx="1212794" cy="400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캠페인정보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반응정보 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I/F</a:t>
              </a:r>
            </a:p>
          </p:txBody>
        </p:sp>
        <p:sp>
          <p:nvSpPr>
            <p:cNvPr id="237" name="Text Box 45"/>
            <p:cNvSpPr txBox="1">
              <a:spLocks noChangeArrowheads="1"/>
            </p:cNvSpPr>
            <p:nvPr/>
          </p:nvSpPr>
          <p:spPr bwMode="auto">
            <a:xfrm>
              <a:off x="8336663" y="4792423"/>
              <a:ext cx="927431" cy="531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매출실적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리워드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 정보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(via DW)</a:t>
              </a:r>
            </a:p>
          </p:txBody>
        </p:sp>
        <p:cxnSp>
          <p:nvCxnSpPr>
            <p:cNvPr id="238" name="AutoShape 46"/>
            <p:cNvCxnSpPr>
              <a:cxnSpLocks noChangeShapeType="1"/>
              <a:stCxn id="226" idx="3"/>
              <a:endCxn id="219" idx="3"/>
            </p:cNvCxnSpPr>
            <p:nvPr/>
          </p:nvCxnSpPr>
          <p:spPr bwMode="auto">
            <a:xfrm rot="5400000">
              <a:off x="7593812" y="4989660"/>
              <a:ext cx="1133459" cy="361163"/>
            </a:xfrm>
            <a:prstGeom prst="bentConnector2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39" name="AutoShape 47"/>
            <p:cNvSpPr>
              <a:spLocks noChangeArrowheads="1"/>
            </p:cNvSpPr>
            <p:nvPr/>
          </p:nvSpPr>
          <p:spPr bwMode="auto">
            <a:xfrm>
              <a:off x="6053757" y="5919788"/>
              <a:ext cx="1783521" cy="292506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캠페인 </a:t>
              </a: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ROI </a:t>
              </a: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분석 기능</a:t>
              </a:r>
            </a:p>
          </p:txBody>
        </p:sp>
        <p:sp>
          <p:nvSpPr>
            <p:cNvPr id="240" name="AutoShape 48"/>
            <p:cNvSpPr>
              <a:spLocks noChangeArrowheads="1"/>
            </p:cNvSpPr>
            <p:nvPr/>
          </p:nvSpPr>
          <p:spPr bwMode="auto">
            <a:xfrm>
              <a:off x="4698281" y="5353058"/>
              <a:ext cx="927431" cy="767827"/>
            </a:xfrm>
            <a:prstGeom prst="flowChartMultidocumen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실적분석</a:t>
              </a:r>
            </a:p>
            <a:p>
              <a:pPr marL="93663" marR="0" lvl="0" indent="-93663" algn="ctr" defTabSz="914400" rtl="0" eaLnBrk="1" fontAlgn="auto" latinLnBrk="1" hangingPunct="1">
                <a:lnSpc>
                  <a:spcPct val="9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보고서</a:t>
              </a:r>
            </a:p>
          </p:txBody>
        </p:sp>
        <p:cxnSp>
          <p:nvCxnSpPr>
            <p:cNvPr id="241" name="AutoShape 49"/>
            <p:cNvCxnSpPr>
              <a:cxnSpLocks noChangeShapeType="1"/>
              <a:stCxn id="219" idx="1"/>
              <a:endCxn id="240" idx="3"/>
            </p:cNvCxnSpPr>
            <p:nvPr/>
          </p:nvCxnSpPr>
          <p:spPr bwMode="auto">
            <a:xfrm flipH="1">
              <a:off x="5625712" y="5736972"/>
              <a:ext cx="285363" cy="0"/>
            </a:xfrm>
            <a:prstGeom prst="straightConnector1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42" name="Oval 50"/>
            <p:cNvSpPr>
              <a:spLocks noChangeArrowheads="1"/>
            </p:cNvSpPr>
            <p:nvPr/>
          </p:nvSpPr>
          <p:spPr bwMode="auto">
            <a:xfrm>
              <a:off x="537226" y="3776271"/>
              <a:ext cx="236317" cy="242231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1</a:t>
              </a:r>
            </a:p>
          </p:txBody>
        </p:sp>
        <p:sp>
          <p:nvSpPr>
            <p:cNvPr id="243" name="Oval 51"/>
            <p:cNvSpPr>
              <a:spLocks noChangeArrowheads="1"/>
            </p:cNvSpPr>
            <p:nvPr/>
          </p:nvSpPr>
          <p:spPr bwMode="auto">
            <a:xfrm>
              <a:off x="3842191" y="3725996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2</a:t>
              </a:r>
            </a:p>
          </p:txBody>
        </p:sp>
        <p:sp>
          <p:nvSpPr>
            <p:cNvPr id="244" name="Text Box 52"/>
            <p:cNvSpPr txBox="1">
              <a:spLocks noChangeArrowheads="1"/>
            </p:cNvSpPr>
            <p:nvPr/>
          </p:nvSpPr>
          <p:spPr bwMode="auto">
            <a:xfrm>
              <a:off x="4056214" y="3652870"/>
              <a:ext cx="1212794" cy="531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Scheduling 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자동 또는 직접 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Target List 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추출 </a:t>
              </a:r>
            </a:p>
          </p:txBody>
        </p:sp>
        <p:sp>
          <p:nvSpPr>
            <p:cNvPr id="245" name="Text Box 53"/>
            <p:cNvSpPr txBox="1">
              <a:spLocks noChangeArrowheads="1"/>
            </p:cNvSpPr>
            <p:nvPr/>
          </p:nvSpPr>
          <p:spPr bwMode="auto">
            <a:xfrm>
              <a:off x="703195" y="5158055"/>
              <a:ext cx="1355476" cy="547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정의된 캠페인 규칙에 따른 </a:t>
              </a:r>
              <a:r>
                <a:rPr kumimoji="0" lang="en-US" altLang="ko-KR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List </a:t>
              </a:r>
              <a:r>
                <a:rPr kumimoji="0" lang="ko-KR" alt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추출 프로그램 구성</a:t>
              </a:r>
            </a:p>
          </p:txBody>
        </p:sp>
        <p:sp>
          <p:nvSpPr>
            <p:cNvPr id="246" name="Oval 54"/>
            <p:cNvSpPr>
              <a:spLocks noChangeArrowheads="1"/>
            </p:cNvSpPr>
            <p:nvPr/>
          </p:nvSpPr>
          <p:spPr bwMode="auto">
            <a:xfrm>
              <a:off x="7694596" y="2555974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3</a:t>
              </a:r>
            </a:p>
          </p:txBody>
        </p:sp>
        <p:sp>
          <p:nvSpPr>
            <p:cNvPr id="247" name="Oval 55"/>
            <p:cNvSpPr>
              <a:spLocks noChangeArrowheads="1"/>
            </p:cNvSpPr>
            <p:nvPr/>
          </p:nvSpPr>
          <p:spPr bwMode="auto">
            <a:xfrm>
              <a:off x="7328883" y="3140985"/>
              <a:ext cx="236316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5</a:t>
              </a:r>
            </a:p>
          </p:txBody>
        </p:sp>
        <p:sp>
          <p:nvSpPr>
            <p:cNvPr id="248" name="Oval 56"/>
            <p:cNvSpPr>
              <a:spLocks noChangeArrowheads="1"/>
            </p:cNvSpPr>
            <p:nvPr/>
          </p:nvSpPr>
          <p:spPr bwMode="auto">
            <a:xfrm>
              <a:off x="5625712" y="4064206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6</a:t>
              </a:r>
            </a:p>
          </p:txBody>
        </p:sp>
        <p:sp>
          <p:nvSpPr>
            <p:cNvPr id="249" name="Oval 57"/>
            <p:cNvSpPr>
              <a:spLocks noChangeArrowheads="1"/>
            </p:cNvSpPr>
            <p:nvPr/>
          </p:nvSpPr>
          <p:spPr bwMode="auto">
            <a:xfrm>
              <a:off x="8051300" y="4941722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7</a:t>
              </a:r>
            </a:p>
          </p:txBody>
        </p:sp>
        <p:sp>
          <p:nvSpPr>
            <p:cNvPr id="250" name="Oval 58"/>
            <p:cNvSpPr>
              <a:spLocks noChangeArrowheads="1"/>
            </p:cNvSpPr>
            <p:nvPr/>
          </p:nvSpPr>
          <p:spPr bwMode="auto">
            <a:xfrm>
              <a:off x="7908619" y="6139167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8</a:t>
              </a:r>
            </a:p>
          </p:txBody>
        </p:sp>
        <p:sp>
          <p:nvSpPr>
            <p:cNvPr id="251" name="Text Box 59"/>
            <p:cNvSpPr txBox="1">
              <a:spLocks noChangeArrowheads="1"/>
            </p:cNvSpPr>
            <p:nvPr/>
          </p:nvSpPr>
          <p:spPr bwMode="auto">
            <a:xfrm>
              <a:off x="8122638" y="6139167"/>
              <a:ext cx="1510881" cy="245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캠페인 실적 정보 가공</a:t>
              </a:r>
            </a:p>
          </p:txBody>
        </p:sp>
        <p:sp>
          <p:nvSpPr>
            <p:cNvPr id="252" name="Line 60"/>
            <p:cNvSpPr>
              <a:spLocks noChangeShapeType="1"/>
            </p:cNvSpPr>
            <p:nvPr/>
          </p:nvSpPr>
          <p:spPr bwMode="auto">
            <a:xfrm>
              <a:off x="7266551" y="3652870"/>
              <a:ext cx="0" cy="73126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53" name="Line 61"/>
            <p:cNvSpPr>
              <a:spLocks noChangeShapeType="1"/>
            </p:cNvSpPr>
            <p:nvPr/>
          </p:nvSpPr>
          <p:spPr bwMode="auto">
            <a:xfrm>
              <a:off x="7266551" y="4384134"/>
              <a:ext cx="784749" cy="0"/>
            </a:xfrm>
            <a:prstGeom prst="line">
              <a:avLst/>
            </a:prstGeom>
            <a:noFill/>
            <a:ln w="12700">
              <a:solidFill>
                <a:srgbClr val="808080">
                  <a:lumMod val="75000"/>
                </a:srgb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254" name="Text Box 62"/>
            <p:cNvSpPr txBox="1">
              <a:spLocks noChangeArrowheads="1"/>
            </p:cNvSpPr>
            <p:nvPr/>
          </p:nvSpPr>
          <p:spPr bwMode="auto">
            <a:xfrm>
              <a:off x="7266551" y="3799123"/>
              <a:ext cx="1212794" cy="532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800" tIns="54000" rIns="82800" bIns="54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캠페인정보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오퍼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panose="020B0604020202020204" pitchFamily="34" charset="0"/>
                </a:rPr>
                <a:t> 및 대상자 정보</a:t>
              </a:r>
            </a:p>
          </p:txBody>
        </p:sp>
        <p:sp>
          <p:nvSpPr>
            <p:cNvPr id="255" name="Oval 63"/>
            <p:cNvSpPr>
              <a:spLocks noChangeArrowheads="1"/>
            </p:cNvSpPr>
            <p:nvPr/>
          </p:nvSpPr>
          <p:spPr bwMode="auto">
            <a:xfrm>
              <a:off x="6981188" y="3872249"/>
              <a:ext cx="236317" cy="242232"/>
            </a:xfrm>
            <a:prstGeom prst="ellipse">
              <a:avLst/>
            </a:prstGeom>
            <a:solidFill>
              <a:srgbClr val="051640"/>
            </a:solidFill>
            <a:ln w="12700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4</a:t>
              </a:r>
            </a:p>
          </p:txBody>
        </p:sp>
      </p:grpSp>
      <p:grpSp>
        <p:nvGrpSpPr>
          <p:cNvPr id="95" name="그룹 9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5" name="그룹 10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33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내부 환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통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열별 사업의 특수성 고려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NH</a:t>
            </a:r>
            <a:r>
              <a:rPr lang="ko-KR" altLang="en-US" dirty="0"/>
              <a:t>농협카드는 타 카드사와 달리 </a:t>
            </a:r>
            <a:r>
              <a:rPr lang="en-US" altLang="ko-KR" dirty="0"/>
              <a:t>Dual Brand</a:t>
            </a:r>
            <a:r>
              <a:rPr lang="ko-KR" altLang="en-US" dirty="0"/>
              <a:t> 체계로서의 채움</a:t>
            </a:r>
            <a:r>
              <a:rPr lang="en-US" altLang="ko-KR" dirty="0"/>
              <a:t>/BC</a:t>
            </a:r>
            <a:r>
              <a:rPr lang="ko-KR" altLang="en-US" dirty="0"/>
              <a:t>계열 상품 특수성</a:t>
            </a:r>
            <a:r>
              <a:rPr lang="en-US" altLang="ko-KR" dirty="0"/>
              <a:t>, NH</a:t>
            </a:r>
            <a:r>
              <a:rPr lang="ko-KR" altLang="en-US" dirty="0"/>
              <a:t>농협은행</a:t>
            </a:r>
            <a:r>
              <a:rPr lang="en-US" altLang="ko-KR" dirty="0"/>
              <a:t>/</a:t>
            </a:r>
            <a:r>
              <a:rPr lang="ko-KR" altLang="en-US" dirty="0"/>
              <a:t>농축협의 모집</a:t>
            </a:r>
            <a:r>
              <a:rPr lang="en-US" altLang="ko-KR" dirty="0"/>
              <a:t>/</a:t>
            </a:r>
            <a:r>
              <a:rPr lang="ko-KR" altLang="en-US" dirty="0"/>
              <a:t>손익배분 특수성에 대한 이해가 필요함</a:t>
            </a: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523844" y="1697295"/>
            <a:ext cx="8892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6" name="TextBox 35"/>
          <p:cNvSpPr txBox="1"/>
          <p:nvPr/>
        </p:nvSpPr>
        <p:spPr bwMode="auto">
          <a:xfrm>
            <a:off x="3934020" y="1383748"/>
            <a:ext cx="207164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열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통별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 특수성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659739" y="2316372"/>
            <a:ext cx="4143404" cy="268426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659739" y="1900444"/>
            <a:ext cx="4143404" cy="41910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열별 비교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5116573" y="2316372"/>
            <a:ext cx="4143404" cy="268426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5116573" y="1900444"/>
            <a:ext cx="4143404" cy="41910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400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통별</a:t>
            </a:r>
            <a:r>
              <a:rPr lang="ko-KR" altLang="en-US" sz="1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비교</a:t>
            </a:r>
          </a:p>
        </p:txBody>
      </p:sp>
      <p:graphicFrame>
        <p:nvGraphicFramePr>
          <p:cNvPr id="46" name="차트 45"/>
          <p:cNvGraphicFramePr/>
          <p:nvPr>
            <p:extLst/>
          </p:nvPr>
        </p:nvGraphicFramePr>
        <p:xfrm>
          <a:off x="634730" y="2400741"/>
          <a:ext cx="4212000" cy="2528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7" name="차트 46"/>
          <p:cNvGraphicFramePr/>
          <p:nvPr>
            <p:extLst/>
          </p:nvPr>
        </p:nvGraphicFramePr>
        <p:xfrm>
          <a:off x="5095876" y="2400741"/>
          <a:ext cx="4212000" cy="2528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직사각형 47"/>
          <p:cNvSpPr/>
          <p:nvPr/>
        </p:nvSpPr>
        <p:spPr bwMode="auto">
          <a:xfrm>
            <a:off x="659739" y="5101946"/>
            <a:ext cx="4143600" cy="1135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움 중심의 사업으로 개편되고 있으나 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전히 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C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 및 상품 공헌도가 큼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</a:p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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BC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원장 및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비용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kumimoji="1" lang="en-US" altLang="ko-KR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BC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상품별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손익관리 지속 필요</a:t>
            </a:r>
            <a:endParaRPr kumimoji="1" lang="ko-KR" altLang="en-US" sz="13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16573" y="5101946"/>
            <a:ext cx="4143600" cy="1135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3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수는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3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농축협이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우위에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있으나 </a:t>
            </a:r>
            <a:r>
              <a:rPr kumimoji="1" lang="en-US" altLang="ko-KR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히 체크회원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중에서 </a:t>
            </a:r>
            <a:r>
              <a:rPr kumimoji="1" lang="ko-KR" altLang="en-US" sz="13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농축협이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큼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용액 기준으로는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슷한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황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</a:p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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kumimoji="1" lang="ko-KR" altLang="en-US" sz="13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농축협과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손익배분 및 원가정산</a:t>
            </a:r>
            <a:r>
              <a:rPr kumimoji="1" lang="en-US" altLang="ko-KR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위수탁 구조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개선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kumimoji="1" lang="ko-KR" altLang="en-US" sz="13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모색 </a:t>
            </a:r>
            <a:r>
              <a:rPr kumimoji="1" lang="ko-KR" altLang="en-US" sz="13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필요</a:t>
            </a:r>
            <a:endParaRPr kumimoji="1" lang="ko-KR" altLang="en-US" sz="13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C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579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개선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캠페인 실행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ead Tim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축을 위한 당일 즉시 발췌 프로세스를 고려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arget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캠페인 실행 프로세스 설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D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 체계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3" name="모서리가 둥근 직사각형 141"/>
          <p:cNvSpPr/>
          <p:nvPr/>
        </p:nvSpPr>
        <p:spPr bwMode="auto">
          <a:xfrm>
            <a:off x="344488" y="1886462"/>
            <a:ext cx="906355" cy="5270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분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모서리가 둥근 직사각형 141"/>
          <p:cNvSpPr/>
          <p:nvPr/>
        </p:nvSpPr>
        <p:spPr bwMode="auto">
          <a:xfrm>
            <a:off x="1250844" y="1886462"/>
            <a:ext cx="8310670" cy="5270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일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모서리가 둥근 직사각형 141"/>
          <p:cNvSpPr/>
          <p:nvPr/>
        </p:nvSpPr>
        <p:spPr bwMode="auto">
          <a:xfrm>
            <a:off x="344488" y="2941706"/>
            <a:ext cx="906355" cy="12428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모서리가 둥근 직사각형 141"/>
          <p:cNvSpPr/>
          <p:nvPr/>
        </p:nvSpPr>
        <p:spPr bwMode="auto">
          <a:xfrm>
            <a:off x="1250844" y="2941706"/>
            <a:ext cx="8310670" cy="124281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모서리가 둥근 직사각형 141"/>
          <p:cNvSpPr/>
          <p:nvPr/>
        </p:nvSpPr>
        <p:spPr bwMode="auto">
          <a:xfrm>
            <a:off x="344488" y="4184524"/>
            <a:ext cx="906355" cy="7015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모서리가 둥근 직사각형 141"/>
          <p:cNvSpPr/>
          <p:nvPr/>
        </p:nvSpPr>
        <p:spPr bwMode="auto">
          <a:xfrm>
            <a:off x="1250844" y="4184524"/>
            <a:ext cx="8310670" cy="7015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모서리가 둥근 직사각형 141"/>
          <p:cNvSpPr/>
          <p:nvPr/>
        </p:nvSpPr>
        <p:spPr bwMode="auto">
          <a:xfrm>
            <a:off x="344488" y="4886062"/>
            <a:ext cx="906355" cy="5270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Hub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모서리가 둥근 직사각형 141"/>
          <p:cNvSpPr/>
          <p:nvPr/>
        </p:nvSpPr>
        <p:spPr bwMode="auto">
          <a:xfrm>
            <a:off x="1250844" y="4886062"/>
            <a:ext cx="8310670" cy="5270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모서리가 둥근 직사각형 141"/>
          <p:cNvSpPr/>
          <p:nvPr/>
        </p:nvSpPr>
        <p:spPr bwMode="auto">
          <a:xfrm>
            <a:off x="344488" y="5413138"/>
            <a:ext cx="906355" cy="89618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고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모서리가 둥근 직사각형 141"/>
          <p:cNvSpPr/>
          <p:nvPr/>
        </p:nvSpPr>
        <p:spPr bwMode="auto">
          <a:xfrm>
            <a:off x="1250844" y="5413138"/>
            <a:ext cx="8310670" cy="89618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95250" indent="-9525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송 </a:t>
            </a:r>
            <a:r>
              <a:rPr lang="ko-KR" altLang="en-US" sz="10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컨텐츠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구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스크립트 등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경우 사전 준비 완료되어 있다는 가정하임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95250" indent="-9525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케터가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시스템을 활용하는 주간 시간대에 배치를 돌리므로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 부하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속도저하 우려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긴급캠페인에 한해 적용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대상 </a:t>
            </a:r>
            <a:r>
              <a:rPr lang="ko-KR" altLang="en-US" sz="10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모수의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제한 필요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(30</a:t>
            </a:r>
            <a:r>
              <a:rPr lang="ko-KR" altLang="en-US" sz="10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만명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日 예상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)</a:t>
            </a:r>
          </a:p>
          <a:p>
            <a:pPr marL="95250" indent="-9525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캠페인 시작 이전 서비스 제공은 되지 않으므로 이를 감안한 긴급 프로세스 운영 필요</a:t>
            </a: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모서리가 둥근 직사각형 141"/>
          <p:cNvSpPr/>
          <p:nvPr/>
        </p:nvSpPr>
        <p:spPr bwMode="auto">
          <a:xfrm>
            <a:off x="344488" y="2414630"/>
            <a:ext cx="906355" cy="5270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모서리가 둥근 직사각형 141"/>
          <p:cNvSpPr/>
          <p:nvPr/>
        </p:nvSpPr>
        <p:spPr bwMode="auto">
          <a:xfrm>
            <a:off x="1250844" y="2414630"/>
            <a:ext cx="8310670" cy="52707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모서리가 둥근 직사각형 141"/>
          <p:cNvSpPr/>
          <p:nvPr/>
        </p:nvSpPr>
        <p:spPr bwMode="auto">
          <a:xfrm>
            <a:off x="2648519" y="3026176"/>
            <a:ext cx="576289" cy="29752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력 적재</a:t>
            </a:r>
            <a:endParaRPr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모서리가 둥근 직사각형 141"/>
          <p:cNvSpPr/>
          <p:nvPr/>
        </p:nvSpPr>
        <p:spPr bwMode="auto">
          <a:xfrm>
            <a:off x="4592510" y="3026176"/>
            <a:ext cx="576289" cy="297521"/>
          </a:xfrm>
          <a:prstGeom prst="rect">
            <a:avLst/>
          </a:prstGeom>
          <a:solidFill>
            <a:srgbClr val="4E76DA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이력 적재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모서리가 둥근 직사각형 141"/>
          <p:cNvSpPr/>
          <p:nvPr/>
        </p:nvSpPr>
        <p:spPr bwMode="auto">
          <a:xfrm>
            <a:off x="5672855" y="3026176"/>
            <a:ext cx="576289" cy="297521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이력 적재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1356916" y="2465117"/>
            <a:ext cx="1152578" cy="297521"/>
            <a:chOff x="1356916" y="2465117"/>
            <a:chExt cx="1152578" cy="297521"/>
          </a:xfrm>
          <a:solidFill>
            <a:schemeClr val="bg1">
              <a:lumMod val="95000"/>
            </a:schemeClr>
          </a:solidFill>
        </p:grpSpPr>
        <p:sp>
          <p:nvSpPr>
            <p:cNvPr id="51" name="모서리가 둥근 직사각형 141"/>
            <p:cNvSpPr/>
            <p:nvPr/>
          </p:nvSpPr>
          <p:spPr bwMode="auto">
            <a:xfrm>
              <a:off x="1356916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상자 발췌</a:t>
              </a:r>
              <a:endParaRPr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모서리가 둥근 직사각형 141"/>
            <p:cNvSpPr/>
            <p:nvPr/>
          </p:nvSpPr>
          <p:spPr bwMode="auto">
            <a:xfrm>
              <a:off x="1933205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MS</a:t>
              </a:r>
              <a:r>
                <a:rPr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배치</a:t>
              </a:r>
              <a:endParaRPr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3368374" y="2465117"/>
            <a:ext cx="1152578" cy="297521"/>
            <a:chOff x="3368374" y="2465117"/>
            <a:chExt cx="1152578" cy="297521"/>
          </a:xfrm>
          <a:solidFill>
            <a:srgbClr val="4E76DA"/>
          </a:solidFill>
        </p:grpSpPr>
        <p:sp>
          <p:nvSpPr>
            <p:cNvPr id="53" name="모서리가 둥근 직사각형 141"/>
            <p:cNvSpPr/>
            <p:nvPr/>
          </p:nvSpPr>
          <p:spPr bwMode="auto">
            <a:xfrm>
              <a:off x="3368374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대상자 발췌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모서리가 둥근 직사각형 141"/>
            <p:cNvSpPr/>
            <p:nvPr/>
          </p:nvSpPr>
          <p:spPr bwMode="auto">
            <a:xfrm>
              <a:off x="3944663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CMS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 배치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4592510" y="2465117"/>
            <a:ext cx="1152578" cy="297521"/>
            <a:chOff x="4592510" y="2465117"/>
            <a:chExt cx="1152578" cy="297521"/>
          </a:xfrm>
          <a:solidFill>
            <a:srgbClr val="1B3A87"/>
          </a:solidFill>
        </p:grpSpPr>
        <p:sp>
          <p:nvSpPr>
            <p:cNvPr id="55" name="모서리가 둥근 직사각형 141"/>
            <p:cNvSpPr/>
            <p:nvPr/>
          </p:nvSpPr>
          <p:spPr bwMode="auto">
            <a:xfrm>
              <a:off x="4592510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대상자 발췌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모서리가 둥근 직사각형 141"/>
            <p:cNvSpPr/>
            <p:nvPr/>
          </p:nvSpPr>
          <p:spPr bwMode="auto">
            <a:xfrm>
              <a:off x="5168799" y="2465117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CMS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 배치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3" name="모서리가 둥근 직사각형 141"/>
          <p:cNvSpPr/>
          <p:nvPr/>
        </p:nvSpPr>
        <p:spPr bwMode="auto">
          <a:xfrm>
            <a:off x="3368374" y="3623465"/>
            <a:ext cx="1152578" cy="29752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서비스 제공 시작</a:t>
            </a:r>
            <a:endParaRPr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모서리가 둥근 직사각형 141"/>
          <p:cNvSpPr/>
          <p:nvPr/>
        </p:nvSpPr>
        <p:spPr bwMode="auto">
          <a:xfrm>
            <a:off x="5168799" y="3623465"/>
            <a:ext cx="1152578" cy="297521"/>
          </a:xfrm>
          <a:prstGeom prst="rect">
            <a:avLst/>
          </a:prstGeom>
          <a:solidFill>
            <a:srgbClr val="4E76DA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smtClean="0">
                <a:latin typeface="맑은 고딕" pitchFamily="50" charset="-127"/>
                <a:ea typeface="맑은 고딕" pitchFamily="50" charset="-127"/>
              </a:rPr>
              <a:t>캠페인 서비스 제공 시작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모서리가 둥근 직사각형 141"/>
          <p:cNvSpPr/>
          <p:nvPr/>
        </p:nvSpPr>
        <p:spPr bwMode="auto">
          <a:xfrm>
            <a:off x="6263605" y="3623465"/>
            <a:ext cx="1152578" cy="297521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smtClean="0">
                <a:latin typeface="맑은 고딕" pitchFamily="50" charset="-127"/>
                <a:ea typeface="맑은 고딕" pitchFamily="50" charset="-127"/>
              </a:rPr>
              <a:t>캠페인 서비스 제공 시작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모서리가 둥근 직사각형 141"/>
          <p:cNvSpPr/>
          <p:nvPr/>
        </p:nvSpPr>
        <p:spPr bwMode="auto">
          <a:xfrm>
            <a:off x="3368374" y="4248398"/>
            <a:ext cx="576289" cy="29752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보 전송</a:t>
            </a:r>
            <a:r>
              <a:rPr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재</a:t>
            </a:r>
            <a:endParaRPr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모서리가 둥근 직사각형 141"/>
          <p:cNvSpPr/>
          <p:nvPr/>
        </p:nvSpPr>
        <p:spPr bwMode="auto">
          <a:xfrm>
            <a:off x="5168799" y="4248398"/>
            <a:ext cx="576289" cy="297521"/>
          </a:xfrm>
          <a:prstGeom prst="rect">
            <a:avLst/>
          </a:prstGeom>
          <a:solidFill>
            <a:srgbClr val="4E76DA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정보 </a:t>
            </a:r>
            <a:r>
              <a:rPr lang="ko-KR" altLang="en-US" sz="800" kern="0" smtClean="0"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lang="en-US" altLang="ko-KR" sz="8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적재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모서리가 둥근 직사각형 141"/>
          <p:cNvSpPr/>
          <p:nvPr/>
        </p:nvSpPr>
        <p:spPr bwMode="auto">
          <a:xfrm>
            <a:off x="6263605" y="4248398"/>
            <a:ext cx="576289" cy="297521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정보 </a:t>
            </a:r>
            <a:r>
              <a:rPr lang="ko-KR" altLang="en-US" sz="800" kern="0" smtClean="0"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lang="en-US" altLang="ko-KR" sz="8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800" kern="0" dirty="0" smtClean="0">
                <a:latin typeface="맑은 고딕" pitchFamily="50" charset="-127"/>
                <a:ea typeface="맑은 고딕" pitchFamily="50" charset="-127"/>
              </a:rPr>
              <a:t>적재</a:t>
            </a:r>
            <a:endParaRPr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2792084" y="4931178"/>
            <a:ext cx="1152579" cy="297521"/>
            <a:chOff x="2792084" y="4931178"/>
            <a:chExt cx="1152579" cy="297521"/>
          </a:xfrm>
          <a:solidFill>
            <a:schemeClr val="bg1">
              <a:lumMod val="95000"/>
            </a:schemeClr>
          </a:solidFill>
        </p:grpSpPr>
        <p:sp>
          <p:nvSpPr>
            <p:cNvPr id="70" name="모서리가 둥근 직사각형 141"/>
            <p:cNvSpPr/>
            <p:nvPr/>
          </p:nvSpPr>
          <p:spPr bwMode="auto">
            <a:xfrm>
              <a:off x="3368374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발송</a:t>
              </a:r>
              <a:endParaRPr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모서리가 둥근 직사각형 141"/>
            <p:cNvSpPr/>
            <p:nvPr/>
          </p:nvSpPr>
          <p:spPr bwMode="auto">
            <a:xfrm>
              <a:off x="2792084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File </a:t>
              </a:r>
              <a:r>
                <a:rPr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송</a:t>
              </a:r>
              <a:endParaRPr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4592510" y="4931178"/>
            <a:ext cx="1152578" cy="297521"/>
            <a:chOff x="4592510" y="4931178"/>
            <a:chExt cx="1152578" cy="297521"/>
          </a:xfrm>
          <a:solidFill>
            <a:srgbClr val="4E76DA"/>
          </a:solidFill>
        </p:grpSpPr>
        <p:sp>
          <p:nvSpPr>
            <p:cNvPr id="72" name="모서리가 둥근 직사각형 141"/>
            <p:cNvSpPr/>
            <p:nvPr/>
          </p:nvSpPr>
          <p:spPr bwMode="auto">
            <a:xfrm>
              <a:off x="5168799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발송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모서리가 둥근 직사각형 141"/>
            <p:cNvSpPr/>
            <p:nvPr/>
          </p:nvSpPr>
          <p:spPr bwMode="auto">
            <a:xfrm>
              <a:off x="4592510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File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전송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5783108" y="4931178"/>
            <a:ext cx="1152579" cy="297521"/>
            <a:chOff x="5783108" y="4931178"/>
            <a:chExt cx="1152579" cy="297521"/>
          </a:xfrm>
          <a:solidFill>
            <a:srgbClr val="1B3A87"/>
          </a:solidFill>
        </p:grpSpPr>
        <p:sp>
          <p:nvSpPr>
            <p:cNvPr id="74" name="모서리가 둥근 직사각형 141"/>
            <p:cNvSpPr/>
            <p:nvPr/>
          </p:nvSpPr>
          <p:spPr bwMode="auto">
            <a:xfrm>
              <a:off x="6359398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발송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모서리가 둥근 직사각형 141"/>
            <p:cNvSpPr/>
            <p:nvPr/>
          </p:nvSpPr>
          <p:spPr bwMode="auto">
            <a:xfrm>
              <a:off x="5783108" y="4931178"/>
              <a:ext cx="576289" cy="297521"/>
            </a:xfrm>
            <a:prstGeom prst="rect">
              <a:avLst/>
            </a:prstGeom>
            <a:grpFill/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headEnd/>
              <a:tailEnd/>
            </a:ln>
            <a:effectLst/>
          </p:spPr>
          <p:txBody>
            <a:bodyPr wrap="square" lIns="36000" rIns="36000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File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전송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6" name="모서리가 둥근 직사각형 141"/>
          <p:cNvSpPr/>
          <p:nvPr/>
        </p:nvSpPr>
        <p:spPr bwMode="auto">
          <a:xfrm>
            <a:off x="2240650" y="2786149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모서리가 둥근 직사각형 141"/>
          <p:cNvSpPr/>
          <p:nvPr/>
        </p:nvSpPr>
        <p:spPr bwMode="auto">
          <a:xfrm>
            <a:off x="4252108" y="2786149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모서리가 둥근 직사각형 141"/>
          <p:cNvSpPr/>
          <p:nvPr/>
        </p:nvSpPr>
        <p:spPr bwMode="auto">
          <a:xfrm>
            <a:off x="5476244" y="2786149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모서리가 둥근 직사각형 141"/>
          <p:cNvSpPr/>
          <p:nvPr/>
        </p:nvSpPr>
        <p:spPr bwMode="auto">
          <a:xfrm>
            <a:off x="2955964" y="3349513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모서리가 둥근 직사각형 141"/>
          <p:cNvSpPr/>
          <p:nvPr/>
        </p:nvSpPr>
        <p:spPr bwMode="auto">
          <a:xfrm>
            <a:off x="4899955" y="3349513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모서리가 둥근 직사각형 141"/>
          <p:cNvSpPr/>
          <p:nvPr/>
        </p:nvSpPr>
        <p:spPr bwMode="auto">
          <a:xfrm>
            <a:off x="5980300" y="3349513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모서리가 둥근 직사각형 141"/>
          <p:cNvSpPr/>
          <p:nvPr/>
        </p:nvSpPr>
        <p:spPr bwMode="auto">
          <a:xfrm>
            <a:off x="4899955" y="524745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모서리가 둥근 직사각형 141"/>
          <p:cNvSpPr/>
          <p:nvPr/>
        </p:nvSpPr>
        <p:spPr bwMode="auto">
          <a:xfrm>
            <a:off x="6090553" y="524745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모서리가 둥근 직사각형 141"/>
          <p:cNvSpPr/>
          <p:nvPr/>
        </p:nvSpPr>
        <p:spPr bwMode="auto">
          <a:xfrm>
            <a:off x="3099529" y="524745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H)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순서도: 병합 15"/>
          <p:cNvSpPr/>
          <p:nvPr/>
        </p:nvSpPr>
        <p:spPr bwMode="auto">
          <a:xfrm>
            <a:off x="1865995" y="2287407"/>
            <a:ext cx="134421" cy="101605"/>
          </a:xfrm>
          <a:prstGeom prst="flowChartMerge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순서도: 병합 85"/>
          <p:cNvSpPr/>
          <p:nvPr/>
        </p:nvSpPr>
        <p:spPr bwMode="auto">
          <a:xfrm>
            <a:off x="3877452" y="2287407"/>
            <a:ext cx="134421" cy="101605"/>
          </a:xfrm>
          <a:prstGeom prst="flowChartMerge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순서도: 병합 86"/>
          <p:cNvSpPr/>
          <p:nvPr/>
        </p:nvSpPr>
        <p:spPr bwMode="auto">
          <a:xfrm>
            <a:off x="3301162" y="2287407"/>
            <a:ext cx="134421" cy="101605"/>
          </a:xfrm>
          <a:prstGeom prst="flowChartMerge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순서도: 병합 87"/>
          <p:cNvSpPr/>
          <p:nvPr/>
        </p:nvSpPr>
        <p:spPr bwMode="auto">
          <a:xfrm>
            <a:off x="5101589" y="2287407"/>
            <a:ext cx="134421" cy="101605"/>
          </a:xfrm>
          <a:prstGeom prst="flowChartMerge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순서도: 병합 88"/>
          <p:cNvSpPr/>
          <p:nvPr/>
        </p:nvSpPr>
        <p:spPr bwMode="auto">
          <a:xfrm>
            <a:off x="6129184" y="2287407"/>
            <a:ext cx="134421" cy="101605"/>
          </a:xfrm>
          <a:prstGeom prst="flowChartMerge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모서리가 둥근 직사각형 141"/>
          <p:cNvSpPr/>
          <p:nvPr/>
        </p:nvSpPr>
        <p:spPr bwMode="auto">
          <a:xfrm>
            <a:off x="1811483" y="213807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모서리가 둥근 직사각형 141"/>
          <p:cNvSpPr/>
          <p:nvPr/>
        </p:nvSpPr>
        <p:spPr bwMode="auto">
          <a:xfrm>
            <a:off x="3244024" y="213807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모서리가 둥근 직사각형 141"/>
          <p:cNvSpPr/>
          <p:nvPr/>
        </p:nvSpPr>
        <p:spPr bwMode="auto">
          <a:xfrm>
            <a:off x="3810240" y="213807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모서리가 둥근 직사각형 141"/>
          <p:cNvSpPr/>
          <p:nvPr/>
        </p:nvSpPr>
        <p:spPr bwMode="auto">
          <a:xfrm>
            <a:off x="5034377" y="213807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모서리가 둥근 직사각형 141"/>
          <p:cNvSpPr/>
          <p:nvPr/>
        </p:nvSpPr>
        <p:spPr bwMode="auto">
          <a:xfrm>
            <a:off x="6061972" y="2138077"/>
            <a:ext cx="268844" cy="13879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7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7</a:t>
            </a:r>
            <a:endParaRPr lang="ko-KR" altLang="en-US" sz="7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6" name="그룹 11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1796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 중심의 캠페인 관리 시스템 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CMS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 요건을 정의함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캠페인 관리 시스템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CMS)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능 목록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91" name="Rectangle 5"/>
          <p:cNvSpPr>
            <a:spLocks noChangeArrowheads="1"/>
          </p:cNvSpPr>
          <p:nvPr/>
        </p:nvSpPr>
        <p:spPr bwMode="auto">
          <a:xfrm>
            <a:off x="2302296" y="2658316"/>
            <a:ext cx="1671061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 관리</a:t>
            </a:r>
          </a:p>
        </p:txBody>
      </p:sp>
      <p:sp>
        <p:nvSpPr>
          <p:cNvPr id="92" name="Rectangle 6"/>
          <p:cNvSpPr>
            <a:spLocks noChangeArrowheads="1"/>
          </p:cNvSpPr>
          <p:nvPr/>
        </p:nvSpPr>
        <p:spPr bwMode="auto">
          <a:xfrm>
            <a:off x="2302296" y="2973232"/>
            <a:ext cx="1671061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 생성</a:t>
            </a:r>
          </a:p>
        </p:txBody>
      </p:sp>
      <p:sp>
        <p:nvSpPr>
          <p:cNvPr id="93" name="Rectangle 7"/>
          <p:cNvSpPr>
            <a:spLocks noChangeArrowheads="1"/>
          </p:cNvSpPr>
          <p:nvPr/>
        </p:nvSpPr>
        <p:spPr bwMode="auto">
          <a:xfrm>
            <a:off x="2302296" y="3288147"/>
            <a:ext cx="1671061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 세분화</a:t>
            </a:r>
          </a:p>
        </p:txBody>
      </p:sp>
      <p:sp>
        <p:nvSpPr>
          <p:cNvPr id="94" name="Rectangle 8"/>
          <p:cNvSpPr>
            <a:spLocks noChangeArrowheads="1"/>
          </p:cNvSpPr>
          <p:nvPr/>
        </p:nvSpPr>
        <p:spPr bwMode="auto">
          <a:xfrm>
            <a:off x="2302296" y="3603062"/>
            <a:ext cx="1671061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 목록조회</a:t>
            </a:r>
          </a:p>
        </p:txBody>
      </p:sp>
      <p:sp>
        <p:nvSpPr>
          <p:cNvPr id="95" name="Rectangle 9"/>
          <p:cNvSpPr>
            <a:spLocks noChangeArrowheads="1"/>
          </p:cNvSpPr>
          <p:nvPr/>
        </p:nvSpPr>
        <p:spPr bwMode="auto">
          <a:xfrm>
            <a:off x="2302296" y="3917978"/>
            <a:ext cx="1671061" cy="25984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 스케줄 관리</a:t>
            </a:r>
          </a:p>
        </p:txBody>
      </p:sp>
      <p:sp>
        <p:nvSpPr>
          <p:cNvPr id="96" name="Rectangle 10"/>
          <p:cNvSpPr>
            <a:spLocks noChangeArrowheads="1"/>
          </p:cNvSpPr>
          <p:nvPr/>
        </p:nvSpPr>
        <p:spPr bwMode="auto">
          <a:xfrm>
            <a:off x="440164" y="2658316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회원정보 로드</a:t>
            </a:r>
          </a:p>
        </p:txBody>
      </p:sp>
      <p:sp>
        <p:nvSpPr>
          <p:cNvPr id="97" name="Rectangle 11"/>
          <p:cNvSpPr>
            <a:spLocks noChangeArrowheads="1"/>
          </p:cNvSpPr>
          <p:nvPr/>
        </p:nvSpPr>
        <p:spPr bwMode="auto">
          <a:xfrm>
            <a:off x="440164" y="2953380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정보 로드</a:t>
            </a:r>
          </a:p>
        </p:txBody>
      </p:sp>
      <p:sp>
        <p:nvSpPr>
          <p:cNvPr id="98" name="Rectangle 12"/>
          <p:cNvSpPr>
            <a:spLocks noChangeArrowheads="1"/>
          </p:cNvSpPr>
          <p:nvPr/>
        </p:nvSpPr>
        <p:spPr bwMode="auto">
          <a:xfrm>
            <a:off x="440164" y="3259147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VIP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회원정보 로드</a:t>
            </a:r>
          </a:p>
        </p:txBody>
      </p:sp>
      <p:sp>
        <p:nvSpPr>
          <p:cNvPr id="103" name="Rectangle 13"/>
          <p:cNvSpPr>
            <a:spLocks noChangeArrowheads="1"/>
          </p:cNvSpPr>
          <p:nvPr/>
        </p:nvSpPr>
        <p:spPr bwMode="auto">
          <a:xfrm>
            <a:off x="440164" y="3566443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법인사업자정보 로드</a:t>
            </a:r>
          </a:p>
        </p:txBody>
      </p:sp>
      <p:sp>
        <p:nvSpPr>
          <p:cNvPr id="104" name="Rectangle 14"/>
          <p:cNvSpPr>
            <a:spLocks noChangeArrowheads="1"/>
          </p:cNvSpPr>
          <p:nvPr/>
        </p:nvSpPr>
        <p:spPr bwMode="auto">
          <a:xfrm>
            <a:off x="440164" y="3872209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카드정보 로드</a:t>
            </a:r>
          </a:p>
        </p:txBody>
      </p:sp>
      <p:sp>
        <p:nvSpPr>
          <p:cNvPr id="105" name="Rectangle 15"/>
          <p:cNvSpPr>
            <a:spLocks noChangeArrowheads="1"/>
          </p:cNvSpPr>
          <p:nvPr/>
        </p:nvSpPr>
        <p:spPr bwMode="auto">
          <a:xfrm>
            <a:off x="440164" y="4177975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회원기념일정보 로드</a:t>
            </a:r>
          </a:p>
        </p:txBody>
      </p:sp>
      <p:sp>
        <p:nvSpPr>
          <p:cNvPr id="106" name="Rectangle 16"/>
          <p:cNvSpPr>
            <a:spLocks noChangeArrowheads="1"/>
          </p:cNvSpPr>
          <p:nvPr/>
        </p:nvSpPr>
        <p:spPr bwMode="auto">
          <a:xfrm>
            <a:off x="440164" y="4483742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CRM Filtering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정보 로드</a:t>
            </a:r>
          </a:p>
        </p:txBody>
      </p:sp>
      <p:sp>
        <p:nvSpPr>
          <p:cNvPr id="107" name="Rectangle 17"/>
          <p:cNvSpPr>
            <a:spLocks noChangeArrowheads="1"/>
          </p:cNvSpPr>
          <p:nvPr/>
        </p:nvSpPr>
        <p:spPr bwMode="auto">
          <a:xfrm>
            <a:off x="440164" y="4791037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Credit Filtering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정보 로드</a:t>
            </a:r>
          </a:p>
        </p:txBody>
      </p:sp>
      <p:sp>
        <p:nvSpPr>
          <p:cNvPr id="108" name="Rectangle 18"/>
          <p:cNvSpPr>
            <a:spLocks noChangeArrowheads="1"/>
          </p:cNvSpPr>
          <p:nvPr/>
        </p:nvSpPr>
        <p:spPr bwMode="auto">
          <a:xfrm>
            <a:off x="440164" y="5096803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 </a:t>
            </a: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일정보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로드</a:t>
            </a:r>
          </a:p>
        </p:txBody>
      </p:sp>
      <p:sp>
        <p:nvSpPr>
          <p:cNvPr id="109" name="Rectangle 19"/>
          <p:cNvSpPr>
            <a:spLocks noChangeArrowheads="1"/>
          </p:cNvSpPr>
          <p:nvPr/>
        </p:nvSpPr>
        <p:spPr bwMode="auto">
          <a:xfrm>
            <a:off x="440164" y="5402570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매출정보 로드</a:t>
            </a:r>
          </a:p>
        </p:txBody>
      </p:sp>
      <p:sp>
        <p:nvSpPr>
          <p:cNvPr id="110" name="Rectangle 21"/>
          <p:cNvSpPr>
            <a:spLocks noChangeArrowheads="1"/>
          </p:cNvSpPr>
          <p:nvPr/>
        </p:nvSpPr>
        <p:spPr bwMode="auto">
          <a:xfrm>
            <a:off x="440164" y="5718344"/>
            <a:ext cx="1705065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컨텐츠 생성</a:t>
            </a:r>
          </a:p>
        </p:txBody>
      </p:sp>
      <p:sp>
        <p:nvSpPr>
          <p:cNvPr id="111" name="Rectangle 22"/>
          <p:cNvSpPr>
            <a:spLocks noChangeArrowheads="1"/>
          </p:cNvSpPr>
          <p:nvPr/>
        </p:nvSpPr>
        <p:spPr bwMode="auto">
          <a:xfrm>
            <a:off x="2315250" y="4737528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진행분석</a:t>
            </a:r>
          </a:p>
        </p:txBody>
      </p:sp>
      <p:sp>
        <p:nvSpPr>
          <p:cNvPr id="112" name="Rectangle 23"/>
          <p:cNvSpPr>
            <a:spLocks noChangeArrowheads="1"/>
          </p:cNvSpPr>
          <p:nvPr/>
        </p:nvSpPr>
        <p:spPr bwMode="auto">
          <a:xfrm>
            <a:off x="2315250" y="5040237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반응도 분석</a:t>
            </a:r>
          </a:p>
        </p:txBody>
      </p:sp>
      <p:sp>
        <p:nvSpPr>
          <p:cNvPr id="113" name="Rectangle 24"/>
          <p:cNvSpPr>
            <a:spLocks noChangeArrowheads="1"/>
          </p:cNvSpPr>
          <p:nvPr/>
        </p:nvSpPr>
        <p:spPr bwMode="auto">
          <a:xfrm>
            <a:off x="2315250" y="5344474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ROI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분석</a:t>
            </a:r>
          </a:p>
        </p:txBody>
      </p:sp>
      <p:sp>
        <p:nvSpPr>
          <p:cNvPr id="114" name="Rectangle 25"/>
          <p:cNvSpPr>
            <a:spLocks noChangeArrowheads="1"/>
          </p:cNvSpPr>
          <p:nvPr/>
        </p:nvSpPr>
        <p:spPr bwMode="auto">
          <a:xfrm>
            <a:off x="2315250" y="5648712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효과분석</a:t>
            </a:r>
          </a:p>
        </p:txBody>
      </p:sp>
      <p:sp>
        <p:nvSpPr>
          <p:cNvPr id="115" name="Rectangle 26"/>
          <p:cNvSpPr>
            <a:spLocks noChangeArrowheads="1"/>
          </p:cNvSpPr>
          <p:nvPr/>
        </p:nvSpPr>
        <p:spPr bwMode="auto">
          <a:xfrm>
            <a:off x="4136900" y="2658316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기본정보 관리</a:t>
            </a:r>
          </a:p>
        </p:txBody>
      </p:sp>
      <p:sp>
        <p:nvSpPr>
          <p:cNvPr id="116" name="Rectangle 27"/>
          <p:cNvSpPr>
            <a:spLocks noChangeArrowheads="1"/>
          </p:cNvSpPr>
          <p:nvPr/>
        </p:nvSpPr>
        <p:spPr bwMode="auto">
          <a:xfrm>
            <a:off x="4136900" y="2935034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</a:t>
            </a: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세그정보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관리</a:t>
            </a:r>
          </a:p>
        </p:txBody>
      </p:sp>
      <p:sp>
        <p:nvSpPr>
          <p:cNvPr id="117" name="Rectangle 28"/>
          <p:cNvSpPr>
            <a:spLocks noChangeArrowheads="1"/>
          </p:cNvSpPr>
          <p:nvPr/>
        </p:nvSpPr>
        <p:spPr bwMode="auto">
          <a:xfrm>
            <a:off x="4136900" y="3849276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</a:t>
            </a: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오퍼정보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설정</a:t>
            </a:r>
          </a:p>
        </p:txBody>
      </p:sp>
      <p:sp>
        <p:nvSpPr>
          <p:cNvPr id="118" name="Rectangle 29"/>
          <p:cNvSpPr>
            <a:spLocks noChangeArrowheads="1"/>
          </p:cNvSpPr>
          <p:nvPr/>
        </p:nvSpPr>
        <p:spPr bwMode="auto">
          <a:xfrm>
            <a:off x="4136900" y="4153514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스크립트 설정</a:t>
            </a:r>
          </a:p>
        </p:txBody>
      </p:sp>
      <p:sp>
        <p:nvSpPr>
          <p:cNvPr id="119" name="Rectangle 30"/>
          <p:cNvSpPr>
            <a:spLocks noChangeArrowheads="1"/>
          </p:cNvSpPr>
          <p:nvPr/>
        </p:nvSpPr>
        <p:spPr bwMode="auto">
          <a:xfrm>
            <a:off x="4136900" y="4457751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채널별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템플릿 설정</a:t>
            </a:r>
          </a:p>
        </p:txBody>
      </p:sp>
      <p:sp>
        <p:nvSpPr>
          <p:cNvPr id="120" name="Rectangle 31"/>
          <p:cNvSpPr>
            <a:spLocks noChangeArrowheads="1"/>
          </p:cNvSpPr>
          <p:nvPr/>
        </p:nvSpPr>
        <p:spPr bwMode="auto">
          <a:xfrm>
            <a:off x="4136900" y="5067756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승인요청 관리</a:t>
            </a:r>
          </a:p>
        </p:txBody>
      </p:sp>
      <p:sp>
        <p:nvSpPr>
          <p:cNvPr id="121" name="Rectangle 32"/>
          <p:cNvSpPr>
            <a:spLocks noChangeArrowheads="1"/>
          </p:cNvSpPr>
          <p:nvPr/>
        </p:nvSpPr>
        <p:spPr bwMode="auto">
          <a:xfrm>
            <a:off x="4136900" y="5371993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</a:t>
            </a: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스케쥴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관리</a:t>
            </a:r>
          </a:p>
        </p:txBody>
      </p:sp>
      <p:sp>
        <p:nvSpPr>
          <p:cNvPr id="122" name="Rectangle 33"/>
          <p:cNvSpPr>
            <a:spLocks noChangeArrowheads="1"/>
          </p:cNvSpPr>
          <p:nvPr/>
        </p:nvSpPr>
        <p:spPr bwMode="auto">
          <a:xfrm>
            <a:off x="4136900" y="5676231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컨텐츠 생성</a:t>
            </a:r>
          </a:p>
        </p:txBody>
      </p:sp>
      <p:sp>
        <p:nvSpPr>
          <p:cNvPr id="123" name="Rectangle 34"/>
          <p:cNvSpPr>
            <a:spLocks noChangeArrowheads="1"/>
          </p:cNvSpPr>
          <p:nvPr/>
        </p:nvSpPr>
        <p:spPr bwMode="auto">
          <a:xfrm>
            <a:off x="4136900" y="5981997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모니터링</a:t>
            </a:r>
          </a:p>
        </p:txBody>
      </p:sp>
      <p:sp>
        <p:nvSpPr>
          <p:cNvPr id="124" name="Rectangle 35"/>
          <p:cNvSpPr>
            <a:spLocks noChangeArrowheads="1"/>
          </p:cNvSpPr>
          <p:nvPr/>
        </p:nvSpPr>
        <p:spPr bwMode="auto">
          <a:xfrm>
            <a:off x="4136900" y="3543510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프로모션상품정보 설정</a:t>
            </a:r>
          </a:p>
        </p:txBody>
      </p:sp>
      <p:sp>
        <p:nvSpPr>
          <p:cNvPr id="125" name="Rectangle 36"/>
          <p:cNvSpPr>
            <a:spLocks noChangeArrowheads="1"/>
          </p:cNvSpPr>
          <p:nvPr/>
        </p:nvSpPr>
        <p:spPr bwMode="auto">
          <a:xfrm>
            <a:off x="4136900" y="4761989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채널별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설문지 연결</a:t>
            </a:r>
          </a:p>
        </p:txBody>
      </p:sp>
      <p:sp>
        <p:nvSpPr>
          <p:cNvPr id="126" name="Rectangle 37"/>
          <p:cNvSpPr>
            <a:spLocks noChangeArrowheads="1"/>
          </p:cNvSpPr>
          <p:nvPr/>
        </p:nvSpPr>
        <p:spPr bwMode="auto">
          <a:xfrm>
            <a:off x="4136900" y="3239272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채널 설계</a:t>
            </a:r>
          </a:p>
        </p:txBody>
      </p:sp>
      <p:sp>
        <p:nvSpPr>
          <p:cNvPr id="127" name="Rectangle 38"/>
          <p:cNvSpPr>
            <a:spLocks noChangeArrowheads="1"/>
          </p:cNvSpPr>
          <p:nvPr/>
        </p:nvSpPr>
        <p:spPr bwMode="auto">
          <a:xfrm>
            <a:off x="5956932" y="2961025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고객 상담관리</a:t>
            </a:r>
          </a:p>
        </p:txBody>
      </p:sp>
      <p:sp>
        <p:nvSpPr>
          <p:cNvPr id="128" name="Rectangle 39"/>
          <p:cNvSpPr>
            <a:spLocks noChangeArrowheads="1"/>
          </p:cNvSpPr>
          <p:nvPr/>
        </p:nvSpPr>
        <p:spPr bwMode="auto">
          <a:xfrm>
            <a:off x="5956932" y="3263734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불만정보 접수</a:t>
            </a:r>
          </a:p>
        </p:txBody>
      </p:sp>
      <p:sp>
        <p:nvSpPr>
          <p:cNvPr id="129" name="Rectangle 40"/>
          <p:cNvSpPr>
            <a:spLocks noChangeArrowheads="1"/>
          </p:cNvSpPr>
          <p:nvPr/>
        </p:nvSpPr>
        <p:spPr bwMode="auto">
          <a:xfrm>
            <a:off x="5956932" y="3560327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정보 조회</a:t>
            </a:r>
          </a:p>
        </p:txBody>
      </p:sp>
      <p:sp>
        <p:nvSpPr>
          <p:cNvPr id="130" name="Rectangle 41"/>
          <p:cNvSpPr>
            <a:spLocks noChangeArrowheads="1"/>
          </p:cNvSpPr>
          <p:nvPr/>
        </p:nvSpPr>
        <p:spPr bwMode="auto">
          <a:xfrm>
            <a:off x="5956932" y="3863036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실적추이 정보</a:t>
            </a:r>
          </a:p>
        </p:txBody>
      </p:sp>
      <p:sp>
        <p:nvSpPr>
          <p:cNvPr id="131" name="Rectangle 42"/>
          <p:cNvSpPr>
            <a:spLocks noChangeArrowheads="1"/>
          </p:cNvSpPr>
          <p:nvPr/>
        </p:nvSpPr>
        <p:spPr bwMode="auto">
          <a:xfrm>
            <a:off x="5956932" y="4156572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활동정보</a:t>
            </a:r>
          </a:p>
        </p:txBody>
      </p:sp>
      <p:sp>
        <p:nvSpPr>
          <p:cNvPr id="132" name="Rectangle 43"/>
          <p:cNvSpPr>
            <a:spLocks noChangeArrowheads="1"/>
          </p:cNvSpPr>
          <p:nvPr/>
        </p:nvSpPr>
        <p:spPr bwMode="auto">
          <a:xfrm>
            <a:off x="5956932" y="4468454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관련고객정보</a:t>
            </a:r>
          </a:p>
        </p:txBody>
      </p:sp>
      <p:sp>
        <p:nvSpPr>
          <p:cNvPr id="133" name="Rectangle 44"/>
          <p:cNvSpPr>
            <a:spLocks noChangeArrowheads="1"/>
          </p:cNvSpPr>
          <p:nvPr/>
        </p:nvSpPr>
        <p:spPr bwMode="auto">
          <a:xfrm>
            <a:off x="5956932" y="4789508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결과</a:t>
            </a:r>
          </a:p>
        </p:txBody>
      </p:sp>
      <p:sp>
        <p:nvSpPr>
          <p:cNvPr id="134" name="Rectangle 45"/>
          <p:cNvSpPr>
            <a:spLocks noChangeArrowheads="1"/>
          </p:cNvSpPr>
          <p:nvPr/>
        </p:nvSpPr>
        <p:spPr bwMode="auto">
          <a:xfrm>
            <a:off x="5956932" y="5110563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오퍼반응정보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sp>
        <p:nvSpPr>
          <p:cNvPr id="135" name="Rectangle 46"/>
          <p:cNvSpPr>
            <a:spLocks noChangeArrowheads="1"/>
          </p:cNvSpPr>
          <p:nvPr/>
        </p:nvSpPr>
        <p:spPr bwMode="auto">
          <a:xfrm>
            <a:off x="5956932" y="5442319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프로모션 상품조회</a:t>
            </a:r>
          </a:p>
        </p:txBody>
      </p:sp>
      <p:sp>
        <p:nvSpPr>
          <p:cNvPr id="136" name="Rectangle 47"/>
          <p:cNvSpPr>
            <a:spLocks noChangeArrowheads="1"/>
          </p:cNvSpPr>
          <p:nvPr/>
        </p:nvSpPr>
        <p:spPr bwMode="auto">
          <a:xfrm>
            <a:off x="5956932" y="2658316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</a:t>
            </a: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그룹핑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sp>
        <p:nvSpPr>
          <p:cNvPr id="137" name="Rectangle 48"/>
          <p:cNvSpPr>
            <a:spLocks noChangeArrowheads="1"/>
          </p:cNvSpPr>
          <p:nvPr/>
        </p:nvSpPr>
        <p:spPr bwMode="auto">
          <a:xfrm>
            <a:off x="7791537" y="2658316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스크립트 관리</a:t>
            </a:r>
          </a:p>
        </p:txBody>
      </p:sp>
      <p:sp>
        <p:nvSpPr>
          <p:cNvPr id="138" name="Rectangle 49"/>
          <p:cNvSpPr>
            <a:spLocks noChangeArrowheads="1"/>
          </p:cNvSpPr>
          <p:nvPr/>
        </p:nvSpPr>
        <p:spPr bwMode="auto">
          <a:xfrm>
            <a:off x="7791537" y="2957967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이메일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템플릿 관리</a:t>
            </a:r>
          </a:p>
        </p:txBody>
      </p:sp>
      <p:sp>
        <p:nvSpPr>
          <p:cNvPr id="139" name="Rectangle 50"/>
          <p:cNvSpPr>
            <a:spLocks noChangeArrowheads="1"/>
          </p:cNvSpPr>
          <p:nvPr/>
        </p:nvSpPr>
        <p:spPr bwMode="auto">
          <a:xfrm>
            <a:off x="7791537" y="3260676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SMS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템플릿 관리</a:t>
            </a:r>
          </a:p>
        </p:txBody>
      </p:sp>
      <p:sp>
        <p:nvSpPr>
          <p:cNvPr id="140" name="Rectangle 51"/>
          <p:cNvSpPr>
            <a:spLocks noChangeArrowheads="1"/>
          </p:cNvSpPr>
          <p:nvPr/>
        </p:nvSpPr>
        <p:spPr bwMode="auto">
          <a:xfrm>
            <a:off x="7791537" y="3564913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DM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템플릿 관리</a:t>
            </a:r>
          </a:p>
        </p:txBody>
      </p:sp>
      <p:sp>
        <p:nvSpPr>
          <p:cNvPr id="141" name="Rectangle 52"/>
          <p:cNvSpPr>
            <a:spLocks noChangeArrowheads="1"/>
          </p:cNvSpPr>
          <p:nvPr/>
        </p:nvSpPr>
        <p:spPr bwMode="auto">
          <a:xfrm>
            <a:off x="7791537" y="3867622"/>
            <a:ext cx="1646772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설문지 템플릿 관리</a:t>
            </a:r>
          </a:p>
        </p:txBody>
      </p:sp>
      <p:sp>
        <p:nvSpPr>
          <p:cNvPr id="142" name="Rectangle 53"/>
          <p:cNvSpPr>
            <a:spLocks noChangeArrowheads="1"/>
          </p:cNvSpPr>
          <p:nvPr/>
        </p:nvSpPr>
        <p:spPr bwMode="auto">
          <a:xfrm>
            <a:off x="7793156" y="4171860"/>
            <a:ext cx="1646773" cy="25531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ctr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F5F5F"/>
              </a:buClr>
              <a:buSzPct val="90000"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컨텐츠 발송관리</a:t>
            </a:r>
          </a:p>
        </p:txBody>
      </p:sp>
      <p:sp>
        <p:nvSpPr>
          <p:cNvPr id="143" name="Rectangle 4"/>
          <p:cNvSpPr>
            <a:spLocks noChangeArrowheads="1"/>
          </p:cNvSpPr>
          <p:nvPr/>
        </p:nvSpPr>
        <p:spPr bwMode="ltGray">
          <a:xfrm>
            <a:off x="435306" y="1916832"/>
            <a:ext cx="9035388" cy="276719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관리 시스템</a:t>
            </a:r>
          </a:p>
        </p:txBody>
      </p:sp>
      <p:sp>
        <p:nvSpPr>
          <p:cNvPr id="144" name="Rectangle 56"/>
          <p:cNvSpPr>
            <a:spLocks noChangeArrowheads="1"/>
          </p:cNvSpPr>
          <p:nvPr/>
        </p:nvSpPr>
        <p:spPr bwMode="ltGray">
          <a:xfrm>
            <a:off x="435306" y="228069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배치</a:t>
            </a:r>
            <a:r>
              <a:rPr kumimoji="0" lang="en-US" altLang="ko-KR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-EFL</a:t>
            </a:r>
          </a:p>
        </p:txBody>
      </p:sp>
      <p:sp>
        <p:nvSpPr>
          <p:cNvPr id="145" name="Rectangle 57"/>
          <p:cNvSpPr>
            <a:spLocks noChangeArrowheads="1"/>
          </p:cNvSpPr>
          <p:nvPr/>
        </p:nvSpPr>
        <p:spPr bwMode="ltGray">
          <a:xfrm>
            <a:off x="2271530" y="228069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그룹관리</a:t>
            </a:r>
          </a:p>
        </p:txBody>
      </p:sp>
      <p:sp>
        <p:nvSpPr>
          <p:cNvPr id="146" name="Rectangle 58"/>
          <p:cNvSpPr>
            <a:spLocks noChangeArrowheads="1"/>
          </p:cNvSpPr>
          <p:nvPr/>
        </p:nvSpPr>
        <p:spPr bwMode="ltGray">
          <a:xfrm>
            <a:off x="7780202" y="228069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채널지원도구</a:t>
            </a:r>
          </a:p>
        </p:txBody>
      </p:sp>
      <p:sp>
        <p:nvSpPr>
          <p:cNvPr id="147" name="Rectangle 59"/>
          <p:cNvSpPr>
            <a:spLocks noChangeArrowheads="1"/>
          </p:cNvSpPr>
          <p:nvPr/>
        </p:nvSpPr>
        <p:spPr bwMode="ltGray">
          <a:xfrm>
            <a:off x="4107754" y="228069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기획 및 설계</a:t>
            </a:r>
          </a:p>
        </p:txBody>
      </p:sp>
      <p:sp>
        <p:nvSpPr>
          <p:cNvPr id="148" name="Rectangle 60"/>
          <p:cNvSpPr>
            <a:spLocks noChangeArrowheads="1"/>
          </p:cNvSpPr>
          <p:nvPr/>
        </p:nvSpPr>
        <p:spPr bwMode="ltGray">
          <a:xfrm>
            <a:off x="5943978" y="228069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실행</a:t>
            </a:r>
          </a:p>
        </p:txBody>
      </p:sp>
      <p:sp>
        <p:nvSpPr>
          <p:cNvPr id="149" name="Rectangle 61"/>
          <p:cNvSpPr>
            <a:spLocks noChangeArrowheads="1"/>
          </p:cNvSpPr>
          <p:nvPr/>
        </p:nvSpPr>
        <p:spPr bwMode="ltGray">
          <a:xfrm>
            <a:off x="2271530" y="4376724"/>
            <a:ext cx="1690492" cy="27824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808080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 anchorCtr="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분석 및 평가관리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5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5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5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6" name="그룹 15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5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4753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캠페인의 재무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 재무적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자원 투입의 정당성 검증을 위해 정량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성적 결과 분석을 함께 고려한 성과 분석 체계를 구축하고 이를 시스템에 반영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캠페인 성과분석 체계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21" name="그룹 220"/>
          <p:cNvGrpSpPr/>
          <p:nvPr/>
        </p:nvGrpSpPr>
        <p:grpSpPr>
          <a:xfrm>
            <a:off x="410412" y="2772919"/>
            <a:ext cx="1943536" cy="2718719"/>
            <a:chOff x="488950" y="2853416"/>
            <a:chExt cx="2963852" cy="2718719"/>
          </a:xfrm>
        </p:grpSpPr>
        <p:sp>
          <p:nvSpPr>
            <p:cNvPr id="299" name="Rectangle 20"/>
            <p:cNvSpPr>
              <a:spLocks noChangeArrowheads="1"/>
            </p:cNvSpPr>
            <p:nvPr/>
          </p:nvSpPr>
          <p:spPr bwMode="gray">
            <a:xfrm>
              <a:off x="488950" y="4929198"/>
              <a:ext cx="2963852" cy="642937"/>
            </a:xfrm>
            <a:prstGeom prst="rect">
              <a:avLst/>
            </a:prstGeom>
            <a:solidFill>
              <a:srgbClr val="808080">
                <a:lumMod val="7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F0F5EF"/>
              </a:outerShdw>
            </a:effectLst>
          </p:spPr>
          <p:txBody>
            <a:bodyPr lIns="54000" rIns="54000" anchor="ctr" anchorCtr="1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366FF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2. </a:t>
              </a: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정성적 관리 지표</a:t>
              </a:r>
              <a:endPara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grpSp>
          <p:nvGrpSpPr>
            <p:cNvPr id="300" name="그룹 299"/>
            <p:cNvGrpSpPr/>
            <p:nvPr/>
          </p:nvGrpSpPr>
          <p:grpSpPr>
            <a:xfrm>
              <a:off x="488950" y="2853416"/>
              <a:ext cx="2963852" cy="1861472"/>
              <a:chOff x="488950" y="3220455"/>
              <a:chExt cx="2963852" cy="994368"/>
            </a:xfrm>
          </p:grpSpPr>
          <p:sp>
            <p:nvSpPr>
              <p:cNvPr id="301" name="Rectangle 19"/>
              <p:cNvSpPr>
                <a:spLocks noChangeArrowheads="1"/>
              </p:cNvSpPr>
              <p:nvPr/>
            </p:nvSpPr>
            <p:spPr bwMode="gray">
              <a:xfrm>
                <a:off x="488950" y="3222634"/>
                <a:ext cx="1606530" cy="992189"/>
              </a:xfrm>
              <a:prstGeom prst="rect">
                <a:avLst/>
              </a:prstGeom>
              <a:solidFill>
                <a:srgbClr val="808080">
                  <a:lumMod val="75000"/>
                </a:srgbClr>
              </a:solidFill>
              <a:ln w="9525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F0F5EF"/>
                </a:outerShdw>
              </a:effectLst>
            </p:spPr>
            <p:txBody>
              <a:bodyPr lIns="54000" rIns="54000" anchor="ctr" anchorCtr="1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3366FF"/>
                  </a:buClr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1. </a:t>
                </a:r>
                <a:r>
                  <a:rPr kumimoji="0" lang="ko-KR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정량적</a:t>
                </a: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/>
                </a:r>
                <a:b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</a:b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   </a:t>
                </a:r>
                <a:r>
                  <a:rPr kumimoji="0" lang="ko-KR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 관리 지표</a:t>
                </a:r>
                <a:endPara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endParaRPr>
              </a:p>
            </p:txBody>
          </p:sp>
          <p:sp>
            <p:nvSpPr>
              <p:cNvPr id="302" name="Rectangle 21"/>
              <p:cNvSpPr>
                <a:spLocks noChangeArrowheads="1"/>
              </p:cNvSpPr>
              <p:nvPr/>
            </p:nvSpPr>
            <p:spPr bwMode="gray">
              <a:xfrm>
                <a:off x="2166918" y="3220455"/>
                <a:ext cx="1285884" cy="482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rIns="36000" anchor="ctr" anchorCtr="1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3366FF"/>
                  </a:buClr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ko-KR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재무적</a:t>
                </a: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/>
                </a:r>
                <a:b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</a:b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(Financial)</a:t>
                </a:r>
              </a:p>
            </p:txBody>
          </p:sp>
          <p:sp>
            <p:nvSpPr>
              <p:cNvPr id="303" name="Rectangle 23"/>
              <p:cNvSpPr>
                <a:spLocks noChangeArrowheads="1"/>
              </p:cNvSpPr>
              <p:nvPr/>
            </p:nvSpPr>
            <p:spPr bwMode="gray">
              <a:xfrm>
                <a:off x="2166918" y="3732054"/>
                <a:ext cx="1285884" cy="482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algn="ctr">
                <a:solidFill>
                  <a:srgbClr val="808080">
                    <a:lumMod val="75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rIns="36000" anchor="ctr" anchorCtr="1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3366FF"/>
                  </a:buClr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ko-KR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비 재무적</a:t>
                </a: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/>
                </a:r>
                <a:b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</a:br>
                <a:r>
                  <a:rPr kumimoji="0" lang="en-US" altLang="ko-K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+mn-cs"/>
                  </a:rPr>
                  <a:t>(Non-financial)</a:t>
                </a:r>
              </a:p>
            </p:txBody>
          </p:sp>
        </p:grpSp>
      </p:grpSp>
      <p:sp>
        <p:nvSpPr>
          <p:cNvPr id="222" name="Rectangle 24"/>
          <p:cNvSpPr>
            <a:spLocks noChangeArrowheads="1"/>
          </p:cNvSpPr>
          <p:nvPr/>
        </p:nvSpPr>
        <p:spPr bwMode="gray">
          <a:xfrm>
            <a:off x="2425387" y="2804260"/>
            <a:ext cx="1428760" cy="616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54000" rIns="5400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반응 매출액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비용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ROI,…</a:t>
            </a:r>
          </a:p>
        </p:txBody>
      </p:sp>
      <p:sp>
        <p:nvSpPr>
          <p:cNvPr id="223" name="Rectangle 26"/>
          <p:cNvSpPr>
            <a:spLocks noChangeArrowheads="1"/>
          </p:cNvSpPr>
          <p:nvPr/>
        </p:nvSpPr>
        <p:spPr bwMode="gray">
          <a:xfrm>
            <a:off x="2425387" y="3831108"/>
            <a:ext cx="1428760" cy="8311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54000" rIns="5400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177800" marR="0" lvl="0" indent="-1778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접촉성공률 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  <a:p>
            <a:pPr marL="177800" marR="0" lvl="0" indent="-1778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반응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 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  <a:p>
            <a:pPr marL="177800" marR="0" lvl="0" indent="-1778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유지율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,..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sp>
        <p:nvSpPr>
          <p:cNvPr id="224" name="Rectangle 28"/>
          <p:cNvSpPr>
            <a:spLocks noChangeArrowheads="1"/>
          </p:cNvSpPr>
          <p:nvPr/>
        </p:nvSpPr>
        <p:spPr bwMode="gray">
          <a:xfrm>
            <a:off x="2425386" y="4920139"/>
            <a:ext cx="1254116" cy="4739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54000" rIns="54000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고객만족도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VOC.</a:t>
            </a:r>
          </a:p>
        </p:txBody>
      </p:sp>
      <p:sp>
        <p:nvSpPr>
          <p:cNvPr id="225" name="Text Box 30"/>
          <p:cNvSpPr txBox="1">
            <a:spLocks noChangeArrowheads="1"/>
          </p:cNvSpPr>
          <p:nvPr/>
        </p:nvSpPr>
        <p:spPr bwMode="auto">
          <a:xfrm>
            <a:off x="876001" y="2288500"/>
            <a:ext cx="1876082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051640">
                <a:gamma/>
                <a:shade val="60000"/>
                <a:invGamma/>
              </a:srgbClr>
            </a:prstShdw>
          </a:effectLst>
        </p:spPr>
        <p:txBody>
          <a:bodyPr wrap="none" lIns="36000" tIns="36000" rIns="36000" bIns="36000">
            <a:spAutoFit/>
          </a:bodyPr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sng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캠페인 성과평가 분류 </a:t>
            </a:r>
          </a:p>
        </p:txBody>
      </p:sp>
      <p:grpSp>
        <p:nvGrpSpPr>
          <p:cNvPr id="226" name="그룹 225"/>
          <p:cNvGrpSpPr/>
          <p:nvPr/>
        </p:nvGrpSpPr>
        <p:grpSpPr>
          <a:xfrm>
            <a:off x="4095818" y="1988473"/>
            <a:ext cx="5267459" cy="4280684"/>
            <a:chOff x="309104" y="2131777"/>
            <a:chExt cx="5626991" cy="4287124"/>
          </a:xfrm>
        </p:grpSpPr>
        <p:sp>
          <p:nvSpPr>
            <p:cNvPr id="229" name="사다리꼴 228"/>
            <p:cNvSpPr/>
            <p:nvPr/>
          </p:nvSpPr>
          <p:spPr>
            <a:xfrm rot="5400000">
              <a:off x="2197567" y="4082180"/>
              <a:ext cx="2767815" cy="338840"/>
            </a:xfrm>
            <a:prstGeom prst="trapezoid">
              <a:avLst>
                <a:gd name="adj" fmla="val 347565"/>
              </a:avLst>
            </a:prstGeom>
            <a:gradFill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72000" bIns="360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2000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0" name="직사각형 229"/>
            <p:cNvSpPr/>
            <p:nvPr/>
          </p:nvSpPr>
          <p:spPr bwMode="auto">
            <a:xfrm>
              <a:off x="309104" y="2404756"/>
              <a:ext cx="3095724" cy="401414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>
              <a:solidFill>
                <a:srgbClr val="377199"/>
              </a:solidFill>
              <a:miter lim="800000"/>
              <a:headEnd/>
              <a:tailEnd/>
            </a:ln>
          </p:spPr>
          <p:txBody>
            <a:bodyPr wrap="none" lIns="0" rIns="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1" name="직사각형 230"/>
            <p:cNvSpPr/>
            <p:nvPr/>
          </p:nvSpPr>
          <p:spPr bwMode="auto">
            <a:xfrm>
              <a:off x="1771245" y="2944386"/>
              <a:ext cx="471243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188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2" name="직사각형 231"/>
            <p:cNvSpPr/>
            <p:nvPr/>
          </p:nvSpPr>
          <p:spPr bwMode="auto">
            <a:xfrm>
              <a:off x="2242488" y="2944386"/>
              <a:ext cx="469629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118800" rIns="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+1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3" name="직사각형 232"/>
            <p:cNvSpPr/>
            <p:nvPr/>
          </p:nvSpPr>
          <p:spPr bwMode="auto">
            <a:xfrm>
              <a:off x="2712116" y="2944386"/>
              <a:ext cx="471243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54000" tIns="118800" rIns="540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+2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4" name="직사각형 233"/>
            <p:cNvSpPr/>
            <p:nvPr/>
          </p:nvSpPr>
          <p:spPr bwMode="auto">
            <a:xfrm>
              <a:off x="3183359" y="2944386"/>
              <a:ext cx="143631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188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…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5" name="이등변 삼각형 234"/>
            <p:cNvSpPr>
              <a:spLocks noChangeArrowheads="1"/>
            </p:cNvSpPr>
            <p:nvPr/>
          </p:nvSpPr>
          <p:spPr bwMode="auto">
            <a:xfrm flipV="1">
              <a:off x="1721217" y="2753154"/>
              <a:ext cx="100058" cy="176193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 w="9525" algn="ctr">
              <a:solidFill>
                <a:srgbClr val="C00000"/>
              </a:solidFill>
              <a:round/>
              <a:headEnd/>
              <a:tailEnd/>
            </a:ln>
          </p:spPr>
          <p:txBody>
            <a:bodyPr tIns="118800" bIns="118800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6" name="TextBox 59"/>
            <p:cNvSpPr txBox="1">
              <a:spLocks noChangeArrowheads="1"/>
            </p:cNvSpPr>
            <p:nvPr/>
          </p:nvSpPr>
          <p:spPr bwMode="auto">
            <a:xfrm>
              <a:off x="1771245" y="2658611"/>
              <a:ext cx="1058681" cy="322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Ins="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시작</a:t>
              </a:r>
            </a:p>
          </p:txBody>
        </p:sp>
        <p:sp>
          <p:nvSpPr>
            <p:cNvPr id="237" name="직사각형 236"/>
            <p:cNvSpPr/>
            <p:nvPr/>
          </p:nvSpPr>
          <p:spPr bwMode="auto">
            <a:xfrm>
              <a:off x="363974" y="2944386"/>
              <a:ext cx="469629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188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-3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8" name="직사각형 237"/>
            <p:cNvSpPr/>
            <p:nvPr/>
          </p:nvSpPr>
          <p:spPr bwMode="auto">
            <a:xfrm>
              <a:off x="833603" y="2944386"/>
              <a:ext cx="471243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188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-2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9" name="직사각형 238"/>
            <p:cNvSpPr/>
            <p:nvPr/>
          </p:nvSpPr>
          <p:spPr bwMode="auto">
            <a:xfrm>
              <a:off x="1304845" y="2944386"/>
              <a:ext cx="469628" cy="4189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3771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18800" bIns="11880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M-1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40" name="이등변 삼각형 239"/>
            <p:cNvSpPr/>
            <p:nvPr/>
          </p:nvSpPr>
          <p:spPr bwMode="auto">
            <a:xfrm flipV="1">
              <a:off x="363974" y="3363380"/>
              <a:ext cx="1428252" cy="444777"/>
            </a:xfrm>
            <a:prstGeom prst="triangle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  <a:tint val="66000"/>
                    <a:satMod val="160000"/>
                  </a:sysClr>
                </a:gs>
                <a:gs pos="50000">
                  <a:sysClr val="window" lastClr="FFFFFF">
                    <a:lumMod val="50000"/>
                    <a:tint val="44500"/>
                    <a:satMod val="160000"/>
                  </a:sysClr>
                </a:gs>
                <a:gs pos="100000">
                  <a:sysClr val="window" lastClr="FFFFFF">
                    <a:lumMod val="50000"/>
                    <a:tint val="23500"/>
                    <a:satMod val="160000"/>
                  </a:sysClr>
                </a:gs>
              </a:gsLst>
              <a:lin ang="16200000" scaled="1"/>
              <a:tileRect/>
            </a:gra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41" name="이등변 삼각형 240"/>
            <p:cNvSpPr/>
            <p:nvPr/>
          </p:nvSpPr>
          <p:spPr bwMode="auto">
            <a:xfrm flipV="1">
              <a:off x="1759949" y="3363380"/>
              <a:ext cx="1426637" cy="444777"/>
            </a:xfrm>
            <a:prstGeom prst="triangle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  <a:tint val="66000"/>
                    <a:satMod val="160000"/>
                  </a:sysClr>
                </a:gs>
                <a:gs pos="50000">
                  <a:sysClr val="window" lastClr="FFFFFF">
                    <a:lumMod val="50000"/>
                    <a:tint val="44500"/>
                    <a:satMod val="160000"/>
                  </a:sysClr>
                </a:gs>
                <a:gs pos="100000">
                  <a:sysClr val="window" lastClr="FFFFFF">
                    <a:lumMod val="50000"/>
                    <a:tint val="23500"/>
                    <a:satMod val="160000"/>
                  </a:sysClr>
                </a:gs>
              </a:gsLst>
              <a:lin ang="16200000" scaled="1"/>
              <a:tileRect/>
            </a:gra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42" name="모서리가 둥근 직사각형 32"/>
            <p:cNvSpPr/>
            <p:nvPr/>
          </p:nvSpPr>
          <p:spPr bwMode="auto">
            <a:xfrm>
              <a:off x="489854" y="3554612"/>
              <a:ext cx="1186175" cy="395358"/>
            </a:xfrm>
            <a:prstGeom prst="roundRect">
              <a:avLst/>
            </a:prstGeom>
            <a:solidFill>
              <a:srgbClr val="051640">
                <a:lumMod val="10000"/>
                <a:lumOff val="90000"/>
              </a:srgbClr>
            </a:solidFill>
            <a:ln w="9525" cap="flat" cmpd="sng" algn="ctr">
              <a:solidFill>
                <a:srgbClr val="808080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전 실적</a:t>
              </a:r>
            </a:p>
          </p:txBody>
        </p:sp>
        <p:sp>
          <p:nvSpPr>
            <p:cNvPr id="243" name="모서리가 둥근 직사각형 33"/>
            <p:cNvSpPr/>
            <p:nvPr/>
          </p:nvSpPr>
          <p:spPr bwMode="auto">
            <a:xfrm>
              <a:off x="1885829" y="3554612"/>
              <a:ext cx="1186174" cy="395358"/>
            </a:xfrm>
            <a:prstGeom prst="roundRect">
              <a:avLst/>
            </a:prstGeom>
            <a:solidFill>
              <a:srgbClr val="051640">
                <a:lumMod val="10000"/>
                <a:lumOff val="90000"/>
              </a:srgbClr>
            </a:solidFill>
            <a:ln w="9525" cap="flat" cmpd="sng" algn="ctr">
              <a:solidFill>
                <a:srgbClr val="808080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후 실적</a:t>
              </a:r>
            </a:p>
          </p:txBody>
        </p:sp>
        <p:sp>
          <p:nvSpPr>
            <p:cNvPr id="244" name="직사각형 243"/>
            <p:cNvSpPr/>
            <p:nvPr/>
          </p:nvSpPr>
          <p:spPr bwMode="auto">
            <a:xfrm>
              <a:off x="445046" y="4409788"/>
              <a:ext cx="2808145" cy="19660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245" name="그룹 244"/>
            <p:cNvGrpSpPr/>
            <p:nvPr/>
          </p:nvGrpSpPr>
          <p:grpSpPr>
            <a:xfrm>
              <a:off x="398330" y="4576256"/>
              <a:ext cx="3095752" cy="1729390"/>
              <a:chOff x="398330" y="4502252"/>
              <a:chExt cx="3095752" cy="1729390"/>
            </a:xfrm>
          </p:grpSpPr>
          <p:cxnSp>
            <p:nvCxnSpPr>
              <p:cNvPr id="281" name="직선 화살표 연결선 280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-79642" y="5237804"/>
                <a:ext cx="1474424" cy="3320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282" name="직선 화살표 연결선 281"/>
              <p:cNvCxnSpPr>
                <a:cxnSpLocks noChangeShapeType="1"/>
              </p:cNvCxnSpPr>
              <p:nvPr/>
            </p:nvCxnSpPr>
            <p:spPr bwMode="auto">
              <a:xfrm>
                <a:off x="657570" y="5974896"/>
                <a:ext cx="1782448" cy="1781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283" name="자유형 367"/>
              <p:cNvSpPr>
                <a:spLocks/>
              </p:cNvSpPr>
              <p:nvPr/>
            </p:nvSpPr>
            <p:spPr bwMode="auto">
              <a:xfrm>
                <a:off x="796669" y="4734886"/>
                <a:ext cx="1543864" cy="513535"/>
              </a:xfrm>
              <a:custGeom>
                <a:avLst/>
                <a:gdLst>
                  <a:gd name="T0" fmla="*/ 0 w 1476375"/>
                  <a:gd name="T1" fmla="*/ 130702 h 457200"/>
                  <a:gd name="T2" fmla="*/ 317557 w 1476375"/>
                  <a:gd name="T3" fmla="*/ 108919 h 457200"/>
                  <a:gd name="T4" fmla="*/ 582187 w 1476375"/>
                  <a:gd name="T5" fmla="*/ 103473 h 457200"/>
                  <a:gd name="T6" fmla="*/ 846819 w 1476375"/>
                  <a:gd name="T7" fmla="*/ 89858 h 457200"/>
                  <a:gd name="T8" fmla="*/ 1073645 w 1476375"/>
                  <a:gd name="T9" fmla="*/ 43567 h 457200"/>
                  <a:gd name="T10" fmla="*/ 1171936 w 1476375"/>
                  <a:gd name="T11" fmla="*/ 0 h 4572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76375"/>
                  <a:gd name="T19" fmla="*/ 0 h 457200"/>
                  <a:gd name="T20" fmla="*/ 1476375 w 1476375"/>
                  <a:gd name="T21" fmla="*/ 457200 h 4572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76375" h="457200">
                    <a:moveTo>
                      <a:pt x="0" y="457200"/>
                    </a:moveTo>
                    <a:cubicBezTo>
                      <a:pt x="138906" y="427037"/>
                      <a:pt x="277813" y="396875"/>
                      <a:pt x="400050" y="381000"/>
                    </a:cubicBezTo>
                    <a:cubicBezTo>
                      <a:pt x="522287" y="365125"/>
                      <a:pt x="622300" y="373063"/>
                      <a:pt x="733425" y="361950"/>
                    </a:cubicBezTo>
                    <a:cubicBezTo>
                      <a:pt x="844550" y="350838"/>
                      <a:pt x="963613" y="349250"/>
                      <a:pt x="1066800" y="314325"/>
                    </a:cubicBezTo>
                    <a:cubicBezTo>
                      <a:pt x="1169987" y="279400"/>
                      <a:pt x="1284288" y="204787"/>
                      <a:pt x="1352550" y="152400"/>
                    </a:cubicBezTo>
                    <a:cubicBezTo>
                      <a:pt x="1420812" y="100013"/>
                      <a:pt x="1457325" y="26987"/>
                      <a:pt x="1476375" y="0"/>
                    </a:cubicBezTo>
                  </a:path>
                </a:pathLst>
              </a:custGeom>
              <a:noFill/>
              <a:ln w="9525" algn="ctr">
                <a:solidFill>
                  <a:srgbClr val="0000FF"/>
                </a:solidFill>
                <a:round/>
                <a:headEnd/>
                <a:tailEnd type="triangle" w="med" len="med"/>
              </a:ln>
            </p:spPr>
            <p:txBody>
              <a:bodyPr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4" name="자유형 368"/>
              <p:cNvSpPr>
                <a:spLocks/>
              </p:cNvSpPr>
              <p:nvPr/>
            </p:nvSpPr>
            <p:spPr bwMode="auto">
              <a:xfrm>
                <a:off x="796669" y="4812239"/>
                <a:ext cx="1543864" cy="726256"/>
              </a:xfrm>
              <a:custGeom>
                <a:avLst/>
                <a:gdLst>
                  <a:gd name="T0" fmla="*/ 0 w 1428750"/>
                  <a:gd name="T1" fmla="*/ 2269 h 647699"/>
                  <a:gd name="T2" fmla="*/ 325258 w 1428750"/>
                  <a:gd name="T3" fmla="*/ 24053 h 647699"/>
                  <a:gd name="T4" fmla="*/ 780619 w 1428750"/>
                  <a:gd name="T5" fmla="*/ 146589 h 647699"/>
                  <a:gd name="T6" fmla="*/ 1127561 w 1428750"/>
                  <a:gd name="T7" fmla="*/ 179264 h 647699"/>
                  <a:gd name="T8" fmla="*/ 1626290 w 1428750"/>
                  <a:gd name="T9" fmla="*/ 181988 h 64769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8750"/>
                  <a:gd name="T16" fmla="*/ 0 h 647699"/>
                  <a:gd name="T17" fmla="*/ 1428750 w 1428750"/>
                  <a:gd name="T18" fmla="*/ 647699 h 64769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8750" h="647699">
                    <a:moveTo>
                      <a:pt x="0" y="7937"/>
                    </a:moveTo>
                    <a:cubicBezTo>
                      <a:pt x="85725" y="3968"/>
                      <a:pt x="171450" y="0"/>
                      <a:pt x="285750" y="84137"/>
                    </a:cubicBezTo>
                    <a:cubicBezTo>
                      <a:pt x="400050" y="168274"/>
                      <a:pt x="568325" y="422275"/>
                      <a:pt x="685800" y="512762"/>
                    </a:cubicBezTo>
                    <a:cubicBezTo>
                      <a:pt x="803275" y="603250"/>
                      <a:pt x="866775" y="606425"/>
                      <a:pt x="990600" y="627062"/>
                    </a:cubicBezTo>
                    <a:cubicBezTo>
                      <a:pt x="1114425" y="647699"/>
                      <a:pt x="1271587" y="642143"/>
                      <a:pt x="1428750" y="636587"/>
                    </a:cubicBezTo>
                  </a:path>
                </a:pathLst>
              </a:custGeom>
              <a:noFill/>
              <a:ln w="9525" algn="ctr">
                <a:solidFill>
                  <a:srgbClr val="C00000"/>
                </a:solidFill>
                <a:round/>
                <a:headEnd/>
                <a:tailEnd type="triangle" w="med" len="med"/>
              </a:ln>
            </p:spPr>
            <p:txBody>
              <a:bodyPr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5" name="자유형 369"/>
              <p:cNvSpPr>
                <a:spLocks/>
              </p:cNvSpPr>
              <p:nvPr/>
            </p:nvSpPr>
            <p:spPr bwMode="auto">
              <a:xfrm>
                <a:off x="796669" y="5611550"/>
                <a:ext cx="1543864" cy="150408"/>
              </a:xfrm>
              <a:custGeom>
                <a:avLst/>
                <a:gdLst>
                  <a:gd name="T0" fmla="*/ 0 w 1438275"/>
                  <a:gd name="T1" fmla="*/ 0 h 133350"/>
                  <a:gd name="T2" fmla="*/ 655053 w 1438275"/>
                  <a:gd name="T3" fmla="*/ 10892 h 133350"/>
                  <a:gd name="T4" fmla="*/ 1148865 w 1438275"/>
                  <a:gd name="T5" fmla="*/ 29952 h 133350"/>
                  <a:gd name="T6" fmla="*/ 1521742 w 1438275"/>
                  <a:gd name="T7" fmla="*/ 38121 h 1333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38275"/>
                  <a:gd name="T13" fmla="*/ 0 h 133350"/>
                  <a:gd name="T14" fmla="*/ 1438275 w 1438275"/>
                  <a:gd name="T15" fmla="*/ 133350 h 1333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38275" h="133350">
                    <a:moveTo>
                      <a:pt x="0" y="0"/>
                    </a:moveTo>
                    <a:cubicBezTo>
                      <a:pt x="219075" y="10319"/>
                      <a:pt x="438150" y="20638"/>
                      <a:pt x="619125" y="38100"/>
                    </a:cubicBezTo>
                    <a:cubicBezTo>
                      <a:pt x="800100" y="55562"/>
                      <a:pt x="949325" y="88900"/>
                      <a:pt x="1085850" y="104775"/>
                    </a:cubicBezTo>
                    <a:cubicBezTo>
                      <a:pt x="1222375" y="120650"/>
                      <a:pt x="1438275" y="133350"/>
                      <a:pt x="1438275" y="133350"/>
                    </a:cubicBezTo>
                  </a:path>
                </a:pathLst>
              </a:custGeom>
              <a:noFill/>
              <a:ln w="9525" algn="ctr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  <p:txBody>
              <a:bodyPr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6" name="TextBox 370"/>
              <p:cNvSpPr txBox="1">
                <a:spLocks noChangeArrowheads="1"/>
              </p:cNvSpPr>
              <p:nvPr/>
            </p:nvSpPr>
            <p:spPr bwMode="auto">
              <a:xfrm>
                <a:off x="826563" y="5985421"/>
                <a:ext cx="28837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M</a:t>
                </a: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7" name="TextBox 371"/>
              <p:cNvSpPr txBox="1">
                <a:spLocks noChangeArrowheads="1"/>
              </p:cNvSpPr>
              <p:nvPr/>
            </p:nvSpPr>
            <p:spPr bwMode="auto">
              <a:xfrm>
                <a:off x="1383970" y="5985421"/>
                <a:ext cx="627745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M+3</a:t>
                </a:r>
                <a:endPara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8" name="TextBox 372"/>
              <p:cNvSpPr txBox="1">
                <a:spLocks noChangeArrowheads="1"/>
              </p:cNvSpPr>
              <p:nvPr/>
            </p:nvSpPr>
            <p:spPr bwMode="auto">
              <a:xfrm>
                <a:off x="2090843" y="5985421"/>
                <a:ext cx="627745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M+6</a:t>
                </a:r>
                <a:endPara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cxnSp>
            <p:nvCxnSpPr>
              <p:cNvPr id="289" name="직선 연결선 288"/>
              <p:cNvCxnSpPr>
                <a:cxnSpLocks noChangeShapeType="1"/>
              </p:cNvCxnSpPr>
              <p:nvPr/>
            </p:nvCxnSpPr>
            <p:spPr bwMode="auto">
              <a:xfrm>
                <a:off x="2420102" y="5408631"/>
                <a:ext cx="248945" cy="0"/>
              </a:xfrm>
              <a:prstGeom prst="line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290" name="TextBox 375"/>
              <p:cNvSpPr txBox="1">
                <a:spLocks noChangeArrowheads="1"/>
              </p:cNvSpPr>
              <p:nvPr/>
            </p:nvSpPr>
            <p:spPr bwMode="auto">
              <a:xfrm>
                <a:off x="2609566" y="5280652"/>
                <a:ext cx="88451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접촉실패</a:t>
                </a:r>
              </a:p>
            </p:txBody>
          </p:sp>
          <p:cxnSp>
            <p:nvCxnSpPr>
              <p:cNvPr id="291" name="직선 연결선 290"/>
              <p:cNvCxnSpPr>
                <a:cxnSpLocks noChangeShapeType="1"/>
              </p:cNvCxnSpPr>
              <p:nvPr/>
            </p:nvCxnSpPr>
            <p:spPr bwMode="auto">
              <a:xfrm>
                <a:off x="2410144" y="5194947"/>
                <a:ext cx="248945" cy="0"/>
              </a:xfrm>
              <a:prstGeom prst="line">
                <a:avLst/>
              </a:prstGeom>
              <a:noFill/>
              <a:ln w="9525" algn="ctr">
                <a:solidFill>
                  <a:srgbClr val="C000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292" name="TextBox 377"/>
              <p:cNvSpPr txBox="1">
                <a:spLocks noChangeArrowheads="1"/>
              </p:cNvSpPr>
              <p:nvPr/>
            </p:nvSpPr>
            <p:spPr bwMode="auto">
              <a:xfrm>
                <a:off x="2599016" y="5065784"/>
                <a:ext cx="88451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안내실패</a:t>
                </a:r>
              </a:p>
            </p:txBody>
          </p:sp>
          <p:cxnSp>
            <p:nvCxnSpPr>
              <p:cNvPr id="293" name="직선 연결선 292"/>
              <p:cNvCxnSpPr>
                <a:cxnSpLocks noChangeShapeType="1"/>
              </p:cNvCxnSpPr>
              <p:nvPr/>
            </p:nvCxnSpPr>
            <p:spPr bwMode="auto">
              <a:xfrm>
                <a:off x="2420102" y="4991946"/>
                <a:ext cx="248945" cy="0"/>
              </a:xfrm>
              <a:prstGeom prst="line">
                <a:avLst/>
              </a:prstGeom>
              <a:noFill/>
              <a:ln w="9525" algn="ctr">
                <a:solidFill>
                  <a:srgbClr val="0000FF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294" name="TextBox 380"/>
              <p:cNvSpPr txBox="1">
                <a:spLocks noChangeArrowheads="1"/>
              </p:cNvSpPr>
              <p:nvPr/>
            </p:nvSpPr>
            <p:spPr bwMode="auto">
              <a:xfrm>
                <a:off x="2609567" y="4863807"/>
                <a:ext cx="884515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안내성공</a:t>
                </a:r>
              </a:p>
            </p:txBody>
          </p:sp>
          <p:cxnSp>
            <p:nvCxnSpPr>
              <p:cNvPr id="295" name="직선 화살표 연결선 294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281119" y="5292471"/>
                <a:ext cx="1368713" cy="0"/>
              </a:xfrm>
              <a:prstGeom prst="straightConnector1">
                <a:avLst/>
              </a:prstGeom>
              <a:noFill/>
              <a:ln w="9525" algn="ctr">
                <a:solidFill>
                  <a:srgbClr val="7F7F7F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296" name="직선 화살표 연결선 295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969523" y="5302335"/>
                <a:ext cx="1347225" cy="1757"/>
              </a:xfrm>
              <a:prstGeom prst="straightConnector1">
                <a:avLst/>
              </a:prstGeom>
              <a:noFill/>
              <a:ln w="9525" algn="ctr">
                <a:solidFill>
                  <a:srgbClr val="7F7F7F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297" name="직선 화살표 연결선 296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1522274" y="5297842"/>
                <a:ext cx="1357969" cy="0"/>
              </a:xfrm>
              <a:prstGeom prst="straightConnector1">
                <a:avLst/>
              </a:prstGeom>
              <a:noFill/>
              <a:ln w="9525" algn="ctr">
                <a:solidFill>
                  <a:srgbClr val="7F7F7F"/>
                </a:solidFill>
                <a:prstDash val="dash"/>
                <a:round/>
                <a:headEnd/>
                <a:tailEnd/>
              </a:ln>
            </p:spPr>
          </p:cxnSp>
          <p:sp>
            <p:nvSpPr>
              <p:cNvPr id="298" name="TextBox 418"/>
              <p:cNvSpPr txBox="1">
                <a:spLocks noChangeArrowheads="1"/>
              </p:cNvSpPr>
              <p:nvPr/>
            </p:nvSpPr>
            <p:spPr bwMode="auto">
              <a:xfrm>
                <a:off x="398330" y="4799347"/>
                <a:ext cx="338554" cy="1205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eaVert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이용건수</a:t>
                </a:r>
              </a:p>
            </p:txBody>
          </p:sp>
        </p:grpSp>
        <p:sp>
          <p:nvSpPr>
            <p:cNvPr id="246" name="직사각형 245"/>
            <p:cNvSpPr/>
            <p:nvPr/>
          </p:nvSpPr>
          <p:spPr bwMode="auto">
            <a:xfrm>
              <a:off x="445046" y="3994447"/>
              <a:ext cx="2808145" cy="4146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단계별 실적정보</a:t>
              </a:r>
            </a:p>
          </p:txBody>
        </p:sp>
        <p:sp>
          <p:nvSpPr>
            <p:cNvPr id="248" name="직사각형 247"/>
            <p:cNvSpPr/>
            <p:nvPr/>
          </p:nvSpPr>
          <p:spPr bwMode="auto">
            <a:xfrm>
              <a:off x="3854546" y="5918798"/>
              <a:ext cx="988799" cy="15996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피드백</a:t>
              </a:r>
            </a:p>
          </p:txBody>
        </p:sp>
        <p:sp>
          <p:nvSpPr>
            <p:cNvPr id="249" name="직사각형 248"/>
            <p:cNvSpPr/>
            <p:nvPr/>
          </p:nvSpPr>
          <p:spPr bwMode="auto">
            <a:xfrm>
              <a:off x="3750895" y="2999744"/>
              <a:ext cx="2185200" cy="2646422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50" name="모서리가 둥근 직사각형 263"/>
            <p:cNvSpPr>
              <a:spLocks noChangeArrowheads="1"/>
            </p:cNvSpPr>
            <p:nvPr/>
          </p:nvSpPr>
          <p:spPr bwMode="auto">
            <a:xfrm>
              <a:off x="3750895" y="2861179"/>
              <a:ext cx="2184902" cy="510527"/>
            </a:xfrm>
            <a:prstGeom prst="roundRect">
              <a:avLst>
                <a:gd name="adj" fmla="val 0"/>
              </a:avLst>
            </a:prstGeom>
            <a:blipFill dpi="0" rotWithShape="1">
              <a:blip r:embed="rId2" cstate="print">
                <a:grayscl/>
                <a:lum bright="19000"/>
              </a:blip>
              <a:srcRect/>
              <a:stretch>
                <a:fillRect/>
              </a:stretch>
            </a:blipFill>
            <a:ln w="63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vert="horz" wrap="none" lIns="36000" tIns="0" rIns="36000" anchor="t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imes New Roman" pitchFamily="18" charset="0"/>
                </a:rPr>
                <a:t>CMS</a:t>
              </a:r>
              <a:endPara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51" name="직사각형 250"/>
            <p:cNvSpPr/>
            <p:nvPr/>
          </p:nvSpPr>
          <p:spPr bwMode="auto">
            <a:xfrm>
              <a:off x="3987047" y="3572172"/>
              <a:ext cx="1764325" cy="226880"/>
            </a:xfrm>
            <a:prstGeom prst="rect">
              <a:avLst/>
            </a:prstGeom>
            <a:solidFill>
              <a:srgbClr val="808080">
                <a:lumMod val="75000"/>
              </a:srgb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 최적화</a:t>
              </a:r>
            </a:p>
          </p:txBody>
        </p:sp>
        <p:sp>
          <p:nvSpPr>
            <p:cNvPr id="252" name="직사각형 251"/>
            <p:cNvSpPr/>
            <p:nvPr/>
          </p:nvSpPr>
          <p:spPr bwMode="auto">
            <a:xfrm>
              <a:off x="3987047" y="4752087"/>
              <a:ext cx="1764325" cy="226880"/>
            </a:xfrm>
            <a:prstGeom prst="rect">
              <a:avLst/>
            </a:prstGeom>
            <a:solidFill>
              <a:srgbClr val="808080">
                <a:lumMod val="75000"/>
              </a:srgb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등록</a:t>
              </a:r>
            </a:p>
          </p:txBody>
        </p:sp>
        <p:grpSp>
          <p:nvGrpSpPr>
            <p:cNvPr id="253" name="그룹 252"/>
            <p:cNvGrpSpPr>
              <a:grpSpLocks/>
            </p:cNvGrpSpPr>
            <p:nvPr/>
          </p:nvGrpSpPr>
          <p:grpSpPr bwMode="auto">
            <a:xfrm>
              <a:off x="3872310" y="4508457"/>
              <a:ext cx="323379" cy="324332"/>
              <a:chOff x="3333391" y="3897623"/>
              <a:chExt cx="290215" cy="288032"/>
            </a:xfrm>
          </p:grpSpPr>
          <p:sp>
            <p:nvSpPr>
              <p:cNvPr id="270" name="정육면체 269"/>
              <p:cNvSpPr/>
              <p:nvPr/>
            </p:nvSpPr>
            <p:spPr bwMode="auto">
              <a:xfrm>
                <a:off x="3367824" y="400580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1" name="정육면체 270"/>
              <p:cNvSpPr/>
              <p:nvPr/>
            </p:nvSpPr>
            <p:spPr bwMode="auto">
              <a:xfrm>
                <a:off x="3479319" y="400580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2" name="정육면체 271"/>
              <p:cNvSpPr/>
              <p:nvPr/>
            </p:nvSpPr>
            <p:spPr bwMode="auto">
              <a:xfrm>
                <a:off x="3333391" y="4042315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3" name="정육면체 272"/>
              <p:cNvSpPr/>
              <p:nvPr/>
            </p:nvSpPr>
            <p:spPr bwMode="auto">
              <a:xfrm>
                <a:off x="3444886" y="4042315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4" name="정육면체 273"/>
              <p:cNvSpPr/>
              <p:nvPr/>
            </p:nvSpPr>
            <p:spPr bwMode="auto">
              <a:xfrm>
                <a:off x="3367824" y="3897623"/>
                <a:ext cx="144287" cy="144692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5" name="정육면체 274"/>
              <p:cNvSpPr/>
              <p:nvPr/>
            </p:nvSpPr>
            <p:spPr bwMode="auto">
              <a:xfrm>
                <a:off x="3479319" y="3897623"/>
                <a:ext cx="144287" cy="144692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6" name="정육면체 275"/>
              <p:cNvSpPr/>
              <p:nvPr/>
            </p:nvSpPr>
            <p:spPr bwMode="auto">
              <a:xfrm>
                <a:off x="3333391" y="393413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7" name="정육면체 276"/>
              <p:cNvSpPr/>
              <p:nvPr/>
            </p:nvSpPr>
            <p:spPr bwMode="auto">
              <a:xfrm>
                <a:off x="3444886" y="393413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54" name="직사각형 253"/>
            <p:cNvSpPr/>
            <p:nvPr/>
          </p:nvSpPr>
          <p:spPr bwMode="auto">
            <a:xfrm>
              <a:off x="3987047" y="3824937"/>
              <a:ext cx="1764325" cy="61364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 선호 채널 분석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 선호 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Offer </a:t>
              </a: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분석</a:t>
              </a:r>
            </a:p>
          </p:txBody>
        </p:sp>
        <p:sp>
          <p:nvSpPr>
            <p:cNvPr id="255" name="직사각형 254"/>
            <p:cNvSpPr/>
            <p:nvPr/>
          </p:nvSpPr>
          <p:spPr bwMode="auto">
            <a:xfrm>
              <a:off x="3987047" y="5000284"/>
              <a:ext cx="1761534" cy="57914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대조군 분석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후 매출증대 효과분석 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  <a:sym typeface="Wingdings" pitchFamily="2" charset="2"/>
                </a:rPr>
                <a:t> </a:t>
              </a: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  <a:sym typeface="Wingdings" pitchFamily="2" charset="2"/>
                </a:rPr>
                <a:t>대상추출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256" name="그룹 255"/>
            <p:cNvGrpSpPr>
              <a:grpSpLocks/>
            </p:cNvGrpSpPr>
            <p:nvPr/>
          </p:nvGrpSpPr>
          <p:grpSpPr bwMode="auto">
            <a:xfrm>
              <a:off x="3877965" y="3530394"/>
              <a:ext cx="323379" cy="324332"/>
              <a:chOff x="3333391" y="3897623"/>
              <a:chExt cx="290215" cy="288032"/>
            </a:xfrm>
          </p:grpSpPr>
          <p:sp>
            <p:nvSpPr>
              <p:cNvPr id="262" name="정육면체 261"/>
              <p:cNvSpPr/>
              <p:nvPr/>
            </p:nvSpPr>
            <p:spPr bwMode="auto">
              <a:xfrm>
                <a:off x="3367824" y="400580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3" name="정육면체 262"/>
              <p:cNvSpPr/>
              <p:nvPr/>
            </p:nvSpPr>
            <p:spPr bwMode="auto">
              <a:xfrm>
                <a:off x="3479319" y="400580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4" name="정육면체 263"/>
              <p:cNvSpPr/>
              <p:nvPr/>
            </p:nvSpPr>
            <p:spPr bwMode="auto">
              <a:xfrm>
                <a:off x="3333391" y="4042315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5" name="정육면체 264"/>
              <p:cNvSpPr/>
              <p:nvPr/>
            </p:nvSpPr>
            <p:spPr bwMode="auto">
              <a:xfrm>
                <a:off x="3444886" y="4042315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6" name="정육면체 265"/>
              <p:cNvSpPr/>
              <p:nvPr/>
            </p:nvSpPr>
            <p:spPr bwMode="auto">
              <a:xfrm>
                <a:off x="3367824" y="3897623"/>
                <a:ext cx="144287" cy="144692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7" name="정육면체 266"/>
              <p:cNvSpPr/>
              <p:nvPr/>
            </p:nvSpPr>
            <p:spPr bwMode="auto">
              <a:xfrm>
                <a:off x="3479319" y="3897623"/>
                <a:ext cx="144287" cy="144692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8" name="정육면체 267"/>
              <p:cNvSpPr/>
              <p:nvPr/>
            </p:nvSpPr>
            <p:spPr bwMode="auto">
              <a:xfrm>
                <a:off x="3333391" y="393413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9" name="정육면체 268"/>
              <p:cNvSpPr/>
              <p:nvPr/>
            </p:nvSpPr>
            <p:spPr bwMode="auto">
              <a:xfrm>
                <a:off x="3444886" y="3934134"/>
                <a:ext cx="144287" cy="143340"/>
              </a:xfrm>
              <a:prstGeom prst="cube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00677A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57" name="직사각형 256"/>
            <p:cNvSpPr>
              <a:spLocks noChangeArrowheads="1"/>
            </p:cNvSpPr>
            <p:nvPr/>
          </p:nvSpPr>
          <p:spPr bwMode="auto">
            <a:xfrm>
              <a:off x="309105" y="2131777"/>
              <a:ext cx="3094316" cy="565235"/>
            </a:xfrm>
            <a:prstGeom prst="rect">
              <a:avLst/>
            </a:prstGeom>
            <a:solidFill>
              <a:srgbClr val="051640">
                <a:lumMod val="90000"/>
                <a:lumOff val="10000"/>
              </a:srgbClr>
            </a:solidFill>
            <a:ln w="6350" algn="ctr">
              <a:solidFill>
                <a:srgbClr val="336699"/>
              </a:solidFill>
              <a:round/>
              <a:headEnd/>
              <a:tailEnd/>
            </a:ln>
          </p:spPr>
          <p:txBody>
            <a:bodyPr wrap="none" lIns="36000" tIns="0" anchor="t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Times New Roman" pitchFamily="18" charset="0"/>
                </a:rPr>
                <a:t>분석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Times New Roman" pitchFamily="18" charset="0"/>
                </a:rPr>
                <a:t> Mart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58" name="TextBox 48"/>
            <p:cNvSpPr txBox="1">
              <a:spLocks noChangeArrowheads="1"/>
            </p:cNvSpPr>
            <p:nvPr/>
          </p:nvSpPr>
          <p:spPr bwMode="auto">
            <a:xfrm>
              <a:off x="485404" y="2406609"/>
              <a:ext cx="2786130" cy="24456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rIns="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구매연계 분석</a:t>
              </a:r>
            </a:p>
          </p:txBody>
        </p:sp>
        <p:sp>
          <p:nvSpPr>
            <p:cNvPr id="259" name="TextBox 145"/>
            <p:cNvSpPr txBox="1">
              <a:spLocks noChangeArrowheads="1"/>
            </p:cNvSpPr>
            <p:nvPr/>
          </p:nvSpPr>
          <p:spPr bwMode="auto">
            <a:xfrm>
              <a:off x="3807825" y="3095435"/>
              <a:ext cx="2072703" cy="224464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rIns="0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677A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 기획</a:t>
              </a:r>
            </a:p>
          </p:txBody>
        </p:sp>
        <p:cxnSp>
          <p:nvCxnSpPr>
            <p:cNvPr id="260" name="꺾인 연결선 4"/>
            <p:cNvCxnSpPr/>
            <p:nvPr/>
          </p:nvCxnSpPr>
          <p:spPr>
            <a:xfrm>
              <a:off x="3412474" y="2439290"/>
              <a:ext cx="421943" cy="428401"/>
            </a:xfrm>
            <a:prstGeom prst="bentConnector2">
              <a:avLst/>
            </a:prstGeom>
            <a:noFill/>
            <a:ln w="76200" cap="flat" cmpd="sng" algn="ctr">
              <a:solidFill>
                <a:srgbClr val="FFFFFF">
                  <a:lumMod val="6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61" name="꺾인 연결선 202"/>
            <p:cNvCxnSpPr/>
            <p:nvPr/>
          </p:nvCxnSpPr>
          <p:spPr>
            <a:xfrm>
              <a:off x="3412474" y="5451854"/>
              <a:ext cx="421943" cy="428401"/>
            </a:xfrm>
            <a:prstGeom prst="bentConnector2">
              <a:avLst/>
            </a:prstGeom>
            <a:noFill/>
            <a:ln w="76200" cap="flat" cmpd="sng" algn="ctr">
              <a:solidFill>
                <a:srgbClr val="A6A6A6"/>
              </a:solidFill>
              <a:prstDash val="solid"/>
              <a:tailEnd type="triangle"/>
            </a:ln>
            <a:effectLst/>
            <a:scene3d>
              <a:camera prst="orthographicFront">
                <a:rot lat="21599968" lon="10799999" rev="10799999"/>
              </a:camera>
              <a:lightRig rig="threePt" dir="t"/>
            </a:scene3d>
          </p:spPr>
        </p:cxnSp>
      </p:grpSp>
      <p:sp>
        <p:nvSpPr>
          <p:cNvPr id="227" name="모서리가 둥근 직사각형 91"/>
          <p:cNvSpPr/>
          <p:nvPr/>
        </p:nvSpPr>
        <p:spPr bwMode="auto">
          <a:xfrm>
            <a:off x="3997641" y="1830844"/>
            <a:ext cx="5497948" cy="4557518"/>
          </a:xfrm>
          <a:prstGeom prst="roundRect">
            <a:avLst>
              <a:gd name="adj" fmla="val 0"/>
            </a:avLst>
          </a:prstGeom>
          <a:noFill/>
          <a:ln w="12700" cap="rnd" algn="ctr">
            <a:solidFill>
              <a:srgbClr val="FFFFFF">
                <a:lumMod val="50000"/>
              </a:srgbClr>
            </a:solidFill>
            <a:round/>
            <a:headEnd/>
            <a:tailEnd type="triangle" w="med" len="med"/>
          </a:ln>
        </p:spPr>
        <p:txBody>
          <a:bodyPr wrap="none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Char char="•"/>
              <a:tabLst/>
              <a:defRPr/>
            </a:pP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sp>
        <p:nvSpPr>
          <p:cNvPr id="228" name="이등변 삼각형 227"/>
          <p:cNvSpPr>
            <a:spLocks noChangeArrowheads="1"/>
          </p:cNvSpPr>
          <p:nvPr/>
        </p:nvSpPr>
        <p:spPr bwMode="auto">
          <a:xfrm rot="5400000">
            <a:off x="2333545" y="3834454"/>
            <a:ext cx="2775610" cy="250118"/>
          </a:xfrm>
          <a:prstGeom prst="triangle">
            <a:avLst>
              <a:gd name="adj" fmla="val 50000"/>
            </a:avLst>
          </a:prstGeom>
          <a:solidFill>
            <a:srgbClr val="FFFFFF">
              <a:lumMod val="75000"/>
            </a:srgb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72000" tIns="36000" rIns="72000" bIns="36000" anchor="ctr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20000"/>
              </a:spcAft>
              <a:buClr>
                <a:srgbClr val="00677A"/>
              </a:buClr>
              <a:buSzTx/>
              <a:buFontTx/>
              <a:buChar char="•"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15" name="그룹 11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4" name="그룹 12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925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모서리가 둥근 직사각형 141"/>
          <p:cNvSpPr/>
          <p:nvPr/>
        </p:nvSpPr>
        <p:spPr bwMode="auto">
          <a:xfrm>
            <a:off x="5940524" y="2336165"/>
            <a:ext cx="1020932" cy="38046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모서리가 둥근 직사각형 141"/>
          <p:cNvSpPr/>
          <p:nvPr/>
        </p:nvSpPr>
        <p:spPr bwMode="auto">
          <a:xfrm>
            <a:off x="7288779" y="2394805"/>
            <a:ext cx="2188459" cy="34588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5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t</a:t>
            </a:r>
            <a:r>
              <a:rPr lang="ko-KR" altLang="en-US" dirty="0"/>
              <a:t>는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전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된 고객 분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활동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할 수 있도록 설계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캠페인 관련 반응 및 다양한 고객 활동 분석을 수행할 수 있도록 유연하게 구성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 마트 재정비 방안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요건 도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12" name="꺾인 연결선 11"/>
          <p:cNvCxnSpPr>
            <a:stCxn id="53" idx="3"/>
            <a:endCxn id="64" idx="1"/>
          </p:cNvCxnSpPr>
          <p:nvPr/>
        </p:nvCxnSpPr>
        <p:spPr bwMode="auto">
          <a:xfrm flipV="1">
            <a:off x="6767950" y="2706976"/>
            <a:ext cx="690463" cy="52811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8" name="모서리가 둥근 직사각형 141"/>
          <p:cNvSpPr/>
          <p:nvPr/>
        </p:nvSpPr>
        <p:spPr bwMode="auto">
          <a:xfrm>
            <a:off x="430650" y="2336165"/>
            <a:ext cx="633918" cy="1417577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고객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모서리가 둥근 직사각형 141"/>
          <p:cNvSpPr/>
          <p:nvPr/>
        </p:nvSpPr>
        <p:spPr bwMode="auto">
          <a:xfrm>
            <a:off x="1180365" y="2336165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rofi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모서리가 둥근 직사각형 141"/>
          <p:cNvSpPr/>
          <p:nvPr/>
        </p:nvSpPr>
        <p:spPr bwMode="auto">
          <a:xfrm>
            <a:off x="1180365" y="2713149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수익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모서리가 둥근 직사각형 141"/>
          <p:cNvSpPr/>
          <p:nvPr/>
        </p:nvSpPr>
        <p:spPr bwMode="auto">
          <a:xfrm>
            <a:off x="1180365" y="3090132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ynamics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모서리가 둥근 직사각형 141"/>
          <p:cNvSpPr/>
          <p:nvPr/>
        </p:nvSpPr>
        <p:spPr bwMode="auto">
          <a:xfrm>
            <a:off x="1180365" y="3467116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사용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연체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모서리가 둥근 직사각형 141"/>
          <p:cNvSpPr/>
          <p:nvPr/>
        </p:nvSpPr>
        <p:spPr bwMode="auto">
          <a:xfrm>
            <a:off x="430650" y="3874812"/>
            <a:ext cx="633918" cy="1042946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b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서비스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모서리가 둥근 직사각형 141"/>
          <p:cNvSpPr/>
          <p:nvPr/>
        </p:nvSpPr>
        <p:spPr bwMode="auto">
          <a:xfrm>
            <a:off x="1180365" y="3874812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rofi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모서리가 둥근 직사각형 141"/>
          <p:cNvSpPr/>
          <p:nvPr/>
        </p:nvSpPr>
        <p:spPr bwMode="auto">
          <a:xfrm>
            <a:off x="1180365" y="4252972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수익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모서리가 둥근 직사각형 141"/>
          <p:cNvSpPr/>
          <p:nvPr/>
        </p:nvSpPr>
        <p:spPr bwMode="auto">
          <a:xfrm>
            <a:off x="1180365" y="4631132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ynamics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모서리가 둥근 직사각형 141"/>
          <p:cNvSpPr/>
          <p:nvPr/>
        </p:nvSpPr>
        <p:spPr bwMode="auto">
          <a:xfrm>
            <a:off x="430650" y="5038828"/>
            <a:ext cx="633918" cy="286626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조직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모서리가 둥근 직사각형 141"/>
          <p:cNvSpPr/>
          <p:nvPr/>
        </p:nvSpPr>
        <p:spPr bwMode="auto">
          <a:xfrm>
            <a:off x="1180365" y="5038829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rofile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모서리가 둥근 직사각형 141"/>
          <p:cNvSpPr/>
          <p:nvPr/>
        </p:nvSpPr>
        <p:spPr bwMode="auto">
          <a:xfrm>
            <a:off x="430650" y="5468736"/>
            <a:ext cx="633918" cy="264414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채널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모서리가 둥근 직사각형 141"/>
          <p:cNvSpPr/>
          <p:nvPr/>
        </p:nvSpPr>
        <p:spPr bwMode="auto">
          <a:xfrm>
            <a:off x="1180365" y="5446525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hannel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모서리가 둥근 직사각형 141"/>
          <p:cNvSpPr/>
          <p:nvPr/>
        </p:nvSpPr>
        <p:spPr bwMode="auto">
          <a:xfrm>
            <a:off x="430650" y="5854223"/>
            <a:ext cx="633918" cy="286625"/>
          </a:xfrm>
          <a:prstGeom prst="rect">
            <a:avLst/>
          </a:prstGeom>
          <a:solidFill>
            <a:srgbClr val="1B3A8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CRM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모서리가 둥근 직사각형 141"/>
          <p:cNvSpPr/>
          <p:nvPr/>
        </p:nvSpPr>
        <p:spPr bwMode="auto">
          <a:xfrm>
            <a:off x="1180365" y="5854223"/>
            <a:ext cx="2188459" cy="28662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RM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용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모서리가 둥근 직사각형 141"/>
          <p:cNvSpPr/>
          <p:nvPr/>
        </p:nvSpPr>
        <p:spPr bwMode="auto">
          <a:xfrm>
            <a:off x="1152364" y="1871703"/>
            <a:ext cx="1494747" cy="297521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 항목 </a:t>
            </a:r>
            <a:r>
              <a:rPr lang="en-US" altLang="ko-KR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시</a:t>
            </a:r>
            <a:r>
              <a:rPr lang="en-US" altLang="ko-KR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u="sng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모서리가 둥근 직사각형 141"/>
          <p:cNvSpPr/>
          <p:nvPr/>
        </p:nvSpPr>
        <p:spPr bwMode="auto">
          <a:xfrm>
            <a:off x="4016896" y="1871703"/>
            <a:ext cx="1494747" cy="297521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 </a:t>
            </a:r>
            <a:r>
              <a:rPr lang="en-US" altLang="ko-KR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rt </a:t>
            </a: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역</a:t>
            </a:r>
            <a:endParaRPr lang="ko-KR" altLang="en-US" sz="1200" u="sng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모서리가 둥근 직사각형 141"/>
          <p:cNvSpPr/>
          <p:nvPr/>
        </p:nvSpPr>
        <p:spPr bwMode="auto">
          <a:xfrm>
            <a:off x="5703617" y="1871703"/>
            <a:ext cx="1494747" cy="297521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통 영역</a:t>
            </a:r>
            <a:endParaRPr lang="ko-KR" altLang="en-US" sz="1200" u="sng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모서리가 둥근 직사각형 141"/>
          <p:cNvSpPr/>
          <p:nvPr/>
        </p:nvSpPr>
        <p:spPr bwMode="auto">
          <a:xfrm>
            <a:off x="7666833" y="1871703"/>
            <a:ext cx="1494747" cy="297521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</a:t>
            </a:r>
            <a:r>
              <a:rPr lang="en-US" altLang="ko-KR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rt </a:t>
            </a:r>
            <a:r>
              <a:rPr lang="ko-KR" altLang="en-US" sz="1200" u="sng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역</a:t>
            </a:r>
            <a:endParaRPr lang="ko-KR" altLang="en-US" sz="1200" u="sng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모서리가 둥근 직사각형 141"/>
          <p:cNvSpPr/>
          <p:nvPr/>
        </p:nvSpPr>
        <p:spPr bwMode="auto">
          <a:xfrm>
            <a:off x="4034249" y="2336165"/>
            <a:ext cx="1494747" cy="38046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모서리가 둥근 직사각형 141"/>
          <p:cNvSpPr/>
          <p:nvPr/>
        </p:nvSpPr>
        <p:spPr bwMode="auto">
          <a:xfrm>
            <a:off x="4464663" y="2489176"/>
            <a:ext cx="633918" cy="579784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별 입회 현황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모서리가 둥근 직사각형 141"/>
          <p:cNvSpPr/>
          <p:nvPr/>
        </p:nvSpPr>
        <p:spPr bwMode="auto">
          <a:xfrm>
            <a:off x="4464663" y="3222597"/>
            <a:ext cx="633918" cy="579784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그먼트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모서리가 둥근 직사각형 141"/>
          <p:cNvSpPr/>
          <p:nvPr/>
        </p:nvSpPr>
        <p:spPr bwMode="auto">
          <a:xfrm>
            <a:off x="4464663" y="3956018"/>
            <a:ext cx="633918" cy="579784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 이용 현황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모서리가 둥근 직사각형 141"/>
          <p:cNvSpPr/>
          <p:nvPr/>
        </p:nvSpPr>
        <p:spPr bwMode="auto">
          <a:xfrm>
            <a:off x="4464663" y="4689439"/>
            <a:ext cx="633918" cy="579784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이용 현황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모서리가 둥근 직사각형 141"/>
          <p:cNvSpPr/>
          <p:nvPr/>
        </p:nvSpPr>
        <p:spPr bwMode="auto">
          <a:xfrm>
            <a:off x="4464663" y="5422861"/>
            <a:ext cx="633918" cy="579784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등급 분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모서리가 둥근 직사각형 141"/>
          <p:cNvSpPr/>
          <p:nvPr/>
        </p:nvSpPr>
        <p:spPr bwMode="auto">
          <a:xfrm>
            <a:off x="7458413" y="2489176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접촉이력</a:t>
            </a:r>
          </a:p>
        </p:txBody>
      </p:sp>
      <p:sp>
        <p:nvSpPr>
          <p:cNvPr id="65" name="모서리가 둥근 직사각형 141"/>
          <p:cNvSpPr/>
          <p:nvPr/>
        </p:nvSpPr>
        <p:spPr bwMode="auto">
          <a:xfrm>
            <a:off x="7458413" y="3049363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반응 분석</a:t>
            </a:r>
          </a:p>
        </p:txBody>
      </p:sp>
      <p:sp>
        <p:nvSpPr>
          <p:cNvPr id="66" name="모서리가 둥근 직사각형 141"/>
          <p:cNvSpPr/>
          <p:nvPr/>
        </p:nvSpPr>
        <p:spPr bwMode="auto">
          <a:xfrm>
            <a:off x="7458413" y="3609550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별</a:t>
            </a: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캠페인 분석</a:t>
            </a:r>
          </a:p>
        </p:txBody>
      </p:sp>
      <p:sp>
        <p:nvSpPr>
          <p:cNvPr id="67" name="모서리가 둥근 직사각형 141"/>
          <p:cNvSpPr/>
          <p:nvPr/>
        </p:nvSpPr>
        <p:spPr bwMode="auto">
          <a:xfrm>
            <a:off x="7458413" y="4169737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퍼</a:t>
            </a: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상품 분석</a:t>
            </a:r>
          </a:p>
        </p:txBody>
      </p:sp>
      <p:sp>
        <p:nvSpPr>
          <p:cNvPr id="68" name="모서리가 둥근 직사각형 141"/>
          <p:cNvSpPr/>
          <p:nvPr/>
        </p:nvSpPr>
        <p:spPr bwMode="auto">
          <a:xfrm>
            <a:off x="7458413" y="4729924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효율성 분석</a:t>
            </a:r>
          </a:p>
        </p:txBody>
      </p:sp>
      <p:sp>
        <p:nvSpPr>
          <p:cNvPr id="69" name="모서리가 둥근 직사각형 141"/>
          <p:cNvSpPr/>
          <p:nvPr/>
        </p:nvSpPr>
        <p:spPr bwMode="auto">
          <a:xfrm>
            <a:off x="7458413" y="5290110"/>
            <a:ext cx="928120" cy="435600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 </a:t>
            </a:r>
            <a: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OI </a:t>
            </a:r>
            <a:r>
              <a:rPr lang="ko-KR" altLang="en-US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70" name="모서리가 둥근 직사각형 141"/>
          <p:cNvSpPr/>
          <p:nvPr/>
        </p:nvSpPr>
        <p:spPr bwMode="auto">
          <a:xfrm>
            <a:off x="8689031" y="2769270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캠페인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모서리가 둥근 직사각형 141"/>
          <p:cNvSpPr/>
          <p:nvPr/>
        </p:nvSpPr>
        <p:spPr bwMode="auto">
          <a:xfrm>
            <a:off x="8689031" y="3329457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모서리가 둥근 직사각형 141"/>
          <p:cNvSpPr/>
          <p:nvPr/>
        </p:nvSpPr>
        <p:spPr bwMode="auto">
          <a:xfrm>
            <a:off x="8689031" y="3889644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퍼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모서리가 둥근 직사각형 141"/>
          <p:cNvSpPr/>
          <p:nvPr/>
        </p:nvSpPr>
        <p:spPr bwMode="auto">
          <a:xfrm>
            <a:off x="8689031" y="4449831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널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모서리가 둥근 직사각형 141"/>
          <p:cNvSpPr/>
          <p:nvPr/>
        </p:nvSpPr>
        <p:spPr bwMode="auto">
          <a:xfrm>
            <a:off x="8689031" y="5010017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응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모서리가 둥근 직사각형 141"/>
          <p:cNvSpPr/>
          <p:nvPr/>
        </p:nvSpPr>
        <p:spPr bwMode="auto">
          <a:xfrm>
            <a:off x="6134032" y="2489176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ime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모서리가 둥근 직사각형 141"/>
          <p:cNvSpPr/>
          <p:nvPr/>
        </p:nvSpPr>
        <p:spPr bwMode="auto">
          <a:xfrm>
            <a:off x="6134032" y="3017291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모서리가 둥근 직사각형 141"/>
          <p:cNvSpPr/>
          <p:nvPr/>
        </p:nvSpPr>
        <p:spPr bwMode="auto">
          <a:xfrm>
            <a:off x="6134032" y="3545406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세그먼트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모서리가 둥근 직사각형 141"/>
          <p:cNvSpPr/>
          <p:nvPr/>
        </p:nvSpPr>
        <p:spPr bwMode="auto">
          <a:xfrm>
            <a:off x="6134032" y="4073520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좌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모서리가 둥근 직사각형 141"/>
          <p:cNvSpPr/>
          <p:nvPr/>
        </p:nvSpPr>
        <p:spPr bwMode="auto">
          <a:xfrm>
            <a:off x="6134032" y="5013176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원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모서리가 둥근 직사각형 141"/>
          <p:cNvSpPr/>
          <p:nvPr/>
        </p:nvSpPr>
        <p:spPr bwMode="auto">
          <a:xfrm>
            <a:off x="6134032" y="5567045"/>
            <a:ext cx="633918" cy="4356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모서리가 둥근 직사각형 141"/>
          <p:cNvSpPr/>
          <p:nvPr/>
        </p:nvSpPr>
        <p:spPr bwMode="auto">
          <a:xfrm>
            <a:off x="6134032" y="4717636"/>
            <a:ext cx="633918" cy="223532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1" name="꺾인 연결선 80"/>
          <p:cNvCxnSpPr>
            <a:stCxn id="52" idx="3"/>
            <a:endCxn id="64" idx="0"/>
          </p:cNvCxnSpPr>
          <p:nvPr/>
        </p:nvCxnSpPr>
        <p:spPr bwMode="auto">
          <a:xfrm flipV="1">
            <a:off x="6767950" y="2489176"/>
            <a:ext cx="1154523" cy="217800"/>
          </a:xfrm>
          <a:prstGeom prst="bentConnector4">
            <a:avLst>
              <a:gd name="adj1" fmla="val 29902"/>
              <a:gd name="adj2" fmla="val 204959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2" name="꺾인 연결선 81"/>
          <p:cNvCxnSpPr>
            <a:endCxn id="47" idx="3"/>
          </p:cNvCxnSpPr>
          <p:nvPr/>
        </p:nvCxnSpPr>
        <p:spPr bwMode="auto">
          <a:xfrm rot="10800000">
            <a:off x="5098581" y="2779069"/>
            <a:ext cx="1072710" cy="992781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3" name="꺾인 연결선 82"/>
          <p:cNvCxnSpPr>
            <a:stCxn id="53" idx="1"/>
            <a:endCxn id="51" idx="3"/>
          </p:cNvCxnSpPr>
          <p:nvPr/>
        </p:nvCxnSpPr>
        <p:spPr bwMode="auto">
          <a:xfrm rot="10800000" flipV="1">
            <a:off x="5098582" y="3235091"/>
            <a:ext cx="1035451" cy="247766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4" name="꺾인 연결선 83"/>
          <p:cNvCxnSpPr>
            <a:stCxn id="52" idx="1"/>
            <a:endCxn id="50" idx="3"/>
          </p:cNvCxnSpPr>
          <p:nvPr/>
        </p:nvCxnSpPr>
        <p:spPr bwMode="auto">
          <a:xfrm rot="10800000" flipV="1">
            <a:off x="5098582" y="2706975"/>
            <a:ext cx="1035451" cy="2272355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5" name="꺾인 연결선 84"/>
          <p:cNvCxnSpPr>
            <a:stCxn id="54" idx="1"/>
            <a:endCxn id="49" idx="3"/>
          </p:cNvCxnSpPr>
          <p:nvPr/>
        </p:nvCxnSpPr>
        <p:spPr bwMode="auto">
          <a:xfrm rot="10800000" flipV="1">
            <a:off x="5098582" y="3763206"/>
            <a:ext cx="1035451" cy="48270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6" name="꺾인 연결선 85"/>
          <p:cNvCxnSpPr>
            <a:stCxn id="53" idx="1"/>
            <a:endCxn id="48" idx="3"/>
          </p:cNvCxnSpPr>
          <p:nvPr/>
        </p:nvCxnSpPr>
        <p:spPr bwMode="auto">
          <a:xfrm rot="10800000" flipV="1">
            <a:off x="5098582" y="3235091"/>
            <a:ext cx="1035451" cy="2773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7" name="꺾인 연결선 86"/>
          <p:cNvCxnSpPr>
            <a:stCxn id="52" idx="1"/>
            <a:endCxn id="47" idx="3"/>
          </p:cNvCxnSpPr>
          <p:nvPr/>
        </p:nvCxnSpPr>
        <p:spPr bwMode="auto">
          <a:xfrm rot="10800000" flipV="1">
            <a:off x="5098582" y="2706976"/>
            <a:ext cx="1035451" cy="720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7" name="꺾인 연결선 106"/>
          <p:cNvCxnSpPr>
            <a:stCxn id="53" idx="3"/>
            <a:endCxn id="65" idx="1"/>
          </p:cNvCxnSpPr>
          <p:nvPr/>
        </p:nvCxnSpPr>
        <p:spPr bwMode="auto">
          <a:xfrm>
            <a:off x="6767950" y="3235091"/>
            <a:ext cx="690463" cy="320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1" name="꺾인 연결선 110"/>
          <p:cNvCxnSpPr>
            <a:stCxn id="62" idx="3"/>
            <a:endCxn id="66" idx="1"/>
          </p:cNvCxnSpPr>
          <p:nvPr/>
        </p:nvCxnSpPr>
        <p:spPr bwMode="auto">
          <a:xfrm flipV="1">
            <a:off x="6767950" y="3827350"/>
            <a:ext cx="690463" cy="14036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4" name="꺾인 연결선 113"/>
          <p:cNvCxnSpPr>
            <a:stCxn id="70" idx="1"/>
            <a:endCxn id="64" idx="3"/>
          </p:cNvCxnSpPr>
          <p:nvPr/>
        </p:nvCxnSpPr>
        <p:spPr bwMode="auto">
          <a:xfrm rot="10800000">
            <a:off x="8386533" y="2706976"/>
            <a:ext cx="302498" cy="28009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8" name="꺾인 연결선 117"/>
          <p:cNvCxnSpPr>
            <a:stCxn id="70" idx="1"/>
            <a:endCxn id="66" idx="3"/>
          </p:cNvCxnSpPr>
          <p:nvPr/>
        </p:nvCxnSpPr>
        <p:spPr bwMode="auto">
          <a:xfrm rot="10800000" flipV="1">
            <a:off x="8386533" y="2987070"/>
            <a:ext cx="302498" cy="8402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2" name="꺾인 연결선 121"/>
          <p:cNvCxnSpPr>
            <a:stCxn id="71" idx="1"/>
            <a:endCxn id="67" idx="3"/>
          </p:cNvCxnSpPr>
          <p:nvPr/>
        </p:nvCxnSpPr>
        <p:spPr bwMode="auto">
          <a:xfrm rot="10800000" flipV="1">
            <a:off x="8386533" y="3547257"/>
            <a:ext cx="302498" cy="8402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6" name="꺾인 연결선 125"/>
          <p:cNvCxnSpPr>
            <a:stCxn id="72" idx="1"/>
            <a:endCxn id="68" idx="3"/>
          </p:cNvCxnSpPr>
          <p:nvPr/>
        </p:nvCxnSpPr>
        <p:spPr bwMode="auto">
          <a:xfrm rot="10800000" flipV="1">
            <a:off x="8386533" y="4107444"/>
            <a:ext cx="302498" cy="8402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9" name="꺾인 연결선 128"/>
          <p:cNvCxnSpPr>
            <a:stCxn id="73" idx="1"/>
            <a:endCxn id="69" idx="3"/>
          </p:cNvCxnSpPr>
          <p:nvPr/>
        </p:nvCxnSpPr>
        <p:spPr bwMode="auto">
          <a:xfrm rot="10800000" flipV="1">
            <a:off x="8386533" y="4667630"/>
            <a:ext cx="302498" cy="84027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2" name="꺾인 연결선 131"/>
          <p:cNvCxnSpPr>
            <a:stCxn id="74" idx="1"/>
            <a:endCxn id="65" idx="3"/>
          </p:cNvCxnSpPr>
          <p:nvPr/>
        </p:nvCxnSpPr>
        <p:spPr bwMode="auto">
          <a:xfrm rot="10800000">
            <a:off x="8386533" y="3267163"/>
            <a:ext cx="302498" cy="196065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7" name="모서리가 둥근 직사각형 141"/>
          <p:cNvSpPr/>
          <p:nvPr/>
        </p:nvSpPr>
        <p:spPr bwMode="auto">
          <a:xfrm>
            <a:off x="7329264" y="5977761"/>
            <a:ext cx="523899" cy="297521"/>
          </a:xfrm>
          <a:prstGeom prst="rect">
            <a:avLst/>
          </a:prstGeom>
          <a:noFill/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분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모서리가 둥근 직사각형 141"/>
          <p:cNvSpPr/>
          <p:nvPr/>
        </p:nvSpPr>
        <p:spPr bwMode="auto">
          <a:xfrm>
            <a:off x="7943665" y="5977761"/>
            <a:ext cx="843745" cy="297521"/>
          </a:xfrm>
          <a:prstGeom prst="rect">
            <a:avLst/>
          </a:prstGeom>
          <a:solidFill>
            <a:srgbClr val="A2B7EC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imension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모서리가 둥근 직사각형 141"/>
          <p:cNvSpPr/>
          <p:nvPr/>
        </p:nvSpPr>
        <p:spPr bwMode="auto">
          <a:xfrm>
            <a:off x="8832188" y="5977761"/>
            <a:ext cx="633918" cy="29752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headEnd/>
            <a:tailEnd/>
          </a:ln>
          <a:effectLst/>
        </p:spPr>
        <p:txBody>
          <a:bodyPr wrap="square" lIns="36000" rIns="36000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en-US" altLang="ko-KR" sz="11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act</a:t>
            </a:r>
            <a:endParaRPr lang="ko-KR" altLang="en-US" sz="11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오른쪽 화살표 139"/>
          <p:cNvSpPr/>
          <p:nvPr/>
        </p:nvSpPr>
        <p:spPr bwMode="auto">
          <a:xfrm>
            <a:off x="3584848" y="2843835"/>
            <a:ext cx="360040" cy="2277229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2" name="그룹 11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5992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6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캠페인 진행 단계별로 접촉 성공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널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응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캠페인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반응률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등을 체계적으로 모니터링함으로써 조기에 문제점을 발견하고 마케팅 성과를 제고할 수 있음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접촉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반응 모니터링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73050" y="1844744"/>
            <a:ext cx="9341950" cy="4464576"/>
            <a:chOff x="560512" y="997389"/>
            <a:chExt cx="8784976" cy="4863223"/>
          </a:xfrm>
        </p:grpSpPr>
        <p:sp>
          <p:nvSpPr>
            <p:cNvPr id="199" name="AutoShape 85"/>
            <p:cNvSpPr>
              <a:spLocks noChangeArrowheads="1"/>
            </p:cNvSpPr>
            <p:nvPr/>
          </p:nvSpPr>
          <p:spPr bwMode="gray">
            <a:xfrm>
              <a:off x="8107007" y="1353540"/>
              <a:ext cx="1166473" cy="383462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접촉</a:t>
              </a:r>
              <a:b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성공자</a:t>
              </a: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수</a:t>
              </a:r>
            </a:p>
          </p:txBody>
        </p:sp>
        <p:sp>
          <p:nvSpPr>
            <p:cNvPr id="200" name="AutoShape 86"/>
            <p:cNvSpPr>
              <a:spLocks noChangeArrowheads="1"/>
            </p:cNvSpPr>
            <p:nvPr/>
          </p:nvSpPr>
          <p:spPr bwMode="gray">
            <a:xfrm>
              <a:off x="8107007" y="1929605"/>
              <a:ext cx="1166473" cy="386210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r>
                <a:rPr kumimoji="1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별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접촉 성공률</a:t>
              </a:r>
            </a:p>
          </p:txBody>
        </p:sp>
        <p:sp>
          <p:nvSpPr>
            <p:cNvPr id="201" name="AutoShape 87"/>
            <p:cNvSpPr>
              <a:spLocks noChangeArrowheads="1"/>
            </p:cNvSpPr>
            <p:nvPr/>
          </p:nvSpPr>
          <p:spPr bwMode="gray">
            <a:xfrm>
              <a:off x="8107007" y="4227922"/>
              <a:ext cx="1166473" cy="38483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률</a:t>
              </a:r>
            </a:p>
          </p:txBody>
        </p:sp>
        <p:sp>
          <p:nvSpPr>
            <p:cNvPr id="202" name="AutoShape 88"/>
            <p:cNvSpPr>
              <a:spLocks noChangeArrowheads="1"/>
            </p:cNvSpPr>
            <p:nvPr/>
          </p:nvSpPr>
          <p:spPr bwMode="gray">
            <a:xfrm>
              <a:off x="8107007" y="5381870"/>
              <a:ext cx="1166473" cy="383462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프로모션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률</a:t>
              </a:r>
            </a:p>
          </p:txBody>
        </p:sp>
        <p:sp>
          <p:nvSpPr>
            <p:cNvPr id="203" name="AutoShape 89"/>
            <p:cNvSpPr>
              <a:spLocks noChangeArrowheads="1"/>
            </p:cNvSpPr>
            <p:nvPr/>
          </p:nvSpPr>
          <p:spPr bwMode="gray">
            <a:xfrm>
              <a:off x="8107007" y="4802165"/>
              <a:ext cx="1166473" cy="386210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프로모션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04" name="AutoShape 90"/>
            <p:cNvSpPr>
              <a:spLocks noChangeArrowheads="1"/>
            </p:cNvSpPr>
            <p:nvPr/>
          </p:nvSpPr>
          <p:spPr bwMode="gray">
            <a:xfrm>
              <a:off x="8107007" y="2505669"/>
              <a:ext cx="1166473" cy="38483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05" name="AutoShape 91"/>
            <p:cNvSpPr>
              <a:spLocks noChangeArrowheads="1"/>
            </p:cNvSpPr>
            <p:nvPr/>
          </p:nvSpPr>
          <p:spPr bwMode="gray">
            <a:xfrm>
              <a:off x="8107007" y="3650037"/>
              <a:ext cx="1166473" cy="386210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06" name="AutoShape 92"/>
            <p:cNvSpPr>
              <a:spLocks noChangeArrowheads="1"/>
            </p:cNvSpPr>
            <p:nvPr/>
          </p:nvSpPr>
          <p:spPr bwMode="gray">
            <a:xfrm>
              <a:off x="8107007" y="3075794"/>
              <a:ext cx="1166473" cy="38483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 반응률</a:t>
              </a:r>
            </a:p>
          </p:txBody>
        </p:sp>
        <p:sp>
          <p:nvSpPr>
            <p:cNvPr id="208" name="Text Box 81"/>
            <p:cNvSpPr txBox="1">
              <a:spLocks noChangeArrowheads="1"/>
            </p:cNvSpPr>
            <p:nvPr/>
          </p:nvSpPr>
          <p:spPr bwMode="auto">
            <a:xfrm>
              <a:off x="8378547" y="997389"/>
              <a:ext cx="698474" cy="2803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FFFFFF">
                  <a:gamma/>
                  <a:shade val="60000"/>
                  <a:invGamma/>
                </a:srgbClr>
              </a:prstShdw>
            </a:effectLst>
          </p:spPr>
          <p:txBody>
            <a:bodyPr wrap="none" lIns="36000" tIns="36000" rIns="36000" bIns="36000">
              <a:spAutoFit/>
            </a:bodyPr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관리 지표</a:t>
              </a:r>
              <a:endParaRPr kumimoji="0" lang="en-US" altLang="ko-KR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</a:endParaRPr>
            </a:p>
          </p:txBody>
        </p:sp>
        <p:sp>
          <p:nvSpPr>
            <p:cNvPr id="209" name="Rectangle 2"/>
            <p:cNvSpPr>
              <a:spLocks noChangeArrowheads="1"/>
            </p:cNvSpPr>
            <p:nvPr/>
          </p:nvSpPr>
          <p:spPr bwMode="gray">
            <a:xfrm>
              <a:off x="560512" y="1331860"/>
              <a:ext cx="7200800" cy="452875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  <a:effectLst/>
            <a:ex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0" name="AutoShape 63"/>
            <p:cNvSpPr>
              <a:spLocks noChangeArrowheads="1"/>
            </p:cNvSpPr>
            <p:nvPr/>
          </p:nvSpPr>
          <p:spPr bwMode="gray">
            <a:xfrm>
              <a:off x="687504" y="1554935"/>
              <a:ext cx="915901" cy="2496901"/>
            </a:xfrm>
            <a:prstGeom prst="homePlate">
              <a:avLst>
                <a:gd name="adj" fmla="val 13060"/>
              </a:avLst>
            </a:prstGeom>
            <a:solidFill>
              <a:srgbClr val="1B3A87"/>
            </a:solidFill>
            <a:ln w="9525" algn="ctr">
              <a:solidFill>
                <a:srgbClr val="808080">
                  <a:lumMod val="75000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b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접촉 및</a:t>
              </a:r>
              <a:b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고객</a:t>
              </a:r>
              <a:b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식별</a:t>
              </a:r>
            </a:p>
          </p:txBody>
        </p:sp>
        <p:sp>
          <p:nvSpPr>
            <p:cNvPr id="211" name="AutoShape 64"/>
            <p:cNvSpPr>
              <a:spLocks noChangeArrowheads="1"/>
            </p:cNvSpPr>
            <p:nvPr/>
          </p:nvSpPr>
          <p:spPr bwMode="gray">
            <a:xfrm>
              <a:off x="687504" y="4127529"/>
              <a:ext cx="915901" cy="1637803"/>
            </a:xfrm>
            <a:prstGeom prst="homePlate">
              <a:avLst>
                <a:gd name="adj" fmla="val 13060"/>
              </a:avLst>
            </a:prstGeom>
            <a:solidFill>
              <a:srgbClr val="1B3A87"/>
            </a:solidFill>
            <a:ln w="9525" algn="ctr">
              <a:solidFill>
                <a:srgbClr val="808080">
                  <a:lumMod val="75000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프로모션</a:t>
              </a:r>
              <a:b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고객</a:t>
              </a:r>
              <a:b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400" b="1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식별</a:t>
              </a:r>
            </a:p>
          </p:txBody>
        </p:sp>
        <p:grpSp>
          <p:nvGrpSpPr>
            <p:cNvPr id="212" name="그룹 211"/>
            <p:cNvGrpSpPr/>
            <p:nvPr/>
          </p:nvGrpSpPr>
          <p:grpSpPr>
            <a:xfrm>
              <a:off x="1453678" y="1401139"/>
              <a:ext cx="5944876" cy="4396765"/>
              <a:chOff x="1375395" y="2551634"/>
              <a:chExt cx="4451350" cy="4202719"/>
            </a:xfrm>
          </p:grpSpPr>
          <p:sp>
            <p:nvSpPr>
              <p:cNvPr id="316" name="Oval 20"/>
              <p:cNvSpPr>
                <a:spLocks noChangeArrowheads="1"/>
              </p:cNvSpPr>
              <p:nvPr/>
            </p:nvSpPr>
            <p:spPr bwMode="gray">
              <a:xfrm>
                <a:off x="1413495" y="2551634"/>
                <a:ext cx="619125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</a:t>
                </a:r>
                <a:b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기획</a:t>
                </a:r>
              </a:p>
            </p:txBody>
          </p:sp>
          <p:sp>
            <p:nvSpPr>
              <p:cNvPr id="317" name="Oval 21"/>
              <p:cNvSpPr>
                <a:spLocks noChangeArrowheads="1"/>
              </p:cNvSpPr>
              <p:nvPr/>
            </p:nvSpPr>
            <p:spPr bwMode="gray">
              <a:xfrm>
                <a:off x="2312020" y="2551634"/>
                <a:ext cx="622300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채널</a:t>
                </a:r>
                <a:b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배분</a:t>
                </a:r>
              </a:p>
            </p:txBody>
          </p:sp>
          <p:sp>
            <p:nvSpPr>
              <p:cNvPr id="318" name="Oval 22"/>
              <p:cNvSpPr>
                <a:spLocks noChangeArrowheads="1"/>
              </p:cNvSpPr>
              <p:nvPr/>
            </p:nvSpPr>
            <p:spPr bwMode="gray">
              <a:xfrm>
                <a:off x="3215308" y="2551634"/>
                <a:ext cx="619125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</a:t>
                </a:r>
                <a:b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실행</a:t>
                </a:r>
              </a:p>
            </p:txBody>
          </p:sp>
          <p:sp>
            <p:nvSpPr>
              <p:cNvPr id="319" name="Oval 23"/>
              <p:cNvSpPr>
                <a:spLocks noChangeArrowheads="1"/>
              </p:cNvSpPr>
              <p:nvPr/>
            </p:nvSpPr>
            <p:spPr bwMode="gray">
              <a:xfrm>
                <a:off x="4115420" y="2551634"/>
                <a:ext cx="622300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</a:t>
                </a:r>
                <a:b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실행 완료</a:t>
                </a:r>
              </a:p>
            </p:txBody>
          </p:sp>
          <p:sp>
            <p:nvSpPr>
              <p:cNvPr id="320" name="Oval 24"/>
              <p:cNvSpPr>
                <a:spLocks noChangeArrowheads="1"/>
              </p:cNvSpPr>
              <p:nvPr/>
            </p:nvSpPr>
            <p:spPr bwMode="gray">
              <a:xfrm>
                <a:off x="5013945" y="2551634"/>
                <a:ext cx="723900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 반응</a:t>
                </a:r>
                <a:b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관찰 완료</a:t>
                </a:r>
              </a:p>
            </p:txBody>
          </p:sp>
          <p:cxnSp>
            <p:nvCxnSpPr>
              <p:cNvPr id="321" name="AutoShape 25"/>
              <p:cNvCxnSpPr>
                <a:cxnSpLocks noChangeShapeType="1"/>
                <a:stCxn id="316" idx="6"/>
                <a:endCxn id="317" idx="2"/>
              </p:cNvCxnSpPr>
              <p:nvPr/>
            </p:nvCxnSpPr>
            <p:spPr bwMode="gray">
              <a:xfrm>
                <a:off x="2032620" y="2719909"/>
                <a:ext cx="279400" cy="0"/>
              </a:xfrm>
              <a:prstGeom prst="straightConnector1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22" name="AutoShape 26"/>
              <p:cNvCxnSpPr>
                <a:cxnSpLocks noChangeShapeType="1"/>
                <a:stCxn id="317" idx="6"/>
                <a:endCxn id="318" idx="2"/>
              </p:cNvCxnSpPr>
              <p:nvPr/>
            </p:nvCxnSpPr>
            <p:spPr bwMode="gray">
              <a:xfrm>
                <a:off x="2934320" y="2719909"/>
                <a:ext cx="280988" cy="0"/>
              </a:xfrm>
              <a:prstGeom prst="straightConnector1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23" name="AutoShape 27"/>
              <p:cNvCxnSpPr>
                <a:cxnSpLocks noChangeShapeType="1"/>
                <a:stCxn id="318" idx="6"/>
                <a:endCxn id="319" idx="2"/>
              </p:cNvCxnSpPr>
              <p:nvPr/>
            </p:nvCxnSpPr>
            <p:spPr bwMode="gray">
              <a:xfrm>
                <a:off x="3834433" y="2719909"/>
                <a:ext cx="280987" cy="0"/>
              </a:xfrm>
              <a:prstGeom prst="straightConnector1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24" name="AutoShape 28"/>
              <p:cNvCxnSpPr>
                <a:cxnSpLocks noChangeShapeType="1"/>
                <a:stCxn id="319" idx="6"/>
                <a:endCxn id="320" idx="2"/>
              </p:cNvCxnSpPr>
              <p:nvPr/>
            </p:nvCxnSpPr>
            <p:spPr bwMode="gray">
              <a:xfrm>
                <a:off x="4737720" y="2719909"/>
                <a:ext cx="276225" cy="0"/>
              </a:xfrm>
              <a:prstGeom prst="straightConnector1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325" name="Text Box 29"/>
              <p:cNvSpPr txBox="1">
                <a:spLocks noChangeArrowheads="1"/>
              </p:cNvSpPr>
              <p:nvPr/>
            </p:nvSpPr>
            <p:spPr bwMode="gray">
              <a:xfrm>
                <a:off x="1419330" y="4661421"/>
                <a:ext cx="803230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최초 </a:t>
                </a:r>
                <a:r>
                  <a:rPr kumimoji="1" lang="ko-KR" altLang="en-US" sz="900" b="1" i="1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기획시</a:t>
                </a: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/>
                </a:r>
                <a:b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 대상자 수</a:t>
                </a:r>
              </a:p>
            </p:txBody>
          </p:sp>
          <p:sp>
            <p:nvSpPr>
              <p:cNvPr id="326" name="Text Box 30"/>
              <p:cNvSpPr txBox="1">
                <a:spLocks noChangeArrowheads="1"/>
              </p:cNvSpPr>
              <p:nvPr/>
            </p:nvSpPr>
            <p:spPr bwMode="gray">
              <a:xfrm>
                <a:off x="2367529" y="4661421"/>
                <a:ext cx="803230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채널 필터링 후</a:t>
                </a:r>
                <a:b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 대상자 수</a:t>
                </a:r>
              </a:p>
            </p:txBody>
          </p:sp>
          <p:sp>
            <p:nvSpPr>
              <p:cNvPr id="327" name="Text Box 31"/>
              <p:cNvSpPr txBox="1">
                <a:spLocks noChangeArrowheads="1"/>
              </p:cNvSpPr>
              <p:nvPr/>
            </p:nvSpPr>
            <p:spPr bwMode="gray">
              <a:xfrm>
                <a:off x="3390883" y="4661421"/>
                <a:ext cx="513961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접촉</a:t>
                </a:r>
                <a:b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성공자 수</a:t>
                </a:r>
              </a:p>
            </p:txBody>
          </p:sp>
          <p:sp>
            <p:nvSpPr>
              <p:cNvPr id="328" name="Text Box 32"/>
              <p:cNvSpPr txBox="1">
                <a:spLocks noChangeArrowheads="1"/>
              </p:cNvSpPr>
              <p:nvPr/>
            </p:nvSpPr>
            <p:spPr bwMode="gray">
              <a:xfrm>
                <a:off x="4238608" y="4661421"/>
                <a:ext cx="513961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채널</a:t>
                </a:r>
                <a:b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반응자 수</a:t>
                </a:r>
              </a:p>
            </p:txBody>
          </p:sp>
          <p:sp>
            <p:nvSpPr>
              <p:cNvPr id="329" name="Text Box 33"/>
              <p:cNvSpPr txBox="1">
                <a:spLocks noChangeArrowheads="1"/>
              </p:cNvSpPr>
              <p:nvPr/>
            </p:nvSpPr>
            <p:spPr bwMode="gray">
              <a:xfrm>
                <a:off x="5135546" y="4661421"/>
                <a:ext cx="513961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</a:t>
                </a:r>
                <a:b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반응자 수</a:t>
                </a:r>
              </a:p>
            </p:txBody>
          </p:sp>
          <p:sp>
            <p:nvSpPr>
              <p:cNvPr id="330" name="Line 35"/>
              <p:cNvSpPr>
                <a:spLocks noChangeShapeType="1"/>
              </p:cNvSpPr>
              <p:nvPr/>
            </p:nvSpPr>
            <p:spPr bwMode="gray">
              <a:xfrm>
                <a:off x="3648695" y="3640659"/>
                <a:ext cx="627063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1" name="Line 36"/>
              <p:cNvSpPr>
                <a:spLocks noChangeShapeType="1"/>
              </p:cNvSpPr>
              <p:nvPr/>
            </p:nvSpPr>
            <p:spPr bwMode="gray">
              <a:xfrm>
                <a:off x="2715245" y="3104084"/>
                <a:ext cx="2395538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2" name="Line 37"/>
              <p:cNvSpPr>
                <a:spLocks noChangeShapeType="1"/>
              </p:cNvSpPr>
              <p:nvPr/>
            </p:nvSpPr>
            <p:spPr bwMode="gray">
              <a:xfrm>
                <a:off x="1815133" y="2935809"/>
                <a:ext cx="738187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3" name="Line 38"/>
              <p:cNvSpPr>
                <a:spLocks noChangeShapeType="1"/>
              </p:cNvSpPr>
              <p:nvPr/>
            </p:nvSpPr>
            <p:spPr bwMode="gray">
              <a:xfrm>
                <a:off x="1997695" y="2934221"/>
                <a:ext cx="0" cy="1689100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4" name="Line 39"/>
              <p:cNvSpPr>
                <a:spLocks noChangeShapeType="1"/>
              </p:cNvSpPr>
              <p:nvPr/>
            </p:nvSpPr>
            <p:spPr bwMode="gray">
              <a:xfrm>
                <a:off x="2940670" y="3104084"/>
                <a:ext cx="0" cy="1519237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5" name="Rectangle 37"/>
              <p:cNvSpPr>
                <a:spLocks noChangeArrowheads="1"/>
              </p:cNvSpPr>
              <p:nvPr/>
            </p:nvSpPr>
            <p:spPr bwMode="gray">
              <a:xfrm>
                <a:off x="1653208" y="2935809"/>
                <a:ext cx="225425" cy="1693862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6" name="Rectangle 37"/>
              <p:cNvSpPr>
                <a:spLocks noChangeArrowheads="1"/>
              </p:cNvSpPr>
              <p:nvPr/>
            </p:nvSpPr>
            <p:spPr bwMode="gray">
              <a:xfrm>
                <a:off x="3250233" y="3104084"/>
                <a:ext cx="227012" cy="53657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57844E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7" name="Rectangle 37"/>
              <p:cNvSpPr>
                <a:spLocks noChangeArrowheads="1"/>
              </p:cNvSpPr>
              <p:nvPr/>
            </p:nvSpPr>
            <p:spPr bwMode="gray">
              <a:xfrm>
                <a:off x="3477245" y="3640659"/>
                <a:ext cx="225425" cy="989012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12700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8" name="Rectangle 37"/>
              <p:cNvSpPr>
                <a:spLocks noChangeArrowheads="1"/>
              </p:cNvSpPr>
              <p:nvPr/>
            </p:nvSpPr>
            <p:spPr bwMode="gray">
              <a:xfrm>
                <a:off x="2596183" y="3104084"/>
                <a:ext cx="225425" cy="1525587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12700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9" name="Rectangle 37"/>
              <p:cNvSpPr>
                <a:spLocks noChangeArrowheads="1"/>
              </p:cNvSpPr>
              <p:nvPr/>
            </p:nvSpPr>
            <p:spPr bwMode="gray">
              <a:xfrm>
                <a:off x="4129708" y="3640659"/>
                <a:ext cx="227012" cy="436562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57844E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0" name="Rectangle 37"/>
              <p:cNvSpPr>
                <a:spLocks noChangeArrowheads="1"/>
              </p:cNvSpPr>
              <p:nvPr/>
            </p:nvSpPr>
            <p:spPr bwMode="gray">
              <a:xfrm>
                <a:off x="4356720" y="4077221"/>
                <a:ext cx="225425" cy="552450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12700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1" name="Rectangle 37"/>
              <p:cNvSpPr>
                <a:spLocks noChangeArrowheads="1"/>
              </p:cNvSpPr>
              <p:nvPr/>
            </p:nvSpPr>
            <p:spPr bwMode="gray">
              <a:xfrm>
                <a:off x="5010770" y="3104084"/>
                <a:ext cx="227013" cy="40322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57844E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2" name="Line 49"/>
              <p:cNvSpPr>
                <a:spLocks noChangeShapeType="1"/>
              </p:cNvSpPr>
              <p:nvPr/>
            </p:nvSpPr>
            <p:spPr bwMode="gray">
              <a:xfrm>
                <a:off x="1448420" y="4629671"/>
                <a:ext cx="4348163" cy="0"/>
              </a:xfrm>
              <a:prstGeom prst="line">
                <a:avLst/>
              </a:prstGeom>
              <a:noFill/>
              <a:ln w="9525">
                <a:solidFill>
                  <a:srgbClr val="39573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3" name="Line 50"/>
              <p:cNvSpPr>
                <a:spLocks noChangeShapeType="1"/>
              </p:cNvSpPr>
              <p:nvPr/>
            </p:nvSpPr>
            <p:spPr bwMode="gray">
              <a:xfrm>
                <a:off x="3823320" y="3651771"/>
                <a:ext cx="0" cy="971550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4" name="Line 51"/>
              <p:cNvSpPr>
                <a:spLocks noChangeShapeType="1"/>
              </p:cNvSpPr>
              <p:nvPr/>
            </p:nvSpPr>
            <p:spPr bwMode="gray">
              <a:xfrm>
                <a:off x="4713908" y="4077221"/>
                <a:ext cx="0" cy="546100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5" name="Line 52"/>
              <p:cNvSpPr>
                <a:spLocks noChangeShapeType="1"/>
              </p:cNvSpPr>
              <p:nvPr/>
            </p:nvSpPr>
            <p:spPr bwMode="gray">
              <a:xfrm>
                <a:off x="5329858" y="3512071"/>
                <a:ext cx="331787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6" name="Line 53"/>
              <p:cNvSpPr>
                <a:spLocks noChangeShapeType="1"/>
              </p:cNvSpPr>
              <p:nvPr/>
            </p:nvSpPr>
            <p:spPr bwMode="gray">
              <a:xfrm>
                <a:off x="5577508" y="3537471"/>
                <a:ext cx="0" cy="1085850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7" name="Oval 54"/>
              <p:cNvSpPr>
                <a:spLocks noChangeArrowheads="1"/>
              </p:cNvSpPr>
              <p:nvPr/>
            </p:nvSpPr>
            <p:spPr bwMode="gray">
              <a:xfrm>
                <a:off x="1941514" y="3607321"/>
                <a:ext cx="156716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1</a:t>
                </a:r>
                <a:endParaRPr kumimoji="0" lang="en-US" altLang="ko-KR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8" name="Oval 55"/>
              <p:cNvSpPr>
                <a:spLocks noChangeArrowheads="1"/>
              </p:cNvSpPr>
              <p:nvPr/>
            </p:nvSpPr>
            <p:spPr bwMode="gray">
              <a:xfrm>
                <a:off x="2878139" y="3712096"/>
                <a:ext cx="156716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2</a:t>
                </a:r>
                <a:endParaRPr kumimoji="0" lang="ko-KR" alt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9" name="Oval 56"/>
              <p:cNvSpPr>
                <a:spLocks noChangeArrowheads="1"/>
              </p:cNvSpPr>
              <p:nvPr/>
            </p:nvSpPr>
            <p:spPr bwMode="gray">
              <a:xfrm>
                <a:off x="3749676" y="3969272"/>
                <a:ext cx="156717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3</a:t>
                </a:r>
                <a:endParaRPr kumimoji="0" lang="ko-KR" alt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0" name="Oval 57"/>
              <p:cNvSpPr>
                <a:spLocks noChangeArrowheads="1"/>
              </p:cNvSpPr>
              <p:nvPr/>
            </p:nvSpPr>
            <p:spPr bwMode="gray">
              <a:xfrm>
                <a:off x="4654551" y="4205809"/>
                <a:ext cx="156717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4</a:t>
                </a:r>
                <a:endParaRPr kumimoji="0" lang="ko-KR" alt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1" name="Oval 58"/>
              <p:cNvSpPr>
                <a:spLocks noChangeArrowheads="1"/>
              </p:cNvSpPr>
              <p:nvPr/>
            </p:nvSpPr>
            <p:spPr bwMode="gray">
              <a:xfrm>
                <a:off x="5516564" y="3912121"/>
                <a:ext cx="156716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5</a:t>
                </a:r>
                <a:endParaRPr kumimoji="0" lang="ko-KR" alt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2" name="Text Box 59"/>
              <p:cNvSpPr txBox="1">
                <a:spLocks noChangeArrowheads="1"/>
              </p:cNvSpPr>
              <p:nvPr/>
            </p:nvSpPr>
            <p:spPr bwMode="gray">
              <a:xfrm>
                <a:off x="2561839" y="2892946"/>
                <a:ext cx="368727" cy="2059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필터링</a:t>
                </a:r>
              </a:p>
            </p:txBody>
          </p:sp>
          <p:sp>
            <p:nvSpPr>
              <p:cNvPr id="353" name="Text Box 60"/>
              <p:cNvSpPr txBox="1">
                <a:spLocks noChangeArrowheads="1"/>
              </p:cNvSpPr>
              <p:nvPr/>
            </p:nvSpPr>
            <p:spPr bwMode="gray">
              <a:xfrm>
                <a:off x="3451942" y="3058046"/>
                <a:ext cx="291908" cy="323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접촉</a:t>
                </a:r>
                <a:b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실패</a:t>
                </a:r>
              </a:p>
            </p:txBody>
          </p:sp>
          <p:sp>
            <p:nvSpPr>
              <p:cNvPr id="354" name="Text Box 61"/>
              <p:cNvSpPr txBox="1">
                <a:spLocks noChangeArrowheads="1"/>
              </p:cNvSpPr>
              <p:nvPr/>
            </p:nvSpPr>
            <p:spPr bwMode="gray">
              <a:xfrm>
                <a:off x="4288458" y="3607321"/>
                <a:ext cx="573976" cy="323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채널 거부 </a:t>
                </a:r>
                <a:r>
                  <a:rPr kumimoji="1" lang="en-US" altLang="ko-KR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or</a:t>
                </a:r>
              </a:p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캠페인 거부</a:t>
                </a:r>
              </a:p>
            </p:txBody>
          </p:sp>
          <p:sp>
            <p:nvSpPr>
              <p:cNvPr id="355" name="Line 65"/>
              <p:cNvSpPr>
                <a:spLocks noChangeShapeType="1"/>
              </p:cNvSpPr>
              <p:nvPr/>
            </p:nvSpPr>
            <p:spPr bwMode="gray">
              <a:xfrm>
                <a:off x="1815133" y="5521846"/>
                <a:ext cx="3263900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6" name="Line 66"/>
              <p:cNvSpPr>
                <a:spLocks noChangeShapeType="1"/>
              </p:cNvSpPr>
              <p:nvPr/>
            </p:nvSpPr>
            <p:spPr bwMode="gray">
              <a:xfrm>
                <a:off x="1997695" y="5520259"/>
                <a:ext cx="0" cy="865187"/>
              </a:xfrm>
              <a:prstGeom prst="line">
                <a:avLst/>
              </a:prstGeom>
              <a:noFill/>
              <a:ln w="9525">
                <a:solidFill>
                  <a:srgbClr val="395733"/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7" name="Rectangle 37"/>
              <p:cNvSpPr>
                <a:spLocks noChangeArrowheads="1"/>
              </p:cNvSpPr>
              <p:nvPr/>
            </p:nvSpPr>
            <p:spPr bwMode="gray">
              <a:xfrm>
                <a:off x="1653208" y="5521846"/>
                <a:ext cx="225425" cy="865188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3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8" name="Rectangle 37"/>
              <p:cNvSpPr>
                <a:spLocks noChangeArrowheads="1"/>
              </p:cNvSpPr>
              <p:nvPr/>
            </p:nvSpPr>
            <p:spPr bwMode="gray">
              <a:xfrm>
                <a:off x="5010770" y="5521846"/>
                <a:ext cx="227013" cy="388938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57844E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9" name="Line 69"/>
              <p:cNvSpPr>
                <a:spLocks noChangeShapeType="1"/>
              </p:cNvSpPr>
              <p:nvPr/>
            </p:nvSpPr>
            <p:spPr bwMode="gray">
              <a:xfrm>
                <a:off x="1478583" y="6387034"/>
                <a:ext cx="4348162" cy="0"/>
              </a:xfrm>
              <a:prstGeom prst="line">
                <a:avLst/>
              </a:prstGeom>
              <a:noFill/>
              <a:ln w="9525">
                <a:solidFill>
                  <a:srgbClr val="39573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0" name="Line 70"/>
              <p:cNvSpPr>
                <a:spLocks noChangeShapeType="1"/>
              </p:cNvSpPr>
              <p:nvPr/>
            </p:nvSpPr>
            <p:spPr bwMode="gray">
              <a:xfrm>
                <a:off x="5329858" y="5910784"/>
                <a:ext cx="331787" cy="0"/>
              </a:xfrm>
              <a:prstGeom prst="line">
                <a:avLst/>
              </a:prstGeom>
              <a:noFill/>
              <a:ln w="9525" cap="rnd">
                <a:solidFill>
                  <a:srgbClr val="395733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1" name="Line 71"/>
              <p:cNvSpPr>
                <a:spLocks noChangeShapeType="1"/>
              </p:cNvSpPr>
              <p:nvPr/>
            </p:nvSpPr>
            <p:spPr bwMode="gray">
              <a:xfrm>
                <a:off x="5577508" y="5907609"/>
                <a:ext cx="0" cy="479425"/>
              </a:xfrm>
              <a:prstGeom prst="line">
                <a:avLst/>
              </a:prstGeom>
              <a:noFill/>
              <a:ln w="9525">
                <a:solidFill>
                  <a:srgbClr val="395733"/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2" name="Oval 72"/>
              <p:cNvSpPr>
                <a:spLocks noChangeArrowheads="1"/>
              </p:cNvSpPr>
              <p:nvPr/>
            </p:nvSpPr>
            <p:spPr bwMode="gray">
              <a:xfrm>
                <a:off x="1941514" y="5745683"/>
                <a:ext cx="156716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6</a:t>
                </a:r>
                <a:endParaRPr kumimoji="0" lang="en-US" altLang="ko-KR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3" name="Oval 73"/>
              <p:cNvSpPr>
                <a:spLocks noChangeArrowheads="1"/>
              </p:cNvSpPr>
              <p:nvPr/>
            </p:nvSpPr>
            <p:spPr bwMode="gray">
              <a:xfrm>
                <a:off x="5516564" y="5988571"/>
                <a:ext cx="156716" cy="217488"/>
              </a:xfrm>
              <a:prstGeom prst="ellipse">
                <a:avLst/>
              </a:prstGeom>
              <a:solidFill>
                <a:srgbClr val="051640"/>
              </a:solidFill>
              <a:ln w="9525" algn="ctr">
                <a:solidFill>
                  <a:srgbClr val="395733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7</a:t>
                </a:r>
                <a:endParaRPr kumimoji="0" lang="ko-KR" alt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4" name="Oval 74"/>
              <p:cNvSpPr>
                <a:spLocks noChangeArrowheads="1"/>
              </p:cNvSpPr>
              <p:nvPr/>
            </p:nvSpPr>
            <p:spPr bwMode="gray">
              <a:xfrm>
                <a:off x="1375395" y="5142434"/>
                <a:ext cx="828675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프로모션</a:t>
                </a:r>
                <a:b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기획</a:t>
                </a:r>
              </a:p>
            </p:txBody>
          </p:sp>
          <p:sp>
            <p:nvSpPr>
              <p:cNvPr id="365" name="Oval 75"/>
              <p:cNvSpPr>
                <a:spLocks noChangeArrowheads="1"/>
              </p:cNvSpPr>
              <p:nvPr/>
            </p:nvSpPr>
            <p:spPr bwMode="gray">
              <a:xfrm>
                <a:off x="4804395" y="5142434"/>
                <a:ext cx="885825" cy="33655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프로모션 반응</a:t>
                </a:r>
                <a:b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1050" b="0" i="1" u="none" strike="noStrike" kern="0" cap="none" spc="0" normalizeH="0" baseline="0" noProof="0">
                    <a:ln>
                      <a:noFill/>
                    </a:ln>
                    <a:solidFill>
                      <a:srgbClr val="05164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관찰 완료</a:t>
                </a:r>
              </a:p>
            </p:txBody>
          </p:sp>
          <p:cxnSp>
            <p:nvCxnSpPr>
              <p:cNvPr id="366" name="AutoShape 76"/>
              <p:cNvCxnSpPr>
                <a:cxnSpLocks noChangeShapeType="1"/>
                <a:stCxn id="364" idx="6"/>
                <a:endCxn id="365" idx="2"/>
              </p:cNvCxnSpPr>
              <p:nvPr/>
            </p:nvCxnSpPr>
            <p:spPr bwMode="gray">
              <a:xfrm>
                <a:off x="2204070" y="5310709"/>
                <a:ext cx="2600325" cy="0"/>
              </a:xfrm>
              <a:prstGeom prst="straightConnector1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367" name="Text Box 77"/>
              <p:cNvSpPr txBox="1">
                <a:spLocks noChangeArrowheads="1"/>
              </p:cNvSpPr>
              <p:nvPr/>
            </p:nvSpPr>
            <p:spPr bwMode="gray">
              <a:xfrm>
                <a:off x="1545452" y="6401321"/>
                <a:ext cx="513961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프로모션</a:t>
                </a:r>
                <a:b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대상자 수</a:t>
                </a:r>
              </a:p>
            </p:txBody>
          </p:sp>
          <p:sp>
            <p:nvSpPr>
              <p:cNvPr id="368" name="Text Box 78"/>
              <p:cNvSpPr txBox="1">
                <a:spLocks noChangeArrowheads="1"/>
              </p:cNvSpPr>
              <p:nvPr/>
            </p:nvSpPr>
            <p:spPr bwMode="gray">
              <a:xfrm>
                <a:off x="5050656" y="6401321"/>
                <a:ext cx="513961" cy="353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프로모션</a:t>
                </a:r>
                <a:b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9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반응자 수</a:t>
                </a:r>
              </a:p>
            </p:txBody>
          </p:sp>
          <p:sp>
            <p:nvSpPr>
              <p:cNvPr id="369" name="Line 79"/>
              <p:cNvSpPr>
                <a:spLocks noChangeShapeType="1"/>
              </p:cNvSpPr>
              <p:nvPr/>
            </p:nvSpPr>
            <p:spPr bwMode="gray">
              <a:xfrm>
                <a:off x="1512088" y="5096396"/>
                <a:ext cx="4312921" cy="0"/>
              </a:xfrm>
              <a:prstGeom prst="line">
                <a:avLst/>
              </a:prstGeom>
              <a:noFill/>
              <a:ln w="9525">
                <a:solidFill>
                  <a:srgbClr val="808080">
                    <a:lumMod val="75000"/>
                  </a:srgb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0" name="Text Box 123"/>
              <p:cNvSpPr txBox="1">
                <a:spLocks noChangeArrowheads="1"/>
              </p:cNvSpPr>
              <p:nvPr/>
            </p:nvSpPr>
            <p:spPr bwMode="gray">
              <a:xfrm>
                <a:off x="5179045" y="5498035"/>
                <a:ext cx="445545" cy="323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프로모션</a:t>
                </a:r>
                <a:b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미반응</a:t>
                </a:r>
              </a:p>
            </p:txBody>
          </p:sp>
          <p:sp>
            <p:nvSpPr>
              <p:cNvPr id="371" name="Rectangle 37"/>
              <p:cNvSpPr>
                <a:spLocks noChangeArrowheads="1"/>
              </p:cNvSpPr>
              <p:nvPr/>
            </p:nvSpPr>
            <p:spPr bwMode="gray">
              <a:xfrm>
                <a:off x="5237783" y="5910784"/>
                <a:ext cx="225425" cy="476250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12700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2" name="Rectangle 37"/>
              <p:cNvSpPr>
                <a:spLocks noChangeArrowheads="1"/>
              </p:cNvSpPr>
              <p:nvPr/>
            </p:nvSpPr>
            <p:spPr bwMode="gray">
              <a:xfrm>
                <a:off x="2369170" y="2935809"/>
                <a:ext cx="227013" cy="16827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57844E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3" name="Text Box 128"/>
              <p:cNvSpPr txBox="1">
                <a:spLocks noChangeArrowheads="1"/>
              </p:cNvSpPr>
              <p:nvPr/>
            </p:nvSpPr>
            <p:spPr bwMode="gray">
              <a:xfrm>
                <a:off x="5232015" y="3107259"/>
                <a:ext cx="368727" cy="2059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미반응</a:t>
                </a:r>
                <a:endParaRPr kumimoji="1" lang="en-US" altLang="ko-KR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4" name="Rectangle 37"/>
              <p:cNvSpPr>
                <a:spLocks noChangeArrowheads="1"/>
              </p:cNvSpPr>
              <p:nvPr/>
            </p:nvSpPr>
            <p:spPr bwMode="gray">
              <a:xfrm>
                <a:off x="5237783" y="3507309"/>
                <a:ext cx="225425" cy="1122362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12700" algn="ctr">
                <a:solidFill>
                  <a:srgbClr val="395733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fr-FR"/>
                </a:defPPr>
                <a:lvl1pPr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1pPr>
                <a:lvl2pPr marL="4572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2pPr>
                <a:lvl3pPr marL="9144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3pPr>
                <a:lvl4pPr marL="13716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4pPr>
                <a:lvl5pPr marL="18288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1200" kern="1200">
                    <a:solidFill>
                      <a:schemeClr val="tx2"/>
                    </a:solidFill>
                    <a:latin typeface="Arial" charset="0"/>
                    <a:ea typeface="맑은 고딕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0" fontAlgn="base" latinLnBrk="1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13" name="AutoShape 85"/>
            <p:cNvSpPr>
              <a:spLocks noChangeArrowheads="1"/>
            </p:cNvSpPr>
            <p:nvPr/>
          </p:nvSpPr>
          <p:spPr bwMode="gray">
            <a:xfrm>
              <a:off x="8107007" y="1324108"/>
              <a:ext cx="1238481" cy="508174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접촉</a:t>
              </a:r>
              <a:b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성공자</a:t>
              </a: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수</a:t>
              </a:r>
            </a:p>
          </p:txBody>
        </p:sp>
        <p:sp>
          <p:nvSpPr>
            <p:cNvPr id="214" name="AutoShape 86"/>
            <p:cNvSpPr>
              <a:spLocks noChangeArrowheads="1"/>
            </p:cNvSpPr>
            <p:nvPr/>
          </p:nvSpPr>
          <p:spPr bwMode="gray">
            <a:xfrm>
              <a:off x="8107007" y="1900172"/>
              <a:ext cx="1238481" cy="51181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r>
                <a:rPr kumimoji="1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별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접촉 성공률</a:t>
              </a:r>
            </a:p>
          </p:txBody>
        </p:sp>
        <p:sp>
          <p:nvSpPr>
            <p:cNvPr id="215" name="AutoShape 87"/>
            <p:cNvSpPr>
              <a:spLocks noChangeArrowheads="1"/>
            </p:cNvSpPr>
            <p:nvPr/>
          </p:nvSpPr>
          <p:spPr bwMode="gray">
            <a:xfrm>
              <a:off x="8107007" y="4198489"/>
              <a:ext cx="1238481" cy="509995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률</a:t>
              </a:r>
            </a:p>
          </p:txBody>
        </p:sp>
        <p:sp>
          <p:nvSpPr>
            <p:cNvPr id="216" name="AutoShape 88"/>
            <p:cNvSpPr>
              <a:spLocks noChangeArrowheads="1"/>
            </p:cNvSpPr>
            <p:nvPr/>
          </p:nvSpPr>
          <p:spPr bwMode="gray">
            <a:xfrm>
              <a:off x="8107007" y="5352438"/>
              <a:ext cx="1238481" cy="508174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프로모션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률</a:t>
              </a:r>
            </a:p>
          </p:txBody>
        </p:sp>
        <p:sp>
          <p:nvSpPr>
            <p:cNvPr id="217" name="AutoShape 89"/>
            <p:cNvSpPr>
              <a:spLocks noChangeArrowheads="1"/>
            </p:cNvSpPr>
            <p:nvPr/>
          </p:nvSpPr>
          <p:spPr bwMode="gray">
            <a:xfrm>
              <a:off x="8107007" y="4772732"/>
              <a:ext cx="1238481" cy="51181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프로모션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18" name="AutoShape 90"/>
            <p:cNvSpPr>
              <a:spLocks noChangeArrowheads="1"/>
            </p:cNvSpPr>
            <p:nvPr/>
          </p:nvSpPr>
          <p:spPr bwMode="gray">
            <a:xfrm>
              <a:off x="8107007" y="2476236"/>
              <a:ext cx="1238481" cy="509995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19" name="AutoShape 91"/>
            <p:cNvSpPr>
              <a:spLocks noChangeArrowheads="1"/>
            </p:cNvSpPr>
            <p:nvPr/>
          </p:nvSpPr>
          <p:spPr bwMode="gray">
            <a:xfrm>
              <a:off x="8107007" y="3620604"/>
              <a:ext cx="1238481" cy="51181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캠페인</a:t>
              </a:r>
              <a:b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반응자 수</a:t>
              </a:r>
            </a:p>
          </p:txBody>
        </p:sp>
        <p:sp>
          <p:nvSpPr>
            <p:cNvPr id="220" name="AutoShape 92"/>
            <p:cNvSpPr>
              <a:spLocks noChangeArrowheads="1"/>
            </p:cNvSpPr>
            <p:nvPr/>
          </p:nvSpPr>
          <p:spPr bwMode="gray">
            <a:xfrm>
              <a:off x="8107007" y="3046361"/>
              <a:ext cx="1238481" cy="509995"/>
            </a:xfrm>
            <a:prstGeom prst="roundRect">
              <a:avLst>
                <a:gd name="adj" fmla="val 16667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75000"/>
                </a:srgbClr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채널 반응률</a:t>
              </a:r>
            </a:p>
          </p:txBody>
        </p:sp>
        <p:sp>
          <p:nvSpPr>
            <p:cNvPr id="304" name="Oval 101"/>
            <p:cNvSpPr>
              <a:spLocks noChangeArrowheads="1"/>
            </p:cNvSpPr>
            <p:nvPr/>
          </p:nvSpPr>
          <p:spPr bwMode="gray">
            <a:xfrm>
              <a:off x="8034999" y="1252100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3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5" name="Oval 102"/>
            <p:cNvSpPr>
              <a:spLocks noChangeArrowheads="1"/>
            </p:cNvSpPr>
            <p:nvPr/>
          </p:nvSpPr>
          <p:spPr bwMode="gray">
            <a:xfrm>
              <a:off x="8034999" y="2404228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6" name="Oval 103"/>
            <p:cNvSpPr>
              <a:spLocks noChangeArrowheads="1"/>
            </p:cNvSpPr>
            <p:nvPr/>
          </p:nvSpPr>
          <p:spPr bwMode="gray">
            <a:xfrm>
              <a:off x="8034999" y="1828164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3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7" name="Oval 106"/>
            <p:cNvSpPr>
              <a:spLocks noChangeArrowheads="1"/>
            </p:cNvSpPr>
            <p:nvPr/>
          </p:nvSpPr>
          <p:spPr bwMode="gray">
            <a:xfrm>
              <a:off x="8034999" y="2620252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4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8" name="Oval 107"/>
            <p:cNvSpPr>
              <a:spLocks noChangeArrowheads="1"/>
            </p:cNvSpPr>
            <p:nvPr/>
          </p:nvSpPr>
          <p:spPr bwMode="gray">
            <a:xfrm>
              <a:off x="8034999" y="2973728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3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9" name="Oval 108"/>
            <p:cNvSpPr>
              <a:spLocks noChangeArrowheads="1"/>
            </p:cNvSpPr>
            <p:nvPr/>
          </p:nvSpPr>
          <p:spPr bwMode="gray">
            <a:xfrm>
              <a:off x="8034999" y="3176405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4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0" name="Oval 112"/>
            <p:cNvSpPr>
              <a:spLocks noChangeArrowheads="1"/>
            </p:cNvSpPr>
            <p:nvPr/>
          </p:nvSpPr>
          <p:spPr bwMode="gray">
            <a:xfrm>
              <a:off x="8036140" y="3536445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5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1" name="Oval 114"/>
            <p:cNvSpPr>
              <a:spLocks noChangeArrowheads="1"/>
            </p:cNvSpPr>
            <p:nvPr/>
          </p:nvSpPr>
          <p:spPr bwMode="gray">
            <a:xfrm>
              <a:off x="8034999" y="4112509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2" name="Oval 115"/>
            <p:cNvSpPr>
              <a:spLocks noChangeArrowheads="1"/>
            </p:cNvSpPr>
            <p:nvPr/>
          </p:nvSpPr>
          <p:spPr bwMode="gray">
            <a:xfrm>
              <a:off x="8034999" y="4328533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5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3" name="Oval 118"/>
            <p:cNvSpPr>
              <a:spLocks noChangeArrowheads="1"/>
            </p:cNvSpPr>
            <p:nvPr/>
          </p:nvSpPr>
          <p:spPr bwMode="gray">
            <a:xfrm>
              <a:off x="8034999" y="4760581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7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4" name="Oval 119"/>
            <p:cNvSpPr>
              <a:spLocks noChangeArrowheads="1"/>
            </p:cNvSpPr>
            <p:nvPr/>
          </p:nvSpPr>
          <p:spPr bwMode="gray">
            <a:xfrm>
              <a:off x="8034999" y="5330426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6</a:t>
              </a:r>
              <a:endParaRPr kumimoji="0" lang="ko-KR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5" name="Oval 120"/>
            <p:cNvSpPr>
              <a:spLocks noChangeArrowheads="1"/>
            </p:cNvSpPr>
            <p:nvPr/>
          </p:nvSpPr>
          <p:spPr bwMode="gray">
            <a:xfrm>
              <a:off x="8034999" y="5552669"/>
              <a:ext cx="230369" cy="235935"/>
            </a:xfrm>
            <a:prstGeom prst="ellipse">
              <a:avLst/>
            </a:prstGeom>
            <a:solidFill>
              <a:srgbClr val="051640"/>
            </a:solidFill>
            <a:ln w="9525" algn="ctr">
              <a:solidFill>
                <a:srgbClr val="395733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200" kern="1200">
                  <a:solidFill>
                    <a:schemeClr val="tx2"/>
                  </a:solidFill>
                  <a:latin typeface="Arial" charset="0"/>
                  <a:ea typeface="맑은 고딕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7</a:t>
              </a:r>
              <a:endParaRPr kumimoji="0" lang="ko-KR" alt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127" name="그룹 12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6" name="그룹 13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1231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직사각형 70"/>
          <p:cNvSpPr/>
          <p:nvPr/>
        </p:nvSpPr>
        <p:spPr bwMode="auto">
          <a:xfrm>
            <a:off x="342288" y="2169945"/>
            <a:ext cx="4439976" cy="406736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2" name="그룹 71"/>
          <p:cNvGrpSpPr/>
          <p:nvPr/>
        </p:nvGrpSpPr>
        <p:grpSpPr>
          <a:xfrm>
            <a:off x="5114204" y="1858134"/>
            <a:ext cx="4439976" cy="302400"/>
            <a:chOff x="5405153" y="1916190"/>
            <a:chExt cx="4084351" cy="302400"/>
          </a:xfrm>
        </p:grpSpPr>
        <p:sp>
          <p:nvSpPr>
            <p:cNvPr id="77" name="직사각형 76"/>
            <p:cNvSpPr/>
            <p:nvPr/>
          </p:nvSpPr>
          <p:spPr bwMode="auto">
            <a:xfrm>
              <a:off x="6079176" y="1916190"/>
              <a:ext cx="2736304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 상시 모니터링 기능 정의</a:t>
              </a:r>
            </a:p>
          </p:txBody>
        </p:sp>
        <p:cxnSp>
          <p:nvCxnSpPr>
            <p:cNvPr id="78" name="직선 연결선 77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84" name="Rectangle 30"/>
          <p:cNvSpPr/>
          <p:nvPr/>
        </p:nvSpPr>
        <p:spPr bwMode="gray">
          <a:xfrm>
            <a:off x="342288" y="1844824"/>
            <a:ext cx="4439976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 상시 모니터링 구조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7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캠페인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모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시 모니터링을 위한 프로세스를 정의하고 관련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화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를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케팅 상시 모니터링 구조 및 기능 정의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31" name="직선 연결선 30"/>
          <p:cNvCxnSpPr/>
          <p:nvPr/>
        </p:nvCxnSpPr>
        <p:spPr bwMode="auto">
          <a:xfrm flipH="1">
            <a:off x="5114204" y="2953539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94" name="그룹 93"/>
          <p:cNvGrpSpPr/>
          <p:nvPr/>
        </p:nvGrpSpPr>
        <p:grpSpPr>
          <a:xfrm>
            <a:off x="5114204" y="3024564"/>
            <a:ext cx="4439976" cy="1027122"/>
            <a:chOff x="5114204" y="3004896"/>
            <a:chExt cx="4439976" cy="1367099"/>
          </a:xfrm>
        </p:grpSpPr>
        <p:sp>
          <p:nvSpPr>
            <p:cNvPr id="62" name="모서리가 둥근 직사각형 141"/>
            <p:cNvSpPr/>
            <p:nvPr/>
          </p:nvSpPr>
          <p:spPr bwMode="auto">
            <a:xfrm>
              <a:off x="5114204" y="3004896"/>
              <a:ext cx="996991" cy="1367099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능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3" name="모서리가 둥근 직사각형 141"/>
            <p:cNvSpPr/>
            <p:nvPr/>
          </p:nvSpPr>
          <p:spPr bwMode="auto">
            <a:xfrm>
              <a:off x="6144474" y="3004896"/>
              <a:ext cx="3409706" cy="136709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지표 별 집계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용자 지표 분석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수행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alarm</a:t>
              </a:r>
            </a:p>
          </p:txBody>
        </p:sp>
      </p:grpSp>
      <p:grpSp>
        <p:nvGrpSpPr>
          <p:cNvPr id="92" name="그룹 91"/>
          <p:cNvGrpSpPr/>
          <p:nvPr/>
        </p:nvGrpSpPr>
        <p:grpSpPr>
          <a:xfrm>
            <a:off x="5114204" y="4193736"/>
            <a:ext cx="4439976" cy="1129835"/>
            <a:chOff x="5114204" y="4494377"/>
            <a:chExt cx="4439976" cy="848862"/>
          </a:xfrm>
        </p:grpSpPr>
        <p:sp>
          <p:nvSpPr>
            <p:cNvPr id="64" name="모서리가 둥근 직사각형 141"/>
            <p:cNvSpPr/>
            <p:nvPr/>
          </p:nvSpPr>
          <p:spPr bwMode="auto">
            <a:xfrm>
              <a:off x="5114204" y="4494377"/>
              <a:ext cx="996991" cy="848861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데이터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5" name="모서리가 둥근 직사각형 141"/>
            <p:cNvSpPr/>
            <p:nvPr/>
          </p:nvSpPr>
          <p:spPr bwMode="auto">
            <a:xfrm>
              <a:off x="6144474" y="4494378"/>
              <a:ext cx="3409706" cy="84886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지표 신규 정의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ex. </a:t>
              </a:r>
              <a:r>
                <a:rPr lang="ko-KR" altLang="en-US" sz="12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추가취급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응모회원수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응모회원 </a:t>
              </a:r>
              <a:r>
                <a:rPr lang="ko-KR" altLang="en-US" sz="12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취급고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등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수행 일정</a:t>
              </a:r>
              <a:endParaRPr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3" name="그룹 92"/>
          <p:cNvGrpSpPr/>
          <p:nvPr/>
        </p:nvGrpSpPr>
        <p:grpSpPr>
          <a:xfrm>
            <a:off x="5114204" y="5465620"/>
            <a:ext cx="4439976" cy="771692"/>
            <a:chOff x="5114204" y="5465620"/>
            <a:chExt cx="4439976" cy="771692"/>
          </a:xfrm>
        </p:grpSpPr>
        <p:sp>
          <p:nvSpPr>
            <p:cNvPr id="66" name="모서리가 둥근 직사각형 141"/>
            <p:cNvSpPr/>
            <p:nvPr/>
          </p:nvSpPr>
          <p:spPr bwMode="auto">
            <a:xfrm>
              <a:off x="5114204" y="5465620"/>
              <a:ext cx="996991" cy="771692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타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/F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모서리가 둥근 직사각형 141"/>
            <p:cNvSpPr/>
            <p:nvPr/>
          </p:nvSpPr>
          <p:spPr bwMode="auto">
            <a:xfrm>
              <a:off x="6144474" y="5465620"/>
              <a:ext cx="3409706" cy="77169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N/A</a:t>
              </a:r>
              <a:endParaRPr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68" name="직선 연결선 67"/>
          <p:cNvCxnSpPr/>
          <p:nvPr/>
        </p:nvCxnSpPr>
        <p:spPr bwMode="auto">
          <a:xfrm flipH="1">
            <a:off x="5114204" y="4122711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9" name="직선 연결선 68"/>
          <p:cNvCxnSpPr/>
          <p:nvPr/>
        </p:nvCxnSpPr>
        <p:spPr bwMode="auto">
          <a:xfrm flipH="1">
            <a:off x="5114204" y="5394596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95" name="그룹 94"/>
          <p:cNvGrpSpPr/>
          <p:nvPr/>
        </p:nvGrpSpPr>
        <p:grpSpPr>
          <a:xfrm>
            <a:off x="5114204" y="2400690"/>
            <a:ext cx="4439976" cy="481824"/>
            <a:chOff x="5114204" y="2400690"/>
            <a:chExt cx="4439976" cy="481824"/>
          </a:xfrm>
        </p:grpSpPr>
        <p:sp>
          <p:nvSpPr>
            <p:cNvPr id="55" name="모서리가 둥근 직사각형 141"/>
            <p:cNvSpPr/>
            <p:nvPr/>
          </p:nvSpPr>
          <p:spPr bwMode="auto">
            <a:xfrm>
              <a:off x="5114204" y="2403354"/>
              <a:ext cx="996991" cy="479160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면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모서리가 둥근 직사각형 141"/>
            <p:cNvSpPr/>
            <p:nvPr/>
          </p:nvSpPr>
          <p:spPr bwMode="auto">
            <a:xfrm>
              <a:off x="6144474" y="2400690"/>
              <a:ext cx="3409706" cy="48182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UI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구성정보에 따른 필수 지표 산정</a:t>
              </a:r>
              <a:endPara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용자 지표 분석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3" name="직사각형 72"/>
          <p:cNvSpPr/>
          <p:nvPr/>
        </p:nvSpPr>
        <p:spPr bwMode="auto">
          <a:xfrm>
            <a:off x="578404" y="4181088"/>
            <a:ext cx="1638292" cy="42814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수행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larm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578404" y="5549240"/>
            <a:ext cx="1638292" cy="42814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모니터링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2977490" y="5549240"/>
            <a:ext cx="1638292" cy="42814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자 지표 분석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lnSpc>
                <a:spcPct val="50000"/>
              </a:lnSpc>
              <a:spcBef>
                <a:spcPct val="50000"/>
              </a:spcBef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SQL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등록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76" name="Rectangle 37"/>
          <p:cNvSpPr>
            <a:spLocks noChangeArrowheads="1"/>
          </p:cNvSpPr>
          <p:nvPr/>
        </p:nvSpPr>
        <p:spPr bwMode="gray">
          <a:xfrm>
            <a:off x="2977490" y="3915653"/>
            <a:ext cx="1638292" cy="13444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395733"/>
            </a:solidFill>
            <a:miter lim="800000"/>
            <a:headEnd/>
            <a:tailEnd/>
          </a:ln>
          <a:effectLst/>
        </p:spPr>
        <p:txBody>
          <a:bodyPr wrap="none" anchor="t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계</a:t>
            </a:r>
            <a:endParaRPr kumimoji="1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119656" y="4212256"/>
            <a:ext cx="1353960" cy="35383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-1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119656" y="4633409"/>
            <a:ext cx="1353960" cy="56421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접촉 정보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성과 정보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560512" y="2420888"/>
            <a:ext cx="1353960" cy="6144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운영마스터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B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적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형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560512" y="3190329"/>
            <a:ext cx="1353960" cy="6144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등록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지표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일자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2950968" y="2478758"/>
            <a:ext cx="1353960" cy="83432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 지표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필수 지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조 지표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" name="꺾인 연결선 5"/>
          <p:cNvCxnSpPr>
            <a:stCxn id="81" idx="3"/>
            <a:endCxn id="83" idx="1"/>
          </p:cNvCxnSpPr>
          <p:nvPr/>
        </p:nvCxnSpPr>
        <p:spPr bwMode="auto">
          <a:xfrm>
            <a:off x="1914472" y="2728134"/>
            <a:ext cx="1036496" cy="16778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6" name="꺾인 연결선 85"/>
          <p:cNvCxnSpPr>
            <a:stCxn id="82" idx="3"/>
            <a:endCxn id="83" idx="1"/>
          </p:cNvCxnSpPr>
          <p:nvPr/>
        </p:nvCxnSpPr>
        <p:spPr bwMode="auto">
          <a:xfrm flipV="1">
            <a:off x="1914472" y="2895922"/>
            <a:ext cx="1036496" cy="601653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7" name="꺾인 연결선 86"/>
          <p:cNvCxnSpPr>
            <a:stCxn id="82" idx="2"/>
            <a:endCxn id="73" idx="0"/>
          </p:cNvCxnSpPr>
          <p:nvPr/>
        </p:nvCxnSpPr>
        <p:spPr bwMode="auto">
          <a:xfrm rot="16200000" flipH="1">
            <a:off x="1129387" y="3912925"/>
            <a:ext cx="376268" cy="16005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" name="직선 화살표 연결선 16"/>
          <p:cNvCxnSpPr>
            <a:stCxn id="73" idx="2"/>
            <a:endCxn id="74" idx="0"/>
          </p:cNvCxnSpPr>
          <p:nvPr/>
        </p:nvCxnSpPr>
        <p:spPr bwMode="auto">
          <a:xfrm>
            <a:off x="1397550" y="4609229"/>
            <a:ext cx="0" cy="94001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" name="직선 연결선 18"/>
          <p:cNvCxnSpPr>
            <a:stCxn id="73" idx="3"/>
            <a:endCxn id="79" idx="1"/>
          </p:cNvCxnSpPr>
          <p:nvPr/>
        </p:nvCxnSpPr>
        <p:spPr bwMode="auto">
          <a:xfrm flipV="1">
            <a:off x="2216696" y="4389174"/>
            <a:ext cx="902960" cy="598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1" name="꺾인 연결선 90"/>
          <p:cNvCxnSpPr/>
          <p:nvPr/>
        </p:nvCxnSpPr>
        <p:spPr bwMode="auto">
          <a:xfrm rot="16200000" flipH="1">
            <a:off x="3626982" y="3678326"/>
            <a:ext cx="899171" cy="16868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0" name="직선 화살표 연결선 89"/>
          <p:cNvCxnSpPr>
            <a:stCxn id="80" idx="2"/>
            <a:endCxn id="75" idx="0"/>
          </p:cNvCxnSpPr>
          <p:nvPr/>
        </p:nvCxnSpPr>
        <p:spPr bwMode="auto">
          <a:xfrm>
            <a:off x="3796636" y="5197623"/>
            <a:ext cx="0" cy="35161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61" name="그룹 6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4" name="그룹 11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277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직사각형 65"/>
          <p:cNvSpPr/>
          <p:nvPr/>
        </p:nvSpPr>
        <p:spPr bwMode="auto">
          <a:xfrm>
            <a:off x="342288" y="2169945"/>
            <a:ext cx="4439976" cy="406736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5114204" y="1858134"/>
            <a:ext cx="4439976" cy="302400"/>
            <a:chOff x="5405153" y="1916190"/>
            <a:chExt cx="4084351" cy="302400"/>
          </a:xfrm>
        </p:grpSpPr>
        <p:sp>
          <p:nvSpPr>
            <p:cNvPr id="70" name="직사각형 69"/>
            <p:cNvSpPr/>
            <p:nvPr/>
          </p:nvSpPr>
          <p:spPr bwMode="auto">
            <a:xfrm>
              <a:off x="5791864" y="1916190"/>
              <a:ext cx="3310927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모션 유형별 성과분석 표준화 기능 정의</a:t>
              </a:r>
            </a:p>
          </p:txBody>
        </p:sp>
        <p:cxnSp>
          <p:nvCxnSpPr>
            <p:cNvPr id="71" name="직선 연결선 70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72" name="Rectangle 30"/>
          <p:cNvSpPr/>
          <p:nvPr/>
        </p:nvSpPr>
        <p:spPr bwMode="gray">
          <a:xfrm>
            <a:off x="342288" y="1844824"/>
            <a:ext cx="4439976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모션 유형별 성과분석 표준화 구조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분석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8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터간 프로모션 성과 분석 결과 공유를 위한 시스템 처리 흐름과 관련 기능을 정의함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모션 유형별 성과분석 표준화를 위한 기능 정의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31" name="직선 연결선 30"/>
          <p:cNvCxnSpPr/>
          <p:nvPr/>
        </p:nvCxnSpPr>
        <p:spPr bwMode="auto">
          <a:xfrm flipH="1">
            <a:off x="5114204" y="3520093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35" name="그룹 34"/>
          <p:cNvGrpSpPr/>
          <p:nvPr/>
        </p:nvGrpSpPr>
        <p:grpSpPr>
          <a:xfrm>
            <a:off x="5114204" y="3586465"/>
            <a:ext cx="4439976" cy="579784"/>
            <a:chOff x="5114204" y="3004896"/>
            <a:chExt cx="4439976" cy="1367099"/>
          </a:xfrm>
        </p:grpSpPr>
        <p:sp>
          <p:nvSpPr>
            <p:cNvPr id="36" name="모서리가 둥근 직사각형 141"/>
            <p:cNvSpPr/>
            <p:nvPr/>
          </p:nvSpPr>
          <p:spPr bwMode="auto">
            <a:xfrm>
              <a:off x="5114204" y="3004896"/>
              <a:ext cx="996991" cy="1367099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능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" name="모서리가 둥근 직사각형 141"/>
            <p:cNvSpPr/>
            <p:nvPr/>
          </p:nvSpPr>
          <p:spPr bwMode="auto">
            <a:xfrm>
              <a:off x="6144474" y="3004896"/>
              <a:ext cx="3409706" cy="136709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성과 보고 지표는 목적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형으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동 정의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5114204" y="4298993"/>
            <a:ext cx="4439976" cy="1129835"/>
            <a:chOff x="5114204" y="4494377"/>
            <a:chExt cx="4439976" cy="848862"/>
          </a:xfrm>
        </p:grpSpPr>
        <p:sp>
          <p:nvSpPr>
            <p:cNvPr id="39" name="모서리가 둥근 직사각형 141"/>
            <p:cNvSpPr/>
            <p:nvPr/>
          </p:nvSpPr>
          <p:spPr bwMode="auto">
            <a:xfrm>
              <a:off x="5114204" y="4494377"/>
              <a:ext cx="996991" cy="848861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데이터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모서리가 둥근 직사각형 141"/>
            <p:cNvSpPr/>
            <p:nvPr/>
          </p:nvSpPr>
          <p:spPr bwMode="auto">
            <a:xfrm>
              <a:off x="6144474" y="4494378"/>
              <a:ext cx="3409706" cy="84886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성과 분석 결과 관리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성 지표 관리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ex.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경쟁사 프로모션 현황 등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 지표 관리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ex.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비용 오차율 등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5114204" y="5561574"/>
            <a:ext cx="4439976" cy="579784"/>
            <a:chOff x="5114204" y="5465620"/>
            <a:chExt cx="4439976" cy="771692"/>
          </a:xfrm>
        </p:grpSpPr>
        <p:sp>
          <p:nvSpPr>
            <p:cNvPr id="42" name="모서리가 둥근 직사각형 141"/>
            <p:cNvSpPr/>
            <p:nvPr/>
          </p:nvSpPr>
          <p:spPr bwMode="auto">
            <a:xfrm>
              <a:off x="5114204" y="5465620"/>
              <a:ext cx="996991" cy="771692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타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/F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모서리가 둥근 직사각형 141"/>
            <p:cNvSpPr/>
            <p:nvPr/>
          </p:nvSpPr>
          <p:spPr bwMode="auto">
            <a:xfrm>
              <a:off x="6144474" y="5465620"/>
              <a:ext cx="3409706" cy="77169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N/A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4" name="직선 연결선 43"/>
          <p:cNvCxnSpPr/>
          <p:nvPr/>
        </p:nvCxnSpPr>
        <p:spPr bwMode="auto">
          <a:xfrm flipH="1">
            <a:off x="5114204" y="4232621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45" name="직선 연결선 44"/>
          <p:cNvCxnSpPr/>
          <p:nvPr/>
        </p:nvCxnSpPr>
        <p:spPr bwMode="auto">
          <a:xfrm flipH="1">
            <a:off x="5114204" y="5495200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46" name="그룹 45"/>
          <p:cNvGrpSpPr/>
          <p:nvPr/>
        </p:nvGrpSpPr>
        <p:grpSpPr>
          <a:xfrm>
            <a:off x="5114204" y="2420888"/>
            <a:ext cx="4439976" cy="1032833"/>
            <a:chOff x="5114204" y="2400690"/>
            <a:chExt cx="4439976" cy="481824"/>
          </a:xfrm>
        </p:grpSpPr>
        <p:sp>
          <p:nvSpPr>
            <p:cNvPr id="47" name="모서리가 둥근 직사각형 141"/>
            <p:cNvSpPr/>
            <p:nvPr/>
          </p:nvSpPr>
          <p:spPr bwMode="auto">
            <a:xfrm>
              <a:off x="5114204" y="2403354"/>
              <a:ext cx="996991" cy="479160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면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모서리가 둥근 직사각형 141"/>
            <p:cNvSpPr/>
            <p:nvPr/>
          </p:nvSpPr>
          <p:spPr bwMode="auto">
            <a:xfrm>
              <a:off x="6144474" y="2400690"/>
              <a:ext cx="3409706" cy="48182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모션 성과 분석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성지표 등록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회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프로세스 지표 조회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모션 비교 분석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9" name="직사각형 48"/>
          <p:cNvSpPr/>
          <p:nvPr/>
        </p:nvSpPr>
        <p:spPr bwMode="auto">
          <a:xfrm>
            <a:off x="560512" y="4221088"/>
            <a:ext cx="1306598" cy="9252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접촉 정보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매출 정보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제공 정보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 정보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 정보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Rectangle 37"/>
          <p:cNvSpPr>
            <a:spLocks noChangeArrowheads="1"/>
          </p:cNvSpPr>
          <p:nvPr/>
        </p:nvSpPr>
        <p:spPr bwMode="gray">
          <a:xfrm>
            <a:off x="2039470" y="4221088"/>
            <a:ext cx="2622177" cy="9252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395733"/>
            </a:solidFill>
            <a:miter lim="800000"/>
            <a:headEnd/>
            <a:tailEnd/>
          </a:ln>
          <a:effectLst/>
        </p:spPr>
        <p:txBody>
          <a:bodyPr wrap="none" anchor="t"/>
          <a:lstStyle>
            <a:defPPr>
              <a:defRPr lang="fr-FR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chemeClr val="tx2"/>
                </a:solidFill>
                <a:latin typeface="Arial" charset="0"/>
                <a:ea typeface="맑은 고딕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모니터링 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 </a:t>
            </a: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성과 </a:t>
            </a:r>
            <a:r>
              <a:rPr kumimoji="1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마트</a:t>
            </a:r>
            <a:endParaRPr kumimoji="1" lang="ko-KR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2139228" y="4442734"/>
            <a:ext cx="1187816" cy="6555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지표 정보</a:t>
            </a:r>
            <a:endParaRPr kumimoji="1" lang="en-US" altLang="ko-KR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-1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560512" y="2397804"/>
            <a:ext cx="1353960" cy="50784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운영마스터</a:t>
            </a:r>
            <a:endParaRPr kumimoji="1" lang="en-US" altLang="ko-KR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B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적 </a:t>
            </a: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형</a:t>
            </a:r>
            <a:endParaRPr kumimoji="1"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560512" y="3045876"/>
            <a:ext cx="1353960" cy="50784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등록</a:t>
            </a:r>
            <a:endParaRPr kumimoji="1" lang="en-US" altLang="ko-KR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지표</a:t>
            </a:r>
            <a:endParaRPr kumimoji="1"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일자</a:t>
            </a:r>
            <a:endParaRPr kumimoji="1"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2950968" y="2527372"/>
            <a:ext cx="1353960" cy="68952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 지표</a:t>
            </a:r>
            <a:endParaRPr kumimoji="1" lang="en-US" altLang="ko-KR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필수 지표 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조 지표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2/14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집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4" name="꺾인 연결선 63"/>
          <p:cNvCxnSpPr>
            <a:stCxn id="55" idx="3"/>
            <a:endCxn id="63" idx="1"/>
          </p:cNvCxnSpPr>
          <p:nvPr/>
        </p:nvCxnSpPr>
        <p:spPr bwMode="auto">
          <a:xfrm>
            <a:off x="1914472" y="2651726"/>
            <a:ext cx="1036496" cy="22040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5" name="꺾인 연결선 64"/>
          <p:cNvCxnSpPr>
            <a:stCxn id="62" idx="3"/>
            <a:endCxn id="63" idx="1"/>
          </p:cNvCxnSpPr>
          <p:nvPr/>
        </p:nvCxnSpPr>
        <p:spPr bwMode="auto">
          <a:xfrm flipV="1">
            <a:off x="1914472" y="2872135"/>
            <a:ext cx="1036496" cy="42766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7" name="직선 화살표 연결선 66"/>
          <p:cNvCxnSpPr>
            <a:stCxn id="78" idx="3"/>
            <a:endCxn id="83" idx="1"/>
          </p:cNvCxnSpPr>
          <p:nvPr/>
        </p:nvCxnSpPr>
        <p:spPr bwMode="auto">
          <a:xfrm>
            <a:off x="1867110" y="5746739"/>
            <a:ext cx="20533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69" name="꺾인 연결선 68"/>
          <p:cNvCxnSpPr>
            <a:stCxn id="74" idx="2"/>
            <a:endCxn id="82" idx="0"/>
          </p:cNvCxnSpPr>
          <p:nvPr/>
        </p:nvCxnSpPr>
        <p:spPr bwMode="auto">
          <a:xfrm rot="16200000" flipH="1">
            <a:off x="2377798" y="2830903"/>
            <a:ext cx="471525" cy="2752136"/>
          </a:xfrm>
          <a:prstGeom prst="bentConnector3">
            <a:avLst>
              <a:gd name="adj1" fmla="val 2576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4" name="직사각형 73"/>
          <p:cNvSpPr/>
          <p:nvPr/>
        </p:nvSpPr>
        <p:spPr bwMode="auto">
          <a:xfrm>
            <a:off x="560512" y="3649541"/>
            <a:ext cx="1353960" cy="32166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성지표 등록</a:t>
            </a: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타사 </a:t>
            </a: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장 현황</a:t>
            </a: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560512" y="5326187"/>
            <a:ext cx="1306598" cy="84110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성과 분석</a:t>
            </a:r>
            <a:endParaRPr kumimoji="1" lang="en-US" altLang="ko-KR" sz="10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 비용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OI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성지표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 지표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395720" y="4442734"/>
            <a:ext cx="1187816" cy="6555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비용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OI</a:t>
            </a: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성지표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 지표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2072441" y="5326187"/>
            <a:ext cx="1152882" cy="84110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성과공유</a:t>
            </a:r>
            <a:endParaRPr kumimoji="1" lang="en-US" altLang="ko-KR" sz="10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 반응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공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패 요소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430654" y="5326187"/>
            <a:ext cx="1152882" cy="84110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lnSpc>
                <a:spcPct val="50000"/>
              </a:lnSpc>
              <a:spcBef>
                <a:spcPct val="50000"/>
              </a:spcBef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계획</a:t>
            </a:r>
            <a:endParaRPr kumimoji="1" lang="en-US" altLang="ko-KR" sz="10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상 고객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상 가맹점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7313" indent="-87313" latinLnBrk="0">
              <a:lnSpc>
                <a:spcPct val="50000"/>
              </a:lnSpc>
              <a:spcBef>
                <a:spcPct val="50000"/>
              </a:spcBef>
              <a:buFont typeface="맑은 고딕" panose="020B0503020000020004" pitchFamily="50" charset="-127"/>
              <a:buChar char="-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상 상품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8" name="꺾인 연결선 87"/>
          <p:cNvCxnSpPr>
            <a:stCxn id="82" idx="2"/>
            <a:endCxn id="78" idx="0"/>
          </p:cNvCxnSpPr>
          <p:nvPr/>
        </p:nvCxnSpPr>
        <p:spPr bwMode="auto">
          <a:xfrm rot="5400000">
            <a:off x="2487762" y="3824320"/>
            <a:ext cx="227917" cy="2775817"/>
          </a:xfrm>
          <a:prstGeom prst="bentConnector3">
            <a:avLst>
              <a:gd name="adj1" fmla="val 61145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4" name="직선 화살표 연결선 93"/>
          <p:cNvCxnSpPr>
            <a:stCxn id="83" idx="3"/>
            <a:endCxn id="84" idx="1"/>
          </p:cNvCxnSpPr>
          <p:nvPr/>
        </p:nvCxnSpPr>
        <p:spPr bwMode="auto">
          <a:xfrm>
            <a:off x="3225323" y="5746739"/>
            <a:ext cx="20533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triangle"/>
          </a:ln>
          <a:effectLst/>
        </p:spPr>
      </p:cxnSp>
      <p:grpSp>
        <p:nvGrpSpPr>
          <p:cNvPr id="91" name="그룹 9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094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30"/>
          <p:cNvSpPr/>
          <p:nvPr/>
        </p:nvSpPr>
        <p:spPr bwMode="gray">
          <a:xfrm>
            <a:off x="273050" y="3249103"/>
            <a:ext cx="93599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" name="Rectangle 30"/>
          <p:cNvSpPr/>
          <p:nvPr/>
        </p:nvSpPr>
        <p:spPr bwMode="gray">
          <a:xfrm>
            <a:off x="273050" y="2928152"/>
            <a:ext cx="935990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고객</a:t>
            </a:r>
            <a:r>
              <a:rPr lang="en-US" altLang="ko-KR" dirty="0"/>
              <a:t>/</a:t>
            </a:r>
            <a:r>
              <a:rPr lang="ko-KR" altLang="en-US" dirty="0"/>
              <a:t>상품별 혜택 오퍼 제공 체계 도입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고객</a:t>
            </a:r>
            <a:r>
              <a:rPr lang="en-US" altLang="ko-KR" dirty="0"/>
              <a:t>/</a:t>
            </a:r>
            <a:r>
              <a:rPr lang="ko-KR" altLang="en-US" dirty="0"/>
              <a:t>상품별 혜택 전달 체계를 마련하여 고객의 오퍼 인지율을 </a:t>
            </a:r>
            <a:r>
              <a:rPr lang="ko-KR" altLang="en-US" dirty="0" smtClean="0"/>
              <a:t>높이고</a:t>
            </a:r>
            <a:r>
              <a:rPr lang="en-US" altLang="ko-KR" dirty="0"/>
              <a:t>, </a:t>
            </a:r>
            <a:r>
              <a:rPr lang="ko-KR" altLang="en-US" dirty="0"/>
              <a:t>혜택 </a:t>
            </a:r>
            <a:r>
              <a:rPr lang="ko-KR" altLang="en-US" dirty="0" smtClean="0"/>
              <a:t>이용 금액이 늘어나도록 </a:t>
            </a:r>
            <a:r>
              <a:rPr lang="ko-KR" altLang="en-US" dirty="0"/>
              <a:t>관련 프로세스와 시스템 기능을 </a:t>
            </a:r>
            <a:r>
              <a:rPr lang="ko-KR" altLang="en-US" dirty="0" smtClean="0"/>
              <a:t>정의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혜택 데이터 관리 및 커뮤니케이션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신설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발생 당일 사용 혜택 반영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혜택 정보 알림을 위한 채널 시스템 인터페이스 방안 검토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홈페이지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바일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청구서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DM, SMS</a:t>
            </a: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5211067" y="5733256"/>
            <a:ext cx="424428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“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고객 서비스 만족도 제고 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b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맞춤형 마케팅 수행으로 교체 발급 마케팅 용이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”</a:t>
            </a:r>
            <a:endParaRPr lang="ko-KR" altLang="en-US" sz="12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31" name="Picture 4" descr="03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440" y="4182363"/>
            <a:ext cx="605227" cy="61478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3" descr="storage system_s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0409" y="4149080"/>
            <a:ext cx="397870" cy="55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0"/>
          <p:cNvSpPr>
            <a:spLocks noChangeArrowheads="1"/>
          </p:cNvSpPr>
          <p:nvPr/>
        </p:nvSpPr>
        <p:spPr bwMode="gray">
          <a:xfrm>
            <a:off x="4953000" y="4688764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혜택관리 </a:t>
            </a:r>
            <a:r>
              <a: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B</a:t>
            </a:r>
            <a:endParaRPr kumimoji="0" lang="en-US" altLang="ko-KR" sz="10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원통 34"/>
          <p:cNvSpPr/>
          <p:nvPr/>
        </p:nvSpPr>
        <p:spPr bwMode="auto">
          <a:xfrm>
            <a:off x="5065144" y="4293096"/>
            <a:ext cx="436369" cy="284757"/>
          </a:xfrm>
          <a:prstGeom prst="can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9" name="그룹 78"/>
          <p:cNvGrpSpPr/>
          <p:nvPr/>
        </p:nvGrpSpPr>
        <p:grpSpPr>
          <a:xfrm>
            <a:off x="380154" y="3356993"/>
            <a:ext cx="4140798" cy="2906315"/>
            <a:chOff x="461146" y="3356993"/>
            <a:chExt cx="4554878" cy="2906315"/>
          </a:xfrm>
        </p:grpSpPr>
        <p:sp>
          <p:nvSpPr>
            <p:cNvPr id="50" name="Rectangle 30"/>
            <p:cNvSpPr/>
            <p:nvPr/>
          </p:nvSpPr>
          <p:spPr bwMode="gray">
            <a:xfrm>
              <a:off x="461146" y="3356993"/>
              <a:ext cx="4554878" cy="2220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유사 고객 최대 이용 패턴</a:t>
              </a:r>
              <a:endParaRPr lang="ko-KR" altLang="en-US" sz="14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Rectangle 30"/>
            <p:cNvSpPr/>
            <p:nvPr/>
          </p:nvSpPr>
          <p:spPr bwMode="gray">
            <a:xfrm>
              <a:off x="461146" y="3576207"/>
              <a:ext cx="4554878" cy="118133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9" name="Picture 5" descr="Bule User sm"/>
            <p:cNvPicPr preferRelativeResize="0"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5475" y="3791682"/>
              <a:ext cx="322490" cy="430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" name="Picture 7" descr="Green User sm"/>
            <p:cNvPicPr preferRelativeResize="0"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6210" y="3789040"/>
              <a:ext cx="320469" cy="430211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2" name="Rectangle 30"/>
            <p:cNvSpPr>
              <a:spLocks noChangeArrowheads="1"/>
            </p:cNvSpPr>
            <p:nvPr/>
          </p:nvSpPr>
          <p:spPr bwMode="gray">
            <a:xfrm>
              <a:off x="3816996" y="3609456"/>
              <a:ext cx="1063996" cy="713242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이용액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5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항공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3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문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여행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3" name="Rectangle 30"/>
            <p:cNvSpPr>
              <a:spLocks noChangeArrowheads="1"/>
            </p:cNvSpPr>
            <p:nvPr/>
          </p:nvSpPr>
          <p:spPr bwMode="gray">
            <a:xfrm>
              <a:off x="628328" y="3609456"/>
              <a:ext cx="1063996" cy="713242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이용액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5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학원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3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문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레저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4" name="Rectangle 30"/>
            <p:cNvSpPr>
              <a:spLocks noChangeArrowheads="1"/>
            </p:cNvSpPr>
            <p:nvPr/>
          </p:nvSpPr>
          <p:spPr bwMode="gray">
            <a:xfrm>
              <a:off x="1751458" y="4289847"/>
              <a:ext cx="771432" cy="206600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,00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원 할인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5" name="Rectangle 30"/>
            <p:cNvSpPr>
              <a:spLocks noChangeArrowheads="1"/>
            </p:cNvSpPr>
            <p:nvPr/>
          </p:nvSpPr>
          <p:spPr bwMode="gray">
            <a:xfrm>
              <a:off x="2936776" y="4289847"/>
              <a:ext cx="879335" cy="206600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20,00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원 할인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Rectangle 30"/>
            <p:cNvSpPr>
              <a:spLocks noChangeArrowheads="1"/>
            </p:cNvSpPr>
            <p:nvPr/>
          </p:nvSpPr>
          <p:spPr bwMode="gray">
            <a:xfrm>
              <a:off x="3816996" y="4287131"/>
              <a:ext cx="1063996" cy="366005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+ 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라운지 무료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+ 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공항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PP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" name="직선 화살표 연결선 7"/>
            <p:cNvCxnSpPr>
              <a:stCxn id="39" idx="3"/>
              <a:endCxn id="40" idx="1"/>
            </p:cNvCxnSpPr>
            <p:nvPr/>
          </p:nvCxnSpPr>
          <p:spPr bwMode="auto">
            <a:xfrm flipV="1">
              <a:off x="2297965" y="4004146"/>
              <a:ext cx="918245" cy="264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57" name="Rectangle 30"/>
            <p:cNvSpPr>
              <a:spLocks noChangeArrowheads="1"/>
            </p:cNvSpPr>
            <p:nvPr/>
          </p:nvSpPr>
          <p:spPr bwMode="gray">
            <a:xfrm>
              <a:off x="2521789" y="3756265"/>
              <a:ext cx="451237" cy="141111"/>
            </a:xfrm>
            <a:prstGeom prst="round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A</a:t>
              </a:r>
              <a:r>
                <a:rPr kumimoji="0" lang="ko-KR" altLang="en-US" sz="9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</a:t>
              </a:r>
              <a:endParaRPr kumimoji="0" lang="en-US" altLang="ko-KR" sz="9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8" name="Rectangle 30"/>
            <p:cNvSpPr/>
            <p:nvPr/>
          </p:nvSpPr>
          <p:spPr bwMode="gray">
            <a:xfrm>
              <a:off x="461146" y="4862763"/>
              <a:ext cx="4554878" cy="2220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소비패턴 최적화 상품 제안</a:t>
              </a:r>
              <a:endParaRPr lang="ko-KR" altLang="en-US" sz="14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9" name="Rectangle 30"/>
            <p:cNvSpPr/>
            <p:nvPr/>
          </p:nvSpPr>
          <p:spPr bwMode="gray">
            <a:xfrm>
              <a:off x="461146" y="5081977"/>
              <a:ext cx="4554878" cy="118133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0" name="Picture 5" descr="Bule User sm"/>
            <p:cNvPicPr preferRelativeResize="0"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4540" y="5457537"/>
              <a:ext cx="322490" cy="430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3" name="Rectangle 30"/>
            <p:cNvSpPr>
              <a:spLocks noChangeArrowheads="1"/>
            </p:cNvSpPr>
            <p:nvPr/>
          </p:nvSpPr>
          <p:spPr bwMode="gray">
            <a:xfrm>
              <a:off x="590228" y="5316021"/>
              <a:ext cx="1063996" cy="713242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학원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3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lvl="0" indent="0"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문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레저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만원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gray">
            <a:xfrm>
              <a:off x="2578939" y="5176242"/>
              <a:ext cx="451237" cy="274985"/>
            </a:xfrm>
            <a:prstGeom prst="round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A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9" name="오른쪽 화살표 68"/>
            <p:cNvSpPr/>
            <p:nvPr/>
          </p:nvSpPr>
          <p:spPr bwMode="auto">
            <a:xfrm>
              <a:off x="2129830" y="5309845"/>
              <a:ext cx="270504" cy="725595"/>
            </a:xfrm>
            <a:prstGeom prst="rightArrow">
              <a:avLst/>
            </a:prstGeom>
            <a:solidFill>
              <a:srgbClr val="D6EBF6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Rectangle 30"/>
            <p:cNvSpPr>
              <a:spLocks noChangeArrowheads="1"/>
            </p:cNvSpPr>
            <p:nvPr/>
          </p:nvSpPr>
          <p:spPr bwMode="gray">
            <a:xfrm>
              <a:off x="2578939" y="5543477"/>
              <a:ext cx="451237" cy="274985"/>
            </a:xfrm>
            <a:prstGeom prst="round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B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1" name="Rectangle 30"/>
            <p:cNvSpPr>
              <a:spLocks noChangeArrowheads="1"/>
            </p:cNvSpPr>
            <p:nvPr/>
          </p:nvSpPr>
          <p:spPr bwMode="gray">
            <a:xfrm>
              <a:off x="2578939" y="5910711"/>
              <a:ext cx="451237" cy="274985"/>
            </a:xfrm>
            <a:prstGeom prst="round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C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2" name="Rectangle 30"/>
            <p:cNvSpPr>
              <a:spLocks noChangeArrowheads="1"/>
            </p:cNvSpPr>
            <p:nvPr/>
          </p:nvSpPr>
          <p:spPr bwMode="gray">
            <a:xfrm>
              <a:off x="3079733" y="5176242"/>
              <a:ext cx="1884936" cy="274985"/>
            </a:xfrm>
            <a:prstGeom prst="roundRect">
              <a:avLst/>
            </a:prstGeom>
            <a:noFill/>
            <a:ln w="9525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,0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원 할인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(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재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)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5" name="Rectangle 30"/>
            <p:cNvSpPr>
              <a:spLocks noChangeArrowheads="1"/>
            </p:cNvSpPr>
            <p:nvPr/>
          </p:nvSpPr>
          <p:spPr bwMode="gray">
            <a:xfrm>
              <a:off x="3079733" y="5543477"/>
              <a:ext cx="1884936" cy="274985"/>
            </a:xfrm>
            <a:prstGeom prst="roundRect">
              <a:avLst/>
            </a:prstGeom>
            <a:noFill/>
            <a:ln w="9525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5,000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포인트 적립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6" name="Rectangle 30"/>
            <p:cNvSpPr>
              <a:spLocks noChangeArrowheads="1"/>
            </p:cNvSpPr>
            <p:nvPr/>
          </p:nvSpPr>
          <p:spPr bwMode="gray">
            <a:xfrm>
              <a:off x="3079733" y="5910711"/>
              <a:ext cx="1884936" cy="274985"/>
            </a:xfrm>
            <a:prstGeom prst="roundRect">
              <a:avLst/>
            </a:prstGeom>
            <a:noFill/>
            <a:ln w="9525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월 </a:t>
              </a:r>
              <a:r>
                <a:rPr kumimoji="0" lang="en-US" altLang="ko-KR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0,700 </a:t>
              </a:r>
              <a:r>
                <a:rPr kumimoji="0" lang="ko-KR" altLang="en-US" sz="1000" kern="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마일리지</a:t>
              </a:r>
              <a:r>
                <a:rPr kumimoji="0" lang="ko-KR" altLang="en-US" sz="10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적립</a:t>
              </a:r>
              <a:endParaRPr kumimoji="0"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19" name="꺾인 연결선 18"/>
          <p:cNvCxnSpPr>
            <a:stCxn id="51" idx="3"/>
            <a:endCxn id="35" idx="2"/>
          </p:cNvCxnSpPr>
          <p:nvPr/>
        </p:nvCxnSpPr>
        <p:spPr bwMode="auto">
          <a:xfrm>
            <a:off x="4520952" y="4166873"/>
            <a:ext cx="544192" cy="268602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7" name="꺾인 연결선 76"/>
          <p:cNvCxnSpPr>
            <a:stCxn id="59" idx="3"/>
            <a:endCxn id="35" idx="2"/>
          </p:cNvCxnSpPr>
          <p:nvPr/>
        </p:nvCxnSpPr>
        <p:spPr bwMode="auto">
          <a:xfrm flipV="1">
            <a:off x="4520952" y="4435475"/>
            <a:ext cx="544192" cy="123716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" name="직선 화살표 연결선 26"/>
          <p:cNvCxnSpPr>
            <a:stCxn id="35" idx="4"/>
            <a:endCxn id="32" idx="1"/>
          </p:cNvCxnSpPr>
          <p:nvPr/>
        </p:nvCxnSpPr>
        <p:spPr bwMode="auto">
          <a:xfrm flipV="1">
            <a:off x="5501513" y="4425573"/>
            <a:ext cx="318896" cy="990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83" name="그룹 82"/>
          <p:cNvGrpSpPr/>
          <p:nvPr/>
        </p:nvGrpSpPr>
        <p:grpSpPr>
          <a:xfrm>
            <a:off x="6537176" y="3861048"/>
            <a:ext cx="1512168" cy="1512168"/>
            <a:chOff x="6537176" y="3861048"/>
            <a:chExt cx="1512168" cy="1512168"/>
          </a:xfrm>
        </p:grpSpPr>
        <p:sp>
          <p:nvSpPr>
            <p:cNvPr id="78" name="타원 77"/>
            <p:cNvSpPr/>
            <p:nvPr/>
          </p:nvSpPr>
          <p:spPr bwMode="auto">
            <a:xfrm>
              <a:off x="6674196" y="4041794"/>
              <a:ext cx="1008000" cy="1008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서</a:t>
              </a:r>
            </a:p>
          </p:txBody>
        </p:sp>
        <p:pic>
          <p:nvPicPr>
            <p:cNvPr id="36" name="Picture 43" descr="Mobile Phone sm"/>
            <p:cNvPicPr preferRelativeResize="0"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7176" y="3861048"/>
              <a:ext cx="243315" cy="573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61" descr="envelopes with document_s"/>
            <p:cNvPicPr preferRelativeResize="0"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092" y="4806135"/>
              <a:ext cx="495518" cy="567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5" descr="Web app front_s"/>
            <p:cNvPicPr preferRelativeResize="0"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4275" y="3942582"/>
              <a:ext cx="545069" cy="566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2" name="Rectangle 30"/>
          <p:cNvSpPr>
            <a:spLocks noChangeArrowheads="1"/>
          </p:cNvSpPr>
          <p:nvPr/>
        </p:nvSpPr>
        <p:spPr bwMode="gray">
          <a:xfrm>
            <a:off x="8140931" y="4509120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혜택인지 제고</a:t>
            </a:r>
            <a:endParaRPr kumimoji="0" lang="en-US" altLang="ko-KR" sz="105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86" name="직선 화살표 연결선 85"/>
          <p:cNvCxnSpPr/>
          <p:nvPr/>
        </p:nvCxnSpPr>
        <p:spPr bwMode="auto">
          <a:xfrm>
            <a:off x="6188499" y="4425573"/>
            <a:ext cx="34867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9" name="Rectangle 30"/>
          <p:cNvSpPr>
            <a:spLocks noChangeArrowheads="1"/>
          </p:cNvSpPr>
          <p:nvPr/>
        </p:nvSpPr>
        <p:spPr bwMode="gray">
          <a:xfrm>
            <a:off x="5673080" y="4797152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MS</a:t>
            </a:r>
            <a:endParaRPr kumimoji="0" lang="en-US" altLang="ko-KR" sz="10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Rectangle 30"/>
          <p:cNvSpPr>
            <a:spLocks noChangeArrowheads="1"/>
          </p:cNvSpPr>
          <p:nvPr/>
        </p:nvSpPr>
        <p:spPr bwMode="gray">
          <a:xfrm>
            <a:off x="6033120" y="3719937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Mobile</a:t>
            </a:r>
            <a:endParaRPr kumimoji="0" lang="en-US" altLang="ko-KR" sz="10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Rectangle 30"/>
          <p:cNvSpPr>
            <a:spLocks noChangeArrowheads="1"/>
          </p:cNvSpPr>
          <p:nvPr/>
        </p:nvSpPr>
        <p:spPr bwMode="gray">
          <a:xfrm>
            <a:off x="7546063" y="3719937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Web/EM</a:t>
            </a:r>
            <a:endParaRPr kumimoji="0" lang="en-US" altLang="ko-KR" sz="10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Rectangle 30"/>
          <p:cNvSpPr>
            <a:spLocks noChangeArrowheads="1"/>
          </p:cNvSpPr>
          <p:nvPr/>
        </p:nvSpPr>
        <p:spPr bwMode="gray">
          <a:xfrm>
            <a:off x="6897216" y="5415434"/>
            <a:ext cx="660657" cy="14111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0"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0" lvl="0" indent="0" algn="ctr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M</a:t>
            </a:r>
            <a:endParaRPr kumimoji="0" lang="en-US" altLang="ko-KR" sz="10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3" name="그룹 9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9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직사각형 64"/>
          <p:cNvSpPr/>
          <p:nvPr/>
        </p:nvSpPr>
        <p:spPr bwMode="auto">
          <a:xfrm>
            <a:off x="342288" y="2169945"/>
            <a:ext cx="4439976" cy="406736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5114204" y="1858134"/>
            <a:ext cx="4439976" cy="302400"/>
            <a:chOff x="5405153" y="1916190"/>
            <a:chExt cx="4084351" cy="302400"/>
          </a:xfrm>
        </p:grpSpPr>
        <p:sp>
          <p:nvSpPr>
            <p:cNvPr id="67" name="직사각형 66"/>
            <p:cNvSpPr/>
            <p:nvPr/>
          </p:nvSpPr>
          <p:spPr bwMode="auto">
            <a:xfrm>
              <a:off x="5791864" y="1916190"/>
              <a:ext cx="3310927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 혜택 조회 시스템 </a:t>
              </a:r>
              <a:r>
                <a:rPr lang="ko-KR" altLang="en-US" sz="140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능 정의</a:t>
              </a: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8" name="직선 연결선 67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69" name="Rectangle 30"/>
          <p:cNvSpPr/>
          <p:nvPr/>
        </p:nvSpPr>
        <p:spPr bwMode="gray">
          <a:xfrm>
            <a:off x="342288" y="1844824"/>
            <a:ext cx="4439976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용 혜택 조회 시스템 구조 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별 혜택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공 체계 도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담 고객 서비스 화면에서 고객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혜택을 조회하기 위한 시스템 기능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 혜택 조회 시스템 구조 및 기능 정의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31" name="직선 연결선 30"/>
          <p:cNvCxnSpPr/>
          <p:nvPr/>
        </p:nvCxnSpPr>
        <p:spPr bwMode="auto">
          <a:xfrm flipH="1">
            <a:off x="5114204" y="3532482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35" name="그룹 34"/>
          <p:cNvGrpSpPr/>
          <p:nvPr/>
        </p:nvGrpSpPr>
        <p:grpSpPr>
          <a:xfrm>
            <a:off x="5114204" y="3611243"/>
            <a:ext cx="4439976" cy="933747"/>
            <a:chOff x="5114204" y="3004896"/>
            <a:chExt cx="4439976" cy="1367099"/>
          </a:xfrm>
        </p:grpSpPr>
        <p:sp>
          <p:nvSpPr>
            <p:cNvPr id="36" name="모서리가 둥근 직사각형 141"/>
            <p:cNvSpPr/>
            <p:nvPr/>
          </p:nvSpPr>
          <p:spPr bwMode="auto">
            <a:xfrm>
              <a:off x="5114204" y="3004896"/>
              <a:ext cx="996991" cy="1367099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능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" name="모서리가 둥근 직사각형 141"/>
            <p:cNvSpPr/>
            <p:nvPr/>
          </p:nvSpPr>
          <p:spPr bwMode="auto">
            <a:xfrm>
              <a:off x="6144474" y="3004896"/>
              <a:ext cx="3409706" cy="136709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청구마감일 기준에서 당일 기준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DATA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반영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포인트 사용에서 포인트 적립 기준으로 변경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5114204" y="4702512"/>
            <a:ext cx="4439976" cy="701540"/>
            <a:chOff x="5114204" y="4494377"/>
            <a:chExt cx="4439976" cy="848862"/>
          </a:xfrm>
        </p:grpSpPr>
        <p:sp>
          <p:nvSpPr>
            <p:cNvPr id="39" name="모서리가 둥근 직사각형 141"/>
            <p:cNvSpPr/>
            <p:nvPr/>
          </p:nvSpPr>
          <p:spPr bwMode="auto">
            <a:xfrm>
              <a:off x="5114204" y="4494377"/>
              <a:ext cx="996991" cy="848861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데이터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모서리가 둥근 직사각형 141"/>
            <p:cNvSpPr/>
            <p:nvPr/>
          </p:nvSpPr>
          <p:spPr bwMode="auto">
            <a:xfrm>
              <a:off x="6144474" y="4494378"/>
              <a:ext cx="3409706" cy="84886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별 혜택 구분을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2 Level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에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4 Level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로 상세 관리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5114204" y="5561574"/>
            <a:ext cx="4439976" cy="579784"/>
            <a:chOff x="5114204" y="5465620"/>
            <a:chExt cx="4439976" cy="771692"/>
          </a:xfrm>
        </p:grpSpPr>
        <p:sp>
          <p:nvSpPr>
            <p:cNvPr id="42" name="모서리가 둥근 직사각형 141"/>
            <p:cNvSpPr/>
            <p:nvPr/>
          </p:nvSpPr>
          <p:spPr bwMode="auto">
            <a:xfrm>
              <a:off x="5114204" y="5465620"/>
              <a:ext cx="996991" cy="771692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타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/F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모서리가 둥근 직사각형 141"/>
            <p:cNvSpPr/>
            <p:nvPr/>
          </p:nvSpPr>
          <p:spPr bwMode="auto">
            <a:xfrm>
              <a:off x="6144474" y="5465620"/>
              <a:ext cx="3409706" cy="77169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승인시스템과의 현장할인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 배치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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실시간 변경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4" name="직선 연결선 43"/>
          <p:cNvCxnSpPr/>
          <p:nvPr/>
        </p:nvCxnSpPr>
        <p:spPr bwMode="auto">
          <a:xfrm flipH="1">
            <a:off x="5114204" y="4623751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45" name="직선 연결선 44"/>
          <p:cNvCxnSpPr/>
          <p:nvPr/>
        </p:nvCxnSpPr>
        <p:spPr bwMode="auto">
          <a:xfrm flipH="1">
            <a:off x="5114204" y="5482813"/>
            <a:ext cx="436957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46" name="그룹 45"/>
          <p:cNvGrpSpPr/>
          <p:nvPr/>
        </p:nvGrpSpPr>
        <p:grpSpPr>
          <a:xfrm>
            <a:off x="5114204" y="2420888"/>
            <a:ext cx="4439976" cy="1032833"/>
            <a:chOff x="5114204" y="2400690"/>
            <a:chExt cx="4439976" cy="481824"/>
          </a:xfrm>
        </p:grpSpPr>
        <p:sp>
          <p:nvSpPr>
            <p:cNvPr id="47" name="모서리가 둥근 직사각형 141"/>
            <p:cNvSpPr/>
            <p:nvPr/>
          </p:nvSpPr>
          <p:spPr bwMode="auto">
            <a:xfrm>
              <a:off x="5114204" y="2403354"/>
              <a:ext cx="996991" cy="479160"/>
            </a:xfrm>
            <a:prstGeom prst="roundRect">
              <a:avLst/>
            </a:prstGeom>
            <a:solidFill>
              <a:srgbClr val="D6EBF6"/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itchFamily="2" charset="2"/>
                <a:buNone/>
                <a:defRPr/>
              </a:pPr>
              <a:r>
                <a:rPr lang="ko-KR" altLang="en-US" sz="12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면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모서리가 둥근 직사각형 141"/>
            <p:cNvSpPr/>
            <p:nvPr/>
          </p:nvSpPr>
          <p:spPr bwMode="auto">
            <a:xfrm>
              <a:off x="6144474" y="2400690"/>
              <a:ext cx="3409706" cy="48182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headEnd/>
              <a:tailEnd/>
            </a:ln>
            <a:effectLst/>
          </p:spPr>
          <p:txBody>
            <a:bodyPr wrap="square" lIns="108000" tIns="36000" rIns="36000" bIns="36000" rtlCol="0" anchor="ctr">
              <a:noAutofit/>
            </a:bodyPr>
            <a:lstStyle/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As-Is 2 Level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회에서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4 Level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로 상세 조회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eaLnBrk="0" fontAlgn="auto" latin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] As-Is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포인트 사용에서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포인트 적립으로 조회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07578" y="2420888"/>
            <a:ext cx="4309397" cy="3816424"/>
            <a:chOff x="342288" y="2420888"/>
            <a:chExt cx="4439976" cy="3816424"/>
          </a:xfrm>
        </p:grpSpPr>
        <p:sp>
          <p:nvSpPr>
            <p:cNvPr id="30" name="직사각형 29"/>
            <p:cNvSpPr/>
            <p:nvPr/>
          </p:nvSpPr>
          <p:spPr bwMode="auto">
            <a:xfrm>
              <a:off x="342288" y="2420888"/>
              <a:ext cx="4439976" cy="38164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Rectangle 30"/>
            <p:cNvSpPr>
              <a:spLocks noChangeArrowheads="1"/>
            </p:cNvSpPr>
            <p:nvPr/>
          </p:nvSpPr>
          <p:spPr bwMode="gray">
            <a:xfrm>
              <a:off x="488504" y="2461293"/>
              <a:ext cx="1416178" cy="274985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[</a:t>
              </a:r>
              <a:r>
                <a:rPr kumimoji="0" lang="ko-KR" altLang="en-US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업무시스템</a:t>
              </a:r>
              <a:r>
                <a:rPr kumimoji="0" lang="en-US" altLang="ko-KR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]</a:t>
              </a:r>
              <a:endParaRPr kumimoji="0" lang="en-US" altLang="ko-KR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" name="직사각형 3"/>
            <p:cNvSpPr/>
            <p:nvPr/>
          </p:nvSpPr>
          <p:spPr bwMode="auto">
            <a:xfrm>
              <a:off x="488504" y="2830445"/>
              <a:ext cx="2304256" cy="319084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632520" y="2897578"/>
              <a:ext cx="849515" cy="2433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매출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1771912" y="2897578"/>
              <a:ext cx="849515" cy="2433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</a:p>
          </p:txBody>
        </p:sp>
        <p:sp>
          <p:nvSpPr>
            <p:cNvPr id="73" name="원통 72"/>
            <p:cNvSpPr/>
            <p:nvPr/>
          </p:nvSpPr>
          <p:spPr bwMode="auto">
            <a:xfrm>
              <a:off x="632520" y="4560571"/>
              <a:ext cx="702778" cy="416913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포인트</a:t>
              </a:r>
            </a:p>
          </p:txBody>
        </p:sp>
        <p:sp>
          <p:nvSpPr>
            <p:cNvPr id="78" name="원통 77"/>
            <p:cNvSpPr/>
            <p:nvPr/>
          </p:nvSpPr>
          <p:spPr bwMode="auto">
            <a:xfrm>
              <a:off x="1532027" y="4293096"/>
              <a:ext cx="1028938" cy="55491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 </a:t>
              </a:r>
              <a:r>
                <a:rPr kumimoji="1" lang="ko-KR" altLang="en-US" sz="12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헤택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직사각형 79"/>
            <p:cNvSpPr/>
            <p:nvPr/>
          </p:nvSpPr>
          <p:spPr bwMode="auto">
            <a:xfrm>
              <a:off x="1481144" y="5387618"/>
              <a:ext cx="1130705" cy="47429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 혜택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조회</a:t>
              </a:r>
            </a:p>
          </p:txBody>
        </p:sp>
        <p:cxnSp>
          <p:nvCxnSpPr>
            <p:cNvPr id="64" name="꺾인 연결선 63"/>
            <p:cNvCxnSpPr>
              <a:stCxn id="74" idx="2"/>
              <a:endCxn id="78" idx="1"/>
            </p:cNvCxnSpPr>
            <p:nvPr/>
          </p:nvCxnSpPr>
          <p:spPr bwMode="auto">
            <a:xfrm rot="16200000" flipH="1">
              <a:off x="975823" y="3222423"/>
              <a:ext cx="1152128" cy="989218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1" name="꺾인 연결선 80"/>
            <p:cNvCxnSpPr>
              <a:stCxn id="75" idx="2"/>
              <a:endCxn id="78" idx="1"/>
            </p:cNvCxnSpPr>
            <p:nvPr/>
          </p:nvCxnSpPr>
          <p:spPr bwMode="auto">
            <a:xfrm rot="5400000">
              <a:off x="1545519" y="3641945"/>
              <a:ext cx="1152128" cy="150174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76" name="Rectangle 30"/>
            <p:cNvSpPr>
              <a:spLocks noChangeArrowheads="1"/>
            </p:cNvSpPr>
            <p:nvPr/>
          </p:nvSpPr>
          <p:spPr bwMode="gray">
            <a:xfrm>
              <a:off x="726949" y="3310979"/>
              <a:ext cx="660657" cy="2066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할인</a:t>
              </a:r>
              <a:r>
                <a:rPr kumimoji="0" lang="en-US" altLang="ko-KR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면제</a:t>
              </a:r>
              <a:endParaRPr kumimoji="0" lang="en-US" altLang="ko-KR" sz="11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7" name="Rectangle 30"/>
            <p:cNvSpPr>
              <a:spLocks noChangeArrowheads="1"/>
            </p:cNvSpPr>
            <p:nvPr/>
          </p:nvSpPr>
          <p:spPr bwMode="gray">
            <a:xfrm>
              <a:off x="1866341" y="3212976"/>
              <a:ext cx="660657" cy="40260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금융이자</a:t>
              </a:r>
              <a:r>
                <a:rPr kumimoji="0" lang="en-US" altLang="ko-KR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br>
                <a:rPr kumimoji="0" lang="en-US" altLang="ko-KR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수수료</a:t>
              </a:r>
              <a:endParaRPr kumimoji="0" lang="en-US" altLang="ko-KR" sz="11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2" name="꺾인 연결선 81"/>
            <p:cNvCxnSpPr>
              <a:stCxn id="73" idx="3"/>
              <a:endCxn id="80" idx="1"/>
            </p:cNvCxnSpPr>
            <p:nvPr/>
          </p:nvCxnSpPr>
          <p:spPr bwMode="auto">
            <a:xfrm rot="16200000" flipH="1">
              <a:off x="908885" y="5052508"/>
              <a:ext cx="647282" cy="497235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79" name="Rectangle 30"/>
            <p:cNvSpPr>
              <a:spLocks noChangeArrowheads="1"/>
            </p:cNvSpPr>
            <p:nvPr/>
          </p:nvSpPr>
          <p:spPr bwMode="gray">
            <a:xfrm>
              <a:off x="782106" y="5263873"/>
              <a:ext cx="600597" cy="27498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적립기준</a:t>
              </a:r>
              <a:endParaRPr kumimoji="0" lang="en-US" altLang="ko-KR" sz="11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21" name="직선 화살표 연결선 20"/>
            <p:cNvCxnSpPr>
              <a:stCxn id="78" idx="3"/>
              <a:endCxn id="80" idx="0"/>
            </p:cNvCxnSpPr>
            <p:nvPr/>
          </p:nvCxnSpPr>
          <p:spPr bwMode="auto">
            <a:xfrm>
              <a:off x="2046496" y="4848006"/>
              <a:ext cx="1" cy="53961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88" name="직사각형 87"/>
            <p:cNvSpPr/>
            <p:nvPr/>
          </p:nvSpPr>
          <p:spPr bwMode="auto">
            <a:xfrm>
              <a:off x="3834409" y="3717032"/>
              <a:ext cx="849515" cy="22126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홈페이지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3834409" y="4459919"/>
              <a:ext cx="849515" cy="22126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5" name="직선 화살표 연결선 84"/>
            <p:cNvCxnSpPr>
              <a:stCxn id="89" idx="1"/>
              <a:endCxn id="78" idx="4"/>
            </p:cNvCxnSpPr>
            <p:nvPr/>
          </p:nvCxnSpPr>
          <p:spPr bwMode="auto">
            <a:xfrm flipH="1">
              <a:off x="2560965" y="4570551"/>
              <a:ext cx="1273444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4" name="꺾인 연결선 93"/>
            <p:cNvCxnSpPr>
              <a:stCxn id="88" idx="1"/>
              <a:endCxn id="78" idx="1"/>
            </p:cNvCxnSpPr>
            <p:nvPr/>
          </p:nvCxnSpPr>
          <p:spPr bwMode="auto">
            <a:xfrm rot="10800000" flipV="1">
              <a:off x="2046497" y="3827664"/>
              <a:ext cx="1787913" cy="465432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97" name="Rectangle 30"/>
            <p:cNvSpPr>
              <a:spLocks noChangeArrowheads="1"/>
            </p:cNvSpPr>
            <p:nvPr/>
          </p:nvSpPr>
          <p:spPr bwMode="gray">
            <a:xfrm>
              <a:off x="2967804" y="3573016"/>
              <a:ext cx="600597" cy="2066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경품</a:t>
              </a:r>
              <a:endParaRPr kumimoji="0" lang="en-US" altLang="ko-KR" sz="11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8" name="Rectangle 30"/>
            <p:cNvSpPr>
              <a:spLocks noChangeArrowheads="1"/>
            </p:cNvSpPr>
            <p:nvPr/>
          </p:nvSpPr>
          <p:spPr bwMode="gray">
            <a:xfrm>
              <a:off x="2967804" y="4322124"/>
              <a:ext cx="600597" cy="2066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92075" indent="-92075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1pPr>
              <a:lvl2pPr marL="742950" indent="-28575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2pPr>
              <a:lvl3pPr marL="11430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3pPr>
              <a:lvl4pPr marL="16002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4pPr>
              <a:lvl5pPr marL="2057400" indent="-228600" defTabSz="196850" eaLnBrk="0" hangingPunct="0"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5pPr>
              <a:lvl6pPr marL="25146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6pPr>
              <a:lvl7pPr marL="29718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7pPr>
              <a:lvl8pPr marL="34290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8pPr>
              <a:lvl9pPr marL="3886200" indent="-228600" algn="ctr" defTabSz="196850" eaLnBrk="0" fontAlgn="base" latinLnBrk="1" hangingPunct="0">
                <a:spcBef>
                  <a:spcPct val="50000"/>
                </a:spcBef>
                <a:spcAft>
                  <a:spcPct val="30000"/>
                </a:spcAft>
                <a:defRPr kumimoji="1" sz="1400" b="1">
                  <a:solidFill>
                    <a:schemeClr val="tx1"/>
                  </a:solidFill>
                  <a:latin typeface="Optima" pitchFamily="2" charset="2"/>
                  <a:ea typeface="가는각진제목체" pitchFamily="18" charset="-127"/>
                </a:defRPr>
              </a:lvl9pPr>
            </a:lstStyle>
            <a:p>
              <a:pPr marL="0" lvl="0" indent="0" algn="ctr" eaLnBrk="1" fontAlgn="auto" hangingPunct="1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kumimoji="0" lang="ko-KR" altLang="en-US" sz="1100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장할인</a:t>
              </a:r>
              <a:endParaRPr kumimoji="0" lang="en-US" altLang="ko-KR" sz="1100" b="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2902457" y="5041402"/>
              <a:ext cx="1781467" cy="97988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s-Is :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할인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면제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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할인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To-Be :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할인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면제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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할인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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쇼핑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 </a:t>
              </a:r>
              <a:r>
                <a:rPr kumimoji="1" lang="ko-KR" altLang="en-US" sz="11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이마트</a:t>
              </a:r>
              <a:endPara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9" name="그룹 9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0" name="그룹 10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6350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별 혜택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공 체계 도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사 고객 최대 이용 패턴 제시를 위한 혜택 관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상품별 특정 회원의 </a:t>
            </a:r>
            <a:r>
              <a:rPr lang="ko-KR" altLang="en-US" dirty="0" smtClean="0"/>
              <a:t>전체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혜택을 정량화하여 관리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혜택 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성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286045" y="1954932"/>
          <a:ext cx="9302455" cy="864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0491"/>
                <a:gridCol w="1860491"/>
                <a:gridCol w="1860491"/>
                <a:gridCol w="1860491"/>
                <a:gridCol w="1860491"/>
              </a:tblGrid>
              <a:tr h="2880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 혜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특정 서비스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5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만원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5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만원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/>
          </p:nvPr>
        </p:nvGraphicFramePr>
        <p:xfrm>
          <a:off x="286045" y="3212978"/>
          <a:ext cx="5387035" cy="30243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0401"/>
                <a:gridCol w="1528989"/>
                <a:gridCol w="2967645"/>
              </a:tblGrid>
              <a:tr h="329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분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분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측면의 월 혜택 산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9651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인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인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= 1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5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워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321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일리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장가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간 평균가치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x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시아나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=12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한한공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=1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5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할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 금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321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할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 포함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5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이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이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내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이자금액 총합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–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분이자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납입액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/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부 금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5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분무이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/>
          </p:nvPr>
        </p:nvGraphicFramePr>
        <p:xfrm>
          <a:off x="5961110" y="3212977"/>
          <a:ext cx="3672411" cy="15841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8"/>
                <a:gridCol w="1944216"/>
                <a:gridCol w="864097"/>
              </a:tblGrid>
              <a:tr h="5550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혜택 적용 여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30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A-0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바우처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서비스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30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B-0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차장 무료 서비스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30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C-0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화관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콤보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무료 서비스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1" name="모서리가 둥근 직사각형 141"/>
          <p:cNvSpPr/>
          <p:nvPr/>
        </p:nvSpPr>
        <p:spPr bwMode="auto">
          <a:xfrm>
            <a:off x="5961110" y="5132473"/>
            <a:ext cx="3409706" cy="103283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혜택 알림으로 인한 손익 감소가 예상되며 특정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군을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선별하여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알림서비스를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제공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해야함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제 손익 효율 산정을 위한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ilot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토 필요</a:t>
            </a: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모서리가 둥근 직사각형 141"/>
          <p:cNvSpPr/>
          <p:nvPr/>
        </p:nvSpPr>
        <p:spPr bwMode="auto">
          <a:xfrm>
            <a:off x="5961110" y="4845878"/>
            <a:ext cx="3409706" cy="24725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서비스 플랫폼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DB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연동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모서리가 둥근 직사각형 141"/>
          <p:cNvSpPr/>
          <p:nvPr/>
        </p:nvSpPr>
        <p:spPr bwMode="auto">
          <a:xfrm>
            <a:off x="5850407" y="1879062"/>
            <a:ext cx="1886766" cy="100245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dash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모서리가 둥근 직사각형 141"/>
          <p:cNvSpPr/>
          <p:nvPr/>
        </p:nvSpPr>
        <p:spPr bwMode="auto">
          <a:xfrm>
            <a:off x="7734813" y="1879062"/>
            <a:ext cx="1886766" cy="100245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dash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" name="꺾인 연결선 6"/>
          <p:cNvCxnSpPr>
            <a:stCxn id="33" idx="2"/>
            <a:endCxn id="28" idx="0"/>
          </p:cNvCxnSpPr>
          <p:nvPr/>
        </p:nvCxnSpPr>
        <p:spPr bwMode="auto">
          <a:xfrm rot="5400000">
            <a:off x="4720946" y="1140133"/>
            <a:ext cx="331461" cy="381422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35" name="꺾인 연결선 34"/>
          <p:cNvCxnSpPr>
            <a:stCxn id="34" idx="2"/>
            <a:endCxn id="30" idx="0"/>
          </p:cNvCxnSpPr>
          <p:nvPr/>
        </p:nvCxnSpPr>
        <p:spPr bwMode="auto">
          <a:xfrm rot="5400000">
            <a:off x="8072026" y="2606807"/>
            <a:ext cx="331460" cy="8808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grpSp>
        <p:nvGrpSpPr>
          <p:cNvPr id="48" name="그룹 4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57" name="그룹 5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6474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Back-up] </a:t>
            </a:r>
            <a:r>
              <a:rPr lang="ko-KR" altLang="en-US" dirty="0"/>
              <a:t>농축협 카드 수익∙비용의 정산 특수성 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농협은행의 영업점과의 손익배분</a:t>
            </a:r>
            <a:r>
              <a:rPr lang="en-US" altLang="ko-KR" dirty="0"/>
              <a:t> </a:t>
            </a:r>
            <a:r>
              <a:rPr lang="ko-KR" altLang="en-US" dirty="0"/>
              <a:t>외에 </a:t>
            </a:r>
            <a:r>
              <a:rPr lang="ko-KR" altLang="en-US" dirty="0" err="1"/>
              <a:t>농축협과</a:t>
            </a:r>
            <a:r>
              <a:rPr lang="ko-KR" altLang="en-US" dirty="0"/>
              <a:t> 수익∙비용 정산이 정기적으로 </a:t>
            </a:r>
            <a:r>
              <a:rPr lang="ko-KR" altLang="en-US" dirty="0" smtClean="0"/>
              <a:t>발생함에 따라</a:t>
            </a:r>
            <a:r>
              <a:rPr lang="en-US" altLang="ko-KR" dirty="0" smtClean="0"/>
              <a:t>,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정산 주기</a:t>
            </a:r>
            <a:r>
              <a:rPr lang="en-US" altLang="ko-KR" dirty="0"/>
              <a:t>, </a:t>
            </a:r>
            <a:r>
              <a:rPr lang="ko-KR" altLang="en-US" dirty="0"/>
              <a:t>정산 </a:t>
            </a:r>
            <a:r>
              <a:rPr lang="ko-KR" altLang="en-US" dirty="0" smtClean="0"/>
              <a:t>금액 </a:t>
            </a:r>
            <a:r>
              <a:rPr lang="ko-KR" altLang="en-US" dirty="0"/>
              <a:t>산출</a:t>
            </a:r>
            <a:r>
              <a:rPr lang="en-US" altLang="ko-KR" dirty="0"/>
              <a:t>, </a:t>
            </a:r>
            <a:r>
              <a:rPr lang="ko-KR" altLang="en-US" dirty="0"/>
              <a:t>정산 </a:t>
            </a:r>
            <a:r>
              <a:rPr lang="ko-KR" altLang="en-US" dirty="0" err="1" smtClean="0"/>
              <a:t>프로세싱</a:t>
            </a:r>
            <a:r>
              <a:rPr lang="ko-KR" altLang="en-US" dirty="0" smtClean="0"/>
              <a:t> </a:t>
            </a:r>
            <a:r>
              <a:rPr lang="en-US" altLang="ko-KR" dirty="0" smtClean="0"/>
              <a:t>(</a:t>
            </a:r>
            <a:r>
              <a:rPr lang="ko-KR" altLang="en-US" dirty="0"/>
              <a:t>청구</a:t>
            </a:r>
            <a:r>
              <a:rPr lang="en-US" altLang="ko-KR" dirty="0"/>
              <a:t>, </a:t>
            </a:r>
            <a:r>
              <a:rPr lang="ko-KR" altLang="en-US" dirty="0"/>
              <a:t>결제</a:t>
            </a:r>
            <a:r>
              <a:rPr lang="en-US" altLang="ko-KR" dirty="0"/>
              <a:t>)</a:t>
            </a:r>
            <a:r>
              <a:rPr lang="ko-KR" altLang="en-US" dirty="0"/>
              <a:t>에 대한 개선 여부 검토가 필요함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101" name="직사각형 100"/>
          <p:cNvSpPr/>
          <p:nvPr/>
        </p:nvSpPr>
        <p:spPr bwMode="auto">
          <a:xfrm>
            <a:off x="502306" y="5519340"/>
            <a:ext cx="8901389" cy="8820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은행과 카드업무 위수탁 약정에 따라 수탁 수익과 비용이 발생하며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익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을 매월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또는 </a:t>
            </a:r>
            <a:r>
              <a:rPr lang="ko-KR" altLang="en-US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 </a:t>
            </a:r>
            <a:r>
              <a:rPr lang="en-US" altLang="ko-KR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 정산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“</a:t>
            </a:r>
            <a:b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질은 농축협 카드처리 대행에 따른 수익 비용 정산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300" i="1" dirty="0">
              <a:solidFill>
                <a:srgbClr val="00206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Text Box 33"/>
          <p:cNvSpPr txBox="1">
            <a:spLocks noChangeArrowheads="1"/>
          </p:cNvSpPr>
          <p:nvPr/>
        </p:nvSpPr>
        <p:spPr bwMode="gray">
          <a:xfrm>
            <a:off x="2357509" y="1390850"/>
            <a:ext cx="5190983" cy="3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/>
            <a:r>
              <a:rPr kumimoji="1"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농축협 카드 서비스대행 및 정산 </a:t>
            </a:r>
            <a:r>
              <a:rPr kumimoji="1"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Flow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1591198" y="2038940"/>
            <a:ext cx="6723604" cy="3416900"/>
            <a:chOff x="1208584" y="2102440"/>
            <a:chExt cx="6723604" cy="3080088"/>
          </a:xfrm>
        </p:grpSpPr>
        <p:cxnSp>
          <p:nvCxnSpPr>
            <p:cNvPr id="69" name="직선 화살표 연결선 68"/>
            <p:cNvCxnSpPr/>
            <p:nvPr/>
          </p:nvCxnSpPr>
          <p:spPr bwMode="auto">
            <a:xfrm>
              <a:off x="3462341" y="2807011"/>
              <a:ext cx="814691" cy="82563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0" name="타원 69"/>
            <p:cNvSpPr/>
            <p:nvPr/>
          </p:nvSpPr>
          <p:spPr bwMode="auto">
            <a:xfrm>
              <a:off x="2468752" y="2102440"/>
              <a:ext cx="1260000" cy="90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농축협 카드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1208584" y="3632644"/>
              <a:ext cx="126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가맹점</a:t>
              </a: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3728920" y="3632644"/>
              <a:ext cx="1260000" cy="9000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en-US" altLang="ko-KR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NH</a:t>
              </a:r>
              <a:r>
                <a:rPr lang="ko-KR" altLang="en-US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농협은행</a:t>
              </a:r>
            </a:p>
          </p:txBody>
        </p:sp>
        <p:cxnSp>
          <p:nvCxnSpPr>
            <p:cNvPr id="73" name="직선 화살표 연결선 72"/>
            <p:cNvCxnSpPr>
              <a:stCxn id="70" idx="3"/>
              <a:endCxn id="71" idx="0"/>
            </p:cNvCxnSpPr>
            <p:nvPr/>
          </p:nvCxnSpPr>
          <p:spPr bwMode="auto">
            <a:xfrm flipH="1">
              <a:off x="1838584" y="2870638"/>
              <a:ext cx="814691" cy="76200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4" name="직선 화살표 연결선 73"/>
            <p:cNvCxnSpPr/>
            <p:nvPr/>
          </p:nvCxnSpPr>
          <p:spPr bwMode="auto">
            <a:xfrm flipH="1">
              <a:off x="2468584" y="3875806"/>
              <a:ext cx="126033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5" name="직사각형 74"/>
            <p:cNvSpPr/>
            <p:nvPr/>
          </p:nvSpPr>
          <p:spPr bwMode="auto">
            <a:xfrm>
              <a:off x="6519292" y="3632644"/>
              <a:ext cx="1260000" cy="9000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defRPr/>
              </a:pPr>
              <a:r>
                <a:rPr lang="ko-KR" altLang="en-US" sz="11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농축협</a:t>
              </a:r>
            </a:p>
          </p:txBody>
        </p:sp>
        <p:cxnSp>
          <p:nvCxnSpPr>
            <p:cNvPr id="76" name="직선 화살표 연결선 75"/>
            <p:cNvCxnSpPr/>
            <p:nvPr/>
          </p:nvCxnSpPr>
          <p:spPr bwMode="auto">
            <a:xfrm>
              <a:off x="4988920" y="3875806"/>
              <a:ext cx="1530372" cy="0"/>
            </a:xfrm>
            <a:prstGeom prst="straightConnector1">
              <a:avLst/>
            </a:prstGeom>
            <a:noFill/>
            <a:ln w="22225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77" name="직사각형 76"/>
            <p:cNvSpPr/>
            <p:nvPr/>
          </p:nvSpPr>
          <p:spPr bwMode="auto">
            <a:xfrm>
              <a:off x="2148194" y="3109684"/>
              <a:ext cx="354832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10800" rIns="3600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매출</a:t>
              </a: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2839917" y="3789679"/>
              <a:ext cx="564257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대금지급</a:t>
              </a:r>
            </a:p>
          </p:txBody>
        </p:sp>
        <p:sp>
          <p:nvSpPr>
            <p:cNvPr id="79" name="직사각형 78"/>
            <p:cNvSpPr/>
            <p:nvPr/>
          </p:nvSpPr>
          <p:spPr bwMode="auto">
            <a:xfrm>
              <a:off x="3769098" y="3298675"/>
              <a:ext cx="564257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대금입금</a:t>
              </a:r>
            </a:p>
          </p:txBody>
        </p:sp>
        <p:cxnSp>
          <p:nvCxnSpPr>
            <p:cNvPr id="80" name="직선 화살표 연결선 79"/>
            <p:cNvCxnSpPr/>
            <p:nvPr/>
          </p:nvCxnSpPr>
          <p:spPr bwMode="auto">
            <a:xfrm>
              <a:off x="2468584" y="4254604"/>
              <a:ext cx="126033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1" name="직사각형 80"/>
            <p:cNvSpPr/>
            <p:nvPr/>
          </p:nvSpPr>
          <p:spPr bwMode="auto">
            <a:xfrm>
              <a:off x="2815311" y="4152930"/>
              <a:ext cx="828000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latinLnBrk="0" hangingPunct="0">
                <a:buFont typeface="Arial" charset="0"/>
                <a:buNone/>
                <a:defRPr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매출표 접수</a:t>
              </a:r>
            </a:p>
          </p:txBody>
        </p:sp>
        <p:cxnSp>
          <p:nvCxnSpPr>
            <p:cNvPr id="83" name="꺾인 연결선 82"/>
            <p:cNvCxnSpPr>
              <a:stCxn id="75" idx="2"/>
              <a:endCxn id="72" idx="2"/>
            </p:cNvCxnSpPr>
            <p:nvPr/>
          </p:nvCxnSpPr>
          <p:spPr bwMode="auto">
            <a:xfrm rot="5400000">
              <a:off x="5754106" y="3137458"/>
              <a:ext cx="12700" cy="2790372"/>
            </a:xfrm>
            <a:prstGeom prst="bentConnector3">
              <a:avLst>
                <a:gd name="adj1" fmla="val 2400001"/>
              </a:avLst>
            </a:prstGeom>
            <a:noFill/>
            <a:ln w="22225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5" name="직선 화살표 연결선 84"/>
            <p:cNvCxnSpPr/>
            <p:nvPr/>
          </p:nvCxnSpPr>
          <p:spPr bwMode="auto">
            <a:xfrm>
              <a:off x="4988920" y="4254604"/>
              <a:ext cx="1530372" cy="0"/>
            </a:xfrm>
            <a:prstGeom prst="straightConnector1">
              <a:avLst/>
            </a:prstGeom>
            <a:noFill/>
            <a:ln w="22225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6" name="직선 화살표 연결선 85"/>
            <p:cNvCxnSpPr/>
            <p:nvPr/>
          </p:nvCxnSpPr>
          <p:spPr bwMode="auto">
            <a:xfrm>
              <a:off x="3724336" y="2738048"/>
              <a:ext cx="824400" cy="82563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sp>
          <p:nvSpPr>
            <p:cNvPr id="87" name="직사각형 86"/>
            <p:cNvSpPr/>
            <p:nvPr/>
          </p:nvSpPr>
          <p:spPr bwMode="auto">
            <a:xfrm>
              <a:off x="4003715" y="2943308"/>
              <a:ext cx="564257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대금청구</a:t>
              </a: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5196408" y="4149727"/>
              <a:ext cx="1170156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비용 귀속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배부</a:t>
              </a: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5196408" y="3789679"/>
              <a:ext cx="1170156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수익 귀속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배부</a:t>
              </a: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5196408" y="4577556"/>
              <a:ext cx="1322884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latinLnBrk="0" hangingPunct="0">
                <a:buFont typeface="Arial" charset="0"/>
                <a:buNone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  자금원가 정산</a:t>
              </a:r>
            </a:p>
          </p:txBody>
        </p:sp>
        <p:sp>
          <p:nvSpPr>
            <p:cNvPr id="93" name="타원 92"/>
            <p:cNvSpPr/>
            <p:nvPr/>
          </p:nvSpPr>
          <p:spPr bwMode="auto">
            <a:xfrm>
              <a:off x="1946654" y="3103052"/>
              <a:ext cx="180000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en-US" altLang="ko-KR" sz="11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1</a:t>
              </a:r>
              <a:endParaRPr lang="ko-KR" altLang="en-US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94" name="타원 93"/>
            <p:cNvSpPr/>
            <p:nvPr/>
          </p:nvSpPr>
          <p:spPr bwMode="auto">
            <a:xfrm>
              <a:off x="2610503" y="4145444"/>
              <a:ext cx="180000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en-US" altLang="ko-KR" sz="11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2</a:t>
              </a:r>
              <a:endParaRPr lang="ko-KR" altLang="en-US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95" name="타원 94"/>
            <p:cNvSpPr/>
            <p:nvPr/>
          </p:nvSpPr>
          <p:spPr bwMode="auto">
            <a:xfrm>
              <a:off x="2610503" y="3772567"/>
              <a:ext cx="180000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en-US" altLang="ko-KR" sz="11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3</a:t>
              </a:r>
              <a:endParaRPr lang="ko-KR" altLang="en-US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96" name="타원 95"/>
            <p:cNvSpPr/>
            <p:nvPr/>
          </p:nvSpPr>
          <p:spPr bwMode="auto">
            <a:xfrm>
              <a:off x="3761764" y="2939736"/>
              <a:ext cx="180000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en-US" altLang="ko-KR" sz="11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4</a:t>
              </a:r>
              <a:endParaRPr lang="ko-KR" altLang="en-US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97" name="타원 96"/>
            <p:cNvSpPr/>
            <p:nvPr/>
          </p:nvSpPr>
          <p:spPr bwMode="auto">
            <a:xfrm>
              <a:off x="3544240" y="3308040"/>
              <a:ext cx="180000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  <a:defRPr/>
              </a:pPr>
              <a:r>
                <a:rPr lang="en-US" altLang="ko-KR" sz="11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5</a:t>
              </a:r>
              <a:endParaRPr lang="ko-KR" altLang="en-US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5070808" y="3786215"/>
              <a:ext cx="180000" cy="180000"/>
            </a:xfrm>
            <a:prstGeom prst="rect">
              <a:avLst/>
            </a:prstGeom>
            <a:solidFill>
              <a:srgbClr val="C7CDFD">
                <a:lumMod val="10000"/>
              </a:srgbClr>
            </a:solidFill>
            <a:ln w="6350" cap="flat" cmpd="sng" algn="ctr">
              <a:solidFill>
                <a:srgbClr val="000000">
                  <a:lumMod val="95000"/>
                  <a:lumOff val="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sx="1000" sy="1000" algn="tl" rotWithShape="0">
                <a:prstClr val="black"/>
              </a:outerShdw>
            </a:effectLst>
          </p:spPr>
          <p:txBody>
            <a:bodyPr vert="horz" wrap="none" lIns="0" tIns="0" rIns="10800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88900"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defRPr/>
              </a:pPr>
              <a:r>
                <a:rPr lang="en-US" altLang="ko-KR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</a:t>
              </a:r>
              <a:endParaRPr lang="ko-KR" altLang="en-US" sz="11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5070808" y="4135818"/>
              <a:ext cx="180000" cy="180000"/>
            </a:xfrm>
            <a:prstGeom prst="rect">
              <a:avLst/>
            </a:prstGeom>
            <a:solidFill>
              <a:srgbClr val="C7CDFD">
                <a:lumMod val="10000"/>
              </a:srgbClr>
            </a:solidFill>
            <a:ln w="6350" cap="flat" cmpd="sng" algn="ctr">
              <a:solidFill>
                <a:srgbClr val="000000">
                  <a:lumMod val="95000"/>
                  <a:lumOff val="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sx="1000" sy="1000" algn="tl" rotWithShape="0">
                <a:prstClr val="black"/>
              </a:outerShdw>
            </a:effectLst>
          </p:spPr>
          <p:txBody>
            <a:bodyPr vert="horz" wrap="none" lIns="0" tIns="0" rIns="10800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88900"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defRPr/>
              </a:pPr>
              <a:r>
                <a:rPr lang="en-US" altLang="ko-KR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2</a:t>
              </a:r>
              <a:endParaRPr lang="ko-KR" altLang="en-US" sz="11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00" name="직사각형 99"/>
            <p:cNvSpPr/>
            <p:nvPr/>
          </p:nvSpPr>
          <p:spPr bwMode="auto">
            <a:xfrm>
              <a:off x="5070808" y="4560444"/>
              <a:ext cx="180000" cy="180000"/>
            </a:xfrm>
            <a:prstGeom prst="rect">
              <a:avLst/>
            </a:prstGeom>
            <a:solidFill>
              <a:srgbClr val="C7CDFD">
                <a:lumMod val="10000"/>
              </a:srgbClr>
            </a:solidFill>
            <a:ln w="6350" cap="flat" cmpd="sng" algn="ctr">
              <a:solidFill>
                <a:srgbClr val="000000">
                  <a:lumMod val="95000"/>
                  <a:lumOff val="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sx="1000" sy="1000" algn="tl" rotWithShape="0">
                <a:prstClr val="black"/>
              </a:outerShdw>
            </a:effectLst>
          </p:spPr>
          <p:txBody>
            <a:bodyPr vert="horz" wrap="none" lIns="0" tIns="0" rIns="10800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88900"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defRPr/>
              </a:pPr>
              <a:r>
                <a:rPr lang="en-US" altLang="ko-KR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3</a:t>
              </a:r>
              <a:endParaRPr lang="ko-KR" altLang="en-US" sz="11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3616015" y="3526528"/>
              <a:ext cx="4316173" cy="1656000"/>
            </a:xfrm>
            <a:prstGeom prst="rect">
              <a:avLst/>
            </a:prstGeom>
            <a:noFill/>
            <a:ln w="28575" cap="flat" cmpd="sng" algn="ctr">
              <a:solidFill>
                <a:srgbClr val="FF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buFont typeface="Arial" charset="0"/>
                <a:buNone/>
              </a:pPr>
              <a:endPara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5206418" y="4889277"/>
              <a:ext cx="1322884" cy="17225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" rIns="0" bIns="10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latinLnBrk="0" hangingPunct="0">
                <a:buFont typeface="Arial" charset="0"/>
                <a:buNone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  업무원가 정산</a:t>
              </a: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5080818" y="4872165"/>
              <a:ext cx="180000" cy="180000"/>
            </a:xfrm>
            <a:prstGeom prst="rect">
              <a:avLst/>
            </a:prstGeom>
            <a:solidFill>
              <a:srgbClr val="C7CDFD">
                <a:lumMod val="10000"/>
              </a:srgbClr>
            </a:solidFill>
            <a:ln w="6350" cap="flat" cmpd="sng" algn="ctr">
              <a:solidFill>
                <a:srgbClr val="000000">
                  <a:lumMod val="95000"/>
                  <a:lumOff val="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sx="1000" sy="1000" algn="tl" rotWithShape="0">
                <a:prstClr val="black"/>
              </a:outerShdw>
            </a:effectLst>
          </p:spPr>
          <p:txBody>
            <a:bodyPr vert="horz" wrap="none" lIns="0" tIns="0" rIns="10800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88900"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defRPr/>
              </a:pPr>
              <a:r>
                <a:rPr lang="en-US" altLang="ko-KR" sz="11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4</a:t>
              </a:r>
              <a:endParaRPr lang="ko-KR" altLang="en-US" sz="11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14" name="TextBox 113"/>
            <p:cNvSpPr txBox="1"/>
            <p:nvPr/>
          </p:nvSpPr>
          <p:spPr bwMode="auto">
            <a:xfrm>
              <a:off x="7050523" y="3174010"/>
              <a:ext cx="853366" cy="2597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marL="90488" indent="-90488" latinLnBrk="0">
                <a:spcBef>
                  <a:spcPct val="30000"/>
                </a:spcBef>
              </a:pPr>
              <a:r>
                <a:rPr lang="ko-KR" altLang="en-US" sz="14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산 업무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40" name="직선 연결선 39"/>
          <p:cNvCxnSpPr/>
          <p:nvPr/>
        </p:nvCxnSpPr>
        <p:spPr bwMode="auto">
          <a:xfrm>
            <a:off x="523844" y="1772816"/>
            <a:ext cx="8892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4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95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별 혜택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공 체계 도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비 패턴에 최적화된 상품 추천을 위해서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월간의 평균 소비 패턴 분석이 필요하며 가맹점별로 서비스를 나열하여 혜택을 산출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혜택 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성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3. </a:t>
            </a:r>
            <a:r>
              <a:rPr lang="ko-KR" altLang="en-US" sz="1200" kern="0" dirty="0">
                <a:solidFill>
                  <a:srgbClr val="FFFFFF"/>
                </a:solidFill>
              </a:rPr>
              <a:t>마케팅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23" name="표 22"/>
          <p:cNvGraphicFramePr>
            <a:graphicFrameLocks noGrp="1"/>
          </p:cNvGraphicFramePr>
          <p:nvPr>
            <p:extLst/>
          </p:nvPr>
        </p:nvGraphicFramePr>
        <p:xfrm>
          <a:off x="291000" y="2708920"/>
          <a:ext cx="3645112" cy="2952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1278"/>
                <a:gridCol w="911278"/>
                <a:gridCol w="911278"/>
                <a:gridCol w="911278"/>
              </a:tblGrid>
              <a:tr h="44309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 혜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상 혜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273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73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73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73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8" name="모서리가 둥근 직사각형 141"/>
          <p:cNvSpPr/>
          <p:nvPr/>
        </p:nvSpPr>
        <p:spPr bwMode="auto">
          <a:xfrm>
            <a:off x="2936776" y="2618583"/>
            <a:ext cx="1065030" cy="311750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dash"/>
            <a:headEnd/>
            <a:tailEnd/>
          </a:ln>
          <a:effectLst/>
        </p:spPr>
        <p:txBody>
          <a:bodyPr wrap="square" lIns="108000" tIns="36000" rIns="36000" bIns="36000" rtlCol="0" anchor="ctr">
            <a:no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9" name="꺾인 연결선 28"/>
          <p:cNvCxnSpPr>
            <a:stCxn id="28" idx="2"/>
            <a:endCxn id="30" idx="1"/>
          </p:cNvCxnSpPr>
          <p:nvPr/>
        </p:nvCxnSpPr>
        <p:spPr bwMode="auto">
          <a:xfrm rot="5400000" flipH="1" flipV="1">
            <a:off x="3172045" y="4387177"/>
            <a:ext cx="1646154" cy="1051662"/>
          </a:xfrm>
          <a:prstGeom prst="bentConnector4">
            <a:avLst>
              <a:gd name="adj1" fmla="val -13887"/>
              <a:gd name="adj2" fmla="val 75318"/>
            </a:avLst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graphicFrame>
        <p:nvGraphicFramePr>
          <p:cNvPr id="30" name="표 29"/>
          <p:cNvGraphicFramePr>
            <a:graphicFrameLocks noGrp="1"/>
          </p:cNvGraphicFramePr>
          <p:nvPr>
            <p:extLst/>
          </p:nvPr>
        </p:nvGraphicFramePr>
        <p:xfrm>
          <a:off x="4520953" y="1988841"/>
          <a:ext cx="5067545" cy="4202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127"/>
                <a:gridCol w="720080"/>
                <a:gridCol w="864096"/>
                <a:gridCol w="1584176"/>
                <a:gridCol w="747066"/>
              </a:tblGrid>
              <a:tr h="4314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 코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길동의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 평균 소비액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혜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G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G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G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버랜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버랜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버랜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시아나항공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시아나항공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리바게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U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00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43" name="그룹 4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4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52" name="그룹 5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4025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카드프로세싱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카드프로세싱 프로세스 업무를 </a:t>
            </a:r>
            <a:r>
              <a:rPr lang="en-US" altLang="ko-KR" dirty="0" smtClean="0"/>
              <a:t>3</a:t>
            </a:r>
            <a:r>
              <a:rPr lang="ko-KR" altLang="en-US" dirty="0" smtClean="0"/>
              <a:t>가지 영역으로 구분하고 </a:t>
            </a:r>
            <a:r>
              <a:rPr lang="en-US" altLang="ko-KR" dirty="0" smtClean="0"/>
              <a:t>As-Is </a:t>
            </a:r>
            <a:r>
              <a:rPr lang="ko-KR" altLang="en-US" dirty="0" smtClean="0"/>
              <a:t>이슈와 예상 개선과제를 선정하였음</a:t>
            </a:r>
            <a:endParaRPr lang="ko-KR" altLang="en-US" dirty="0"/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344488" y="2003414"/>
            <a:ext cx="419368" cy="28453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dirty="0">
                <a:solidFill>
                  <a:srgbClr val="FFFFFF">
                    <a:lumMod val="95000"/>
                  </a:srgb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rgbClr val="FFFFFF">
                    <a:lumMod val="95000"/>
                  </a:srgb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49" name="직사각형 48"/>
          <p:cNvSpPr/>
          <p:nvPr/>
        </p:nvSpPr>
        <p:spPr bwMode="auto">
          <a:xfrm flipH="1">
            <a:off x="344488" y="4937476"/>
            <a:ext cx="419368" cy="131312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예상 </a:t>
            </a:r>
            <a:r>
              <a:rPr kumimoji="1"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kumimoji="1" lang="en-US" altLang="ko-KR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ko-KR" altLang="en-US" sz="12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6"/>
          <p:cNvSpPr/>
          <p:nvPr/>
        </p:nvSpPr>
        <p:spPr bwMode="auto">
          <a:xfrm>
            <a:off x="848544" y="1571366"/>
            <a:ext cx="2365922" cy="36004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8"/>
          <p:cNvSpPr/>
          <p:nvPr/>
        </p:nvSpPr>
        <p:spPr bwMode="auto">
          <a:xfrm>
            <a:off x="3331356" y="1571366"/>
            <a:ext cx="3636000" cy="360040"/>
          </a:xfrm>
          <a:prstGeom prst="homePlate">
            <a:avLst>
              <a:gd name="adj" fmla="val 1269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입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구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12"/>
          <p:cNvSpPr/>
          <p:nvPr/>
        </p:nvSpPr>
        <p:spPr bwMode="auto">
          <a:xfrm>
            <a:off x="7069383" y="1571366"/>
            <a:ext cx="2448000" cy="36004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 bwMode="auto">
          <a:xfrm>
            <a:off x="2055901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60" name="직선 연결선 59"/>
          <p:cNvCxnSpPr/>
          <p:nvPr/>
        </p:nvCxnSpPr>
        <p:spPr bwMode="auto">
          <a:xfrm>
            <a:off x="3303425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4550949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>
            <a:off x="5798473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63" name="직선 연결선 62"/>
          <p:cNvCxnSpPr/>
          <p:nvPr/>
        </p:nvCxnSpPr>
        <p:spPr bwMode="auto">
          <a:xfrm>
            <a:off x="7045997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64" name="직선 연결선 63"/>
          <p:cNvCxnSpPr/>
          <p:nvPr/>
        </p:nvCxnSpPr>
        <p:spPr bwMode="auto">
          <a:xfrm>
            <a:off x="8293519" y="1949835"/>
            <a:ext cx="0" cy="435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6" name="직사각형 5"/>
          <p:cNvSpPr/>
          <p:nvPr/>
        </p:nvSpPr>
        <p:spPr bwMode="auto">
          <a:xfrm>
            <a:off x="848544" y="2003414"/>
            <a:ext cx="2412000" cy="2845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359462" y="2003414"/>
            <a:ext cx="3636000" cy="2845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ko-KR" altLang="en-US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7109024" y="2003414"/>
            <a:ext cx="2412000" cy="2845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ko-KR" altLang="en-US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848544" y="4932547"/>
            <a:ext cx="2412000" cy="13178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ko-KR" altLang="en-US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359462" y="4932547"/>
            <a:ext cx="3636000" cy="13178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ko-KR" altLang="en-US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7109024" y="4932547"/>
            <a:ext cx="2412000" cy="13178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  <a:buClr>
                <a:srgbClr val="C0C0C0"/>
              </a:buClr>
            </a:pPr>
            <a:endParaRPr kumimoji="1" lang="ko-KR" altLang="en-US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898877" y="2082240"/>
            <a:ext cx="2319847" cy="4428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량 증가에 따른 승인 장애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생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898877" y="2587918"/>
            <a:ext cx="2319847" cy="93963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對고객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제공 및 확대 미흡</a:t>
            </a:r>
          </a:p>
          <a:p>
            <a:pPr marL="176213" indent="-176213" latinLnBrk="0">
              <a:spcBef>
                <a:spcPts val="300"/>
              </a:spcBef>
              <a:spcAft>
                <a:spcPts val="0"/>
              </a:spcAft>
            </a:pP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포인트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전환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한계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300"/>
              </a:spcBef>
              <a:spcAft>
                <a:spcPts val="0"/>
              </a:spcAft>
            </a:pP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무이자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구할인 조회 등 </a:t>
            </a:r>
            <a:r>
              <a:rPr kumimoji="1" lang="ko-KR" altLang="en-US" sz="10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계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고객 서비스 도입 어려움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1196093" y="5009484"/>
            <a:ext cx="2018374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 시점 실시간 서비스 강화 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899646" y="5073537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899646" y="566378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196093" y="5599727"/>
            <a:ext cx="2018374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전표 매입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계 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3441216" y="2092135"/>
            <a:ext cx="3456000" cy="129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관점의 실시간 미수 원장 부재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별 매출 전표 분리 구성</a:t>
            </a: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수원장 개념 부재로 업무 연계 부족</a:t>
            </a: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별 분리 생성에 따른 부하발생</a:t>
            </a: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구작업 이후 매출 취소 절차 복잡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3441216" y="3460119"/>
            <a:ext cx="3456000" cy="129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 업무 고객 편의 제공 수준 부족</a:t>
            </a: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한적인 가상계좌 입금 프로세스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론 이용 대금 등 불가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복수 </a:t>
            </a:r>
            <a:r>
              <a:rPr kumimoji="1" lang="ko-KR" altLang="en-US" sz="10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일 변경 시 통합 청구 불가</a:t>
            </a: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 사후 업무 자동화 수준 미흡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3409860" y="5073537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3409860" y="566378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3706169" y="5020499"/>
            <a:ext cx="3191045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시간 정산 기반 미수원장 구축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706169" y="5610742"/>
            <a:ext cx="3191045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편의 중심의 청구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입금 체계 구축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7455924" y="5020499"/>
            <a:ext cx="2018374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 업무 표준화 및 자동화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7159477" y="5084552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7159477" y="5674796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7455924" y="5610742"/>
            <a:ext cx="2018374" cy="3740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적립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 고객 편의성 제고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7153627" y="2083411"/>
            <a:ext cx="2319847" cy="130159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결과 검증을 위한 시스템 지원 부족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급 수수료 대사 검증 절차 미비</a:t>
            </a:r>
            <a:endParaRPr kumimoji="1"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 산정 내역의 정확성 및 대사를 위한 프로세스의 표준화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동화 필요</a:t>
            </a:r>
          </a:p>
        </p:txBody>
      </p:sp>
      <p:sp>
        <p:nvSpPr>
          <p:cNvPr id="107" name="직사각형 106"/>
          <p:cNvSpPr/>
          <p:nvPr/>
        </p:nvSpPr>
        <p:spPr bwMode="auto">
          <a:xfrm>
            <a:off x="7153627" y="3464934"/>
            <a:ext cx="2319847" cy="130159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업무기준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 개선 필요</a:t>
            </a:r>
            <a:endParaRPr kumimoji="1" lang="en-US" altLang="ko-KR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spcBef>
                <a:spcPct val="50000"/>
              </a:spcBef>
            </a:pP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회계처리 기준 재정의 필요</a:t>
            </a:r>
            <a:endParaRPr kumimoji="1"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관련 실시간 업무처리 한계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 latinLnBrk="0"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간 양방향 전환 제한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898877" y="3590402"/>
            <a:ext cx="2315589" cy="117612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rocess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 지연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oint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존재</a:t>
            </a:r>
          </a:p>
          <a:p>
            <a:pPr marL="180975" indent="-180975" latinLnBrk="0">
              <a:spcBef>
                <a:spcPts val="3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크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취소 지연에 따른 고객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민원 발생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indent="-180975" latinLnBrk="0">
              <a:spcBef>
                <a:spcPts val="3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1"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장 할인 취소 시 해당 서비스한도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복원 지연</a:t>
            </a:r>
          </a:p>
          <a:p>
            <a:pPr marL="180975" indent="-180975" latinLnBrk="0">
              <a:spcBef>
                <a:spcPts val="300"/>
              </a:spcBef>
              <a:spcAft>
                <a:spcPts val="0"/>
              </a:spcAft>
            </a:pP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BC/KB </a:t>
            </a:r>
            <a:r>
              <a:rPr kumimoji="1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맹점 매출 </a:t>
            </a: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접수 지연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924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카드프로세싱 </a:t>
            </a:r>
            <a:r>
              <a:rPr lang="en-US" altLang="ko-KR" dirty="0" smtClean="0"/>
              <a:t>– </a:t>
            </a:r>
            <a:r>
              <a:rPr lang="ko-KR" altLang="ko-KR" dirty="0" smtClean="0"/>
              <a:t>승인</a:t>
            </a:r>
            <a:r>
              <a:rPr lang="en-US" altLang="ko-KR" dirty="0"/>
              <a:t>/</a:t>
            </a:r>
            <a:r>
              <a:rPr lang="ko-KR" altLang="ko-KR" dirty="0" smtClean="0"/>
              <a:t>매</a:t>
            </a:r>
            <a:r>
              <a:rPr lang="ko-KR" altLang="en-US" dirty="0" smtClean="0"/>
              <a:t>출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고객 접점인 승인 시점의 실시간 서비스를 강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실시간 매출 전표 매입체계 구축을 통해 카드사업 본연의 서비스 기반을 개선함</a:t>
            </a:r>
            <a:endParaRPr lang="ko-KR" altLang="en-US" dirty="0"/>
          </a:p>
        </p:txBody>
      </p:sp>
      <p:sp>
        <p:nvSpPr>
          <p:cNvPr id="26" name="직사각형 6"/>
          <p:cNvSpPr/>
          <p:nvPr/>
        </p:nvSpPr>
        <p:spPr bwMode="auto">
          <a:xfrm>
            <a:off x="287917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</a:p>
        </p:txBody>
      </p:sp>
      <p:sp>
        <p:nvSpPr>
          <p:cNvPr id="27" name="직사각형 7"/>
          <p:cNvSpPr/>
          <p:nvPr/>
        </p:nvSpPr>
        <p:spPr bwMode="auto">
          <a:xfrm>
            <a:off x="1461818" y="1412776"/>
            <a:ext cx="1108684" cy="648000"/>
          </a:xfrm>
          <a:prstGeom prst="homePlate">
            <a:avLst>
              <a:gd name="adj" fmla="val 1200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</a:p>
        </p:txBody>
      </p:sp>
      <p:sp>
        <p:nvSpPr>
          <p:cNvPr id="28" name="직사각형 8"/>
          <p:cNvSpPr/>
          <p:nvPr/>
        </p:nvSpPr>
        <p:spPr bwMode="auto">
          <a:xfrm>
            <a:off x="2635718" y="1412776"/>
            <a:ext cx="1108684" cy="648000"/>
          </a:xfrm>
          <a:prstGeom prst="homePlate">
            <a:avLst>
              <a:gd name="adj" fmla="val 1269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</a:p>
        </p:txBody>
      </p:sp>
      <p:sp>
        <p:nvSpPr>
          <p:cNvPr id="29" name="직사각형 9"/>
          <p:cNvSpPr/>
          <p:nvPr/>
        </p:nvSpPr>
        <p:spPr bwMode="auto">
          <a:xfrm>
            <a:off x="3809616" y="1412776"/>
            <a:ext cx="1108684" cy="50581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카드프로세싱</a:t>
            </a:r>
            <a:endParaRPr kumimoji="1"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직사각형 10"/>
          <p:cNvSpPr/>
          <p:nvPr/>
        </p:nvSpPr>
        <p:spPr bwMode="auto">
          <a:xfrm>
            <a:off x="4983517" y="1412776"/>
            <a:ext cx="1108684" cy="648000"/>
          </a:xfrm>
          <a:prstGeom prst="homePlate">
            <a:avLst>
              <a:gd name="adj" fmla="val 14772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관리</a:t>
            </a:r>
          </a:p>
        </p:txBody>
      </p:sp>
      <p:sp>
        <p:nvSpPr>
          <p:cNvPr id="31" name="직사각형 11"/>
          <p:cNvSpPr/>
          <p:nvPr/>
        </p:nvSpPr>
        <p:spPr bwMode="auto">
          <a:xfrm>
            <a:off x="6157417" y="1412776"/>
            <a:ext cx="1108684" cy="648000"/>
          </a:xfrm>
          <a:prstGeom prst="homePlate">
            <a:avLst>
              <a:gd name="adj" fmla="val 15463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관리</a:t>
            </a:r>
          </a:p>
        </p:txBody>
      </p:sp>
      <p:sp>
        <p:nvSpPr>
          <p:cNvPr id="32" name="직사각형 12"/>
          <p:cNvSpPr/>
          <p:nvPr/>
        </p:nvSpPr>
        <p:spPr bwMode="auto">
          <a:xfrm>
            <a:off x="7331318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서비스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13"/>
          <p:cNvSpPr/>
          <p:nvPr/>
        </p:nvSpPr>
        <p:spPr bwMode="auto">
          <a:xfrm>
            <a:off x="8505217" y="1412776"/>
            <a:ext cx="1108684" cy="648000"/>
          </a:xfrm>
          <a:prstGeom prst="homePlate">
            <a:avLst>
              <a:gd name="adj" fmla="val 20988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관리</a:t>
            </a: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88504" y="2638100"/>
            <a:ext cx="3040025" cy="3588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488504" y="2995532"/>
            <a:ext cx="3040025" cy="31697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거래량 증가에 따른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 발생</a:t>
            </a: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고객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제공 및 확대 미흡</a:t>
            </a: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적립 및 전환 서비스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계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tabLst>
                <a:tab pos="84138" algn="l"/>
              </a:tabLst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무이자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청구할인 조회 등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계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서비스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도입 어려움</a:t>
            </a: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rocess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 지연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oint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존재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크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 취소 지연에 따른 고객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민원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장 할인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취소 시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한도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복원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연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씨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KB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 매출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수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연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0698"/>
            <a:ext cx="9334604" cy="28627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6065">
                <a:moveTo>
                  <a:pt x="0" y="276065"/>
                </a:moveTo>
                <a:lnTo>
                  <a:pt x="69782" y="0"/>
                </a:lnTo>
                <a:lnTo>
                  <a:pt x="991418" y="0"/>
                </a:lnTo>
                <a:lnTo>
                  <a:pt x="9334604" y="273652"/>
                </a:lnTo>
                <a:lnTo>
                  <a:pt x="0" y="27606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6590244" y="3539928"/>
            <a:ext cx="2755244" cy="7652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  </a:t>
            </a:r>
            <a:r>
              <a:rPr lang="ko-KR" altLang="en-US" dirty="0" smtClean="0"/>
              <a:t>승인시점 </a:t>
            </a:r>
            <a:r>
              <a:rPr lang="ko-KR" altLang="en-US" dirty="0"/>
              <a:t>실시간 서비스 강화</a:t>
            </a:r>
          </a:p>
          <a:p>
            <a:pPr>
              <a:buNone/>
            </a:pPr>
            <a:r>
              <a:rPr lang="en-US" altLang="ko-KR" b="0" dirty="0"/>
              <a:t>- </a:t>
            </a:r>
            <a:r>
              <a:rPr lang="en-US" altLang="ko-KR" b="0" dirty="0" smtClean="0"/>
              <a:t> </a:t>
            </a:r>
            <a:r>
              <a:rPr lang="ko-KR" altLang="en-US" b="0" dirty="0" smtClean="0"/>
              <a:t>고객 </a:t>
            </a:r>
            <a:r>
              <a:rPr lang="ko-KR" altLang="en-US" b="0" dirty="0"/>
              <a:t>서비스 개선을 위한 </a:t>
            </a:r>
            <a:r>
              <a:rPr lang="en-US" altLang="ko-KR" b="0" dirty="0"/>
              <a:t>Real-time </a:t>
            </a:r>
            <a:r>
              <a:rPr lang="ko-KR" altLang="en-US" b="0" dirty="0"/>
              <a:t>서비스 기반 강화</a:t>
            </a:r>
            <a:endParaRPr lang="en-US" altLang="ko-KR" b="0" dirty="0"/>
          </a:p>
        </p:txBody>
      </p:sp>
      <p:sp>
        <p:nvSpPr>
          <p:cNvPr id="44" name="직사각형 43"/>
          <p:cNvSpPr/>
          <p:nvPr/>
        </p:nvSpPr>
        <p:spPr bwMode="auto">
          <a:xfrm>
            <a:off x="6590244" y="3570970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6590244" y="4725144"/>
            <a:ext cx="2755244" cy="104732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marL="180975" indent="-180975" latinLnBrk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 실시간 </a:t>
            </a:r>
            <a:r>
              <a:rPr lang="ko-KR" altLang="en-US" dirty="0"/>
              <a:t>매출전표매입 체계 </a:t>
            </a:r>
            <a:endParaRPr lang="en-US" altLang="ko-KR" dirty="0"/>
          </a:p>
          <a:p>
            <a:pPr>
              <a:buNone/>
            </a:pPr>
            <a:r>
              <a:rPr lang="en-US" altLang="ko-KR" dirty="0"/>
              <a:t>-  </a:t>
            </a:r>
            <a:r>
              <a:rPr lang="ko-KR" altLang="en-US" b="0" dirty="0" smtClean="0"/>
              <a:t>실시간 매입확정을 통한 대고객 불편 해소 및 업무 효율 제고</a:t>
            </a:r>
            <a:endParaRPr lang="en-US" altLang="ko-KR" b="0" dirty="0"/>
          </a:p>
          <a:p>
            <a:endParaRPr lang="en-US" altLang="ko-KR" dirty="0"/>
          </a:p>
        </p:txBody>
      </p:sp>
      <p:sp>
        <p:nvSpPr>
          <p:cNvPr id="74" name="직사각형 73"/>
          <p:cNvSpPr/>
          <p:nvPr/>
        </p:nvSpPr>
        <p:spPr bwMode="auto">
          <a:xfrm>
            <a:off x="6590244" y="4730760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3690211" y="2782116"/>
            <a:ext cx="2702949" cy="3167164"/>
            <a:chOff x="3834227" y="2782116"/>
            <a:chExt cx="2785307" cy="3167164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387730"/>
              <a:ext cx="2785307" cy="256155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883204" y="3267726"/>
              <a:ext cx="2558638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고객 서비스 기반 확대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매출 승인 지연으로 인한 고객 불편 사항 최소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4" name="직사각형 9"/>
          <p:cNvSpPr/>
          <p:nvPr/>
        </p:nvSpPr>
        <p:spPr bwMode="auto">
          <a:xfrm>
            <a:off x="3809616" y="1990998"/>
            <a:ext cx="1108684" cy="35788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승인</a:t>
            </a: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매출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6680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30"/>
          <p:cNvSpPr/>
          <p:nvPr/>
        </p:nvSpPr>
        <p:spPr bwMode="gray">
          <a:xfrm>
            <a:off x="326408" y="3229910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Rectangle 30"/>
          <p:cNvSpPr/>
          <p:nvPr/>
        </p:nvSpPr>
        <p:spPr bwMode="gray">
          <a:xfrm>
            <a:off x="5197540" y="3249103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승인시점 </a:t>
            </a:r>
            <a:r>
              <a:rPr lang="ko-KR" altLang="en-US" dirty="0"/>
              <a:t>실시간 서비스 </a:t>
            </a:r>
            <a:r>
              <a:rPr lang="ko-KR" altLang="en-US" dirty="0" smtClean="0"/>
              <a:t>강화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승인시점 실시간 서비스 강화를 위해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en-US" altLang="ko-KR" dirty="0"/>
              <a:t>Real Time </a:t>
            </a:r>
            <a:r>
              <a:rPr lang="ko-KR" altLang="en-US" dirty="0"/>
              <a:t>시스템이 별도로 구성되는 아키텍처를 </a:t>
            </a:r>
            <a:r>
              <a:rPr lang="ko-KR" altLang="en-US" dirty="0" smtClean="0"/>
              <a:t>설계하고 </a:t>
            </a:r>
            <a:r>
              <a:rPr lang="ko-KR" altLang="en-US" dirty="0"/>
              <a:t>리워드</a:t>
            </a:r>
            <a:r>
              <a:rPr lang="en-US" altLang="ko-KR" dirty="0"/>
              <a:t>/</a:t>
            </a:r>
            <a:r>
              <a:rPr lang="ko-KR" altLang="en-US" dirty="0"/>
              <a:t>즉시성 마케팅 정보를 고객에게 제공 할 수 있는 기반을 </a:t>
            </a:r>
            <a:r>
              <a:rPr lang="ko-KR" altLang="en-US" dirty="0" smtClean="0"/>
              <a:t>마련하겠음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사용에 따른 수혜내역을 즉시 인지시켜 고객 만족도 및 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Loyalty 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제고</a:t>
            </a: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거래 시점에 맞춤 마케팅 정보를 제공하여 지속적인 카드사용 유발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거래 승인에 국한하지 않고 다양한 정보처리가 가능한 유연한 승인 연계 플랫폼 구축</a:t>
            </a: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거래 시점 실효적인 추가 구매를 유도할 수 있는 다양한 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rigger 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 </a:t>
            </a:r>
            <a:r>
              <a:rPr kumimoji="0" lang="ko-KR" altLang="en-US" sz="13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컨텐츠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개발 </a:t>
            </a: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gray">
          <a:xfrm>
            <a:off x="2771072" y="3319268"/>
            <a:ext cx="151200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시스템</a:t>
            </a:r>
          </a:p>
        </p:txBody>
      </p:sp>
      <p:sp>
        <p:nvSpPr>
          <p:cNvPr id="113" name="직사각형 112"/>
          <p:cNvSpPr/>
          <p:nvPr/>
        </p:nvSpPr>
        <p:spPr bwMode="gray">
          <a:xfrm>
            <a:off x="2771072" y="4242084"/>
            <a:ext cx="151200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고객 채널</a:t>
            </a:r>
            <a:endParaRPr lang="en-US" altLang="ko-KR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</a:pPr>
            <a:r>
              <a:rPr lang="en-US" altLang="ko-KR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인터넷</a:t>
            </a:r>
            <a:r>
              <a:rPr lang="en-US" altLang="ko-KR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바일</a:t>
            </a:r>
            <a:r>
              <a:rPr lang="en-US" altLang="ko-KR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콜센터</a:t>
            </a:r>
            <a:r>
              <a:rPr lang="ko-KR" altLang="en-US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등</a:t>
            </a:r>
            <a:r>
              <a:rPr lang="en-US" altLang="ko-KR" sz="9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9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533989" y="4995373"/>
            <a:ext cx="466794" cy="2627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</a:t>
            </a:r>
            <a:endParaRPr lang="en-US" altLang="ko-KR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15" name="그룹 114"/>
          <p:cNvGrpSpPr/>
          <p:nvPr/>
        </p:nvGrpSpPr>
        <p:grpSpPr>
          <a:xfrm>
            <a:off x="1451713" y="3281287"/>
            <a:ext cx="1261884" cy="831073"/>
            <a:chOff x="1716406" y="3380908"/>
            <a:chExt cx="1261884" cy="831073"/>
          </a:xfrm>
        </p:grpSpPr>
        <p:sp>
          <p:nvSpPr>
            <p:cNvPr id="116" name="오른쪽 화살표 115"/>
            <p:cNvSpPr/>
            <p:nvPr/>
          </p:nvSpPr>
          <p:spPr bwMode="auto">
            <a:xfrm>
              <a:off x="1766404" y="3557453"/>
              <a:ext cx="1008000" cy="216000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오른쪽 화살표 116"/>
            <p:cNvSpPr/>
            <p:nvPr/>
          </p:nvSpPr>
          <p:spPr bwMode="auto">
            <a:xfrm rot="10800000">
              <a:off x="1766405" y="3775486"/>
              <a:ext cx="1008000" cy="216000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>
            <a:xfrm>
              <a:off x="1831823" y="3380908"/>
              <a:ext cx="992579" cy="2550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20000"/>
                </a:spcBef>
                <a:defRPr/>
              </a:pP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거래승인요청</a:t>
              </a:r>
              <a:endParaRPr lang="en-US" altLang="ko-KR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9" name="직사각형 118"/>
            <p:cNvSpPr/>
            <p:nvPr/>
          </p:nvSpPr>
          <p:spPr>
            <a:xfrm>
              <a:off x="1716406" y="3956975"/>
              <a:ext cx="1261884" cy="2550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20000"/>
                </a:spcBef>
                <a:defRPr/>
              </a:pP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단순승인정보제공</a:t>
              </a:r>
              <a:endParaRPr lang="en-US" altLang="ko-KR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20" name="직사각형 119"/>
          <p:cNvSpPr/>
          <p:nvPr/>
        </p:nvSpPr>
        <p:spPr bwMode="gray">
          <a:xfrm>
            <a:off x="2771072" y="5164900"/>
            <a:ext cx="151200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 시스템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1" name="그룹 120"/>
          <p:cNvGrpSpPr/>
          <p:nvPr/>
        </p:nvGrpSpPr>
        <p:grpSpPr>
          <a:xfrm>
            <a:off x="1352600" y="4176718"/>
            <a:ext cx="1417376" cy="862004"/>
            <a:chOff x="1570118" y="4327885"/>
            <a:chExt cx="1417376" cy="862004"/>
          </a:xfrm>
        </p:grpSpPr>
        <p:sp>
          <p:nvSpPr>
            <p:cNvPr id="122" name="오른쪽 화살표 121"/>
            <p:cNvSpPr/>
            <p:nvPr/>
          </p:nvSpPr>
          <p:spPr bwMode="auto">
            <a:xfrm>
              <a:off x="1766404" y="4516462"/>
              <a:ext cx="1008000" cy="216000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오른쪽 화살표 122"/>
            <p:cNvSpPr/>
            <p:nvPr/>
          </p:nvSpPr>
          <p:spPr bwMode="auto">
            <a:xfrm rot="10800000">
              <a:off x="1766405" y="4734495"/>
              <a:ext cx="1008000" cy="216000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1570118" y="4327885"/>
              <a:ext cx="1417376" cy="2550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20000"/>
                </a:spcBef>
                <a:defRPr/>
              </a:pP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거래</a:t>
              </a:r>
              <a:r>
                <a:rPr lang="en-US" altLang="ko-KR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혜택 정보 요청</a:t>
              </a:r>
              <a:endParaRPr lang="en-US" altLang="ko-KR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/>
            <p:cNvSpPr/>
            <p:nvPr/>
          </p:nvSpPr>
          <p:spPr>
            <a:xfrm>
              <a:off x="1630278" y="4936037"/>
              <a:ext cx="1220206" cy="2538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20000"/>
                </a:spcBef>
                <a:defRPr/>
              </a:pP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요청정보 限 제공</a:t>
              </a:r>
              <a:endParaRPr lang="en-US" altLang="ko-KR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26" name="그룹 125"/>
          <p:cNvGrpSpPr/>
          <p:nvPr/>
        </p:nvGrpSpPr>
        <p:grpSpPr>
          <a:xfrm>
            <a:off x="1411658" y="5301232"/>
            <a:ext cx="1358064" cy="627903"/>
            <a:chOff x="1676351" y="5133838"/>
            <a:chExt cx="1358064" cy="627903"/>
          </a:xfrm>
        </p:grpSpPr>
        <p:sp>
          <p:nvSpPr>
            <p:cNvPr id="127" name="오른쪽 화살표 126"/>
            <p:cNvSpPr/>
            <p:nvPr/>
          </p:nvSpPr>
          <p:spPr bwMode="auto">
            <a:xfrm rot="10800000">
              <a:off x="1766405" y="5133838"/>
              <a:ext cx="1008000" cy="216000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>
            <a:xfrm>
              <a:off x="1676351" y="5313926"/>
              <a:ext cx="1358064" cy="4478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20000"/>
                </a:spcBef>
                <a:defRPr/>
              </a:pP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마케팅 오퍼 정보의</a:t>
              </a:r>
              <a:r>
                <a:rPr lang="en-US" altLang="ko-KR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lang="en-US" altLang="ko-KR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50" kern="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적시성</a:t>
              </a:r>
              <a:r>
                <a:rPr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부족</a:t>
              </a:r>
              <a:endParaRPr lang="en-US" altLang="ko-KR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29" name="직사각형 128"/>
          <p:cNvSpPr/>
          <p:nvPr/>
        </p:nvSpPr>
        <p:spPr>
          <a:xfrm>
            <a:off x="301299" y="5904053"/>
            <a:ext cx="40712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의 카드사용 시점과 </a:t>
            </a:r>
            <a:r>
              <a:rPr kumimoji="1" lang="ko-KR" altLang="en-US" sz="11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고객서비스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제공 시점이 단절되어 있으며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요청에 의한 제한적인 정보만 제공 가능</a:t>
            </a:r>
            <a:endParaRPr lang="ko-KR" altLang="en-US" sz="1100" dirty="0"/>
          </a:p>
        </p:txBody>
      </p:sp>
      <p:grpSp>
        <p:nvGrpSpPr>
          <p:cNvPr id="130" name="그룹 129"/>
          <p:cNvGrpSpPr/>
          <p:nvPr/>
        </p:nvGrpSpPr>
        <p:grpSpPr>
          <a:xfrm>
            <a:off x="1484429" y="4104676"/>
            <a:ext cx="2765655" cy="72000"/>
            <a:chOff x="-1074821" y="1584345"/>
            <a:chExt cx="2765655" cy="98932"/>
          </a:xfrm>
        </p:grpSpPr>
        <p:grpSp>
          <p:nvGrpSpPr>
            <p:cNvPr id="131" name="그룹 130"/>
            <p:cNvGrpSpPr/>
            <p:nvPr/>
          </p:nvGrpSpPr>
          <p:grpSpPr>
            <a:xfrm>
              <a:off x="-1074821" y="1585199"/>
              <a:ext cx="464056" cy="96314"/>
              <a:chOff x="-1074821" y="1585199"/>
              <a:chExt cx="464056" cy="96314"/>
            </a:xfrm>
          </p:grpSpPr>
          <p:cxnSp>
            <p:nvCxnSpPr>
              <p:cNvPr id="147" name="직선 연결선 146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48" name="직선 연결선 147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32" name="그룹 131"/>
            <p:cNvGrpSpPr/>
            <p:nvPr/>
          </p:nvGrpSpPr>
          <p:grpSpPr>
            <a:xfrm>
              <a:off x="-612737" y="1585199"/>
              <a:ext cx="464056" cy="96314"/>
              <a:chOff x="-1074821" y="1585199"/>
              <a:chExt cx="464056" cy="96314"/>
            </a:xfrm>
          </p:grpSpPr>
          <p:cxnSp>
            <p:nvCxnSpPr>
              <p:cNvPr id="145" name="직선 연결선 144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46" name="직선 연결선 145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33" name="그룹 132"/>
            <p:cNvGrpSpPr/>
            <p:nvPr/>
          </p:nvGrpSpPr>
          <p:grpSpPr>
            <a:xfrm>
              <a:off x="-153840" y="1585199"/>
              <a:ext cx="464056" cy="96314"/>
              <a:chOff x="-1074821" y="1585199"/>
              <a:chExt cx="464056" cy="96314"/>
            </a:xfrm>
          </p:grpSpPr>
          <p:cxnSp>
            <p:nvCxnSpPr>
              <p:cNvPr id="143" name="직선 연결선 142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44" name="직선 연결선 143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34" name="그룹 133"/>
            <p:cNvGrpSpPr/>
            <p:nvPr/>
          </p:nvGrpSpPr>
          <p:grpSpPr>
            <a:xfrm>
              <a:off x="303085" y="1586963"/>
              <a:ext cx="464056" cy="96314"/>
              <a:chOff x="-1074821" y="1585199"/>
              <a:chExt cx="464056" cy="96314"/>
            </a:xfrm>
          </p:grpSpPr>
          <p:cxnSp>
            <p:nvCxnSpPr>
              <p:cNvPr id="141" name="직선 연결선 140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42" name="직선 연결선 141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35" name="그룹 134"/>
            <p:cNvGrpSpPr/>
            <p:nvPr/>
          </p:nvGrpSpPr>
          <p:grpSpPr>
            <a:xfrm>
              <a:off x="765169" y="1584345"/>
              <a:ext cx="464056" cy="96314"/>
              <a:chOff x="-1074821" y="1585199"/>
              <a:chExt cx="464056" cy="96314"/>
            </a:xfrm>
          </p:grpSpPr>
          <p:cxnSp>
            <p:nvCxnSpPr>
              <p:cNvPr id="139" name="직선 연결선 138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40" name="직선 연결선 139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36" name="그룹 135"/>
            <p:cNvGrpSpPr/>
            <p:nvPr/>
          </p:nvGrpSpPr>
          <p:grpSpPr>
            <a:xfrm>
              <a:off x="1226778" y="1584840"/>
              <a:ext cx="464056" cy="96314"/>
              <a:chOff x="-1074821" y="1585199"/>
              <a:chExt cx="464056" cy="96314"/>
            </a:xfrm>
          </p:grpSpPr>
          <p:cxnSp>
            <p:nvCxnSpPr>
              <p:cNvPr id="137" name="직선 연결선 136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38" name="직선 연결선 137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</p:grpSp>
      <p:grpSp>
        <p:nvGrpSpPr>
          <p:cNvPr id="149" name="그룹 148"/>
          <p:cNvGrpSpPr/>
          <p:nvPr/>
        </p:nvGrpSpPr>
        <p:grpSpPr>
          <a:xfrm>
            <a:off x="1484429" y="5027492"/>
            <a:ext cx="2765655" cy="72000"/>
            <a:chOff x="-1074821" y="1584345"/>
            <a:chExt cx="2765655" cy="98932"/>
          </a:xfrm>
        </p:grpSpPr>
        <p:grpSp>
          <p:nvGrpSpPr>
            <p:cNvPr id="150" name="그룹 149"/>
            <p:cNvGrpSpPr/>
            <p:nvPr/>
          </p:nvGrpSpPr>
          <p:grpSpPr>
            <a:xfrm>
              <a:off x="-1074821" y="1585199"/>
              <a:ext cx="464056" cy="96314"/>
              <a:chOff x="-1074821" y="1585199"/>
              <a:chExt cx="464056" cy="96314"/>
            </a:xfrm>
          </p:grpSpPr>
          <p:cxnSp>
            <p:nvCxnSpPr>
              <p:cNvPr id="166" name="직선 연결선 165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67" name="직선 연결선 166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51" name="그룹 150"/>
            <p:cNvGrpSpPr/>
            <p:nvPr/>
          </p:nvGrpSpPr>
          <p:grpSpPr>
            <a:xfrm>
              <a:off x="-612737" y="1585199"/>
              <a:ext cx="464056" cy="96314"/>
              <a:chOff x="-1074821" y="1585199"/>
              <a:chExt cx="464056" cy="96314"/>
            </a:xfrm>
          </p:grpSpPr>
          <p:cxnSp>
            <p:nvCxnSpPr>
              <p:cNvPr id="164" name="직선 연결선 163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65" name="직선 연결선 164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52" name="그룹 151"/>
            <p:cNvGrpSpPr/>
            <p:nvPr/>
          </p:nvGrpSpPr>
          <p:grpSpPr>
            <a:xfrm>
              <a:off x="-153840" y="1585199"/>
              <a:ext cx="464056" cy="96314"/>
              <a:chOff x="-1074821" y="1585199"/>
              <a:chExt cx="464056" cy="96314"/>
            </a:xfrm>
          </p:grpSpPr>
          <p:cxnSp>
            <p:nvCxnSpPr>
              <p:cNvPr id="162" name="직선 연결선 161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63" name="직선 연결선 162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53" name="그룹 152"/>
            <p:cNvGrpSpPr/>
            <p:nvPr/>
          </p:nvGrpSpPr>
          <p:grpSpPr>
            <a:xfrm>
              <a:off x="303085" y="1586963"/>
              <a:ext cx="464056" cy="96314"/>
              <a:chOff x="-1074821" y="1585199"/>
              <a:chExt cx="464056" cy="96314"/>
            </a:xfrm>
          </p:grpSpPr>
          <p:cxnSp>
            <p:nvCxnSpPr>
              <p:cNvPr id="160" name="직선 연결선 159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61" name="직선 연결선 160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54" name="그룹 153"/>
            <p:cNvGrpSpPr/>
            <p:nvPr/>
          </p:nvGrpSpPr>
          <p:grpSpPr>
            <a:xfrm>
              <a:off x="765169" y="1584345"/>
              <a:ext cx="464056" cy="96314"/>
              <a:chOff x="-1074821" y="1585199"/>
              <a:chExt cx="464056" cy="96314"/>
            </a:xfrm>
          </p:grpSpPr>
          <p:cxnSp>
            <p:nvCxnSpPr>
              <p:cNvPr id="158" name="직선 연결선 157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59" name="직선 연결선 158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155" name="그룹 154"/>
            <p:cNvGrpSpPr/>
            <p:nvPr/>
          </p:nvGrpSpPr>
          <p:grpSpPr>
            <a:xfrm>
              <a:off x="1226778" y="1584840"/>
              <a:ext cx="464056" cy="96314"/>
              <a:chOff x="-1074821" y="1585199"/>
              <a:chExt cx="464056" cy="96314"/>
            </a:xfrm>
          </p:grpSpPr>
          <p:cxnSp>
            <p:nvCxnSpPr>
              <p:cNvPr id="156" name="직선 연결선 155"/>
              <p:cNvCxnSpPr/>
              <p:nvPr/>
            </p:nvCxnSpPr>
            <p:spPr bwMode="auto">
              <a:xfrm flipV="1">
                <a:off x="-1074821" y="1585199"/>
                <a:ext cx="23261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57" name="직선 연결선 156"/>
              <p:cNvCxnSpPr/>
              <p:nvPr/>
            </p:nvCxnSpPr>
            <p:spPr bwMode="auto">
              <a:xfrm flipH="1" flipV="1">
                <a:off x="-844765" y="1585199"/>
                <a:ext cx="234000" cy="96314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</p:grpSp>
      <p:sp>
        <p:nvSpPr>
          <p:cNvPr id="171" name="직사각형 170"/>
          <p:cNvSpPr/>
          <p:nvPr/>
        </p:nvSpPr>
        <p:spPr>
          <a:xfrm>
            <a:off x="5339333" y="4967889"/>
            <a:ext cx="466794" cy="2627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</a:t>
            </a:r>
            <a:endParaRPr lang="en-US" altLang="ko-KR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83" name="개체 182"/>
          <p:cNvGraphicFramePr>
            <a:graphicFrameLocks noChangeAspect="1"/>
          </p:cNvGraphicFramePr>
          <p:nvPr>
            <p:extLst/>
          </p:nvPr>
        </p:nvGraphicFramePr>
        <p:xfrm>
          <a:off x="511908" y="4219265"/>
          <a:ext cx="537626" cy="57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" name="Visio" r:id="rId3" imgW="593525" imgH="774042" progId="Visio.Drawing.11">
                  <p:embed/>
                </p:oleObj>
              </mc:Choice>
              <mc:Fallback>
                <p:oleObj name="Visio" r:id="rId3" imgW="593525" imgH="774042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grayscl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1908" y="4219265"/>
                        <a:ext cx="537626" cy="5795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" name="개체 183"/>
          <p:cNvGraphicFramePr>
            <a:graphicFrameLocks noChangeAspect="1"/>
          </p:cNvGraphicFramePr>
          <p:nvPr>
            <p:extLst/>
          </p:nvPr>
        </p:nvGraphicFramePr>
        <p:xfrm>
          <a:off x="5367809" y="4347125"/>
          <a:ext cx="537626" cy="57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Visio" r:id="rId5" imgW="593525" imgH="774042" progId="Visio.Drawing.11">
                  <p:embed/>
                </p:oleObj>
              </mc:Choice>
              <mc:Fallback>
                <p:oleObj name="Visio" r:id="rId5" imgW="593525" imgH="774042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grayscl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67809" y="4347125"/>
                        <a:ext cx="537626" cy="5795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" name="직사각형 184"/>
          <p:cNvSpPr/>
          <p:nvPr/>
        </p:nvSpPr>
        <p:spPr bwMode="gray">
          <a:xfrm>
            <a:off x="6775479" y="3647885"/>
            <a:ext cx="739193" cy="209561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</a:t>
            </a:r>
            <a:r>
              <a:rPr lang="ko-KR" altLang="en-US" sz="11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계</a:t>
            </a:r>
            <a:endParaRPr lang="en-US" altLang="ko-KR" sz="11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6" name="직사각형 185"/>
          <p:cNvSpPr/>
          <p:nvPr/>
        </p:nvSpPr>
        <p:spPr bwMode="gray">
          <a:xfrm>
            <a:off x="8051030" y="3655336"/>
            <a:ext cx="669941" cy="9080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BMS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벤트</a:t>
            </a:r>
            <a:endParaRPr lang="en-US" altLang="ko-KR" sz="11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감지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7" name="직사각형 186"/>
          <p:cNvSpPr/>
          <p:nvPr/>
        </p:nvSpPr>
        <p:spPr bwMode="gray">
          <a:xfrm>
            <a:off x="8817092" y="3655336"/>
            <a:ext cx="669941" cy="9080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</a:t>
            </a:r>
            <a:endParaRPr lang="en-US" altLang="ko-KR" sz="11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모션</a:t>
            </a:r>
            <a:endParaRPr lang="en-US" altLang="ko-KR" sz="11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Rule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8" name="직사각형 187"/>
          <p:cNvSpPr/>
          <p:nvPr/>
        </p:nvSpPr>
        <p:spPr bwMode="gray">
          <a:xfrm>
            <a:off x="8049344" y="4828051"/>
            <a:ext cx="1437689" cy="9154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* Product Factory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 혜택</a:t>
            </a:r>
            <a:endParaRPr lang="en-US" altLang="ko-KR" sz="11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혜택</a:t>
            </a:r>
            <a:endParaRPr lang="en-US" altLang="ko-KR" sz="11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8" name="직선 화살표 연결선 7"/>
          <p:cNvCxnSpPr/>
          <p:nvPr/>
        </p:nvCxnSpPr>
        <p:spPr bwMode="auto">
          <a:xfrm>
            <a:off x="5905435" y="4563340"/>
            <a:ext cx="8700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89" name="직사각형 188"/>
          <p:cNvSpPr/>
          <p:nvPr/>
        </p:nvSpPr>
        <p:spPr>
          <a:xfrm>
            <a:off x="5127794" y="3657291"/>
            <a:ext cx="1625766" cy="4985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 승인 시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Offer </a:t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보 제공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”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90" name="직선 화살표 연결선 189"/>
          <p:cNvCxnSpPr/>
          <p:nvPr/>
        </p:nvCxnSpPr>
        <p:spPr bwMode="auto">
          <a:xfrm flipV="1">
            <a:off x="7506123" y="4109338"/>
            <a:ext cx="654985" cy="81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1" name="직선 화살표 연결선 190"/>
          <p:cNvCxnSpPr/>
          <p:nvPr/>
        </p:nvCxnSpPr>
        <p:spPr bwMode="auto">
          <a:xfrm>
            <a:off x="7514671" y="5000847"/>
            <a:ext cx="654985" cy="37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2" name="직선 화살표 연결선 191"/>
          <p:cNvCxnSpPr/>
          <p:nvPr/>
        </p:nvCxnSpPr>
        <p:spPr bwMode="auto">
          <a:xfrm>
            <a:off x="7512986" y="5183471"/>
            <a:ext cx="654985" cy="37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93" name="직선 화살표 연결선 192"/>
          <p:cNvCxnSpPr/>
          <p:nvPr/>
        </p:nvCxnSpPr>
        <p:spPr bwMode="auto">
          <a:xfrm flipV="1">
            <a:off x="6811139" y="4109339"/>
            <a:ext cx="697689" cy="4349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/>
          </a:ln>
          <a:effectLst/>
        </p:spPr>
      </p:cxnSp>
      <p:cxnSp>
        <p:nvCxnSpPr>
          <p:cNvPr id="194" name="직선 화살표 연결선 193"/>
          <p:cNvCxnSpPr/>
          <p:nvPr/>
        </p:nvCxnSpPr>
        <p:spPr bwMode="auto">
          <a:xfrm>
            <a:off x="6811139" y="4578082"/>
            <a:ext cx="697689" cy="4259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/>
          </a:ln>
          <a:effectLst/>
        </p:spPr>
      </p:cxnSp>
      <p:cxnSp>
        <p:nvCxnSpPr>
          <p:cNvPr id="195" name="직선 화살표 연결선 194"/>
          <p:cNvCxnSpPr/>
          <p:nvPr/>
        </p:nvCxnSpPr>
        <p:spPr bwMode="auto">
          <a:xfrm>
            <a:off x="6800767" y="4758722"/>
            <a:ext cx="697689" cy="4259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96" name="직선 화살표 연결선 195"/>
          <p:cNvCxnSpPr/>
          <p:nvPr/>
        </p:nvCxnSpPr>
        <p:spPr bwMode="auto">
          <a:xfrm flipV="1">
            <a:off x="5892304" y="4755290"/>
            <a:ext cx="88317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triangle" w="med" len="med"/>
            <a:tailEnd type="none"/>
          </a:ln>
          <a:effectLst/>
        </p:spPr>
      </p:cxnSp>
      <p:cxnSp>
        <p:nvCxnSpPr>
          <p:cNvPr id="197" name="직선 화살표 연결선 196"/>
          <p:cNvCxnSpPr/>
          <p:nvPr/>
        </p:nvCxnSpPr>
        <p:spPr bwMode="auto">
          <a:xfrm flipV="1">
            <a:off x="5871942" y="4372816"/>
            <a:ext cx="88317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triangle" w="med" len="med"/>
            <a:tailEnd type="none"/>
          </a:ln>
          <a:effectLst/>
        </p:spPr>
      </p:cxnSp>
      <p:cxnSp>
        <p:nvCxnSpPr>
          <p:cNvPr id="198" name="직선 화살표 연결선 197"/>
          <p:cNvCxnSpPr/>
          <p:nvPr/>
        </p:nvCxnSpPr>
        <p:spPr bwMode="auto">
          <a:xfrm flipV="1">
            <a:off x="6755117" y="3917389"/>
            <a:ext cx="732752" cy="45542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99" name="직선 화살표 연결선 198"/>
          <p:cNvCxnSpPr/>
          <p:nvPr/>
        </p:nvCxnSpPr>
        <p:spPr bwMode="auto">
          <a:xfrm flipV="1">
            <a:off x="7487869" y="3911971"/>
            <a:ext cx="654985" cy="181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200" name="직사각형 199"/>
          <p:cNvSpPr/>
          <p:nvPr/>
        </p:nvSpPr>
        <p:spPr>
          <a:xfrm>
            <a:off x="5181065" y="5159966"/>
            <a:ext cx="1443024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용 카드 상품</a:t>
            </a:r>
            <a:endParaRPr lang="en-US" altLang="ko-KR" sz="12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혜택 인지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”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5541114" y="5949280"/>
            <a:ext cx="375134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* 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일반적으로</a:t>
            </a: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 </a:t>
            </a: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ime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고려</a:t>
            </a: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계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내 </a:t>
            </a: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F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의 일부 정보를 </a:t>
            </a: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 </a:t>
            </a:r>
            <a:r>
              <a:rPr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중화하는 방식 사용</a:t>
            </a:r>
            <a:endParaRPr lang="ko-KR" altLang="en-US" sz="1050" b="0" dirty="0"/>
          </a:p>
        </p:txBody>
      </p:sp>
      <p:cxnSp>
        <p:nvCxnSpPr>
          <p:cNvPr id="201" name="직선 화살표 연결선 200"/>
          <p:cNvCxnSpPr>
            <a:stCxn id="184" idx="0"/>
            <a:endCxn id="187" idx="0"/>
          </p:cNvCxnSpPr>
          <p:nvPr/>
        </p:nvCxnSpPr>
        <p:spPr bwMode="auto">
          <a:xfrm rot="5400000" flipH="1" flipV="1">
            <a:off x="7048448" y="2243511"/>
            <a:ext cx="691789" cy="3515441"/>
          </a:xfrm>
          <a:prstGeom prst="bentConnector3">
            <a:avLst>
              <a:gd name="adj1" fmla="val 133045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41" name="직사각형 40"/>
          <p:cNvSpPr/>
          <p:nvPr/>
        </p:nvSpPr>
        <p:spPr>
          <a:xfrm>
            <a:off x="6825208" y="3217574"/>
            <a:ext cx="1749176" cy="278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SzPct val="90000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SMS/Mobile Push</a:t>
            </a:r>
            <a:endParaRPr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Rectangle 30"/>
          <p:cNvSpPr/>
          <p:nvPr/>
        </p:nvSpPr>
        <p:spPr bwMode="gray">
          <a:xfrm>
            <a:off x="5197540" y="2928152"/>
            <a:ext cx="441000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109" name="Rectangle 30"/>
          <p:cNvSpPr/>
          <p:nvPr/>
        </p:nvSpPr>
        <p:spPr bwMode="gray">
          <a:xfrm>
            <a:off x="326408" y="2928153"/>
            <a:ext cx="4410000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110" name="이등변 삼각형 109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8" name="그룹 17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7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8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8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8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0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0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0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06" name="그룹 2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4323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승인시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서비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점에 고객에게 즉시 제공 가능한 마케팅 서비스가 점차 중요해짐에 따라 다양한 채널을 통해 실시간 마케팅을 제공할 수 있는 인프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이 필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시점 실시간 서비스 강화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1" name="오른쪽 화살표 30"/>
          <p:cNvSpPr/>
          <p:nvPr/>
        </p:nvSpPr>
        <p:spPr>
          <a:xfrm>
            <a:off x="1280592" y="2190126"/>
            <a:ext cx="6192688" cy="932367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marL="171450" indent="-171450" algn="ctr" defTabSz="957796" fontAlgn="auto" latinLnBrk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ko-KR" altLang="en-US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gray">
          <a:xfrm>
            <a:off x="1496616" y="2190126"/>
            <a:ext cx="936104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회원가입</a:t>
            </a:r>
          </a:p>
        </p:txBody>
      </p:sp>
      <p:sp>
        <p:nvSpPr>
          <p:cNvPr id="34" name="직사각형 33"/>
          <p:cNvSpPr/>
          <p:nvPr/>
        </p:nvSpPr>
        <p:spPr bwMode="gray">
          <a:xfrm>
            <a:off x="1496616" y="2694182"/>
            <a:ext cx="93610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회원모집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회원신청 응대</a:t>
            </a:r>
          </a:p>
        </p:txBody>
      </p:sp>
      <p:sp>
        <p:nvSpPr>
          <p:cNvPr id="35" name="직사각형 34"/>
          <p:cNvSpPr/>
          <p:nvPr/>
        </p:nvSpPr>
        <p:spPr bwMode="gray">
          <a:xfrm>
            <a:off x="2612740" y="2190126"/>
            <a:ext cx="936104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소비 </a:t>
            </a:r>
            <a:r>
              <a:rPr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니즈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발생</a:t>
            </a:r>
          </a:p>
        </p:txBody>
      </p:sp>
      <p:sp>
        <p:nvSpPr>
          <p:cNvPr id="36" name="직사각형 35"/>
          <p:cNvSpPr/>
          <p:nvPr/>
        </p:nvSpPr>
        <p:spPr bwMode="gray">
          <a:xfrm>
            <a:off x="2612740" y="2694182"/>
            <a:ext cx="93610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정기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DM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발송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계절별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프로모션</a:t>
            </a:r>
          </a:p>
        </p:txBody>
      </p:sp>
      <p:sp>
        <p:nvSpPr>
          <p:cNvPr id="37" name="직사각형 36"/>
          <p:cNvSpPr/>
          <p:nvPr/>
        </p:nvSpPr>
        <p:spPr bwMode="gray">
          <a:xfrm>
            <a:off x="3728864" y="2190126"/>
            <a:ext cx="936104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매장 방문</a:t>
            </a:r>
          </a:p>
        </p:txBody>
      </p:sp>
      <p:sp>
        <p:nvSpPr>
          <p:cNvPr id="38" name="직사각형 37"/>
          <p:cNvSpPr/>
          <p:nvPr/>
        </p:nvSpPr>
        <p:spPr bwMode="gray">
          <a:xfrm>
            <a:off x="3728864" y="2694182"/>
            <a:ext cx="93610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맹점 연계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프로모션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리워드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제공</a:t>
            </a:r>
          </a:p>
        </p:txBody>
      </p:sp>
      <p:sp>
        <p:nvSpPr>
          <p:cNvPr id="39" name="직사각형 38"/>
          <p:cNvSpPr/>
          <p:nvPr/>
        </p:nvSpPr>
        <p:spPr bwMode="gray">
          <a:xfrm>
            <a:off x="4844988" y="2190126"/>
            <a:ext cx="936104" cy="360000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구매</a:t>
            </a:r>
          </a:p>
        </p:txBody>
      </p:sp>
      <p:sp>
        <p:nvSpPr>
          <p:cNvPr id="40" name="직사각형 39"/>
          <p:cNvSpPr/>
          <p:nvPr/>
        </p:nvSpPr>
        <p:spPr bwMode="gray">
          <a:xfrm>
            <a:off x="4844988" y="2694182"/>
            <a:ext cx="936104" cy="1152128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스탬프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적립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등의 </a:t>
            </a:r>
            <a:r>
              <a:rPr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리워드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제공</a:t>
            </a:r>
          </a:p>
        </p:txBody>
      </p:sp>
      <p:sp>
        <p:nvSpPr>
          <p:cNvPr id="41" name="직사각형 40"/>
          <p:cNvSpPr/>
          <p:nvPr/>
        </p:nvSpPr>
        <p:spPr bwMode="gray">
          <a:xfrm>
            <a:off x="5961112" y="2190126"/>
            <a:ext cx="936104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문의 등</a:t>
            </a:r>
          </a:p>
        </p:txBody>
      </p:sp>
      <p:sp>
        <p:nvSpPr>
          <p:cNvPr id="42" name="직사각형 41"/>
          <p:cNvSpPr/>
          <p:nvPr/>
        </p:nvSpPr>
        <p:spPr bwMode="gray">
          <a:xfrm>
            <a:off x="5961112" y="2694182"/>
            <a:ext cx="93610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 청구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 DM</a:t>
            </a:r>
            <a:b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발송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 문의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불만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변경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br>
              <a:rPr lang="en-US" altLang="ko-KR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9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요구사항 응대 등의 사후활동 실시</a:t>
            </a:r>
          </a:p>
        </p:txBody>
      </p:sp>
      <p:sp>
        <p:nvSpPr>
          <p:cNvPr id="43" name="AutoShape 77"/>
          <p:cNvSpPr>
            <a:spLocks noChangeArrowheads="1"/>
          </p:cNvSpPr>
          <p:nvPr/>
        </p:nvSpPr>
        <p:spPr bwMode="auto">
          <a:xfrm>
            <a:off x="7473280" y="3198238"/>
            <a:ext cx="1872208" cy="1800200"/>
          </a:xfrm>
          <a:prstGeom prst="star32">
            <a:avLst>
              <a:gd name="adj" fmla="val 4051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xtLst/>
        </p:spPr>
        <p:txBody>
          <a:bodyPr wrap="none" lIns="90000" tIns="18000" rIns="90000" bIns="18000" anchor="ctr"/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마케팅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공이 가능한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축</a:t>
            </a:r>
            <a:endParaRPr lang="en-US" altLang="ko-KR" sz="105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1136576" y="4638398"/>
            <a:ext cx="1224136" cy="1584176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주요 승인 시점 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마케팅</a:t>
            </a:r>
          </a:p>
        </p:txBody>
      </p:sp>
      <p:sp>
        <p:nvSpPr>
          <p:cNvPr id="45" name="직사각형 44"/>
          <p:cNvSpPr/>
          <p:nvPr/>
        </p:nvSpPr>
        <p:spPr bwMode="gray">
          <a:xfrm>
            <a:off x="2504728" y="5070446"/>
            <a:ext cx="2016224" cy="1152128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vent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를 실시간으로 감지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b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vent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따른 캠페인 즉시 실행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이 결제 후 이동 가능한 잠재가맹점 위치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할인쿠폰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이벤트 정보 등을 결제 시점에 전송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46" name="직사각형 45"/>
          <p:cNvSpPr/>
          <p:nvPr/>
        </p:nvSpPr>
        <p:spPr bwMode="gray">
          <a:xfrm>
            <a:off x="4592960" y="5070446"/>
            <a:ext cx="2016224" cy="1152128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개인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법인 고객에게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할인내역 혹은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 포인트 등의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정보를 고객이 결제하는 시점에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휴대폰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SMS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송 및 웹 게시 등을 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통해 알 수 있도록 함</a:t>
            </a:r>
          </a:p>
        </p:txBody>
      </p:sp>
      <p:sp>
        <p:nvSpPr>
          <p:cNvPr id="47" name="직사각형 46"/>
          <p:cNvSpPr/>
          <p:nvPr/>
        </p:nvSpPr>
        <p:spPr bwMode="gray">
          <a:xfrm>
            <a:off x="2504728" y="4638398"/>
            <a:ext cx="2016224" cy="360000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실시간 마케팅 정보 제공 </a:t>
            </a:r>
            <a:r>
              <a:rPr lang="en-US" altLang="ko-KR" sz="1000" kern="0" baseline="30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)</a:t>
            </a:r>
            <a:endParaRPr lang="ko-KR" altLang="en-US" sz="1000" kern="0" baseline="30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 bwMode="gray">
          <a:xfrm>
            <a:off x="4592960" y="4638398"/>
            <a:ext cx="2016224" cy="360000"/>
          </a:xfrm>
          <a:prstGeom prst="rect">
            <a:avLst/>
          </a:prstGeom>
          <a:solidFill>
            <a:srgbClr val="B9CDE5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리워드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정보 제공</a:t>
            </a:r>
          </a:p>
        </p:txBody>
      </p:sp>
      <p:sp>
        <p:nvSpPr>
          <p:cNvPr id="49" name="AutoShape 6"/>
          <p:cNvSpPr>
            <a:spLocks noChangeArrowheads="1"/>
          </p:cNvSpPr>
          <p:nvPr/>
        </p:nvSpPr>
        <p:spPr bwMode="auto">
          <a:xfrm rot="16200000" flipV="1">
            <a:off x="6371785" y="4155717"/>
            <a:ext cx="1770942" cy="144016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C0C0C0"/>
              </a:gs>
              <a:gs pos="100000">
                <a:srgbClr val="EAEAEA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defTabSz="957796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000" b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50" name="꺾인 연결선 49"/>
          <p:cNvCxnSpPr>
            <a:stCxn id="40" idx="2"/>
            <a:endCxn id="47" idx="0"/>
          </p:cNvCxnSpPr>
          <p:nvPr/>
        </p:nvCxnSpPr>
        <p:spPr bwMode="auto">
          <a:xfrm rot="5400000">
            <a:off x="4016896" y="3342254"/>
            <a:ext cx="792088" cy="1800200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꺾인 연결선 50"/>
          <p:cNvCxnSpPr>
            <a:stCxn id="40" idx="2"/>
            <a:endCxn id="48" idx="0"/>
          </p:cNvCxnSpPr>
          <p:nvPr/>
        </p:nvCxnSpPr>
        <p:spPr bwMode="auto">
          <a:xfrm rot="16200000" flipH="1">
            <a:off x="5061012" y="4098338"/>
            <a:ext cx="792088" cy="288032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 bwMode="gray">
          <a:xfrm>
            <a:off x="396044" y="2190126"/>
            <a:ext cx="936104" cy="360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 </a:t>
            </a:r>
          </a:p>
        </p:txBody>
      </p:sp>
      <p:sp>
        <p:nvSpPr>
          <p:cNvPr id="53" name="직사각형 52"/>
          <p:cNvSpPr/>
          <p:nvPr/>
        </p:nvSpPr>
        <p:spPr bwMode="gray">
          <a:xfrm>
            <a:off x="396044" y="2694182"/>
            <a:ext cx="936104" cy="115212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카드사 </a:t>
            </a:r>
            <a:endParaRPr lang="en-US" altLang="ko-KR" sz="12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수행</a:t>
            </a:r>
            <a:endParaRPr lang="en-US" altLang="ko-KR" sz="12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Task</a:t>
            </a:r>
            <a:endParaRPr lang="ko-KR" altLang="en-US" sz="12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55" name="그룹 5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6" name="그룹 7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2235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승인시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서비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09260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 시점의 실시간 서비스를 강화하기 위해 거래 승인 외 추가적인 정보 처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가 필요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EBMS (Event Based Marketing System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 연계하는 방안을 검토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시점 실시간 서비스 적용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low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7" name="직사각형 36"/>
          <p:cNvSpPr/>
          <p:nvPr/>
        </p:nvSpPr>
        <p:spPr bwMode="gray">
          <a:xfrm>
            <a:off x="3467671" y="2313754"/>
            <a:ext cx="2360331" cy="32415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추가 정보 처리 프로세스</a:t>
            </a:r>
            <a:endParaRPr lang="en-US" altLang="ko-KR" sz="1000" b="1" kern="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r>
              <a:rPr lang="en-US" altLang="ko-KR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시스템 </a:t>
            </a:r>
            <a:r>
              <a:rPr lang="en-US" altLang="ko-KR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or </a:t>
            </a:r>
            <a:r>
              <a:rPr lang="ko-KR" altLang="en-US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실시간</a:t>
            </a:r>
            <a:r>
              <a:rPr lang="en-US" altLang="ko-KR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연계 시스템</a:t>
            </a:r>
            <a:r>
              <a:rPr lang="en-US" altLang="ko-KR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ko-KR" altLang="en-US" sz="1000" b="1" kern="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8" name="직사각형 37"/>
          <p:cNvSpPr/>
          <p:nvPr/>
        </p:nvSpPr>
        <p:spPr bwMode="gray">
          <a:xfrm>
            <a:off x="414469" y="2657855"/>
            <a:ext cx="2360331" cy="32415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기존 거래 승인 프로세스</a:t>
            </a:r>
            <a:endParaRPr lang="ko-KR" altLang="en-US" sz="1000" b="1" kern="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 bwMode="gray">
          <a:xfrm>
            <a:off x="6917532" y="2414680"/>
            <a:ext cx="2574000" cy="35662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endParaRPr lang="ko-KR" altLang="en-US" sz="923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0" name="직사각형 39"/>
          <p:cNvSpPr/>
          <p:nvPr/>
        </p:nvSpPr>
        <p:spPr bwMode="gray">
          <a:xfrm>
            <a:off x="7056132" y="2545091"/>
            <a:ext cx="2296800" cy="308127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XXX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님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****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카드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 50,000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원 일시불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09/23 19:00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하나로마트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상암점</a:t>
            </a:r>
            <a:endParaRPr lang="en-US" altLang="ko-KR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endParaRPr lang="en-US" altLang="ko-KR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채움포인트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금회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250P,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누적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8750P</a:t>
            </a:r>
          </a:p>
          <a:p>
            <a:pPr algn="ctr" latinLnBrk="0">
              <a:spcBef>
                <a:spcPct val="0"/>
              </a:spcBef>
              <a:buSzPct val="90000"/>
            </a:pPr>
            <a:endParaRPr lang="en-US" altLang="ko-KR" sz="10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누적 사용실적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335,000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원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,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1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만원 청구할인한도가 생성되었습니다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.</a:t>
            </a:r>
          </a:p>
          <a:p>
            <a:pPr algn="ctr" latinLnBrk="0">
              <a:spcBef>
                <a:spcPct val="0"/>
              </a:spcBef>
              <a:buSzPct val="90000"/>
            </a:pPr>
            <a:endParaRPr lang="en-US" altLang="ko-KR" sz="10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까운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롯데시네마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상암에서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채움포인트로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결제시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3,000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원 현장할인을 받으실 수 있습니다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.</a:t>
            </a:r>
            <a:endParaRPr lang="ko-KR" altLang="en-US" sz="10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1" name="모서리가 둥근 직사각형 40"/>
          <p:cNvSpPr/>
          <p:nvPr/>
        </p:nvSpPr>
        <p:spPr bwMode="auto">
          <a:xfrm>
            <a:off x="7795014" y="5719446"/>
            <a:ext cx="819036" cy="180000"/>
          </a:xfrm>
          <a:prstGeom prst="roundRect">
            <a:avLst>
              <a:gd name="adj" fmla="val 31705"/>
            </a:avLst>
          </a:prstGeom>
          <a:solidFill>
            <a:schemeClr val="bg1">
              <a:lumMod val="6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오른쪽 화살표 41"/>
          <p:cNvSpPr/>
          <p:nvPr/>
        </p:nvSpPr>
        <p:spPr>
          <a:xfrm>
            <a:off x="6174539" y="2657855"/>
            <a:ext cx="568325" cy="2855742"/>
          </a:xfrm>
          <a:prstGeom prst="rightArrow">
            <a:avLst>
              <a:gd name="adj1" fmla="val 78099"/>
              <a:gd name="adj2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noAutofit/>
          </a:bodyPr>
          <a:lstStyle/>
          <a:p>
            <a:pPr marL="158265" indent="-158265" algn="ctr" defTabSz="884141" latinLnBrk="0">
              <a:buFont typeface="Arial" pitchFamily="34" charset="0"/>
              <a:buChar char="•"/>
            </a:pPr>
            <a:endParaRPr lang="ko-KR" altLang="en-US" sz="923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gray">
          <a:xfrm>
            <a:off x="515471" y="2108963"/>
            <a:ext cx="21384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 요청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 bwMode="gray">
          <a:xfrm>
            <a:off x="3578636" y="2822943"/>
            <a:ext cx="2138400" cy="468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서비스 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Rule </a:t>
            </a:r>
            <a:r>
              <a:rPr lang="ko-KR" altLang="en-US" sz="1108" b="1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적용</a:t>
            </a:r>
            <a:endParaRPr lang="ko-KR" altLang="en-US" sz="1108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45" name="꺾인 연결선 35"/>
          <p:cNvCxnSpPr>
            <a:stCxn id="43" idx="2"/>
            <a:endCxn id="49" idx="0"/>
          </p:cNvCxnSpPr>
          <p:nvPr/>
        </p:nvCxnSpPr>
        <p:spPr bwMode="auto">
          <a:xfrm>
            <a:off x="1584671" y="257696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 bwMode="gray">
          <a:xfrm>
            <a:off x="3578636" y="3536923"/>
            <a:ext cx="2138400" cy="468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혜택 정보 생성</a:t>
            </a:r>
            <a:endParaRPr lang="ko-KR" altLang="en-US" sz="1108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gray">
          <a:xfrm>
            <a:off x="3578636" y="4250903"/>
            <a:ext cx="2138400" cy="468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 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위치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업종 기반 </a:t>
            </a:r>
            <a:endParaRPr lang="en-US" altLang="ko-KR" sz="1108" b="1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맞춤 </a:t>
            </a:r>
            <a:r>
              <a:rPr lang="ko-KR" altLang="en-US" sz="1108" b="1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컨텐츠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검색</a:t>
            </a:r>
            <a:endParaRPr lang="ko-KR" altLang="en-US" sz="1108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 bwMode="gray">
          <a:xfrm>
            <a:off x="3578636" y="4964883"/>
            <a:ext cx="2138400" cy="468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en-US" altLang="ko-KR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Trigger 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마케팅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정보 생성</a:t>
            </a:r>
            <a:endParaRPr lang="ko-KR" altLang="en-US" sz="1108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9" name="직사각형 48"/>
          <p:cNvSpPr/>
          <p:nvPr/>
        </p:nvSpPr>
        <p:spPr bwMode="gray">
          <a:xfrm>
            <a:off x="515471" y="2822943"/>
            <a:ext cx="2138400" cy="468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en-US" altLang="ko-KR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BL </a:t>
            </a: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체크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 bwMode="gray">
          <a:xfrm>
            <a:off x="515471" y="3536923"/>
            <a:ext cx="2138400" cy="468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한도 체크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1" name="직사각형 50"/>
          <p:cNvSpPr/>
          <p:nvPr/>
        </p:nvSpPr>
        <p:spPr bwMode="gray">
          <a:xfrm>
            <a:off x="515471" y="4250903"/>
            <a:ext cx="2138400" cy="468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현장서비스 체크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2" name="직사각형 51"/>
          <p:cNvSpPr/>
          <p:nvPr/>
        </p:nvSpPr>
        <p:spPr bwMode="gray">
          <a:xfrm>
            <a:off x="515471" y="4964883"/>
            <a:ext cx="2138400" cy="468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거래 승인 처리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3" name="직사각형 52"/>
          <p:cNvSpPr/>
          <p:nvPr/>
        </p:nvSpPr>
        <p:spPr bwMode="gray">
          <a:xfrm>
            <a:off x="3578636" y="5678864"/>
            <a:ext cx="21384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49846" tIns="49846" rIns="49846" bIns="498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buSzPct val="90000"/>
            </a:pP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고객 안내</a:t>
            </a:r>
            <a:endParaRPr lang="ko-KR" altLang="en-US" sz="11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56" name="꺾인 연결선 35"/>
          <p:cNvCxnSpPr>
            <a:stCxn id="49" idx="2"/>
            <a:endCxn id="50" idx="0"/>
          </p:cNvCxnSpPr>
          <p:nvPr/>
        </p:nvCxnSpPr>
        <p:spPr bwMode="auto">
          <a:xfrm>
            <a:off x="1584671" y="329094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꺾인 연결선 35"/>
          <p:cNvCxnSpPr>
            <a:stCxn id="50" idx="2"/>
            <a:endCxn id="51" idx="0"/>
          </p:cNvCxnSpPr>
          <p:nvPr/>
        </p:nvCxnSpPr>
        <p:spPr bwMode="auto">
          <a:xfrm>
            <a:off x="1584671" y="400492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꺾인 연결선 35"/>
          <p:cNvCxnSpPr>
            <a:stCxn id="51" idx="2"/>
            <a:endCxn id="52" idx="0"/>
          </p:cNvCxnSpPr>
          <p:nvPr/>
        </p:nvCxnSpPr>
        <p:spPr bwMode="auto">
          <a:xfrm>
            <a:off x="1584671" y="471890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꺾인 연결선 35"/>
          <p:cNvCxnSpPr>
            <a:stCxn id="52" idx="3"/>
            <a:endCxn id="44" idx="1"/>
          </p:cNvCxnSpPr>
          <p:nvPr/>
        </p:nvCxnSpPr>
        <p:spPr bwMode="auto">
          <a:xfrm flipV="1">
            <a:off x="2653871" y="3056943"/>
            <a:ext cx="924765" cy="2141940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꺾인 연결선 35"/>
          <p:cNvCxnSpPr>
            <a:stCxn id="44" idx="2"/>
            <a:endCxn id="46" idx="0"/>
          </p:cNvCxnSpPr>
          <p:nvPr/>
        </p:nvCxnSpPr>
        <p:spPr bwMode="auto">
          <a:xfrm>
            <a:off x="4647836" y="329094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꺾인 연결선 35"/>
          <p:cNvCxnSpPr>
            <a:stCxn id="46" idx="2"/>
            <a:endCxn id="47" idx="0"/>
          </p:cNvCxnSpPr>
          <p:nvPr/>
        </p:nvCxnSpPr>
        <p:spPr bwMode="auto">
          <a:xfrm>
            <a:off x="4647836" y="400492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꺾인 연결선 35"/>
          <p:cNvCxnSpPr>
            <a:stCxn id="47" idx="2"/>
            <a:endCxn id="48" idx="0"/>
          </p:cNvCxnSpPr>
          <p:nvPr/>
        </p:nvCxnSpPr>
        <p:spPr bwMode="auto">
          <a:xfrm>
            <a:off x="4647836" y="4718903"/>
            <a:ext cx="0" cy="245980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꺾인 연결선 35"/>
          <p:cNvCxnSpPr>
            <a:stCxn id="48" idx="2"/>
            <a:endCxn id="53" idx="0"/>
          </p:cNvCxnSpPr>
          <p:nvPr/>
        </p:nvCxnSpPr>
        <p:spPr bwMode="auto">
          <a:xfrm>
            <a:off x="4647836" y="5432883"/>
            <a:ext cx="0" cy="245981"/>
          </a:xfrm>
          <a:prstGeom prst="straightConnector1">
            <a:avLst/>
          </a:prstGeom>
          <a:ln w="28575"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5" name="그룹 7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4" name="그룹 8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200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승인시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서비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92704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점에서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 정보 생성과 고객 안내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거래정보와 전월 실적조건을 이용하여 포인트 적립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정 값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산정할 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48" name="타원 47"/>
          <p:cNvSpPr/>
          <p:nvPr/>
        </p:nvSpPr>
        <p:spPr bwMode="gray">
          <a:xfrm>
            <a:off x="1217558" y="1900297"/>
            <a:ext cx="911454" cy="334358"/>
          </a:xfrm>
          <a:prstGeom prst="ellipse">
            <a:avLst/>
          </a:prstGeom>
          <a:solidFill>
            <a:srgbClr val="006699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요</a:t>
            </a:r>
            <a:r>
              <a:rPr lang="ko-KR" altLang="en-US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</a:t>
            </a:r>
            <a:endParaRPr lang="ko-KR" altLang="en-US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9" name="다이아몬드 48"/>
          <p:cNvSpPr/>
          <p:nvPr/>
        </p:nvSpPr>
        <p:spPr bwMode="gray">
          <a:xfrm>
            <a:off x="1918677" y="2268629"/>
            <a:ext cx="911454" cy="334358"/>
          </a:xfrm>
          <a:prstGeom prst="diamond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매출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취소</a:t>
            </a:r>
          </a:p>
        </p:txBody>
      </p:sp>
      <p:cxnSp>
        <p:nvCxnSpPr>
          <p:cNvPr id="50" name="꺾인 연결선 60"/>
          <p:cNvCxnSpPr>
            <a:stCxn id="48" idx="4"/>
            <a:endCxn id="49" idx="1"/>
          </p:cNvCxnSpPr>
          <p:nvPr/>
        </p:nvCxnSpPr>
        <p:spPr bwMode="auto">
          <a:xfrm rot="16200000" flipH="1">
            <a:off x="1695405" y="2212536"/>
            <a:ext cx="201153" cy="245391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1" name="직사각형 50"/>
          <p:cNvSpPr/>
          <p:nvPr/>
        </p:nvSpPr>
        <p:spPr bwMode="gray">
          <a:xfrm>
            <a:off x="2737506" y="1900296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회원</a:t>
            </a:r>
            <a:r>
              <a:rPr lang="en-US" altLang="ko-KR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신용</a:t>
            </a:r>
            <a:r>
              <a:rPr lang="en-US" altLang="ko-KR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맹점</a:t>
            </a:r>
            <a:endParaRPr lang="en-US" altLang="ko-KR" sz="1000" kern="0" spc="-15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spc="-1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상태 확인</a:t>
            </a:r>
          </a:p>
        </p:txBody>
      </p:sp>
      <p:sp>
        <p:nvSpPr>
          <p:cNvPr id="52" name="직사각형 51"/>
          <p:cNvSpPr/>
          <p:nvPr/>
        </p:nvSpPr>
        <p:spPr bwMode="gray">
          <a:xfrm>
            <a:off x="3905754" y="1900296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FDS/FMS</a:t>
            </a:r>
            <a:endParaRPr lang="ko-KR" altLang="en-US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3" name="직사각형 52"/>
          <p:cNvSpPr/>
          <p:nvPr/>
        </p:nvSpPr>
        <p:spPr bwMode="gray">
          <a:xfrm>
            <a:off x="5074002" y="1900296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회원한도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확인</a:t>
            </a:r>
          </a:p>
        </p:txBody>
      </p:sp>
      <p:sp>
        <p:nvSpPr>
          <p:cNvPr id="54" name="직사각형 53"/>
          <p:cNvSpPr/>
          <p:nvPr/>
        </p:nvSpPr>
        <p:spPr bwMode="gray">
          <a:xfrm>
            <a:off x="2737506" y="2636962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내역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확인</a:t>
            </a:r>
          </a:p>
        </p:txBody>
      </p:sp>
      <p:sp>
        <p:nvSpPr>
          <p:cNvPr id="55" name="직사각형 54"/>
          <p:cNvSpPr/>
          <p:nvPr/>
        </p:nvSpPr>
        <p:spPr bwMode="gray">
          <a:xfrm>
            <a:off x="6242250" y="2636962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취소여부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결정</a:t>
            </a:r>
          </a:p>
        </p:txBody>
      </p:sp>
      <p:sp>
        <p:nvSpPr>
          <p:cNvPr id="56" name="직사각형 55"/>
          <p:cNvSpPr/>
          <p:nvPr/>
        </p:nvSpPr>
        <p:spPr bwMode="gray">
          <a:xfrm>
            <a:off x="6242250" y="1900296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여부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결정</a:t>
            </a:r>
          </a:p>
        </p:txBody>
      </p:sp>
      <p:sp>
        <p:nvSpPr>
          <p:cNvPr id="97" name="직사각형 96"/>
          <p:cNvSpPr/>
          <p:nvPr/>
        </p:nvSpPr>
        <p:spPr bwMode="gray">
          <a:xfrm>
            <a:off x="7410498" y="2268629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한도반영</a:t>
            </a:r>
          </a:p>
        </p:txBody>
      </p:sp>
      <p:sp>
        <p:nvSpPr>
          <p:cNvPr id="98" name="직사각형 97"/>
          <p:cNvSpPr/>
          <p:nvPr/>
        </p:nvSpPr>
        <p:spPr bwMode="gray">
          <a:xfrm>
            <a:off x="8578747" y="2268629"/>
            <a:ext cx="911454" cy="334358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거래내역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생성</a:t>
            </a:r>
          </a:p>
        </p:txBody>
      </p:sp>
      <p:cxnSp>
        <p:nvCxnSpPr>
          <p:cNvPr id="99" name="꺾인 연결선 73"/>
          <p:cNvCxnSpPr>
            <a:stCxn id="49" idx="2"/>
            <a:endCxn id="54" idx="1"/>
          </p:cNvCxnSpPr>
          <p:nvPr/>
        </p:nvCxnSpPr>
        <p:spPr bwMode="auto">
          <a:xfrm rot="16200000" flipH="1">
            <a:off x="2455378" y="2522013"/>
            <a:ext cx="201154" cy="363102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0" name="꺾인 연결선 74"/>
          <p:cNvCxnSpPr>
            <a:stCxn id="49" idx="0"/>
            <a:endCxn id="51" idx="1"/>
          </p:cNvCxnSpPr>
          <p:nvPr/>
        </p:nvCxnSpPr>
        <p:spPr bwMode="auto">
          <a:xfrm rot="5400000" flipH="1" flipV="1">
            <a:off x="2455378" y="1986501"/>
            <a:ext cx="201154" cy="363102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1" name="직선 화살표 연결선 100"/>
          <p:cNvCxnSpPr>
            <a:stCxn id="51" idx="3"/>
            <a:endCxn id="52" idx="1"/>
          </p:cNvCxnSpPr>
          <p:nvPr/>
        </p:nvCxnSpPr>
        <p:spPr bwMode="auto">
          <a:xfrm>
            <a:off x="3648960" y="2067475"/>
            <a:ext cx="256794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2" name="직선 화살표 연결선 101"/>
          <p:cNvCxnSpPr>
            <a:stCxn id="52" idx="3"/>
            <a:endCxn id="53" idx="1"/>
          </p:cNvCxnSpPr>
          <p:nvPr/>
        </p:nvCxnSpPr>
        <p:spPr bwMode="auto">
          <a:xfrm>
            <a:off x="4817208" y="2067475"/>
            <a:ext cx="256794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3" name="직선 화살표 연결선 102"/>
          <p:cNvCxnSpPr>
            <a:stCxn id="53" idx="3"/>
            <a:endCxn id="56" idx="1"/>
          </p:cNvCxnSpPr>
          <p:nvPr/>
        </p:nvCxnSpPr>
        <p:spPr bwMode="auto">
          <a:xfrm>
            <a:off x="5985456" y="2067475"/>
            <a:ext cx="256794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4" name="직선 화살표 연결선 103"/>
          <p:cNvCxnSpPr>
            <a:stCxn id="54" idx="3"/>
            <a:endCxn id="55" idx="1"/>
          </p:cNvCxnSpPr>
          <p:nvPr/>
        </p:nvCxnSpPr>
        <p:spPr bwMode="auto">
          <a:xfrm>
            <a:off x="3648960" y="2804141"/>
            <a:ext cx="259329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꺾인 연결선 104"/>
          <p:cNvCxnSpPr>
            <a:stCxn id="56" idx="3"/>
            <a:endCxn id="97" idx="1"/>
          </p:cNvCxnSpPr>
          <p:nvPr/>
        </p:nvCxnSpPr>
        <p:spPr bwMode="auto">
          <a:xfrm>
            <a:off x="7153704" y="2067475"/>
            <a:ext cx="256794" cy="36833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6" name="직선 화살표 연결선 105"/>
          <p:cNvCxnSpPr>
            <a:stCxn id="97" idx="3"/>
            <a:endCxn id="98" idx="1"/>
          </p:cNvCxnSpPr>
          <p:nvPr/>
        </p:nvCxnSpPr>
        <p:spPr bwMode="auto">
          <a:xfrm>
            <a:off x="8321952" y="2435808"/>
            <a:ext cx="256795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7" name="꺾인 연결선 111"/>
          <p:cNvCxnSpPr>
            <a:stCxn id="98" idx="2"/>
            <a:endCxn id="124" idx="2"/>
          </p:cNvCxnSpPr>
          <p:nvPr/>
        </p:nvCxnSpPr>
        <p:spPr bwMode="auto">
          <a:xfrm rot="5400000">
            <a:off x="4555038" y="-486398"/>
            <a:ext cx="1390051" cy="7568822"/>
          </a:xfrm>
          <a:prstGeom prst="bentConnector4">
            <a:avLst>
              <a:gd name="adj1" fmla="val 34301"/>
              <a:gd name="adj2" fmla="val 10294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08" name="그룹 328"/>
          <p:cNvGrpSpPr/>
          <p:nvPr/>
        </p:nvGrpSpPr>
        <p:grpSpPr>
          <a:xfrm>
            <a:off x="376771" y="1896476"/>
            <a:ext cx="771145" cy="1665377"/>
            <a:chOff x="560512" y="1772815"/>
            <a:chExt cx="1080000" cy="1093150"/>
          </a:xfrm>
          <a:solidFill>
            <a:schemeClr val="tx2">
              <a:lumMod val="50000"/>
            </a:schemeClr>
          </a:solidFill>
        </p:grpSpPr>
        <p:sp>
          <p:nvSpPr>
            <p:cNvPr id="109" name="오각형 108"/>
            <p:cNvSpPr/>
            <p:nvPr/>
          </p:nvSpPr>
          <p:spPr>
            <a:xfrm rot="5400000">
              <a:off x="553937" y="1779390"/>
              <a:ext cx="1093150" cy="1080000"/>
            </a:xfrm>
            <a:prstGeom prst="homePlate">
              <a:avLst>
                <a:gd name="adj" fmla="val 17652"/>
              </a:avLst>
            </a:prstGeom>
            <a:grpFill/>
            <a:ln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endParaRPr lang="ko-KR" altLang="en-US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560512" y="1959389"/>
              <a:ext cx="1080000" cy="720000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</a:t>
              </a:r>
              <a:endPara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1" name="그룹 331"/>
          <p:cNvGrpSpPr/>
          <p:nvPr/>
        </p:nvGrpSpPr>
        <p:grpSpPr>
          <a:xfrm>
            <a:off x="376771" y="3645443"/>
            <a:ext cx="771145" cy="1436148"/>
            <a:chOff x="560512" y="1772815"/>
            <a:chExt cx="1080000" cy="1093150"/>
          </a:xfrm>
          <a:solidFill>
            <a:schemeClr val="tx2">
              <a:lumMod val="50000"/>
            </a:schemeClr>
          </a:solidFill>
        </p:grpSpPr>
        <p:sp>
          <p:nvSpPr>
            <p:cNvPr id="112" name="오각형 111"/>
            <p:cNvSpPr/>
            <p:nvPr/>
          </p:nvSpPr>
          <p:spPr>
            <a:xfrm rot="5400000">
              <a:off x="553937" y="1779390"/>
              <a:ext cx="1093150" cy="1080000"/>
            </a:xfrm>
            <a:prstGeom prst="homePlate">
              <a:avLst>
                <a:gd name="adj" fmla="val 17652"/>
              </a:avLst>
            </a:prstGeom>
            <a:grpFill/>
            <a:ln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endParaRPr lang="ko-KR" altLang="en-US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560512" y="1959389"/>
              <a:ext cx="1080000" cy="720000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시점</a:t>
              </a:r>
              <a:endPara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포인트</a:t>
              </a:r>
              <a:endParaRPr lang="en-US" altLang="ko-KR" sz="11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1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 생성</a:t>
              </a:r>
              <a:endPara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4" name="원통 113"/>
          <p:cNvSpPr/>
          <p:nvPr/>
        </p:nvSpPr>
        <p:spPr bwMode="gray">
          <a:xfrm>
            <a:off x="1465652" y="4695273"/>
            <a:ext cx="911454" cy="334358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월실적조건</a:t>
            </a:r>
            <a:endParaRPr lang="ko-KR" altLang="en-US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5" name="원통 114"/>
          <p:cNvSpPr/>
          <p:nvPr/>
        </p:nvSpPr>
        <p:spPr bwMode="gray">
          <a:xfrm>
            <a:off x="1465652" y="4260567"/>
            <a:ext cx="911454" cy="334358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휴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맹점</a:t>
            </a:r>
          </a:p>
        </p:txBody>
      </p:sp>
      <p:grpSp>
        <p:nvGrpSpPr>
          <p:cNvPr id="116" name="그룹 378"/>
          <p:cNvGrpSpPr/>
          <p:nvPr/>
        </p:nvGrpSpPr>
        <p:grpSpPr>
          <a:xfrm>
            <a:off x="2692500" y="3779202"/>
            <a:ext cx="1226821" cy="1067697"/>
            <a:chOff x="2651407" y="3861048"/>
            <a:chExt cx="1260000" cy="1149577"/>
          </a:xfrm>
        </p:grpSpPr>
        <p:sp>
          <p:nvSpPr>
            <p:cNvPr id="117" name="원통 116"/>
            <p:cNvSpPr/>
            <p:nvPr/>
          </p:nvSpPr>
          <p:spPr bwMode="gray">
            <a:xfrm>
              <a:off x="2813355" y="4578545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포인트적립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Rule</a:t>
              </a:r>
              <a:endPara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2651407" y="3861048"/>
              <a:ext cx="1260000" cy="252000"/>
            </a:xfrm>
            <a:prstGeom prst="rect">
              <a:avLst/>
            </a:prstGeom>
            <a:solidFill>
              <a:srgbClr val="95B3D7"/>
            </a:solidFill>
            <a:ln>
              <a:solidFill>
                <a:schemeClr val="tx1"/>
              </a:solidFill>
            </a:ln>
          </p:spPr>
          <p:txBody>
            <a:bodyPr wrap="square" lIns="36000" rIns="36000"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적립 포인트 추정</a:t>
              </a:r>
              <a:endPara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Rectangle 85"/>
            <p:cNvSpPr>
              <a:spLocks noChangeArrowheads="1"/>
            </p:cNvSpPr>
            <p:nvPr/>
          </p:nvSpPr>
          <p:spPr bwMode="auto">
            <a:xfrm>
              <a:off x="2651407" y="4110625"/>
              <a:ext cx="1260000" cy="9000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원통 119"/>
            <p:cNvSpPr/>
            <p:nvPr/>
          </p:nvSpPr>
          <p:spPr bwMode="gray">
            <a:xfrm>
              <a:off x="2813355" y="4189956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상품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서비스</a:t>
              </a:r>
            </a:p>
          </p:txBody>
        </p:sp>
      </p:grpSp>
      <p:cxnSp>
        <p:nvCxnSpPr>
          <p:cNvPr id="121" name="꺾인 연결선 120"/>
          <p:cNvCxnSpPr>
            <a:stCxn id="114" idx="4"/>
            <a:endCxn id="119" idx="1"/>
          </p:cNvCxnSpPr>
          <p:nvPr/>
        </p:nvCxnSpPr>
        <p:spPr bwMode="auto">
          <a:xfrm flipV="1">
            <a:off x="2377106" y="4428950"/>
            <a:ext cx="315394" cy="4335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2" name="꺾인 연결선 121"/>
          <p:cNvCxnSpPr>
            <a:stCxn id="115" idx="4"/>
            <a:endCxn id="119" idx="1"/>
          </p:cNvCxnSpPr>
          <p:nvPr/>
        </p:nvCxnSpPr>
        <p:spPr bwMode="auto">
          <a:xfrm>
            <a:off x="2377106" y="4427746"/>
            <a:ext cx="315394" cy="120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3" name="꺾인 연결선 122"/>
          <p:cNvCxnSpPr>
            <a:stCxn id="124" idx="4"/>
            <a:endCxn id="119" idx="1"/>
          </p:cNvCxnSpPr>
          <p:nvPr/>
        </p:nvCxnSpPr>
        <p:spPr bwMode="auto">
          <a:xfrm>
            <a:off x="2377106" y="3993039"/>
            <a:ext cx="315394" cy="4359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4" name="원통 123"/>
          <p:cNvSpPr/>
          <p:nvPr/>
        </p:nvSpPr>
        <p:spPr bwMode="gray">
          <a:xfrm>
            <a:off x="1465652" y="3825860"/>
            <a:ext cx="911454" cy="334358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거래정보</a:t>
            </a:r>
          </a:p>
        </p:txBody>
      </p:sp>
      <p:grpSp>
        <p:nvGrpSpPr>
          <p:cNvPr id="125" name="그룹 379"/>
          <p:cNvGrpSpPr/>
          <p:nvPr/>
        </p:nvGrpSpPr>
        <p:grpSpPr>
          <a:xfrm>
            <a:off x="4188228" y="3779202"/>
            <a:ext cx="1226821" cy="1067697"/>
            <a:chOff x="4187587" y="3861048"/>
            <a:chExt cx="1260000" cy="1149577"/>
          </a:xfrm>
        </p:grpSpPr>
        <p:sp>
          <p:nvSpPr>
            <p:cNvPr id="126" name="원통 125"/>
            <p:cNvSpPr/>
            <p:nvPr/>
          </p:nvSpPr>
          <p:spPr bwMode="gray">
            <a:xfrm>
              <a:off x="4349535" y="4578545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제휴특화포인트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4187587" y="3861048"/>
              <a:ext cx="1260000" cy="252000"/>
            </a:xfrm>
            <a:prstGeom prst="rect">
              <a:avLst/>
            </a:prstGeom>
            <a:solidFill>
              <a:srgbClr val="95B3D7"/>
            </a:solidFill>
            <a:ln>
              <a:solidFill>
                <a:schemeClr val="tx1"/>
              </a:solidFill>
            </a:ln>
          </p:spPr>
          <p:txBody>
            <a:bodyPr wrap="square" lIns="36000" rIns="36000" rtlCol="0" anchor="ctr">
              <a:noAutofit/>
            </a:bodyPr>
            <a:lstStyle>
              <a:defPPr>
                <a:defRPr lang="en-US"/>
              </a:defPPr>
              <a:lvl1pPr algn="ctr" fontAlgn="auto" latinLnBrk="0">
                <a:spcBef>
                  <a:spcPts val="0"/>
                </a:spcBef>
                <a:spcAft>
                  <a:spcPts val="0"/>
                </a:spcAft>
                <a:defRPr sz="1000" ker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dirty="0"/>
                <a:t>포인트 정보 생성</a:t>
              </a:r>
            </a:p>
          </p:txBody>
        </p:sp>
        <p:sp>
          <p:nvSpPr>
            <p:cNvPr id="128" name="Rectangle 85"/>
            <p:cNvSpPr>
              <a:spLocks noChangeArrowheads="1"/>
            </p:cNvSpPr>
            <p:nvPr/>
          </p:nvSpPr>
          <p:spPr bwMode="auto">
            <a:xfrm>
              <a:off x="4187587" y="4110625"/>
              <a:ext cx="1260000" cy="9000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9" name="원통 128"/>
            <p:cNvSpPr/>
            <p:nvPr/>
          </p:nvSpPr>
          <p:spPr bwMode="gray">
            <a:xfrm>
              <a:off x="4349535" y="4189956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포인트</a:t>
              </a:r>
            </a:p>
          </p:txBody>
        </p:sp>
      </p:grpSp>
      <p:cxnSp>
        <p:nvCxnSpPr>
          <p:cNvPr id="130" name="직선 화살표 연결선 129"/>
          <p:cNvCxnSpPr>
            <a:stCxn id="119" idx="3"/>
            <a:endCxn id="128" idx="1"/>
          </p:cNvCxnSpPr>
          <p:nvPr/>
        </p:nvCxnSpPr>
        <p:spPr bwMode="auto">
          <a:xfrm>
            <a:off x="3919321" y="4428950"/>
            <a:ext cx="26890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31" name="그룹 380"/>
          <p:cNvGrpSpPr/>
          <p:nvPr/>
        </p:nvGrpSpPr>
        <p:grpSpPr>
          <a:xfrm>
            <a:off x="5683957" y="3779202"/>
            <a:ext cx="1226821" cy="1067697"/>
            <a:chOff x="5723767" y="3861048"/>
            <a:chExt cx="1260000" cy="1149577"/>
          </a:xfrm>
        </p:grpSpPr>
        <p:sp>
          <p:nvSpPr>
            <p:cNvPr id="132" name="원통 131"/>
            <p:cNvSpPr/>
            <p:nvPr/>
          </p:nvSpPr>
          <p:spPr bwMode="gray">
            <a:xfrm>
              <a:off x="5885715" y="4578545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포인트 정</a:t>
              </a:r>
              <a:r>
                <a:rPr lang="ko-KR" altLang="en-US" sz="10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보</a:t>
              </a:r>
              <a:endPara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5723767" y="3861048"/>
              <a:ext cx="1260000" cy="252000"/>
            </a:xfrm>
            <a:prstGeom prst="rect">
              <a:avLst/>
            </a:prstGeom>
            <a:solidFill>
              <a:srgbClr val="95B3D7"/>
            </a:solidFill>
            <a:ln>
              <a:solidFill>
                <a:schemeClr val="tx1"/>
              </a:solidFill>
            </a:ln>
          </p:spPr>
          <p:txBody>
            <a:bodyPr wrap="square" lIns="36000" rIns="36000" rtlCol="0" anchor="ctr">
              <a:noAutofit/>
            </a:bodyPr>
            <a:lstStyle>
              <a:defPPr>
                <a:defRPr lang="en-US"/>
              </a:defPPr>
              <a:lvl1pPr algn="ctr" fontAlgn="auto" latinLnBrk="0">
                <a:spcBef>
                  <a:spcPts val="0"/>
                </a:spcBef>
                <a:spcAft>
                  <a:spcPts val="0"/>
                </a:spcAft>
                <a:defRPr sz="1000" ker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en-US" altLang="ko-KR" dirty="0" smtClean="0"/>
                <a:t>UMS</a:t>
              </a:r>
              <a:endParaRPr lang="ko-KR" altLang="en-US" dirty="0"/>
            </a:p>
          </p:txBody>
        </p:sp>
        <p:sp>
          <p:nvSpPr>
            <p:cNvPr id="134" name="Rectangle 85"/>
            <p:cNvSpPr>
              <a:spLocks noChangeArrowheads="1"/>
            </p:cNvSpPr>
            <p:nvPr/>
          </p:nvSpPr>
          <p:spPr bwMode="auto">
            <a:xfrm>
              <a:off x="5723767" y="4110625"/>
              <a:ext cx="1260000" cy="9000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5" name="원통 134"/>
            <p:cNvSpPr/>
            <p:nvPr/>
          </p:nvSpPr>
          <p:spPr bwMode="gray">
            <a:xfrm>
              <a:off x="5885715" y="4189956"/>
              <a:ext cx="936104" cy="360000"/>
            </a:xfrm>
            <a:prstGeom prst="can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Aft>
                  <a:spcPts val="0"/>
                </a:spcAft>
                <a:buSzPct val="90000"/>
              </a:pP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SMS / LMS</a:t>
              </a:r>
              <a:endPara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</p:grpSp>
      <p:cxnSp>
        <p:nvCxnSpPr>
          <p:cNvPr id="136" name="직선 화살표 연결선 135"/>
          <p:cNvCxnSpPr>
            <a:stCxn id="128" idx="3"/>
            <a:endCxn id="134" idx="1"/>
          </p:cNvCxnSpPr>
          <p:nvPr/>
        </p:nvCxnSpPr>
        <p:spPr bwMode="auto">
          <a:xfrm>
            <a:off x="5415049" y="4428950"/>
            <a:ext cx="26890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7" name="모서리가 둥근 직사각형 136"/>
          <p:cNvSpPr/>
          <p:nvPr/>
        </p:nvSpPr>
        <p:spPr>
          <a:xfrm>
            <a:off x="375226" y="5183663"/>
            <a:ext cx="771145" cy="1003187"/>
          </a:xfrm>
          <a:prstGeom prst="roundRect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1"/>
            </a:solidFill>
          </a:ln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br>
              <a:rPr lang="en-US" altLang="ko-KR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</a:t>
            </a:r>
            <a:endParaRPr lang="en-US" altLang="ko-KR" sz="110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모서리가 둥근 직사각형 137"/>
          <p:cNvSpPr/>
          <p:nvPr/>
        </p:nvSpPr>
        <p:spPr>
          <a:xfrm>
            <a:off x="1217776" y="5183663"/>
            <a:ext cx="8272425" cy="100318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defTabSz="957796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 시점의 포인트 정보 생성은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계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시스템과 별도로 구축하여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계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에 대한 부하 발생과 승인 지연을 피함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defTabSz="957796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 시점 기준으로 최단 시간에 포인트 적립 관련 안내가 될 수 있도록 하며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eal Time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은 필수 요건이 아님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defTabSz="957796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빠른 판단이 가능할 수 있도록 실적 조건에 대한 일괄적 판단 기준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ex.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월 실적 조건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적용 가능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defTabSz="957796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내 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월 실적 기준으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00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적립 예정이며 최근 실적에 따라 최대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00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적립 가능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으로 안내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9" name="직선 화살표 연결선 138"/>
          <p:cNvCxnSpPr>
            <a:stCxn id="134" idx="3"/>
            <a:endCxn id="150" idx="1"/>
          </p:cNvCxnSpPr>
          <p:nvPr/>
        </p:nvCxnSpPr>
        <p:spPr bwMode="auto">
          <a:xfrm>
            <a:off x="6910778" y="4428950"/>
            <a:ext cx="26890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0" name="오각형 139"/>
          <p:cNvSpPr/>
          <p:nvPr/>
        </p:nvSpPr>
        <p:spPr>
          <a:xfrm rot="5400000">
            <a:off x="8249522" y="3911066"/>
            <a:ext cx="1569907" cy="771145"/>
          </a:xfrm>
          <a:prstGeom prst="homePlate">
            <a:avLst>
              <a:gd name="adj" fmla="val 17652"/>
            </a:avLst>
          </a:prstGeom>
          <a:solidFill>
            <a:srgbClr val="95B3D7"/>
          </a:solidFill>
          <a:ln>
            <a:solidFill>
              <a:schemeClr val="tx1"/>
            </a:solidFill>
          </a:ln>
        </p:spPr>
        <p:txBody>
          <a:bodyPr wrap="square" lIns="36000" rIns="36000" rtlCol="0" anchor="ctr"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8648902" y="3779630"/>
            <a:ext cx="771145" cy="103401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 확정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표 매입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-3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 소요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2" name="직선 화살표 연결선 141"/>
          <p:cNvCxnSpPr>
            <a:stCxn id="98" idx="2"/>
            <a:endCxn id="140" idx="1"/>
          </p:cNvCxnSpPr>
          <p:nvPr/>
        </p:nvCxnSpPr>
        <p:spPr bwMode="auto">
          <a:xfrm>
            <a:off x="9034474" y="2602987"/>
            <a:ext cx="1" cy="90869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43" name="그룹 142"/>
          <p:cNvGrpSpPr/>
          <p:nvPr/>
        </p:nvGrpSpPr>
        <p:grpSpPr>
          <a:xfrm>
            <a:off x="7363259" y="4166568"/>
            <a:ext cx="809606" cy="542249"/>
            <a:chOff x="276078" y="2236331"/>
            <a:chExt cx="831502" cy="583833"/>
          </a:xfrm>
        </p:grpSpPr>
        <p:pic>
          <p:nvPicPr>
            <p:cNvPr id="144" name="Picture 56" descr="휴대폰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643" y="2243898"/>
              <a:ext cx="283937" cy="553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45" name="그룹 392"/>
            <p:cNvGrpSpPr/>
            <p:nvPr/>
          </p:nvGrpSpPr>
          <p:grpSpPr>
            <a:xfrm>
              <a:off x="276078" y="2236331"/>
              <a:ext cx="648072" cy="583833"/>
              <a:chOff x="8568898" y="3782703"/>
              <a:chExt cx="1021684" cy="1239390"/>
            </a:xfrm>
          </p:grpSpPr>
          <p:pic>
            <p:nvPicPr>
              <p:cNvPr id="146" name="Picture 11" descr="MCj04316010000[1]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568898" y="3799200"/>
                <a:ext cx="995311" cy="11169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7" name="직사각형 146"/>
              <p:cNvSpPr/>
              <p:nvPr/>
            </p:nvSpPr>
            <p:spPr bwMode="auto">
              <a:xfrm>
                <a:off x="8655544" y="4734755"/>
                <a:ext cx="935038" cy="28733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endParaRPr>
              </a:p>
            </p:txBody>
          </p:sp>
          <p:sp>
            <p:nvSpPr>
              <p:cNvPr id="148" name="TextBox 147"/>
              <p:cNvSpPr txBox="1"/>
              <p:nvPr/>
            </p:nvSpPr>
            <p:spPr>
              <a:xfrm rot="5400000">
                <a:off x="8737281" y="3939866"/>
                <a:ext cx="762825" cy="4484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12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 pitchFamily="34" charset="0"/>
                  </a:rPr>
                  <a:t>: )</a:t>
                </a:r>
                <a:endParaRPr lang="ko-KR" altLang="en-US" sz="12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149" name="TextBox 148"/>
          <p:cNvSpPr txBox="1"/>
          <p:nvPr/>
        </p:nvSpPr>
        <p:spPr>
          <a:xfrm>
            <a:off x="7179685" y="3779202"/>
            <a:ext cx="1226821" cy="234051"/>
          </a:xfrm>
          <a:prstGeom prst="rect">
            <a:avLst/>
          </a:prstGeom>
          <a:solidFill>
            <a:srgbClr val="95B3D7"/>
          </a:solidFill>
          <a:ln>
            <a:solidFill>
              <a:schemeClr val="tx1"/>
            </a:solidFill>
          </a:ln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 fontAlgn="auto" latinLnBrk="0">
              <a:spcBef>
                <a:spcPts val="0"/>
              </a:spcBef>
              <a:spcAft>
                <a:spcPts val="0"/>
              </a:spcAft>
              <a:defRPr sz="10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고객 안내</a:t>
            </a:r>
          </a:p>
        </p:txBody>
      </p:sp>
      <p:sp>
        <p:nvSpPr>
          <p:cNvPr id="150" name="Rectangle 85"/>
          <p:cNvSpPr>
            <a:spLocks noChangeArrowheads="1"/>
          </p:cNvSpPr>
          <p:nvPr/>
        </p:nvSpPr>
        <p:spPr bwMode="auto">
          <a:xfrm>
            <a:off x="7179685" y="4011003"/>
            <a:ext cx="1226821" cy="83589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원통 150"/>
          <p:cNvSpPr/>
          <p:nvPr/>
        </p:nvSpPr>
        <p:spPr bwMode="gray">
          <a:xfrm>
            <a:off x="1465653" y="3177326"/>
            <a:ext cx="911454" cy="334358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Aft>
                <a:spcPts val="0"/>
              </a:spcAft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잔액</a:t>
            </a:r>
          </a:p>
        </p:txBody>
      </p:sp>
      <p:cxnSp>
        <p:nvCxnSpPr>
          <p:cNvPr id="152" name="꺾인 연결선 151"/>
          <p:cNvCxnSpPr>
            <a:stCxn id="55" idx="3"/>
            <a:endCxn id="97" idx="1"/>
          </p:cNvCxnSpPr>
          <p:nvPr/>
        </p:nvCxnSpPr>
        <p:spPr bwMode="auto">
          <a:xfrm flipV="1">
            <a:off x="7153704" y="2435808"/>
            <a:ext cx="256794" cy="36833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3" name="꺾인 연결선 105"/>
          <p:cNvCxnSpPr>
            <a:stCxn id="151" idx="4"/>
            <a:endCxn id="127" idx="0"/>
          </p:cNvCxnSpPr>
          <p:nvPr/>
        </p:nvCxnSpPr>
        <p:spPr bwMode="auto">
          <a:xfrm>
            <a:off x="2377107" y="3344505"/>
            <a:ext cx="2424532" cy="434697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grpSp>
        <p:nvGrpSpPr>
          <p:cNvPr id="15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55" name="TextBox 15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시점 </a:t>
              </a:r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리워드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정보 제공 프로세스 설계 예시</a:t>
              </a:r>
            </a:p>
          </p:txBody>
        </p:sp>
        <p:cxnSp>
          <p:nvCxnSpPr>
            <p:cNvPr id="15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그룹 9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7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7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76" name="그룹 17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61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62" name="TextBox 1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4250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30"/>
          <p:cNvSpPr/>
          <p:nvPr/>
        </p:nvSpPr>
        <p:spPr bwMode="gray">
          <a:xfrm>
            <a:off x="326408" y="3229910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Rectangle 30"/>
          <p:cNvSpPr/>
          <p:nvPr/>
        </p:nvSpPr>
        <p:spPr bwMode="gray">
          <a:xfrm>
            <a:off x="5197540" y="3249103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</a:t>
            </a:r>
            <a:r>
              <a:rPr lang="ko-KR" altLang="en-US" dirty="0" smtClean="0"/>
              <a:t> 실시간 매출전표 매입체계 구축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일 단위 </a:t>
            </a:r>
            <a:r>
              <a:rPr lang="en-US" altLang="ko-KR" dirty="0"/>
              <a:t>Batch</a:t>
            </a:r>
            <a:r>
              <a:rPr lang="ko-KR" altLang="en-US" dirty="0"/>
              <a:t>로 확정되는 매출 전표 매입 처리 주기를 </a:t>
            </a:r>
            <a:r>
              <a:rPr lang="en-US" altLang="ko-KR" dirty="0" smtClean="0"/>
              <a:t>Near-Real </a:t>
            </a:r>
            <a:r>
              <a:rPr lang="en-US" altLang="ko-KR" dirty="0"/>
              <a:t>time</a:t>
            </a:r>
            <a:r>
              <a:rPr lang="ko-KR" altLang="en-US" dirty="0"/>
              <a:t>으로</a:t>
            </a:r>
            <a:r>
              <a:rPr lang="en-US" altLang="ko-KR" dirty="0"/>
              <a:t> </a:t>
            </a:r>
            <a:r>
              <a:rPr lang="ko-KR" altLang="en-US" dirty="0"/>
              <a:t>단축하여</a:t>
            </a:r>
            <a:r>
              <a:rPr lang="en-US" altLang="ko-KR" dirty="0"/>
              <a:t>, </a:t>
            </a:r>
            <a:r>
              <a:rPr lang="ko-KR" altLang="en-US" dirty="0"/>
              <a:t>매출 승인 처리 </a:t>
            </a:r>
            <a:r>
              <a:rPr lang="ko-KR" altLang="en-US" dirty="0" smtClean="0"/>
              <a:t>과정</a:t>
            </a:r>
            <a:r>
              <a:rPr lang="ko-KR" altLang="en-US" dirty="0"/>
              <a:t>을</a:t>
            </a:r>
            <a:r>
              <a:rPr lang="ko-KR" altLang="en-US" dirty="0" smtClean="0"/>
              <a:t> 효율화하고 반송</a:t>
            </a:r>
            <a:r>
              <a:rPr lang="en-US" altLang="ko-KR" dirty="0"/>
              <a:t>/</a:t>
            </a:r>
            <a:r>
              <a:rPr lang="ko-KR" altLang="en-US" dirty="0" smtClean="0"/>
              <a:t>취소 </a:t>
            </a:r>
            <a:r>
              <a:rPr lang="ko-KR" altLang="en-US" dirty="0"/>
              <a:t>건 처리 </a:t>
            </a:r>
            <a:r>
              <a:rPr lang="ko-KR" altLang="en-US" dirty="0" smtClean="0"/>
              <a:t>지연에 따른 </a:t>
            </a:r>
            <a:r>
              <a:rPr lang="ko-KR" altLang="en-US" dirty="0"/>
              <a:t>고객 불만을 </a:t>
            </a:r>
            <a:r>
              <a:rPr lang="ko-KR" altLang="en-US" dirty="0" smtClean="0"/>
              <a:t>최소화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/>
          <a:p>
            <a:pPr marL="182563" indent="-182563" defTabSz="196850" fontAlgn="auto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13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회차별</a:t>
            </a:r>
            <a:r>
              <a:rPr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매입확정 체계 설계</a:t>
            </a:r>
            <a:endParaRPr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indent="-182563" defTabSz="196850" fontAlgn="auto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일자개념 정립</a:t>
            </a:r>
            <a:endParaRPr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indent="-182563" defTabSz="196850" fontAlgn="auto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매입보류관리 체계</a:t>
            </a:r>
            <a:endParaRPr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indent="-182563" defTabSz="196850" fontAlgn="auto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매입확정파일 </a:t>
            </a:r>
            <a:r>
              <a:rPr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I/F </a:t>
            </a:r>
            <a:r>
              <a:rPr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기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최적화된 매입 확정 처리 단위 정의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비정상 매입 건의 보류 및 확정 절차 정의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비영업일 관련 업무 처리 기준 및 절차 정의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422807" y="3332866"/>
            <a:ext cx="1299021" cy="117917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DC, DESC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DI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AutoShape 73"/>
          <p:cNvSpPr>
            <a:spLocks noChangeArrowheads="1"/>
          </p:cNvSpPr>
          <p:nvPr/>
        </p:nvSpPr>
        <p:spPr bwMode="auto">
          <a:xfrm>
            <a:off x="624113" y="3855563"/>
            <a:ext cx="851481" cy="647173"/>
          </a:xfrm>
          <a:prstGeom prst="flowChartMultidocument">
            <a:avLst/>
          </a:prstGeom>
          <a:solidFill>
            <a:srgbClr val="D6EBF6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매출정보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2076318" y="3332866"/>
            <a:ext cx="2520000" cy="117917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매입파일 접수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배치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``</a:t>
            </a:r>
          </a:p>
        </p:txBody>
      </p:sp>
      <p:cxnSp>
        <p:nvCxnSpPr>
          <p:cNvPr id="147" name="직선 화살표 연결선 146"/>
          <p:cNvCxnSpPr>
            <a:stCxn id="144" idx="3"/>
            <a:endCxn id="146" idx="1"/>
          </p:cNvCxnSpPr>
          <p:nvPr/>
        </p:nvCxnSpPr>
        <p:spPr bwMode="auto">
          <a:xfrm>
            <a:off x="1721828" y="3922456"/>
            <a:ext cx="35449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9" name="TextBox 148"/>
          <p:cNvSpPr txBox="1">
            <a:spLocks noChangeArrowheads="1"/>
          </p:cNvSpPr>
          <p:nvPr/>
        </p:nvSpPr>
        <p:spPr bwMode="auto">
          <a:xfrm>
            <a:off x="2250097" y="3751785"/>
            <a:ext cx="857259" cy="2829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매입파일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1</a:t>
            </a: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50" name="직선 연결선 149"/>
          <p:cNvCxnSpPr/>
          <p:nvPr/>
        </p:nvCxnSpPr>
        <p:spPr bwMode="auto">
          <a:xfrm>
            <a:off x="3368824" y="4262702"/>
            <a:ext cx="321035" cy="102402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TextBox 150"/>
          <p:cNvSpPr txBox="1"/>
          <p:nvPr/>
        </p:nvSpPr>
        <p:spPr>
          <a:xfrm>
            <a:off x="332386" y="4628014"/>
            <a:ext cx="4392000" cy="109229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TextBox 42"/>
          <p:cNvSpPr txBox="1">
            <a:spLocks noChangeArrowheads="1"/>
          </p:cNvSpPr>
          <p:nvPr/>
        </p:nvSpPr>
        <p:spPr bwMode="auto">
          <a:xfrm>
            <a:off x="415637" y="4720892"/>
            <a:ext cx="29581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차 별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반영 </a:t>
            </a:r>
            <a:r>
              <a:rPr kumimoji="1" lang="en-US" altLang="ko-KR" sz="14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 </a:t>
            </a:r>
            <a:r>
              <a:rPr kumimoji="1" lang="ko-KR" altLang="en-US" sz="14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일 </a:t>
            </a:r>
            <a:r>
              <a:rPr kumimoji="1" lang="en-US" altLang="ko-KR" sz="14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atch  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475349" y="5321595"/>
            <a:ext cx="643015" cy="30720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차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999036" y="5179969"/>
            <a:ext cx="643015" cy="44955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2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차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1547041" y="5015108"/>
            <a:ext cx="643015" cy="61441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3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차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6" name="직선 연결선 155"/>
          <p:cNvCxnSpPr>
            <a:stCxn id="155" idx="3"/>
            <a:endCxn id="157" idx="1"/>
          </p:cNvCxnSpPr>
          <p:nvPr/>
        </p:nvCxnSpPr>
        <p:spPr bwMode="auto">
          <a:xfrm flipV="1">
            <a:off x="2190056" y="5185598"/>
            <a:ext cx="1625636" cy="136717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57" name="TextBox 156"/>
          <p:cNvSpPr txBox="1"/>
          <p:nvPr/>
        </p:nvSpPr>
        <p:spPr>
          <a:xfrm>
            <a:off x="3815692" y="4741675"/>
            <a:ext cx="803533" cy="887846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N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차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319756" y="5925111"/>
            <a:ext cx="4392000" cy="409609"/>
          </a:xfrm>
          <a:prstGeom prst="rect">
            <a:avLst/>
          </a:prstGeom>
          <a:noFill/>
          <a:ln>
            <a:noFill/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업일</a:t>
            </a:r>
            <a:r>
              <a:rPr kumimoji="1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일 </a:t>
            </a:r>
            <a:r>
              <a:rPr kumimoji="1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1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회 매입확정</a:t>
            </a:r>
            <a:endParaRPr kumimoji="1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5262241" y="3321608"/>
            <a:ext cx="1428923" cy="117917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DC, DESC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DI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AutoShape 73"/>
          <p:cNvSpPr>
            <a:spLocks noChangeArrowheads="1"/>
          </p:cNvSpPr>
          <p:nvPr/>
        </p:nvSpPr>
        <p:spPr bwMode="auto">
          <a:xfrm>
            <a:off x="5553898" y="3844305"/>
            <a:ext cx="851481" cy="647173"/>
          </a:xfrm>
          <a:prstGeom prst="flowChartMultidocument">
            <a:avLst/>
          </a:prstGeom>
          <a:solidFill>
            <a:srgbClr val="D6EBF6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매출정보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6920026" y="3321608"/>
            <a:ext cx="2635107" cy="117917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매입파일 접수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배치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3" name="직선 화살표 연결선 162"/>
          <p:cNvCxnSpPr>
            <a:stCxn id="160" idx="3"/>
            <a:endCxn id="162" idx="1"/>
          </p:cNvCxnSpPr>
          <p:nvPr/>
        </p:nvCxnSpPr>
        <p:spPr bwMode="auto">
          <a:xfrm>
            <a:off x="6691164" y="3911198"/>
            <a:ext cx="228862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5" name="TextBox 164"/>
          <p:cNvSpPr txBox="1">
            <a:spLocks noChangeArrowheads="1"/>
          </p:cNvSpPr>
          <p:nvPr/>
        </p:nvSpPr>
        <p:spPr bwMode="auto">
          <a:xfrm>
            <a:off x="7013239" y="3740527"/>
            <a:ext cx="857259" cy="2829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매입파일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1</a:t>
            </a: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4" name="TextBox 163"/>
          <p:cNvSpPr txBox="1">
            <a:spLocks noChangeArrowheads="1"/>
          </p:cNvSpPr>
          <p:nvPr/>
        </p:nvSpPr>
        <p:spPr bwMode="auto">
          <a:xfrm>
            <a:off x="7274707" y="3958683"/>
            <a:ext cx="857259" cy="2829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매입파일</a:t>
            </a: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2</a:t>
            </a: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66" name="직선 연결선 165"/>
          <p:cNvCxnSpPr/>
          <p:nvPr/>
        </p:nvCxnSpPr>
        <p:spPr bwMode="auto">
          <a:xfrm>
            <a:off x="8156282" y="4184630"/>
            <a:ext cx="321035" cy="102402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74" name="TextBox 173"/>
          <p:cNvSpPr txBox="1"/>
          <p:nvPr/>
        </p:nvSpPr>
        <p:spPr>
          <a:xfrm>
            <a:off x="5262241" y="5913852"/>
            <a:ext cx="4345586" cy="409609"/>
          </a:xfrm>
          <a:prstGeom prst="rect">
            <a:avLst/>
          </a:prstGeom>
          <a:noFill/>
          <a:ln>
            <a:noFill/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매입확정</a:t>
            </a:r>
            <a:endParaRPr kumimoji="1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5262241" y="4616756"/>
            <a:ext cx="4302560" cy="1272266"/>
            <a:chOff x="5283683" y="4616756"/>
            <a:chExt cx="4302560" cy="1272266"/>
          </a:xfrm>
        </p:grpSpPr>
        <p:sp>
          <p:nvSpPr>
            <p:cNvPr id="167" name="TextBox 166"/>
            <p:cNvSpPr txBox="1"/>
            <p:nvPr/>
          </p:nvSpPr>
          <p:spPr>
            <a:xfrm>
              <a:off x="5283683" y="4616756"/>
              <a:ext cx="4302560" cy="109229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8" name="TextBox 42"/>
            <p:cNvSpPr txBox="1">
              <a:spLocks noChangeArrowheads="1"/>
            </p:cNvSpPr>
            <p:nvPr/>
          </p:nvSpPr>
          <p:spPr bwMode="auto">
            <a:xfrm>
              <a:off x="5345421" y="4685024"/>
              <a:ext cx="2572109" cy="291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회차 별</a:t>
              </a:r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매출반영 </a:t>
              </a:r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 </a:t>
              </a:r>
              <a:r>
                <a:rPr kumimoji="1" lang="ko-KR" altLang="en-US" sz="14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실시간</a:t>
              </a:r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5405134" y="5310337"/>
              <a:ext cx="643015" cy="307207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5928821" y="5168710"/>
              <a:ext cx="643015" cy="44955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2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6476825" y="5003849"/>
              <a:ext cx="643015" cy="61441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3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연결선 171"/>
            <p:cNvCxnSpPr>
              <a:stCxn id="171" idx="3"/>
              <a:endCxn id="173" idx="1"/>
            </p:cNvCxnSpPr>
            <p:nvPr/>
          </p:nvCxnSpPr>
          <p:spPr bwMode="auto">
            <a:xfrm flipV="1">
              <a:off x="7119841" y="5174340"/>
              <a:ext cx="1625636" cy="136717"/>
            </a:xfrm>
            <a:prstGeom prst="line">
              <a:avLst/>
            </a:prstGeom>
            <a:noFill/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3" name="TextBox 172"/>
            <p:cNvSpPr txBox="1"/>
            <p:nvPr/>
          </p:nvSpPr>
          <p:spPr>
            <a:xfrm>
              <a:off x="8745477" y="4730416"/>
              <a:ext cx="803533" cy="887846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N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5" name="AutoShape 24"/>
            <p:cNvSpPr>
              <a:spLocks noChangeArrowheads="1"/>
            </p:cNvSpPr>
            <p:nvPr/>
          </p:nvSpPr>
          <p:spPr bwMode="auto">
            <a:xfrm rot="5400000">
              <a:off x="5596777" y="5512412"/>
              <a:ext cx="249194" cy="489591"/>
            </a:xfrm>
            <a:custGeom>
              <a:avLst/>
              <a:gdLst>
                <a:gd name="T0" fmla="*/ 7258050 w 21600"/>
                <a:gd name="T1" fmla="*/ 0 h 21600"/>
                <a:gd name="T2" fmla="*/ 0 w 21600"/>
                <a:gd name="T3" fmla="*/ 9240821 h 21600"/>
                <a:gd name="T4" fmla="*/ 7258050 w 21600"/>
                <a:gd name="T5" fmla="*/ 18481613 h 21600"/>
                <a:gd name="T6" fmla="*/ 9677399 w 21600"/>
                <a:gd name="T7" fmla="*/ 9240821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>
              <a:spAutoFit/>
            </a:bodyPr>
            <a:lstStyle/>
            <a:p>
              <a:endParaRPr kumimoji="1" lang="ko-KR" altLang="en-US" sz="15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6" name="AutoShape 24"/>
            <p:cNvSpPr>
              <a:spLocks noChangeArrowheads="1"/>
            </p:cNvSpPr>
            <p:nvPr/>
          </p:nvSpPr>
          <p:spPr bwMode="auto">
            <a:xfrm rot="5400000">
              <a:off x="6096901" y="5519629"/>
              <a:ext cx="249194" cy="489591"/>
            </a:xfrm>
            <a:custGeom>
              <a:avLst/>
              <a:gdLst>
                <a:gd name="T0" fmla="*/ 7258050 w 21600"/>
                <a:gd name="T1" fmla="*/ 0 h 21600"/>
                <a:gd name="T2" fmla="*/ 0 w 21600"/>
                <a:gd name="T3" fmla="*/ 9240821 h 21600"/>
                <a:gd name="T4" fmla="*/ 7258050 w 21600"/>
                <a:gd name="T5" fmla="*/ 18481613 h 21600"/>
                <a:gd name="T6" fmla="*/ 9677399 w 21600"/>
                <a:gd name="T7" fmla="*/ 9240821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>
              <a:spAutoFit/>
            </a:bodyPr>
            <a:lstStyle/>
            <a:p>
              <a:endParaRPr kumimoji="1" lang="ko-KR" altLang="en-US" sz="15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7" name="AutoShape 24"/>
            <p:cNvSpPr>
              <a:spLocks noChangeArrowheads="1"/>
            </p:cNvSpPr>
            <p:nvPr/>
          </p:nvSpPr>
          <p:spPr bwMode="auto">
            <a:xfrm rot="5400000">
              <a:off x="6694027" y="5519629"/>
              <a:ext cx="249194" cy="489591"/>
            </a:xfrm>
            <a:custGeom>
              <a:avLst/>
              <a:gdLst>
                <a:gd name="T0" fmla="*/ 7258050 w 21600"/>
                <a:gd name="T1" fmla="*/ 0 h 21600"/>
                <a:gd name="T2" fmla="*/ 0 w 21600"/>
                <a:gd name="T3" fmla="*/ 9240821 h 21600"/>
                <a:gd name="T4" fmla="*/ 7258050 w 21600"/>
                <a:gd name="T5" fmla="*/ 18481613 h 21600"/>
                <a:gd name="T6" fmla="*/ 9677399 w 21600"/>
                <a:gd name="T7" fmla="*/ 9240821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>
              <a:spAutoFit/>
            </a:bodyPr>
            <a:lstStyle/>
            <a:p>
              <a:endParaRPr kumimoji="1" lang="ko-KR" altLang="en-US" sz="15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8" name="AutoShape 24"/>
            <p:cNvSpPr>
              <a:spLocks noChangeArrowheads="1"/>
            </p:cNvSpPr>
            <p:nvPr/>
          </p:nvSpPr>
          <p:spPr bwMode="auto">
            <a:xfrm rot="5400000">
              <a:off x="9108171" y="5519629"/>
              <a:ext cx="249194" cy="489591"/>
            </a:xfrm>
            <a:custGeom>
              <a:avLst/>
              <a:gdLst>
                <a:gd name="T0" fmla="*/ 7258050 w 21600"/>
                <a:gd name="T1" fmla="*/ 0 h 21600"/>
                <a:gd name="T2" fmla="*/ 0 w 21600"/>
                <a:gd name="T3" fmla="*/ 9240821 h 21600"/>
                <a:gd name="T4" fmla="*/ 7258050 w 21600"/>
                <a:gd name="T5" fmla="*/ 18481613 h 21600"/>
                <a:gd name="T6" fmla="*/ 9677399 w 21600"/>
                <a:gd name="T7" fmla="*/ 9240821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>
              <a:spAutoFit/>
            </a:bodyPr>
            <a:lstStyle/>
            <a:p>
              <a:endParaRPr kumimoji="1" lang="ko-KR" altLang="en-US" sz="15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48" name="TextBox 147"/>
          <p:cNvSpPr txBox="1">
            <a:spLocks noChangeArrowheads="1"/>
          </p:cNvSpPr>
          <p:nvPr/>
        </p:nvSpPr>
        <p:spPr bwMode="auto">
          <a:xfrm>
            <a:off x="2511565" y="3969941"/>
            <a:ext cx="857259" cy="2829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매입파일</a:t>
            </a: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2</a:t>
            </a: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9" name="AutoShape 24"/>
          <p:cNvSpPr>
            <a:spLocks noChangeArrowheads="1"/>
          </p:cNvSpPr>
          <p:nvPr/>
        </p:nvSpPr>
        <p:spPr bwMode="auto">
          <a:xfrm rot="5400000">
            <a:off x="2492947" y="4873487"/>
            <a:ext cx="256413" cy="1852757"/>
          </a:xfrm>
          <a:custGeom>
            <a:avLst/>
            <a:gdLst>
              <a:gd name="T0" fmla="*/ 7258050 w 21600"/>
              <a:gd name="T1" fmla="*/ 0 h 21600"/>
              <a:gd name="T2" fmla="*/ 0 w 21600"/>
              <a:gd name="T3" fmla="*/ 9240821 h 21600"/>
              <a:gd name="T4" fmla="*/ 7258050 w 21600"/>
              <a:gd name="T5" fmla="*/ 18481613 h 21600"/>
              <a:gd name="T6" fmla="*/ 9677399 w 21600"/>
              <a:gd name="T7" fmla="*/ 9240821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endParaRPr kumimoji="1" lang="ko-KR" altLang="en-US" sz="15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Rectangle 30"/>
          <p:cNvSpPr/>
          <p:nvPr/>
        </p:nvSpPr>
        <p:spPr bwMode="gray">
          <a:xfrm>
            <a:off x="5197540" y="2928152"/>
            <a:ext cx="441000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77" name="Rectangle 30"/>
          <p:cNvSpPr/>
          <p:nvPr/>
        </p:nvSpPr>
        <p:spPr bwMode="gray">
          <a:xfrm>
            <a:off x="326408" y="2928153"/>
            <a:ext cx="4410000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78" name="이등변 삼각형 77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4" name="그룹 6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9" name="그룹 8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281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표 89"/>
          <p:cNvGraphicFramePr>
            <a:graphicFrameLocks noGrp="1"/>
          </p:cNvGraphicFramePr>
          <p:nvPr>
            <p:extLst/>
          </p:nvPr>
        </p:nvGraphicFramePr>
        <p:xfrm>
          <a:off x="278830" y="4653136"/>
          <a:ext cx="9354690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5738"/>
                <a:gridCol w="8568952"/>
              </a:tblGrid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상 필요 기능 요구사항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수부터 매입확정까지에 대한 모니터링 기능 및 현업 인지를 위한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MS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송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은 접수경로 별 접수된 파일이 처리되지만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황에 따라 우선순위를 설정하는 기능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 초기에는 현업이 직접 확정하는 기능이 필요하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향 후 자동확정 기능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fault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될 수 있도록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업 의사결정에 따른 일 다회 매출전표매입확정에 따른 확정정보 미수전송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996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류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개념 설계에 따른 보류원장 생성 및 비영업일  반송 처리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매출전표 매입체계 구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59744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전표에 대한 매입 처리를 실시간으로 처리하려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입 처리 단위를 정의하고 반송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취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영업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관련 업무 절차와 기준을 정의해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272480" y="1900316"/>
            <a:ext cx="9360470" cy="268081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54000" rIns="18000" bIns="54000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1707511" y="1961666"/>
            <a:ext cx="2597417" cy="250151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54000" rIns="18000" bIns="54000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63947" y="1994452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DC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63867" y="2880702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C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63867" y="3770064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I</a:t>
            </a: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 VAN /</a:t>
            </a: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직매입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414431" y="2866081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EP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입파일접수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cxnSp>
        <p:nvCxnSpPr>
          <p:cNvPr id="69" name="꺾인 연결선 68"/>
          <p:cNvCxnSpPr>
            <a:stCxn id="65" idx="3"/>
            <a:endCxn id="68" idx="1"/>
          </p:cNvCxnSpPr>
          <p:nvPr/>
        </p:nvCxnSpPr>
        <p:spPr bwMode="auto">
          <a:xfrm>
            <a:off x="1083947" y="2354452"/>
            <a:ext cx="330484" cy="871629"/>
          </a:xfrm>
          <a:prstGeom prst="bentConnector3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꺾인 연결선 69"/>
          <p:cNvCxnSpPr>
            <a:stCxn id="66" idx="3"/>
            <a:endCxn id="68" idx="1"/>
          </p:cNvCxnSpPr>
          <p:nvPr/>
        </p:nvCxnSpPr>
        <p:spPr bwMode="auto">
          <a:xfrm flipV="1">
            <a:off x="1083867" y="3226081"/>
            <a:ext cx="330564" cy="14621"/>
          </a:xfrm>
          <a:prstGeom prst="bentConnector3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꺾인 연결선 70"/>
          <p:cNvCxnSpPr>
            <a:stCxn id="67" idx="3"/>
            <a:endCxn id="68" idx="1"/>
          </p:cNvCxnSpPr>
          <p:nvPr/>
        </p:nvCxnSpPr>
        <p:spPr bwMode="auto">
          <a:xfrm flipV="1">
            <a:off x="1083867" y="3226081"/>
            <a:ext cx="330564" cy="90398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2" name="TextBox 71"/>
          <p:cNvSpPr txBox="1"/>
          <p:nvPr/>
        </p:nvSpPr>
        <p:spPr>
          <a:xfrm>
            <a:off x="2362883" y="2112364"/>
            <a:ext cx="720000" cy="22378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AD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368904" y="2112364"/>
            <a:ext cx="720000" cy="22378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옵션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심사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4" name="직선 화살표 연결선 73"/>
          <p:cNvCxnSpPr>
            <a:stCxn id="68" idx="3"/>
            <a:endCxn id="72" idx="1"/>
          </p:cNvCxnSpPr>
          <p:nvPr/>
        </p:nvCxnSpPr>
        <p:spPr bwMode="auto">
          <a:xfrm>
            <a:off x="2134431" y="3226081"/>
            <a:ext cx="228452" cy="5186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5" name="직선 화살표 연결선 74"/>
          <p:cNvCxnSpPr>
            <a:stCxn id="72" idx="3"/>
            <a:endCxn id="73" idx="1"/>
          </p:cNvCxnSpPr>
          <p:nvPr/>
        </p:nvCxnSpPr>
        <p:spPr bwMode="auto">
          <a:xfrm>
            <a:off x="3082883" y="3231267"/>
            <a:ext cx="286021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4953000" y="2001719"/>
            <a:ext cx="4536504" cy="12372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Text Box 23"/>
          <p:cNvSpPr txBox="1">
            <a:spLocks noChangeArrowheads="1"/>
          </p:cNvSpPr>
          <p:nvPr/>
        </p:nvSpPr>
        <p:spPr bwMode="auto">
          <a:xfrm>
            <a:off x="4945387" y="1988840"/>
            <a:ext cx="720079" cy="125188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일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976610" y="3271879"/>
            <a:ext cx="4512894" cy="12372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 Box 23"/>
          <p:cNvSpPr txBox="1">
            <a:spLocks noChangeArrowheads="1"/>
          </p:cNvSpPr>
          <p:nvPr/>
        </p:nvSpPr>
        <p:spPr bwMode="auto">
          <a:xfrm>
            <a:off x="4953000" y="3284984"/>
            <a:ext cx="720079" cy="125188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일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0" name="꺾인 연결선 79"/>
          <p:cNvCxnSpPr>
            <a:stCxn id="73" idx="3"/>
            <a:endCxn id="77" idx="1"/>
          </p:cNvCxnSpPr>
          <p:nvPr/>
        </p:nvCxnSpPr>
        <p:spPr bwMode="auto">
          <a:xfrm flipV="1">
            <a:off x="4088904" y="2614781"/>
            <a:ext cx="856483" cy="61648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1" name="꺾인 연결선 80"/>
          <p:cNvCxnSpPr/>
          <p:nvPr/>
        </p:nvCxnSpPr>
        <p:spPr bwMode="auto">
          <a:xfrm>
            <a:off x="4088904" y="3240723"/>
            <a:ext cx="856483" cy="6702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2" name="TextBox 81"/>
          <p:cNvSpPr txBox="1"/>
          <p:nvPr/>
        </p:nvSpPr>
        <p:spPr>
          <a:xfrm>
            <a:off x="5817096" y="2132856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상매입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반송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113240" y="2132856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별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정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8409384" y="2132856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미수정산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송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Oval 9"/>
          <p:cNvSpPr>
            <a:spLocks noChangeArrowheads="1"/>
          </p:cNvSpPr>
          <p:nvPr/>
        </p:nvSpPr>
        <p:spPr bwMode="auto">
          <a:xfrm>
            <a:off x="1340024" y="2764412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86" name="Oval 9"/>
          <p:cNvSpPr>
            <a:spLocks noChangeArrowheads="1"/>
          </p:cNvSpPr>
          <p:nvPr/>
        </p:nvSpPr>
        <p:spPr bwMode="auto">
          <a:xfrm>
            <a:off x="3296816" y="2047969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87" name="Oval 9"/>
          <p:cNvSpPr>
            <a:spLocks noChangeArrowheads="1"/>
          </p:cNvSpPr>
          <p:nvPr/>
        </p:nvSpPr>
        <p:spPr bwMode="auto">
          <a:xfrm>
            <a:off x="6969224" y="2060848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0" lang="en-US" altLang="ko-KR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8" name="직선 화살표 연결선 87"/>
          <p:cNvCxnSpPr/>
          <p:nvPr/>
        </p:nvCxnSpPr>
        <p:spPr bwMode="auto">
          <a:xfrm>
            <a:off x="6753200" y="2620339"/>
            <a:ext cx="36004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9" name="직선 화살표 연결선 88"/>
          <p:cNvCxnSpPr>
            <a:stCxn id="83" idx="3"/>
            <a:endCxn id="84" idx="1"/>
          </p:cNvCxnSpPr>
          <p:nvPr/>
        </p:nvCxnSpPr>
        <p:spPr bwMode="auto">
          <a:xfrm>
            <a:off x="8049344" y="2603687"/>
            <a:ext cx="36004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1" name="TextBox 90"/>
          <p:cNvSpPr txBox="1"/>
          <p:nvPr/>
        </p:nvSpPr>
        <p:spPr>
          <a:xfrm>
            <a:off x="5817096" y="3406926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상매입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반송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7113240" y="3406926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반송 건</a:t>
            </a:r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체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류원장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저장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8409384" y="3412484"/>
            <a:ext cx="936104" cy="9416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상매입 건 미수정산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송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4" name="직선 화살표 연결선 93"/>
          <p:cNvCxnSpPr>
            <a:stCxn id="91" idx="3"/>
            <a:endCxn id="92" idx="1"/>
          </p:cNvCxnSpPr>
          <p:nvPr/>
        </p:nvCxnSpPr>
        <p:spPr bwMode="auto">
          <a:xfrm>
            <a:off x="6753200" y="3877757"/>
            <a:ext cx="360040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5" name="직선 화살표 연결선 94"/>
          <p:cNvCxnSpPr>
            <a:stCxn id="92" idx="3"/>
            <a:endCxn id="93" idx="1"/>
          </p:cNvCxnSpPr>
          <p:nvPr/>
        </p:nvCxnSpPr>
        <p:spPr bwMode="auto">
          <a:xfrm>
            <a:off x="8049344" y="3877757"/>
            <a:ext cx="360040" cy="5558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6" name="Oval 9"/>
          <p:cNvSpPr>
            <a:spLocks noChangeArrowheads="1"/>
          </p:cNvSpPr>
          <p:nvPr/>
        </p:nvSpPr>
        <p:spPr bwMode="auto">
          <a:xfrm>
            <a:off x="7028656" y="3327900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</a:p>
        </p:txBody>
      </p:sp>
      <p:sp>
        <p:nvSpPr>
          <p:cNvPr id="97" name="Oval 9"/>
          <p:cNvSpPr>
            <a:spLocks noChangeArrowheads="1"/>
          </p:cNvSpPr>
          <p:nvPr/>
        </p:nvSpPr>
        <p:spPr bwMode="auto">
          <a:xfrm>
            <a:off x="518068" y="4941292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1</a:t>
            </a:r>
          </a:p>
        </p:txBody>
      </p:sp>
      <p:sp>
        <p:nvSpPr>
          <p:cNvPr id="98" name="Oval 9"/>
          <p:cNvSpPr>
            <a:spLocks noChangeArrowheads="1"/>
          </p:cNvSpPr>
          <p:nvPr/>
        </p:nvSpPr>
        <p:spPr bwMode="auto">
          <a:xfrm>
            <a:off x="518068" y="5219768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solidFill>
                  <a:schemeClr val="bg1"/>
                </a:solidFill>
                <a:latin typeface="Arial Narrow" pitchFamily="34" charset="0"/>
              </a:rPr>
              <a:t>2</a:t>
            </a:r>
            <a:endParaRPr kumimoji="0" lang="en-US" altLang="ko-K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9" name="Oval 9"/>
          <p:cNvSpPr>
            <a:spLocks noChangeArrowheads="1"/>
          </p:cNvSpPr>
          <p:nvPr/>
        </p:nvSpPr>
        <p:spPr bwMode="auto">
          <a:xfrm>
            <a:off x="518068" y="5498244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3</a:t>
            </a:r>
          </a:p>
        </p:txBody>
      </p:sp>
      <p:sp>
        <p:nvSpPr>
          <p:cNvPr id="100" name="Oval 9"/>
          <p:cNvSpPr>
            <a:spLocks noChangeArrowheads="1"/>
          </p:cNvSpPr>
          <p:nvPr/>
        </p:nvSpPr>
        <p:spPr bwMode="auto">
          <a:xfrm>
            <a:off x="518068" y="5776720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kumimoji="0" lang="en-US" altLang="ko-K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1" name="Oval 9"/>
          <p:cNvSpPr>
            <a:spLocks noChangeArrowheads="1"/>
          </p:cNvSpPr>
          <p:nvPr/>
        </p:nvSpPr>
        <p:spPr bwMode="auto">
          <a:xfrm>
            <a:off x="518068" y="6055196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5</a:t>
            </a:r>
          </a:p>
        </p:txBody>
      </p:sp>
      <p:sp>
        <p:nvSpPr>
          <p:cNvPr id="102" name="Oval 9"/>
          <p:cNvSpPr>
            <a:spLocks noChangeArrowheads="1"/>
          </p:cNvSpPr>
          <p:nvPr/>
        </p:nvSpPr>
        <p:spPr bwMode="auto">
          <a:xfrm>
            <a:off x="8317187" y="2064824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</a:p>
        </p:txBody>
      </p:sp>
      <p:grpSp>
        <p:nvGrpSpPr>
          <p:cNvPr id="103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4" name="TextBox 103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매출 전표 매입 처리 프로세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일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비영업일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5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07" name="TextBox 10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0" name="그룹 10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1" name="그룹 13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8318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매출전표 매입체계 구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차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별로 매입 확정하는 정상 매출 외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매출 취소로 인한 긴급 처리 건 등 예외 사항에 대한 </a:t>
            </a:r>
            <a:r>
              <a:rPr lang="en-US" altLang="ko-KR" dirty="0" smtClean="0"/>
              <a:t>O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-lin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프로세스도 구분하여 설계 해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146" name="표 145"/>
          <p:cNvGraphicFramePr>
            <a:graphicFrameLocks noGrp="1"/>
          </p:cNvGraphicFramePr>
          <p:nvPr>
            <p:extLst/>
          </p:nvPr>
        </p:nvGraphicFramePr>
        <p:xfrm>
          <a:off x="278830" y="4653136"/>
          <a:ext cx="9354690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5738"/>
                <a:gridCol w="8568952"/>
              </a:tblGrid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요구사항정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차별 확정 분에 대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oll Back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혹은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사항에 대한 반영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능 구현 필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수정산과  상관없이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온라인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배치처리 등의 타 업무가 처리될 수 있도록 배치 스케줄 재조정 및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Resourc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배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금지급파일은 업무의 특성 상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  생성되는 것으로 함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금지급주기 정보 이용은 동일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업담당자 건 별 확정을 위한 처리체계 지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3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심사 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서비스 적용 및 마케팅 오퍼 관련 처리가 이루어짐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0" name="TextBox 109"/>
          <p:cNvSpPr txBox="1"/>
          <p:nvPr/>
        </p:nvSpPr>
        <p:spPr>
          <a:xfrm>
            <a:off x="403617" y="2030284"/>
            <a:ext cx="1512168" cy="2537964"/>
          </a:xfrm>
          <a:prstGeom prst="rect">
            <a:avLst/>
          </a:prstGeom>
          <a:solidFill>
            <a:srgbClr val="B9CDE5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수경로 별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수담당자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D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파일 접수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1" name="꺾인 연결선 110"/>
          <p:cNvCxnSpPr>
            <a:stCxn id="110" idx="3"/>
            <a:endCxn id="114" idx="1"/>
          </p:cNvCxnSpPr>
          <p:nvPr/>
        </p:nvCxnSpPr>
        <p:spPr bwMode="auto">
          <a:xfrm flipV="1">
            <a:off x="1915785" y="2924047"/>
            <a:ext cx="504056" cy="37521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2" name="꺾인 연결선 111"/>
          <p:cNvCxnSpPr>
            <a:stCxn id="110" idx="3"/>
            <a:endCxn id="116" idx="1"/>
          </p:cNvCxnSpPr>
          <p:nvPr/>
        </p:nvCxnSpPr>
        <p:spPr bwMode="auto">
          <a:xfrm>
            <a:off x="1915785" y="3299266"/>
            <a:ext cx="504056" cy="92744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TextBox 112"/>
          <p:cNvSpPr txBox="1"/>
          <p:nvPr/>
        </p:nvSpPr>
        <p:spPr>
          <a:xfrm>
            <a:off x="2419841" y="2000785"/>
            <a:ext cx="7056784" cy="184860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2419841" y="1999756"/>
            <a:ext cx="1512168" cy="184858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회차별 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심사확정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2419841" y="3907814"/>
            <a:ext cx="7056784" cy="6604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2419841" y="3904587"/>
            <a:ext cx="1512168" cy="644237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120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접수경로 </a:t>
            </a:r>
            <a:r>
              <a:rPr lang="en-US" altLang="ko-KR" dirty="0"/>
              <a:t>= </a:t>
            </a:r>
          </a:p>
          <a:p>
            <a:r>
              <a:rPr lang="en-US" altLang="ko-KR" dirty="0"/>
              <a:t>“</a:t>
            </a:r>
            <a:r>
              <a:rPr lang="ko-KR" altLang="en-US" dirty="0"/>
              <a:t>현업담당자</a:t>
            </a:r>
            <a:r>
              <a:rPr lang="en-US" altLang="ko-KR" dirty="0"/>
              <a:t>”</a:t>
            </a:r>
          </a:p>
          <a:p>
            <a:r>
              <a:rPr lang="en-US" altLang="ko-KR" dirty="0"/>
              <a:t>(</a:t>
            </a:r>
            <a:r>
              <a:rPr lang="ko-KR" altLang="en-US" dirty="0"/>
              <a:t>회차의 개념이 없음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endParaRPr lang="en-US" altLang="ko-KR" dirty="0"/>
          </a:p>
        </p:txBody>
      </p:sp>
      <p:sp>
        <p:nvSpPr>
          <p:cNvPr id="117" name="TextBox 42"/>
          <p:cNvSpPr txBox="1">
            <a:spLocks noChangeArrowheads="1"/>
          </p:cNvSpPr>
          <p:nvPr/>
        </p:nvSpPr>
        <p:spPr bwMode="auto">
          <a:xfrm>
            <a:off x="4147985" y="2070545"/>
            <a:ext cx="2592336" cy="231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 별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확정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076025" y="2058128"/>
            <a:ext cx="3803695" cy="8029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4207313" y="2590113"/>
            <a:ext cx="648072" cy="2258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4735118" y="2480823"/>
            <a:ext cx="648072" cy="3304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2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5287432" y="2353574"/>
            <a:ext cx="648072" cy="4516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3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3" name="직선 연결선 122"/>
          <p:cNvCxnSpPr>
            <a:stCxn id="122" idx="3"/>
            <a:endCxn id="124" idx="1"/>
          </p:cNvCxnSpPr>
          <p:nvPr/>
        </p:nvCxnSpPr>
        <p:spPr bwMode="auto">
          <a:xfrm flipV="1">
            <a:off x="5935504" y="2468851"/>
            <a:ext cx="918340" cy="110552"/>
          </a:xfrm>
          <a:prstGeom prst="line">
            <a:avLst/>
          </a:prstGeom>
          <a:noFill/>
          <a:ln w="254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TextBox 123"/>
          <p:cNvSpPr txBox="1"/>
          <p:nvPr/>
        </p:nvSpPr>
        <p:spPr>
          <a:xfrm>
            <a:off x="6853844" y="2142521"/>
            <a:ext cx="809852" cy="6526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N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차</a:t>
            </a:r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076025" y="2997140"/>
            <a:ext cx="3803695" cy="828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               미수정산  </a:t>
            </a:r>
            <a:endParaRPr lang="en-US" altLang="ko-KR" sz="12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05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05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05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05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순서도: 자기 디스크 125"/>
          <p:cNvSpPr/>
          <p:nvPr/>
        </p:nvSpPr>
        <p:spPr bwMode="auto">
          <a:xfrm>
            <a:off x="4148033" y="3112802"/>
            <a:ext cx="1080120" cy="607634"/>
          </a:xfrm>
          <a:prstGeom prst="flowChartMagneticDisk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rtlCol="0" anchor="ctr" anchorCtr="1"/>
          <a:lstStyle/>
          <a:p>
            <a:pPr algn="ctr">
              <a:spcBef>
                <a:spcPts val="0"/>
              </a:spcBef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확정 분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spcBef>
                <a:spcPts val="0"/>
              </a:spcBef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미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반영</a:t>
            </a:r>
            <a:endParaRPr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8252489" y="2058127"/>
            <a:ext cx="1152128" cy="6449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온라인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일배치업무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1" name="꺾인 연결선 130"/>
          <p:cNvCxnSpPr>
            <a:stCxn id="119" idx="3"/>
          </p:cNvCxnSpPr>
          <p:nvPr/>
        </p:nvCxnSpPr>
        <p:spPr bwMode="auto">
          <a:xfrm>
            <a:off x="7879720" y="2459604"/>
            <a:ext cx="385648" cy="78265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2" name="TextBox 131"/>
          <p:cNvSpPr txBox="1"/>
          <p:nvPr/>
        </p:nvSpPr>
        <p:spPr>
          <a:xfrm>
            <a:off x="4076025" y="3957783"/>
            <a:ext cx="1367274" cy="542186"/>
          </a:xfrm>
          <a:prstGeom prst="rect">
            <a:avLst/>
          </a:prstGeom>
          <a:solidFill>
            <a:srgbClr val="B9CDE5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n-Line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원호 132"/>
          <p:cNvSpPr/>
          <p:nvPr/>
        </p:nvSpPr>
        <p:spPr bwMode="auto">
          <a:xfrm rot="970741">
            <a:off x="4908230" y="3056098"/>
            <a:ext cx="1792017" cy="380046"/>
          </a:xfrm>
          <a:prstGeom prst="arc">
            <a:avLst>
              <a:gd name="adj1" fmla="val 16200000"/>
              <a:gd name="adj2" fmla="val 665161"/>
            </a:avLst>
          </a:prstGeom>
          <a:noFill/>
          <a:ln w="25400" cap="flat" cmpd="sng" algn="ctr">
            <a:solidFill>
              <a:schemeClr val="tx1"/>
            </a:solidFill>
            <a:prstDash val="sysDash"/>
            <a:round/>
            <a:headEnd type="arrow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5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-윤명조220" pitchFamily="18" charset="-127"/>
              <a:ea typeface="-윤명조220" pitchFamily="18" charset="-127"/>
            </a:endParaRPr>
          </a:p>
        </p:txBody>
      </p:sp>
      <p:sp>
        <p:nvSpPr>
          <p:cNvPr id="134" name="TextBox 133"/>
          <p:cNvSpPr txBox="1">
            <a:spLocks noChangeArrowheads="1"/>
          </p:cNvSpPr>
          <p:nvPr/>
        </p:nvSpPr>
        <p:spPr bwMode="auto">
          <a:xfrm>
            <a:off x="6668313" y="3047792"/>
            <a:ext cx="1298150" cy="231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oll Back</a:t>
            </a:r>
            <a:endParaRPr lang="ko-KR" altLang="en-US" sz="12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5" name="꺾인 연결선 134"/>
          <p:cNvCxnSpPr>
            <a:endCxn id="126" idx="1"/>
          </p:cNvCxnSpPr>
          <p:nvPr/>
        </p:nvCxnSpPr>
        <p:spPr bwMode="auto">
          <a:xfrm rot="16200000" flipH="1">
            <a:off x="4394651" y="2819361"/>
            <a:ext cx="345763" cy="24111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6" name="꺾인 연결선 135"/>
          <p:cNvCxnSpPr>
            <a:stCxn id="121" idx="2"/>
            <a:endCxn id="126" idx="1"/>
          </p:cNvCxnSpPr>
          <p:nvPr/>
        </p:nvCxnSpPr>
        <p:spPr bwMode="auto">
          <a:xfrm rot="5400000">
            <a:off x="4722869" y="2776517"/>
            <a:ext cx="301510" cy="37106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7" name="꺾인 연결선 136"/>
          <p:cNvCxnSpPr>
            <a:stCxn id="122" idx="2"/>
            <a:endCxn id="126" idx="1"/>
          </p:cNvCxnSpPr>
          <p:nvPr/>
        </p:nvCxnSpPr>
        <p:spPr bwMode="auto">
          <a:xfrm rot="5400000">
            <a:off x="4995997" y="2497330"/>
            <a:ext cx="307569" cy="92337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8" name="꺾인 연결선 137"/>
          <p:cNvCxnSpPr>
            <a:stCxn id="124" idx="2"/>
            <a:endCxn id="126" idx="1"/>
          </p:cNvCxnSpPr>
          <p:nvPr/>
        </p:nvCxnSpPr>
        <p:spPr bwMode="auto">
          <a:xfrm rot="5400000">
            <a:off x="5814623" y="1668654"/>
            <a:ext cx="317619" cy="25706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9" name="TextBox 138"/>
          <p:cNvSpPr txBox="1"/>
          <p:nvPr/>
        </p:nvSpPr>
        <p:spPr>
          <a:xfrm>
            <a:off x="6020241" y="3957783"/>
            <a:ext cx="1367274" cy="542186"/>
          </a:xfrm>
          <a:prstGeom prst="rect">
            <a:avLst/>
          </a:prstGeom>
          <a:solidFill>
            <a:srgbClr val="B9CDE5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건 별 확정 건에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한 묶음 처리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7964457" y="3957783"/>
            <a:ext cx="1367274" cy="542186"/>
          </a:xfrm>
          <a:prstGeom prst="rect">
            <a:avLst/>
          </a:prstGeom>
          <a:solidFill>
            <a:srgbClr val="B9CDE5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당 회차에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정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1" name="직선 화살표 연결선 140"/>
          <p:cNvCxnSpPr>
            <a:stCxn id="132" idx="3"/>
            <a:endCxn id="139" idx="1"/>
          </p:cNvCxnSpPr>
          <p:nvPr/>
        </p:nvCxnSpPr>
        <p:spPr bwMode="auto">
          <a:xfrm>
            <a:off x="5443299" y="4228876"/>
            <a:ext cx="576942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2" name="직선 화살표 연결선 141"/>
          <p:cNvCxnSpPr>
            <a:stCxn id="139" idx="3"/>
            <a:endCxn id="140" idx="1"/>
          </p:cNvCxnSpPr>
          <p:nvPr/>
        </p:nvCxnSpPr>
        <p:spPr bwMode="auto">
          <a:xfrm>
            <a:off x="7387515" y="4228876"/>
            <a:ext cx="576942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3" name="Oval 9"/>
          <p:cNvSpPr>
            <a:spLocks noChangeArrowheads="1"/>
          </p:cNvSpPr>
          <p:nvPr/>
        </p:nvSpPr>
        <p:spPr bwMode="auto">
          <a:xfrm>
            <a:off x="7748736" y="2910359"/>
            <a:ext cx="228600" cy="173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Arial Narrow" pitchFamily="34" charset="0"/>
              </a:rPr>
              <a:t>1</a:t>
            </a:r>
          </a:p>
        </p:txBody>
      </p:sp>
      <p:sp>
        <p:nvSpPr>
          <p:cNvPr id="144" name="Oval 9"/>
          <p:cNvSpPr>
            <a:spLocks noChangeArrowheads="1"/>
          </p:cNvSpPr>
          <p:nvPr/>
        </p:nvSpPr>
        <p:spPr bwMode="auto">
          <a:xfrm>
            <a:off x="9248025" y="1988840"/>
            <a:ext cx="228600" cy="173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Arial Narrow" pitchFamily="34" charset="0"/>
              </a:rPr>
              <a:t>2</a:t>
            </a:r>
          </a:p>
        </p:txBody>
      </p:sp>
      <p:sp>
        <p:nvSpPr>
          <p:cNvPr id="145" name="Oval 9"/>
          <p:cNvSpPr>
            <a:spLocks noChangeArrowheads="1"/>
          </p:cNvSpPr>
          <p:nvPr/>
        </p:nvSpPr>
        <p:spPr bwMode="auto">
          <a:xfrm>
            <a:off x="5287585" y="3905124"/>
            <a:ext cx="228600" cy="173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latin typeface="Arial Narrow" pitchFamily="34" charset="0"/>
              </a:rPr>
              <a:t>4</a:t>
            </a:r>
            <a:endParaRPr kumimoji="0" lang="en-US" altLang="ko-KR" sz="1400" b="1" dirty="0">
              <a:latin typeface="Arial Narrow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252489" y="2761959"/>
            <a:ext cx="1152128" cy="6449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금지급반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Oval 9"/>
          <p:cNvSpPr>
            <a:spLocks noChangeArrowheads="1"/>
          </p:cNvSpPr>
          <p:nvPr/>
        </p:nvSpPr>
        <p:spPr bwMode="auto">
          <a:xfrm>
            <a:off x="9248025" y="2768813"/>
            <a:ext cx="228600" cy="173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latin typeface="Arial Narrow" pitchFamily="34" charset="0"/>
              </a:rPr>
              <a:t>3</a:t>
            </a:r>
            <a:endParaRPr kumimoji="0" lang="en-US" altLang="ko-KR" sz="1400" b="1" dirty="0">
              <a:latin typeface="Arial Narrow" pitchFamily="34" charset="0"/>
            </a:endParaRPr>
          </a:p>
        </p:txBody>
      </p:sp>
      <p:sp>
        <p:nvSpPr>
          <p:cNvPr id="153" name="Oval 9"/>
          <p:cNvSpPr>
            <a:spLocks noChangeArrowheads="1"/>
          </p:cNvSpPr>
          <p:nvPr/>
        </p:nvSpPr>
        <p:spPr bwMode="auto">
          <a:xfrm>
            <a:off x="7781804" y="2018788"/>
            <a:ext cx="228600" cy="173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latin typeface="Arial Narrow" pitchFamily="34" charset="0"/>
              </a:rPr>
              <a:t>5</a:t>
            </a:r>
          </a:p>
        </p:txBody>
      </p:sp>
      <p:sp>
        <p:nvSpPr>
          <p:cNvPr id="155" name="Oval 9"/>
          <p:cNvSpPr>
            <a:spLocks noChangeArrowheads="1"/>
          </p:cNvSpPr>
          <p:nvPr/>
        </p:nvSpPr>
        <p:spPr bwMode="auto">
          <a:xfrm>
            <a:off x="518068" y="4941292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1</a:t>
            </a:r>
          </a:p>
        </p:txBody>
      </p:sp>
      <p:sp>
        <p:nvSpPr>
          <p:cNvPr id="156" name="Oval 9"/>
          <p:cNvSpPr>
            <a:spLocks noChangeArrowheads="1"/>
          </p:cNvSpPr>
          <p:nvPr/>
        </p:nvSpPr>
        <p:spPr bwMode="auto">
          <a:xfrm>
            <a:off x="518068" y="5219768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solidFill>
                  <a:schemeClr val="bg1"/>
                </a:solidFill>
                <a:latin typeface="Arial Narrow" pitchFamily="34" charset="0"/>
              </a:rPr>
              <a:t>2</a:t>
            </a:r>
            <a:endParaRPr kumimoji="0" lang="en-US" altLang="ko-K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57" name="Oval 9"/>
          <p:cNvSpPr>
            <a:spLocks noChangeArrowheads="1"/>
          </p:cNvSpPr>
          <p:nvPr/>
        </p:nvSpPr>
        <p:spPr bwMode="auto">
          <a:xfrm>
            <a:off x="518068" y="5498244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3</a:t>
            </a:r>
          </a:p>
        </p:txBody>
      </p:sp>
      <p:sp>
        <p:nvSpPr>
          <p:cNvPr id="158" name="Oval 9"/>
          <p:cNvSpPr>
            <a:spLocks noChangeArrowheads="1"/>
          </p:cNvSpPr>
          <p:nvPr/>
        </p:nvSpPr>
        <p:spPr bwMode="auto">
          <a:xfrm>
            <a:off x="518068" y="5776720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kumimoji="0" lang="en-US" altLang="ko-KR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59" name="Oval 9"/>
          <p:cNvSpPr>
            <a:spLocks noChangeArrowheads="1"/>
          </p:cNvSpPr>
          <p:nvPr/>
        </p:nvSpPr>
        <p:spPr bwMode="auto">
          <a:xfrm>
            <a:off x="518068" y="6055196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kumimoji="0" lang="en-US" altLang="ko-KR" sz="1400" b="1" dirty="0">
                <a:solidFill>
                  <a:schemeClr val="bg1"/>
                </a:solidFill>
                <a:latin typeface="Arial Narrow" pitchFamily="34" charset="0"/>
              </a:rPr>
              <a:t>5</a:t>
            </a:r>
          </a:p>
        </p:txBody>
      </p:sp>
      <p:graphicFrame>
        <p:nvGraphicFramePr>
          <p:cNvPr id="127" name="표 126"/>
          <p:cNvGraphicFramePr>
            <a:graphicFrameLocks noGrp="1"/>
          </p:cNvGraphicFramePr>
          <p:nvPr>
            <p:extLst/>
          </p:nvPr>
        </p:nvGraphicFramePr>
        <p:xfrm>
          <a:off x="5241032" y="3265259"/>
          <a:ext cx="957215" cy="457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1443"/>
                <a:gridCol w="19144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128" name="표 127"/>
          <p:cNvGraphicFramePr>
            <a:graphicFrameLocks noGrp="1"/>
          </p:cNvGraphicFramePr>
          <p:nvPr>
            <p:extLst/>
          </p:nvPr>
        </p:nvGraphicFramePr>
        <p:xfrm>
          <a:off x="6033120" y="3337267"/>
          <a:ext cx="957215" cy="457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1443"/>
                <a:gridCol w="19144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129" name="표 128"/>
          <p:cNvGraphicFramePr>
            <a:graphicFrameLocks noGrp="1"/>
          </p:cNvGraphicFramePr>
          <p:nvPr>
            <p:extLst/>
          </p:nvPr>
        </p:nvGraphicFramePr>
        <p:xfrm>
          <a:off x="6825208" y="3409275"/>
          <a:ext cx="957215" cy="457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1443"/>
                <a:gridCol w="19144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  <a:tr h="76098"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ea typeface="맑은 고딕" panose="020B0503020000020004" pitchFamily="50" charset="-127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grpSp>
        <p:nvGrpSpPr>
          <p:cNvPr id="160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61" name="TextBox 16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매출 전표 매입 처리 프로세스 예시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상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s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긴급 온라인 처리 절차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62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64" name="TextBox 16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9" name="그룹 6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0" name="그룹 8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674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 프로젝트의 추진 목적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hangingPunct="1">
              <a:spcBef>
                <a:spcPct val="0"/>
              </a:spcBef>
              <a:buClrTx/>
              <a:defRPr/>
            </a:pPr>
            <a:r>
              <a:rPr lang="ko-KR" altLang="en-US" dirty="0">
                <a:solidFill>
                  <a:srgbClr val="000000"/>
                </a:solidFill>
              </a:rPr>
              <a:t>차세대 시스템 구축을 통해 애당초 기대한 목적이 달성될 수 있도록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본 프로젝트에서는 경험에 기반하여 개선과제를 최종 확정하고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ko-KR" altLang="en-US" dirty="0">
                <a:solidFill>
                  <a:srgbClr val="000000"/>
                </a:solidFill>
              </a:rPr>
              <a:t>업무 별 프로세스 설계 및 구축 요건을 정의하려고 함</a:t>
            </a:r>
          </a:p>
        </p:txBody>
      </p:sp>
      <p:sp>
        <p:nvSpPr>
          <p:cNvPr id="5" name="직사각형 4"/>
          <p:cNvSpPr/>
          <p:nvPr/>
        </p:nvSpPr>
        <p:spPr bwMode="auto">
          <a:xfrm>
            <a:off x="467124" y="1857759"/>
            <a:ext cx="612000" cy="205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400" dirty="0" smtClean="0">
                <a:latin typeface="맑은 고딕"/>
                <a:ea typeface="맑은 고딕"/>
              </a:rPr>
              <a:t>외부 환경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1158738" y="1857759"/>
            <a:ext cx="3060000" cy="2052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08000" tIns="36000" rIns="36000" bIns="36000" rtlCol="0" anchor="ctr"/>
          <a:lstStyle/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이종 산업의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Payment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 시장 진출로 경쟁 심화에 따른 新성장동력 확보 </a:t>
            </a:r>
            <a:endParaRPr lang="en-US" altLang="ko-KR" sz="1200" b="0" dirty="0" smtClean="0">
              <a:solidFill>
                <a:schemeClr val="tx1"/>
              </a:solidFill>
              <a:latin typeface="맑은 고딕"/>
              <a:ea typeface="맑은 고딕"/>
            </a:endParaRPr>
          </a:p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고객 니즈 진화에 신속한 대응을 위한</a:t>
            </a:r>
            <a:b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Digital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관점의 고객 차별화 경험 제공</a:t>
            </a:r>
          </a:p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미래 경쟁우위 확보를 위한 통합 관점의 경영인프라 구축 </a:t>
            </a:r>
          </a:p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정부의 규제 환경 변화에 선제적이며 유연한 대응 기반 확보</a:t>
            </a:r>
            <a:endParaRPr lang="en-US" altLang="ko-KR" sz="1200" b="0" dirty="0" smtClean="0">
              <a:solidFill>
                <a:schemeClr val="tx1"/>
              </a:solidFill>
              <a:latin typeface="맑은 고딕"/>
              <a:ea typeface="맑은 고딕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15934" y="1382624"/>
            <a:ext cx="3924000" cy="315803"/>
            <a:chOff x="525530" y="1601029"/>
            <a:chExt cx="4068000" cy="315803"/>
          </a:xfrm>
        </p:grpSpPr>
        <p:sp>
          <p:nvSpPr>
            <p:cNvPr id="35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ko-KR" altLang="en-US" dirty="0"/>
                <a:t>내</a:t>
              </a:r>
              <a:r>
                <a:rPr lang="en-US" altLang="ko-KR" dirty="0"/>
                <a:t>/</a:t>
              </a:r>
              <a:r>
                <a:rPr lang="ko-KR" altLang="en-US" dirty="0"/>
                <a:t>외부현황 </a:t>
              </a:r>
              <a:r>
                <a:rPr lang="ko-KR" altLang="en-US" dirty="0" smtClean="0"/>
                <a:t>시사점</a:t>
              </a:r>
              <a:endParaRPr lang="en-US" altLang="ko-KR" dirty="0"/>
            </a:p>
          </p:txBody>
        </p:sp>
        <p:cxnSp>
          <p:nvCxnSpPr>
            <p:cNvPr id="36" name="직선 연결선 35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8" name="직사각형 37"/>
          <p:cNvSpPr/>
          <p:nvPr/>
        </p:nvSpPr>
        <p:spPr bwMode="auto">
          <a:xfrm>
            <a:off x="467124" y="4132669"/>
            <a:ext cx="612000" cy="205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400" dirty="0" smtClean="0">
                <a:latin typeface="맑은 고딕"/>
                <a:ea typeface="맑은 고딕"/>
              </a:rPr>
              <a:t>내부</a:t>
            </a:r>
            <a:endParaRPr lang="en-US" altLang="ko-KR" sz="1400" dirty="0" smtClean="0">
              <a:latin typeface="맑은 고딕"/>
              <a:ea typeface="맑은 고딕"/>
            </a:endParaRP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400" dirty="0" smtClean="0">
                <a:latin typeface="맑은 고딕"/>
                <a:ea typeface="맑은 고딕"/>
              </a:rPr>
              <a:t>현황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40" name="Isosceles Triangle 16"/>
          <p:cNvSpPr/>
          <p:nvPr/>
        </p:nvSpPr>
        <p:spPr>
          <a:xfrm rot="5400000">
            <a:off x="3051916" y="3897232"/>
            <a:ext cx="2988000" cy="252000"/>
          </a:xfrm>
          <a:prstGeom prst="triangle">
            <a:avLst/>
          </a:prstGeom>
          <a:solidFill>
            <a:sysClr val="window" lastClr="FFFFFF">
              <a:lumMod val="7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4823498" y="1382624"/>
            <a:ext cx="4716000" cy="315803"/>
            <a:chOff x="525530" y="1601029"/>
            <a:chExt cx="4068000" cy="315803"/>
          </a:xfrm>
        </p:grpSpPr>
        <p:sp>
          <p:nvSpPr>
            <p:cNvPr id="54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ko-KR" altLang="en-US" dirty="0" smtClean="0"/>
                <a:t>프로젝트 추진 방향</a:t>
              </a:r>
              <a:endParaRPr lang="en-US" altLang="ko-KR" dirty="0"/>
            </a:p>
          </p:txBody>
        </p:sp>
        <p:cxnSp>
          <p:nvCxnSpPr>
            <p:cNvPr id="55" name="직선 연결선 54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65" name="Rectangle 15"/>
          <p:cNvSpPr/>
          <p:nvPr/>
        </p:nvSpPr>
        <p:spPr bwMode="auto">
          <a:xfrm>
            <a:off x="4896225" y="3458028"/>
            <a:ext cx="4628839" cy="1188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6" name="Rectangle 16"/>
          <p:cNvSpPr/>
          <p:nvPr/>
        </p:nvSpPr>
        <p:spPr bwMode="auto">
          <a:xfrm>
            <a:off x="4896225" y="4892184"/>
            <a:ext cx="4628839" cy="1188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7" name="Rectangle 2"/>
          <p:cNvSpPr/>
          <p:nvPr/>
        </p:nvSpPr>
        <p:spPr bwMode="auto">
          <a:xfrm>
            <a:off x="4896225" y="1988278"/>
            <a:ext cx="4628839" cy="1188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8" name="Rectangle 2"/>
          <p:cNvSpPr/>
          <p:nvPr/>
        </p:nvSpPr>
        <p:spPr bwMode="auto">
          <a:xfrm>
            <a:off x="4896225" y="1988278"/>
            <a:ext cx="1568944" cy="11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세대 구축 방향 및 개선과제 정의</a:t>
            </a:r>
            <a:endParaRPr kumimoji="1" lang="en-US" altLang="ko-KR" sz="14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Flowchart: Process 47"/>
          <p:cNvSpPr/>
          <p:nvPr/>
        </p:nvSpPr>
        <p:spPr bwMode="gray">
          <a:xfrm>
            <a:off x="6479682" y="2003354"/>
            <a:ext cx="3045382" cy="1180699"/>
          </a:xfrm>
          <a:prstGeom prst="flowChartProcess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범농협 네트워크 기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CLO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플랫폼 구축을 통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Pull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마케팅 기반 확보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빅데이터를 활용한 정보 경쟁력 강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유연한 상품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,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고객정보 통합 관리 체계 구축으로 비즈니스 확장성 제고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0" name="Rectangle 2"/>
          <p:cNvSpPr/>
          <p:nvPr/>
        </p:nvSpPr>
        <p:spPr bwMode="auto">
          <a:xfrm>
            <a:off x="4896225" y="3458028"/>
            <a:ext cx="1568944" cy="11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위 업무별 프로세스 수립</a:t>
            </a:r>
            <a:endParaRPr kumimoji="1" 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Rectangle 2"/>
          <p:cNvSpPr/>
          <p:nvPr/>
        </p:nvSpPr>
        <p:spPr bwMode="auto">
          <a:xfrm>
            <a:off x="4896225" y="4891132"/>
            <a:ext cx="1568944" cy="11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세대 시스템 구축 요건 정의</a:t>
            </a:r>
            <a:endParaRPr kumimoji="1" 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Flowchart: Process 47"/>
          <p:cNvSpPr/>
          <p:nvPr/>
        </p:nvSpPr>
        <p:spPr bwMode="gray">
          <a:xfrm>
            <a:off x="6479682" y="3587530"/>
            <a:ext cx="3045382" cy="959100"/>
          </a:xfrm>
          <a:prstGeom prst="flowChartProcess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End-to-End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관점에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프로세스 자동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및 효율화를 통한 고객 서비스 혁신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비즈니스 구성요소별 미세경영관리 체계 구축</a:t>
            </a:r>
            <a:endParaRPr lang="en-US" altLang="ko-KR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7" name="Flowchart: Process 47"/>
          <p:cNvSpPr/>
          <p:nvPr/>
        </p:nvSpPr>
        <p:spPr bwMode="gray">
          <a:xfrm>
            <a:off x="6479682" y="5012542"/>
            <a:ext cx="3045382" cy="959100"/>
          </a:xfrm>
          <a:prstGeom prst="flowChartProcess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미래성장 예측기반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IT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확장성 및 안정성 확보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4625" indent="-174625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비즈니스 변화에 대비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IT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유연성 강화</a:t>
            </a:r>
            <a:endParaRPr lang="en-US" altLang="ko-KR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158738" y="4129790"/>
            <a:ext cx="3060000" cy="2052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08000" tIns="36000" rIns="36000" bIns="36000" rtlCol="0" anchor="ctr"/>
          <a:lstStyle/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카드사업의 급격한 성장에 따른 안정적인 인프라 확보</a:t>
            </a:r>
            <a:endParaRPr lang="en-US" altLang="ko-KR" sz="1200" b="0" dirty="0" smtClean="0">
              <a:solidFill>
                <a:schemeClr val="tx1"/>
              </a:solidFill>
              <a:latin typeface="맑은 고딕"/>
              <a:ea typeface="맑은 고딕"/>
            </a:endParaRPr>
          </a:p>
          <a:p>
            <a:pPr marL="188913" indent="-188913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계통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/>
                <a:ea typeface="맑은 고딕"/>
              </a:rPr>
              <a:t>계열별 사업의 특수성을 고려한 프로세스 개선 및 고도화</a:t>
            </a:r>
            <a:endParaRPr lang="ko-KR" altLang="en-US" sz="1200" b="0" dirty="0">
              <a:solidFill>
                <a:schemeClr val="tx1"/>
              </a:solidFill>
              <a:latin typeface="맑은 고딕"/>
              <a:ea typeface="맑은 고딕"/>
            </a:endParaRPr>
          </a:p>
        </p:txBody>
      </p:sp>
      <p:sp>
        <p:nvSpPr>
          <p:cNvPr id="2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84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카드프로세싱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매입</a:t>
            </a:r>
            <a:r>
              <a:rPr lang="en-US" altLang="ko-KR" dirty="0"/>
              <a:t>/</a:t>
            </a:r>
            <a:r>
              <a:rPr lang="ko-KR" altLang="en-US" dirty="0"/>
              <a:t>청구</a:t>
            </a:r>
            <a:r>
              <a:rPr lang="en-US" altLang="ko-KR" dirty="0"/>
              <a:t>/</a:t>
            </a:r>
            <a:r>
              <a:rPr lang="ko-KR" altLang="en-US" dirty="0"/>
              <a:t>결제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실시간 정산 기반의 미수 원장과 고객 편의 중심의 청구입금 체계 설계를 통해 업무의 효율성과 대고객 서비스 수준을 개선하겠음</a:t>
            </a:r>
            <a:endParaRPr lang="ko-KR" altLang="en-US" dirty="0"/>
          </a:p>
        </p:txBody>
      </p:sp>
      <p:sp>
        <p:nvSpPr>
          <p:cNvPr id="26" name="직사각형 6"/>
          <p:cNvSpPr/>
          <p:nvPr/>
        </p:nvSpPr>
        <p:spPr bwMode="auto">
          <a:xfrm>
            <a:off x="287917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</a:p>
        </p:txBody>
      </p:sp>
      <p:sp>
        <p:nvSpPr>
          <p:cNvPr id="27" name="직사각형 7"/>
          <p:cNvSpPr/>
          <p:nvPr/>
        </p:nvSpPr>
        <p:spPr bwMode="auto">
          <a:xfrm>
            <a:off x="1461818" y="1412776"/>
            <a:ext cx="1108684" cy="648000"/>
          </a:xfrm>
          <a:prstGeom prst="homePlate">
            <a:avLst>
              <a:gd name="adj" fmla="val 1200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</a:p>
        </p:txBody>
      </p:sp>
      <p:sp>
        <p:nvSpPr>
          <p:cNvPr id="28" name="직사각형 8"/>
          <p:cNvSpPr/>
          <p:nvPr/>
        </p:nvSpPr>
        <p:spPr bwMode="auto">
          <a:xfrm>
            <a:off x="2635718" y="1412776"/>
            <a:ext cx="1108684" cy="648000"/>
          </a:xfrm>
          <a:prstGeom prst="homePlate">
            <a:avLst>
              <a:gd name="adj" fmla="val 1269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</a:p>
        </p:txBody>
      </p:sp>
      <p:sp>
        <p:nvSpPr>
          <p:cNvPr id="30" name="직사각형 10"/>
          <p:cNvSpPr/>
          <p:nvPr/>
        </p:nvSpPr>
        <p:spPr bwMode="auto">
          <a:xfrm>
            <a:off x="4983517" y="1412776"/>
            <a:ext cx="1108684" cy="648000"/>
          </a:xfrm>
          <a:prstGeom prst="homePlate">
            <a:avLst>
              <a:gd name="adj" fmla="val 14772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관리</a:t>
            </a:r>
          </a:p>
        </p:txBody>
      </p:sp>
      <p:sp>
        <p:nvSpPr>
          <p:cNvPr id="31" name="직사각형 11"/>
          <p:cNvSpPr/>
          <p:nvPr/>
        </p:nvSpPr>
        <p:spPr bwMode="auto">
          <a:xfrm>
            <a:off x="6157417" y="1412776"/>
            <a:ext cx="1108684" cy="648000"/>
          </a:xfrm>
          <a:prstGeom prst="homePlate">
            <a:avLst>
              <a:gd name="adj" fmla="val 15463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관리</a:t>
            </a:r>
          </a:p>
        </p:txBody>
      </p:sp>
      <p:sp>
        <p:nvSpPr>
          <p:cNvPr id="32" name="직사각형 12"/>
          <p:cNvSpPr/>
          <p:nvPr/>
        </p:nvSpPr>
        <p:spPr bwMode="auto">
          <a:xfrm>
            <a:off x="7331318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서비스 관리</a:t>
            </a:r>
          </a:p>
        </p:txBody>
      </p:sp>
      <p:sp>
        <p:nvSpPr>
          <p:cNvPr id="33" name="직사각형 13"/>
          <p:cNvSpPr/>
          <p:nvPr/>
        </p:nvSpPr>
        <p:spPr bwMode="auto">
          <a:xfrm>
            <a:off x="8505217" y="1412776"/>
            <a:ext cx="1108684" cy="648000"/>
          </a:xfrm>
          <a:prstGeom prst="homePlate">
            <a:avLst>
              <a:gd name="adj" fmla="val 20988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관리</a:t>
            </a: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88504" y="2638100"/>
            <a:ext cx="3040025" cy="3588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488504" y="2995532"/>
            <a:ext cx="3040025" cy="31697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관점의 실시간 미수원장 부재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별 매출 전표 분리 구성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미수원장 개념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재로 업무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 부족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별 분리 생성에 따른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하발생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청구작업 이후 매출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취소 절차 복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제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 고객 편의 제공 수준 부족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한적인 가상계좌 입금 프로세스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론 이용 대금 등 불가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복수 </a:t>
            </a:r>
            <a:r>
              <a:rPr kumimoji="1" lang="ko-KR" altLang="en-US" sz="12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제일 변경 시 통합 청구 불가 </a:t>
            </a:r>
          </a:p>
          <a:p>
            <a:pPr marL="361950" indent="-180975" latinLnBrk="0">
              <a:lnSpc>
                <a:spcPts val="11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제 사후 업무 자동화 수준 미흡</a:t>
            </a:r>
          </a:p>
        </p:txBody>
      </p: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0698"/>
            <a:ext cx="9334604" cy="28627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6065">
                <a:moveTo>
                  <a:pt x="0" y="276065"/>
                </a:moveTo>
                <a:lnTo>
                  <a:pt x="69782" y="0"/>
                </a:lnTo>
                <a:lnTo>
                  <a:pt x="991418" y="0"/>
                </a:lnTo>
                <a:lnTo>
                  <a:pt x="9334604" y="273652"/>
                </a:lnTo>
                <a:lnTo>
                  <a:pt x="0" y="27606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6590244" y="3140968"/>
            <a:ext cx="2755244" cy="1236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    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실시간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정산 기반 미수원장 구축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lvl="0"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-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 업무 전반의 유연성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성 확보</a:t>
            </a:r>
            <a:endParaRPr lang="en-US" altLang="ko-KR" b="0" dirty="0">
              <a:solidFill>
                <a:srgbClr val="FFFFFF"/>
              </a:solidFill>
            </a:endParaRPr>
          </a:p>
          <a:p>
            <a:pPr latinLnBrk="0">
              <a:lnSpc>
                <a:spcPct val="150000"/>
              </a:lnSpc>
              <a:spcBef>
                <a:spcPct val="30000"/>
              </a:spcBef>
            </a:pPr>
            <a:endParaRPr lang="en-US" altLang="ko-KR" sz="1200" dirty="0" smtClean="0">
              <a:solidFill>
                <a:schemeClr val="tx1"/>
              </a:solidFill>
              <a:latin typeface="맑은 고딕"/>
              <a:ea typeface="맑은 고딕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6590244" y="3195274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6590244" y="4627493"/>
            <a:ext cx="2755244" cy="1106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고객 편의 중심의 청구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입금 체계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구축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latinLnBrk="0">
              <a:spcBef>
                <a:spcPct val="3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-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양한 고객 요구사항에 대응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능한  청구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 업무체계 구축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>
              <a:spcBef>
                <a:spcPct val="30000"/>
              </a:spcBef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싱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단계별 대사 체계 마련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6590244" y="4633109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3690211" y="2782116"/>
            <a:ext cx="2702949" cy="3167164"/>
            <a:chOff x="3834227" y="2782116"/>
            <a:chExt cx="2785307" cy="3167164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387730"/>
              <a:ext cx="2785307" cy="256155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883204" y="3267726"/>
              <a:ext cx="2558638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 효율성 및 </a:t>
              </a:r>
              <a:r>
                <a:rPr kumimoji="1" lang="en-US" altLang="ko-KR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연성 </a:t>
              </a: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고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 중심의 서비스 제공 기반 강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4" name="직사각형 9"/>
          <p:cNvSpPr/>
          <p:nvPr/>
        </p:nvSpPr>
        <p:spPr bwMode="auto">
          <a:xfrm>
            <a:off x="3809616" y="1412776"/>
            <a:ext cx="1108684" cy="50581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카드프로세싱</a:t>
            </a:r>
            <a:endParaRPr kumimoji="1"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9"/>
          <p:cNvSpPr/>
          <p:nvPr/>
        </p:nvSpPr>
        <p:spPr bwMode="auto">
          <a:xfrm>
            <a:off x="3809616" y="1990998"/>
            <a:ext cx="1108684" cy="35788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매입</a:t>
            </a: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청구</a:t>
            </a: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결제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187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5197540" y="2928152"/>
            <a:ext cx="4410000" cy="3400360"/>
            <a:chOff x="5197540" y="2928152"/>
            <a:chExt cx="4410000" cy="3400360"/>
          </a:xfrm>
        </p:grpSpPr>
        <p:sp>
          <p:nvSpPr>
            <p:cNvPr id="87" name="Rectangle 30"/>
            <p:cNvSpPr/>
            <p:nvPr/>
          </p:nvSpPr>
          <p:spPr bwMode="gray">
            <a:xfrm>
              <a:off x="5197540" y="3249103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8" name="Rectangle 30"/>
            <p:cNvSpPr/>
            <p:nvPr/>
          </p:nvSpPr>
          <p:spPr bwMode="gray">
            <a:xfrm>
              <a:off x="5197540" y="2928152"/>
              <a:ext cx="4410000" cy="3251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선 방향</a:t>
              </a: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326408" y="2928153"/>
            <a:ext cx="4410000" cy="3381166"/>
            <a:chOff x="326408" y="2928153"/>
            <a:chExt cx="4410000" cy="3381166"/>
          </a:xfrm>
        </p:grpSpPr>
        <p:sp>
          <p:nvSpPr>
            <p:cNvPr id="77" name="Rectangle 30"/>
            <p:cNvSpPr/>
            <p:nvPr/>
          </p:nvSpPr>
          <p:spPr bwMode="gray">
            <a:xfrm>
              <a:off x="326408" y="3229910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9" name="Rectangle 30"/>
            <p:cNvSpPr/>
            <p:nvPr/>
          </p:nvSpPr>
          <p:spPr bwMode="gray">
            <a:xfrm>
              <a:off x="326408" y="2928153"/>
              <a:ext cx="4410000" cy="30175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행 문제점</a:t>
              </a: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 </a:t>
            </a:r>
            <a:r>
              <a:rPr lang="ko-KR" altLang="en-US" dirty="0"/>
              <a:t>   </a:t>
            </a:r>
            <a:r>
              <a:rPr lang="ko-KR" altLang="en-US" dirty="0" smtClean="0"/>
              <a:t>실시간 </a:t>
            </a:r>
            <a:r>
              <a:rPr lang="ko-KR" altLang="en-US" dirty="0"/>
              <a:t>정산 기반 미수원장 </a:t>
            </a:r>
            <a:r>
              <a:rPr lang="ko-KR" altLang="en-US" dirty="0" smtClean="0"/>
              <a:t>구축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현재 </a:t>
            </a:r>
            <a:r>
              <a:rPr lang="ko-KR" altLang="en-US" dirty="0" err="1"/>
              <a:t>영업일에</a:t>
            </a:r>
            <a:r>
              <a:rPr lang="ko-KR" altLang="en-US" dirty="0"/>
              <a:t> 일 </a:t>
            </a:r>
            <a:r>
              <a:rPr lang="en-US" altLang="ko-KR" dirty="0"/>
              <a:t>1</a:t>
            </a:r>
            <a:r>
              <a:rPr lang="ko-KR" altLang="en-US" dirty="0"/>
              <a:t>회 </a:t>
            </a:r>
            <a:r>
              <a:rPr lang="ko-KR" altLang="en-US" dirty="0" smtClean="0"/>
              <a:t>이루어지는 </a:t>
            </a:r>
            <a:r>
              <a:rPr lang="ko-KR" altLang="en-US" dirty="0"/>
              <a:t>미수정산업무를 향후 실시간 미수정산체제로 전환하여</a:t>
            </a:r>
            <a:r>
              <a:rPr lang="en-US" altLang="ko-KR" dirty="0"/>
              <a:t>, </a:t>
            </a:r>
            <a:r>
              <a:rPr lang="ko-KR" altLang="en-US" dirty="0"/>
              <a:t>후행</a:t>
            </a:r>
            <a:r>
              <a:rPr lang="en-US" altLang="ko-KR" dirty="0"/>
              <a:t>, </a:t>
            </a:r>
            <a:r>
              <a:rPr lang="ko-KR" altLang="en-US" dirty="0"/>
              <a:t>병행 프로세스의 처리 속도 및 </a:t>
            </a:r>
            <a:r>
              <a:rPr lang="ko-KR" altLang="en-US" dirty="0" smtClean="0"/>
              <a:t>고객 </a:t>
            </a:r>
            <a:r>
              <a:rPr lang="ko-KR" altLang="en-US" dirty="0" err="1" smtClean="0"/>
              <a:t>니즈</a:t>
            </a:r>
            <a:r>
              <a:rPr lang="ko-KR" altLang="en-US" dirty="0" smtClean="0"/>
              <a:t> </a:t>
            </a:r>
            <a:r>
              <a:rPr lang="ko-KR" altLang="en-US" dirty="0"/>
              <a:t>대응 수준을 </a:t>
            </a:r>
            <a:r>
              <a:rPr lang="ko-KR" altLang="en-US" dirty="0" smtClean="0"/>
              <a:t>향상시키겠음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유연한 실시간 미수 관리를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위한 승인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매출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미수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청구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산 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ocess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의 일관성 있는 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ocess Redesign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미수 관리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단위의 재정의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일시불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3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리볼빙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등의 업무 처리 기준 및 원장 관리 기준 수립 필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장애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발생 시 처리 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ocess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려 필요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72" name="그룹 213"/>
          <p:cNvGrpSpPr/>
          <p:nvPr/>
        </p:nvGrpSpPr>
        <p:grpSpPr>
          <a:xfrm>
            <a:off x="1065964" y="3638073"/>
            <a:ext cx="771943" cy="821790"/>
            <a:chOff x="1811769" y="1988840"/>
            <a:chExt cx="858177" cy="1364666"/>
          </a:xfrm>
        </p:grpSpPr>
        <p:sp>
          <p:nvSpPr>
            <p:cNvPr id="173" name="AutoShape 73"/>
            <p:cNvSpPr>
              <a:spLocks noChangeArrowheads="1"/>
            </p:cNvSpPr>
            <p:nvPr/>
          </p:nvSpPr>
          <p:spPr bwMode="auto">
            <a:xfrm>
              <a:off x="1811769" y="1988840"/>
              <a:ext cx="858177" cy="682625"/>
            </a:xfrm>
            <a:prstGeom prst="flowChartMultidocumen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rIns="36000" rtlCol="0" anchor="ctr" anchorCtr="0">
              <a:noAutofit/>
            </a:bodyPr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동이</a:t>
              </a:r>
              <a:r>
                <a:rPr lang="ko-KR" alt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체</a:t>
              </a:r>
              <a:endPara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1811769" y="2777442"/>
              <a:ext cx="720080" cy="57606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lIns="36000" rIns="36000" rtlCol="0" anchor="ctr" anchorCtr="0">
              <a:noAutofit/>
            </a:bodyPr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Time</a:t>
              </a:r>
            </a:p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</a:t>
              </a:r>
              <a:r>
                <a:rPr lang="ko-KR" altLang="en-US" sz="11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무</a:t>
              </a:r>
              <a:endPara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75" name="원통 174"/>
          <p:cNvSpPr/>
          <p:nvPr/>
        </p:nvSpPr>
        <p:spPr bwMode="auto">
          <a:xfrm>
            <a:off x="3198848" y="3776486"/>
            <a:ext cx="746040" cy="573064"/>
          </a:xfrm>
          <a:prstGeom prst="can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수정산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일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86" name="직사각형 185"/>
          <p:cNvSpPr/>
          <p:nvPr/>
        </p:nvSpPr>
        <p:spPr bwMode="gray">
          <a:xfrm>
            <a:off x="416495" y="3337002"/>
            <a:ext cx="4058291" cy="250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미수정산  처리 방식</a:t>
            </a:r>
          </a:p>
        </p:txBody>
      </p:sp>
      <p:grpSp>
        <p:nvGrpSpPr>
          <p:cNvPr id="188" name="그룹 82"/>
          <p:cNvGrpSpPr/>
          <p:nvPr/>
        </p:nvGrpSpPr>
        <p:grpSpPr>
          <a:xfrm>
            <a:off x="5357752" y="3644307"/>
            <a:ext cx="720203" cy="821790"/>
            <a:chOff x="1811769" y="1988840"/>
            <a:chExt cx="858177" cy="1364666"/>
          </a:xfrm>
        </p:grpSpPr>
        <p:sp>
          <p:nvSpPr>
            <p:cNvPr id="189" name="AutoShape 73"/>
            <p:cNvSpPr>
              <a:spLocks noChangeArrowheads="1"/>
            </p:cNvSpPr>
            <p:nvPr/>
          </p:nvSpPr>
          <p:spPr bwMode="auto">
            <a:xfrm>
              <a:off x="1811769" y="1988840"/>
              <a:ext cx="858177" cy="682625"/>
            </a:xfrm>
            <a:prstGeom prst="flowChartMultidocumen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동이</a:t>
              </a:r>
              <a:r>
                <a:rPr lang="ko-KR" altLang="en-US" sz="9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체</a:t>
              </a:r>
              <a:endPara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1811769" y="2777442"/>
              <a:ext cx="720080" cy="57606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altLang="ko-KR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Time</a:t>
              </a:r>
            </a:p>
            <a:p>
              <a:pPr algn="ctr"/>
              <a:r>
                <a:rPr lang="ko-KR" altLang="en-US" sz="9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</a:t>
              </a:r>
              <a:r>
                <a:rPr lang="ko-KR" altLang="en-US" sz="9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무</a:t>
              </a:r>
              <a:endPara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1" name="모서리가 둥근 직사각형 190"/>
          <p:cNvSpPr/>
          <p:nvPr/>
        </p:nvSpPr>
        <p:spPr bwMode="auto">
          <a:xfrm>
            <a:off x="6473876" y="3836594"/>
            <a:ext cx="635054" cy="4014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05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시간 </a:t>
            </a:r>
            <a:endParaRPr kumimoji="1" lang="en-US" altLang="ko-KR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914400" fontAlgn="base" latinLnBrk="1">
              <a:spcBef>
                <a:spcPts val="200"/>
              </a:spcBef>
              <a:spcAft>
                <a:spcPct val="0"/>
              </a:spcAft>
            </a:pPr>
            <a:r>
              <a:rPr kumimoji="1" lang="ko-KR" altLang="en-US" sz="105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처리</a:t>
            </a:r>
            <a:endParaRPr kumimoji="1" lang="ko-KR" altLang="en-US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2" name="원통 191"/>
          <p:cNvSpPr/>
          <p:nvPr/>
        </p:nvSpPr>
        <p:spPr bwMode="auto">
          <a:xfrm>
            <a:off x="7485853" y="3836594"/>
            <a:ext cx="836079" cy="401466"/>
          </a:xfrm>
          <a:prstGeom prst="can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indent="0" algn="ctr" defTabSz="914400" fontAlgn="base" latinLnBrk="1">
              <a:lnSpc>
                <a:spcPct val="7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시간</a:t>
            </a:r>
            <a:r>
              <a:rPr kumimoji="1" lang="en-US" altLang="ko-KR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수정산</a:t>
            </a: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8562108" y="3838806"/>
            <a:ext cx="756084" cy="4014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류방지</a:t>
            </a:r>
            <a:r>
              <a:rPr kumimoji="1" lang="en-US" altLang="ko-KR" sz="105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검증</a:t>
            </a:r>
            <a:endParaRPr kumimoji="1" lang="ko-KR" altLang="en-US" sz="10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6" name="꺾인 연결선 205"/>
          <p:cNvCxnSpPr>
            <a:stCxn id="189" idx="3"/>
            <a:endCxn id="191" idx="1"/>
          </p:cNvCxnSpPr>
          <p:nvPr/>
        </p:nvCxnSpPr>
        <p:spPr bwMode="auto">
          <a:xfrm>
            <a:off x="6077955" y="3849843"/>
            <a:ext cx="395921" cy="18748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7" name="꺾인 연결선 206"/>
          <p:cNvCxnSpPr>
            <a:stCxn id="190" idx="3"/>
            <a:endCxn id="191" idx="1"/>
          </p:cNvCxnSpPr>
          <p:nvPr/>
        </p:nvCxnSpPr>
        <p:spPr bwMode="auto">
          <a:xfrm flipV="1">
            <a:off x="5962061" y="4037327"/>
            <a:ext cx="511815" cy="25531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8" name="직사각형 207"/>
          <p:cNvSpPr/>
          <p:nvPr/>
        </p:nvSpPr>
        <p:spPr bwMode="gray">
          <a:xfrm>
            <a:off x="5323201" y="3336974"/>
            <a:ext cx="4058291" cy="250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미수정산  처리 방식</a:t>
            </a:r>
          </a:p>
        </p:txBody>
      </p:sp>
      <p:cxnSp>
        <p:nvCxnSpPr>
          <p:cNvPr id="210" name="직선 화살표 연결선 209"/>
          <p:cNvCxnSpPr>
            <a:stCxn id="191" idx="3"/>
            <a:endCxn id="192" idx="2"/>
          </p:cNvCxnSpPr>
          <p:nvPr/>
        </p:nvCxnSpPr>
        <p:spPr>
          <a:xfrm>
            <a:off x="7108930" y="4037327"/>
            <a:ext cx="376923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직선 화살표 연결선 210"/>
          <p:cNvCxnSpPr>
            <a:stCxn id="192" idx="4"/>
            <a:endCxn id="193" idx="1"/>
          </p:cNvCxnSpPr>
          <p:nvPr/>
        </p:nvCxnSpPr>
        <p:spPr>
          <a:xfrm>
            <a:off x="8321932" y="4037327"/>
            <a:ext cx="240176" cy="221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직사각형 211"/>
          <p:cNvSpPr/>
          <p:nvPr/>
        </p:nvSpPr>
        <p:spPr bwMode="gray">
          <a:xfrm>
            <a:off x="524508" y="4491188"/>
            <a:ext cx="3888432" cy="32619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9250" indent="-171450" defTabSz="914400">
              <a:spcBef>
                <a:spcPct val="0"/>
              </a:spcBef>
              <a:buSzPct val="90000"/>
              <a:buFont typeface="Wingdings" panose="05000000000000000000" pitchFamily="2" charset="2"/>
              <a:buChar char="§"/>
            </a:pP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실시간 한도복원</a:t>
            </a:r>
            <a:r>
              <a:rPr lang="en-US" altLang="ko-KR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입금반영 불가</a:t>
            </a:r>
            <a:endParaRPr lang="en-US" altLang="ko-KR" sz="10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9250" indent="-171450" defTabSz="914400">
              <a:spcBef>
                <a:spcPct val="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altLang="ko-KR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청구작업 유연성 부족</a:t>
            </a:r>
          </a:p>
        </p:txBody>
      </p:sp>
      <p:sp>
        <p:nvSpPr>
          <p:cNvPr id="213" name="직사각형 212"/>
          <p:cNvSpPr/>
          <p:nvPr/>
        </p:nvSpPr>
        <p:spPr bwMode="gray">
          <a:xfrm>
            <a:off x="5407404" y="4491188"/>
            <a:ext cx="3888432" cy="32619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9250" indent="-171450" defTabSz="914400">
              <a:spcBef>
                <a:spcPct val="0"/>
              </a:spcBef>
              <a:buSzPct val="90000"/>
              <a:buFont typeface="Wingdings" panose="05000000000000000000" pitchFamily="2" charset="2"/>
              <a:buChar char="§"/>
            </a:pP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실시간 한도복원</a:t>
            </a:r>
            <a:r>
              <a:rPr lang="en-US" altLang="ko-KR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입금반영</a:t>
            </a:r>
            <a:endParaRPr lang="en-US" altLang="ko-KR" sz="10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9250" indent="-171450" defTabSz="914400">
              <a:spcBef>
                <a:spcPct val="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altLang="ko-KR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0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청구작업 가능일 확대</a:t>
            </a:r>
          </a:p>
        </p:txBody>
      </p:sp>
      <p:sp>
        <p:nvSpPr>
          <p:cNvPr id="176" name="직사각형 175"/>
          <p:cNvSpPr/>
          <p:nvPr/>
        </p:nvSpPr>
        <p:spPr bwMode="auto">
          <a:xfrm>
            <a:off x="2590347" y="5213796"/>
            <a:ext cx="1318537" cy="297459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신판 일시불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1" fontAlgn="base" latinLnBrk="1" hangingPunct="1">
              <a:lnSpc>
                <a:spcPct val="8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별 합산관리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946181" y="5216301"/>
            <a:ext cx="825998" cy="703946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</a:p>
        </p:txBody>
      </p:sp>
      <p:sp>
        <p:nvSpPr>
          <p:cNvPr id="178" name="직사각형 177"/>
          <p:cNvSpPr/>
          <p:nvPr/>
        </p:nvSpPr>
        <p:spPr bwMode="auto">
          <a:xfrm>
            <a:off x="2590347" y="5611621"/>
            <a:ext cx="1318537" cy="297459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리볼빙</a:t>
            </a:r>
            <a:r>
              <a:rPr kumimoji="1" lang="ko-KR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이월잔액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관리</a:t>
            </a:r>
            <a:endParaRPr kumimoji="1" lang="en-US" altLang="ko-K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9" name="이등변 삼각형 178"/>
          <p:cNvSpPr/>
          <p:nvPr/>
        </p:nvSpPr>
        <p:spPr bwMode="auto">
          <a:xfrm rot="5400000">
            <a:off x="1796241" y="5294863"/>
            <a:ext cx="135698" cy="153111"/>
          </a:xfrm>
          <a:prstGeom prst="triangl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0" name="이등변 삼각형 179"/>
          <p:cNvSpPr/>
          <p:nvPr/>
        </p:nvSpPr>
        <p:spPr bwMode="auto">
          <a:xfrm rot="5400000">
            <a:off x="1796241" y="5649457"/>
            <a:ext cx="135698" cy="153111"/>
          </a:xfrm>
          <a:prstGeom prst="triangl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81" name="그룹 231"/>
          <p:cNvGrpSpPr/>
          <p:nvPr/>
        </p:nvGrpSpPr>
        <p:grpSpPr>
          <a:xfrm>
            <a:off x="1762822" y="5364500"/>
            <a:ext cx="838695" cy="365837"/>
            <a:chOff x="1489835" y="4231758"/>
            <a:chExt cx="789078" cy="524940"/>
          </a:xfrm>
        </p:grpSpPr>
        <p:cxnSp>
          <p:nvCxnSpPr>
            <p:cNvPr id="182" name="직선 연결선 181"/>
            <p:cNvCxnSpPr/>
            <p:nvPr/>
          </p:nvCxnSpPr>
          <p:spPr bwMode="auto">
            <a:xfrm flipV="1">
              <a:off x="1489835" y="4231758"/>
              <a:ext cx="789078" cy="40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3" name="직선 연결선 182"/>
            <p:cNvCxnSpPr/>
            <p:nvPr/>
          </p:nvCxnSpPr>
          <p:spPr bwMode="auto">
            <a:xfrm flipV="1">
              <a:off x="1489835" y="4756297"/>
              <a:ext cx="789078" cy="40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184" name="직선 연결선 183"/>
          <p:cNvCxnSpPr/>
          <p:nvPr/>
        </p:nvCxnSpPr>
        <p:spPr bwMode="auto">
          <a:xfrm>
            <a:off x="2530357" y="5311186"/>
            <a:ext cx="0" cy="1003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85" name="직선 연결선 184"/>
          <p:cNvCxnSpPr/>
          <p:nvPr/>
        </p:nvCxnSpPr>
        <p:spPr bwMode="auto">
          <a:xfrm>
            <a:off x="2530357" y="5678718"/>
            <a:ext cx="0" cy="1003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87" name="직사각형 186"/>
          <p:cNvSpPr/>
          <p:nvPr/>
        </p:nvSpPr>
        <p:spPr bwMode="gray">
          <a:xfrm>
            <a:off x="452500" y="4916610"/>
            <a:ext cx="4058291" cy="250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미수원장 구조</a:t>
            </a:r>
          </a:p>
        </p:txBody>
      </p:sp>
      <p:sp>
        <p:nvSpPr>
          <p:cNvPr id="214" name="직사각형 213"/>
          <p:cNvSpPr/>
          <p:nvPr/>
        </p:nvSpPr>
        <p:spPr bwMode="gray">
          <a:xfrm>
            <a:off x="560512" y="5970430"/>
            <a:ext cx="3888432" cy="32619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9250" indent="-171450">
              <a:buSzPct val="90000"/>
              <a:buFont typeface="Wingdings" panose="05000000000000000000" pitchFamily="2" charset="2"/>
              <a:buChar char="§"/>
            </a:pPr>
            <a:r>
              <a:rPr lang="ko-KR" altLang="en-US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품별 매출 전표 분리 구성 및 업무 연계 부족</a:t>
            </a:r>
            <a:endParaRPr lang="en-US" altLang="ko-KR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9250" indent="-171450">
              <a:buSzPct val="90000"/>
              <a:buFont typeface="Wingdings" panose="05000000000000000000" pitchFamily="2" charset="2"/>
              <a:buChar char="§"/>
            </a:pPr>
            <a:r>
              <a:rPr lang="ko-KR" altLang="en-US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매입처리 시간 과도 소요 및 비정상 업무 대응 한계</a:t>
            </a:r>
            <a:endParaRPr lang="en-US" altLang="ko-KR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7533270" y="5218458"/>
            <a:ext cx="1291684" cy="297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신판 일시불</a:t>
            </a:r>
            <a:r>
              <a:rPr lang="en-US" altLang="ko-KR" sz="110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10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 별 관리</a:t>
            </a:r>
            <a:endParaRPr kumimoji="1" lang="en-US" altLang="ko-KR" sz="1100" b="0" i="0" u="none" strike="noStrike" cap="none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5889104" y="5220964"/>
            <a:ext cx="825998" cy="703946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</a:p>
        </p:txBody>
      </p:sp>
      <p:sp>
        <p:nvSpPr>
          <p:cNvPr id="196" name="직사각형 195"/>
          <p:cNvSpPr/>
          <p:nvPr/>
        </p:nvSpPr>
        <p:spPr bwMode="auto">
          <a:xfrm>
            <a:off x="7533270" y="5616283"/>
            <a:ext cx="1291684" cy="297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볼빙이월잔액</a:t>
            </a:r>
            <a:r>
              <a:rPr kumimoji="1" lang="ko-KR" altLang="en-US" sz="110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건 </a:t>
            </a:r>
            <a:r>
              <a:rPr kumimoji="1" lang="ko-KR" altLang="en-US" sz="110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관리</a:t>
            </a:r>
            <a:endParaRPr kumimoji="1" lang="en-US" altLang="ko-KR" sz="110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7" name="이등변 삼각형 196"/>
          <p:cNvSpPr/>
          <p:nvPr/>
        </p:nvSpPr>
        <p:spPr bwMode="auto">
          <a:xfrm rot="16200000" flipH="1">
            <a:off x="7386411" y="5279823"/>
            <a:ext cx="135698" cy="153111"/>
          </a:xfrm>
          <a:prstGeom prst="triangl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98" name="그룹 92"/>
          <p:cNvGrpSpPr/>
          <p:nvPr/>
        </p:nvGrpSpPr>
        <p:grpSpPr>
          <a:xfrm>
            <a:off x="6705745" y="5369163"/>
            <a:ext cx="838695" cy="365837"/>
            <a:chOff x="1489835" y="4231758"/>
            <a:chExt cx="789078" cy="524940"/>
          </a:xfrm>
        </p:grpSpPr>
        <p:cxnSp>
          <p:nvCxnSpPr>
            <p:cNvPr id="199" name="직선 연결선 198"/>
            <p:cNvCxnSpPr/>
            <p:nvPr/>
          </p:nvCxnSpPr>
          <p:spPr bwMode="auto">
            <a:xfrm flipV="1">
              <a:off x="1489835" y="4231758"/>
              <a:ext cx="789078" cy="40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00" name="직선 연결선 199"/>
            <p:cNvCxnSpPr/>
            <p:nvPr/>
          </p:nvCxnSpPr>
          <p:spPr bwMode="auto">
            <a:xfrm flipV="1">
              <a:off x="1489835" y="4756297"/>
              <a:ext cx="789078" cy="401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201" name="직선 연결선 200"/>
          <p:cNvCxnSpPr/>
          <p:nvPr/>
        </p:nvCxnSpPr>
        <p:spPr bwMode="auto">
          <a:xfrm>
            <a:off x="6791007" y="5315848"/>
            <a:ext cx="0" cy="1003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02" name="직선 연결선 201"/>
          <p:cNvCxnSpPr/>
          <p:nvPr/>
        </p:nvCxnSpPr>
        <p:spPr bwMode="auto">
          <a:xfrm>
            <a:off x="6791007" y="5683381"/>
            <a:ext cx="0" cy="1003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03" name="이등변 삼각형 202"/>
          <p:cNvSpPr/>
          <p:nvPr/>
        </p:nvSpPr>
        <p:spPr bwMode="auto">
          <a:xfrm rot="16200000" flipH="1">
            <a:off x="7386411" y="5659060"/>
            <a:ext cx="135698" cy="153111"/>
          </a:xfrm>
          <a:prstGeom prst="triangl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6583007" y="5224567"/>
            <a:ext cx="1012263" cy="719366"/>
          </a:xfrm>
          <a:prstGeom prst="rect">
            <a:avLst/>
          </a:prstGeom>
          <a:solidFill>
            <a:srgbClr val="CC3300">
              <a:alpha val="8000"/>
            </a:srgbClr>
          </a:solidFill>
          <a:ln w="222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6667744" y="5185179"/>
            <a:ext cx="80553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lang="ko-KR" altLang="en-US" sz="11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련 원장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관리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9" name="직사각형 208"/>
          <p:cNvSpPr/>
          <p:nvPr/>
        </p:nvSpPr>
        <p:spPr bwMode="gray">
          <a:xfrm>
            <a:off x="5323201" y="4920025"/>
            <a:ext cx="4058291" cy="250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미수원장 구조</a:t>
            </a:r>
          </a:p>
        </p:txBody>
      </p:sp>
      <p:sp>
        <p:nvSpPr>
          <p:cNvPr id="215" name="직사각형 214"/>
          <p:cNvSpPr/>
          <p:nvPr/>
        </p:nvSpPr>
        <p:spPr bwMode="gray">
          <a:xfrm>
            <a:off x="5424820" y="5970430"/>
            <a:ext cx="3888432" cy="32619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9250" indent="-171450">
              <a:buSzPct val="90000"/>
              <a:buFont typeface="Wingdings" panose="05000000000000000000" pitchFamily="2" charset="2"/>
              <a:buChar char="§"/>
            </a:pPr>
            <a:r>
              <a:rPr lang="ko-KR" altLang="en-US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건 별 미수 원장 관리를 통한 업무 연계 및 </a:t>
            </a:r>
            <a:r>
              <a:rPr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청구</a:t>
            </a:r>
            <a:r>
              <a:rPr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매출 취소 등 비정상 업무 처리 대응력 강화</a:t>
            </a:r>
            <a:endParaRPr lang="en-US" altLang="ko-KR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16" name="모서리가 둥근 직사각형 215"/>
          <p:cNvSpPr/>
          <p:nvPr/>
        </p:nvSpPr>
        <p:spPr bwMode="auto">
          <a:xfrm>
            <a:off x="2216696" y="3713348"/>
            <a:ext cx="759040" cy="25091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tch</a:t>
            </a:r>
            <a:endParaRPr kumimoji="1" lang="en-US" altLang="ko-K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7" name="모서리가 둥근 직사각형 216"/>
          <p:cNvSpPr/>
          <p:nvPr/>
        </p:nvSpPr>
        <p:spPr bwMode="auto">
          <a:xfrm>
            <a:off x="2216696" y="4158929"/>
            <a:ext cx="759040" cy="25091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처리</a:t>
            </a:r>
            <a:endParaRPr kumimoji="1" lang="en-US" altLang="ko-K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8" name="직선 화살표 연결선 217"/>
          <p:cNvCxnSpPr>
            <a:stCxn id="173" idx="3"/>
            <a:endCxn id="216" idx="1"/>
          </p:cNvCxnSpPr>
          <p:nvPr/>
        </p:nvCxnSpPr>
        <p:spPr>
          <a:xfrm flipV="1">
            <a:off x="1837907" y="3838806"/>
            <a:ext cx="378789" cy="480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직선 화살표 연결선 218"/>
          <p:cNvCxnSpPr>
            <a:stCxn id="174" idx="3"/>
            <a:endCxn id="217" idx="1"/>
          </p:cNvCxnSpPr>
          <p:nvPr/>
        </p:nvCxnSpPr>
        <p:spPr>
          <a:xfrm flipV="1">
            <a:off x="1713687" y="4284387"/>
            <a:ext cx="503009" cy="2026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꺾인 연결선 219"/>
          <p:cNvCxnSpPr>
            <a:stCxn id="216" idx="3"/>
            <a:endCxn id="175" idx="2"/>
          </p:cNvCxnSpPr>
          <p:nvPr/>
        </p:nvCxnSpPr>
        <p:spPr bwMode="auto">
          <a:xfrm>
            <a:off x="2975736" y="3838806"/>
            <a:ext cx="223112" cy="22421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1" name="꺾인 연결선 220"/>
          <p:cNvCxnSpPr>
            <a:stCxn id="217" idx="3"/>
            <a:endCxn id="175" idx="2"/>
          </p:cNvCxnSpPr>
          <p:nvPr/>
        </p:nvCxnSpPr>
        <p:spPr bwMode="auto">
          <a:xfrm flipV="1">
            <a:off x="2975736" y="4063018"/>
            <a:ext cx="223112" cy="2213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0" name="이등변 삼각형 89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0" name="그룹 7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5" name="그룹 10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7133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3"/>
          <p:cNvGrpSpPr/>
          <p:nvPr/>
        </p:nvGrpSpPr>
        <p:grpSpPr>
          <a:xfrm>
            <a:off x="272480" y="2060848"/>
            <a:ext cx="9360470" cy="2656396"/>
            <a:chOff x="272480" y="1708010"/>
            <a:chExt cx="9360470" cy="3009234"/>
          </a:xfrm>
        </p:grpSpPr>
        <p:sp>
          <p:nvSpPr>
            <p:cNvPr id="103" name="직사각형 102"/>
            <p:cNvSpPr/>
            <p:nvPr/>
          </p:nvSpPr>
          <p:spPr bwMode="auto">
            <a:xfrm>
              <a:off x="272480" y="1708010"/>
              <a:ext cx="9360470" cy="3009234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54000" rIns="18000" bIns="5400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345440" y="1799656"/>
              <a:ext cx="1439207" cy="2917587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은행 입금파일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AutoShape 73"/>
            <p:cNvSpPr>
              <a:spLocks noChangeArrowheads="1"/>
            </p:cNvSpPr>
            <p:nvPr/>
          </p:nvSpPr>
          <p:spPr bwMode="auto">
            <a:xfrm>
              <a:off x="489456" y="2701207"/>
              <a:ext cx="858177" cy="682625"/>
            </a:xfrm>
            <a:prstGeom prst="flowChartMultidocument">
              <a:avLst/>
            </a:prstGeom>
            <a:solidFill>
              <a:srgbClr val="FFFFFF"/>
            </a:solidFill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자동이체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60512" y="4031904"/>
              <a:ext cx="720080" cy="57606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ealTim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업무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2" name="꺾인 연결선 111"/>
            <p:cNvCxnSpPr>
              <a:stCxn id="110" idx="3"/>
              <a:endCxn id="121" idx="2"/>
            </p:cNvCxnSpPr>
            <p:nvPr/>
          </p:nvCxnSpPr>
          <p:spPr bwMode="auto">
            <a:xfrm>
              <a:off x="1347633" y="3042520"/>
              <a:ext cx="579025" cy="860880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13" name="TextBox 112"/>
            <p:cNvSpPr txBox="1"/>
            <p:nvPr/>
          </p:nvSpPr>
          <p:spPr>
            <a:xfrm>
              <a:off x="1854650" y="1799656"/>
              <a:ext cx="3803695" cy="1152128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4" name="TextBox 42"/>
            <p:cNvSpPr txBox="1">
              <a:spLocks noChangeArrowheads="1"/>
            </p:cNvSpPr>
            <p:nvPr/>
          </p:nvSpPr>
          <p:spPr bwMode="auto">
            <a:xfrm>
              <a:off x="1925756" y="1871664"/>
              <a:ext cx="259233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회차 별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매출확정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85938" y="2531232"/>
              <a:ext cx="648072" cy="324036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513743" y="2381847"/>
              <a:ext cx="648072" cy="47417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2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3066057" y="2207955"/>
              <a:ext cx="648072" cy="64807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3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8" name="직선 연결선 117"/>
            <p:cNvCxnSpPr>
              <a:stCxn id="117" idx="3"/>
              <a:endCxn id="119" idx="1"/>
            </p:cNvCxnSpPr>
            <p:nvPr/>
          </p:nvCxnSpPr>
          <p:spPr bwMode="auto">
            <a:xfrm flipV="1">
              <a:off x="3714129" y="2387785"/>
              <a:ext cx="918340" cy="144206"/>
            </a:xfrm>
            <a:prstGeom prst="line">
              <a:avLst/>
            </a:prstGeom>
            <a:noFill/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9" name="TextBox 118"/>
            <p:cNvSpPr txBox="1"/>
            <p:nvPr/>
          </p:nvSpPr>
          <p:spPr>
            <a:xfrm>
              <a:off x="4632469" y="1919543"/>
              <a:ext cx="809852" cy="936483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N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854650" y="3178840"/>
              <a:ext cx="4898550" cy="153215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     미수정산</a:t>
              </a: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1" name="순서도: 자기 디스크 120"/>
            <p:cNvSpPr/>
            <p:nvPr/>
          </p:nvSpPr>
          <p:spPr bwMode="auto">
            <a:xfrm>
              <a:off x="1926658" y="3239816"/>
              <a:ext cx="1295266" cy="1327168"/>
            </a:xfrm>
            <a:prstGeom prst="flowChartMagneticDisk">
              <a:avLst/>
            </a:prstGeom>
            <a:solidFill>
              <a:srgbClr val="808080">
                <a:lumMod val="20000"/>
                <a:lumOff val="80000"/>
              </a:srgbClr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36000" tIns="36000" rIns="36000" bIns="3600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매출확정</a:t>
              </a: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입금파일</a:t>
              </a: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미수반영</a:t>
              </a: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5" name="TextBox 124"/>
            <p:cNvSpPr txBox="1">
              <a:spLocks noChangeArrowheads="1"/>
            </p:cNvSpPr>
            <p:nvPr/>
          </p:nvSpPr>
          <p:spPr bwMode="auto">
            <a:xfrm>
              <a:off x="5239026" y="3815881"/>
              <a:ext cx="1442166" cy="523221"/>
            </a:xfrm>
            <a:prstGeom prst="rect">
              <a:avLst/>
            </a:prstGeom>
            <a:pattFill prst="ltDnDiag">
              <a:fgClr>
                <a:srgbClr val="BBE0E3"/>
              </a:fgClr>
              <a:bgClr>
                <a:srgbClr val="FFFFFF"/>
              </a:bgClr>
            </a:patt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별</a:t>
              </a:r>
              <a:r>
                <a:rPr kumimoji="1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차별</a:t>
              </a:r>
              <a:endPara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선 스케줄 생성</a:t>
              </a:r>
            </a:p>
          </p:txBody>
        </p:sp>
        <p:cxnSp>
          <p:nvCxnSpPr>
            <p:cNvPr id="126" name="꺾인 연결선 125"/>
            <p:cNvCxnSpPr>
              <a:endCxn id="121" idx="1"/>
            </p:cNvCxnSpPr>
            <p:nvPr/>
          </p:nvCxnSpPr>
          <p:spPr bwMode="auto">
            <a:xfrm rot="16200000" flipH="1">
              <a:off x="2202216" y="2867741"/>
              <a:ext cx="384548" cy="35960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27" name="꺾인 연결선 126"/>
            <p:cNvCxnSpPr>
              <a:stCxn id="116" idx="2"/>
              <a:endCxn id="121" idx="1"/>
            </p:cNvCxnSpPr>
            <p:nvPr/>
          </p:nvCxnSpPr>
          <p:spPr bwMode="auto">
            <a:xfrm rot="5400000">
              <a:off x="2514140" y="2916177"/>
              <a:ext cx="383790" cy="263488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28" name="꺾인 연결선 127"/>
            <p:cNvCxnSpPr>
              <a:stCxn id="117" idx="2"/>
              <a:endCxn id="121" idx="1"/>
            </p:cNvCxnSpPr>
            <p:nvPr/>
          </p:nvCxnSpPr>
          <p:spPr bwMode="auto">
            <a:xfrm rot="5400000">
              <a:off x="2790298" y="2640020"/>
              <a:ext cx="383789" cy="81580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29" name="꺾인 연결선 128"/>
            <p:cNvCxnSpPr>
              <a:stCxn id="119" idx="2"/>
              <a:endCxn id="121" idx="1"/>
            </p:cNvCxnSpPr>
            <p:nvPr/>
          </p:nvCxnSpPr>
          <p:spPr bwMode="auto">
            <a:xfrm rot="5400000">
              <a:off x="3613948" y="1816369"/>
              <a:ext cx="383790" cy="2463104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30" name="TextBox 129"/>
            <p:cNvSpPr txBox="1">
              <a:spLocks noChangeArrowheads="1"/>
            </p:cNvSpPr>
            <p:nvPr/>
          </p:nvSpPr>
          <p:spPr bwMode="auto">
            <a:xfrm>
              <a:off x="344488" y="3426223"/>
              <a:ext cx="137621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접수파일 </a:t>
              </a:r>
              <a:endPara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실시간 처리</a:t>
              </a:r>
              <a:endPara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31" name="꺾인 연결선 130"/>
            <p:cNvCxnSpPr>
              <a:stCxn id="111" idx="3"/>
              <a:endCxn id="121" idx="2"/>
            </p:cNvCxnSpPr>
            <p:nvPr/>
          </p:nvCxnSpPr>
          <p:spPr bwMode="auto">
            <a:xfrm flipV="1">
              <a:off x="1280592" y="3903400"/>
              <a:ext cx="646066" cy="41653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32" name="그룹 131"/>
            <p:cNvGrpSpPr/>
            <p:nvPr/>
          </p:nvGrpSpPr>
          <p:grpSpPr>
            <a:xfrm>
              <a:off x="2936776" y="3441031"/>
              <a:ext cx="574017" cy="950913"/>
              <a:chOff x="7833320" y="1965091"/>
              <a:chExt cx="763052" cy="1247885"/>
            </a:xfrm>
            <a:solidFill>
              <a:srgbClr val="FF0000"/>
            </a:solidFill>
          </p:grpSpPr>
          <p:sp>
            <p:nvSpPr>
              <p:cNvPr id="133" name="오른쪽으로 구부러진 화살표 132"/>
              <p:cNvSpPr/>
              <p:nvPr/>
            </p:nvSpPr>
            <p:spPr>
              <a:xfrm rot="5400000">
                <a:off x="7870951" y="1927460"/>
                <a:ext cx="615782" cy="691044"/>
              </a:xfrm>
              <a:prstGeom prst="curvedRightArrow">
                <a:avLst/>
              </a:prstGeom>
              <a:grpFill/>
            </p:spPr>
            <p:txBody>
              <a:bodyPr wrap="square" rtlCol="0" anchor="ctr">
                <a:spAutoFit/>
              </a:bodyPr>
              <a:lstStyle/>
              <a:p>
                <a:pPr marL="171450" indent="-171450" algn="ctr" latinLnBrk="0">
                  <a:buFont typeface="Arial" pitchFamily="34" charset="0"/>
                  <a:buChar char="•"/>
                </a:pPr>
                <a:endParaRPr kumimoji="1"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4" name="오른쪽으로 구부러진 화살표 133"/>
              <p:cNvSpPr/>
              <p:nvPr/>
            </p:nvSpPr>
            <p:spPr>
              <a:xfrm rot="16200000">
                <a:off x="7942959" y="2559563"/>
                <a:ext cx="615782" cy="691044"/>
              </a:xfrm>
              <a:prstGeom prst="curvedRightArrow">
                <a:avLst/>
              </a:prstGeom>
              <a:grpFill/>
            </p:spPr>
            <p:txBody>
              <a:bodyPr wrap="square" rtlCol="0" anchor="ctr">
                <a:spAutoFit/>
              </a:bodyPr>
              <a:lstStyle/>
              <a:p>
                <a:pPr marL="171450" indent="-171450" algn="ctr" latinLnBrk="0">
                  <a:buFont typeface="Arial" pitchFamily="34" charset="0"/>
                  <a:buChar char="•"/>
                </a:pPr>
                <a:endParaRPr kumimoji="1"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135" name="TextBox 134"/>
            <p:cNvSpPr txBox="1">
              <a:spLocks noChangeArrowheads="1"/>
            </p:cNvSpPr>
            <p:nvPr/>
          </p:nvSpPr>
          <p:spPr bwMode="auto">
            <a:xfrm>
              <a:off x="3150794" y="3178841"/>
              <a:ext cx="129815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kumimoji="1"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oll Back</a:t>
              </a:r>
              <a:endPara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6249143" y="1943672"/>
              <a:ext cx="1440161" cy="100811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채권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7977336" y="1943672"/>
              <a:ext cx="1440161" cy="100811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FRS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7977336" y="3239816"/>
              <a:ext cx="1440161" cy="1008112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채널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인터넷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 ARS)</a:t>
              </a:r>
            </a:p>
          </p:txBody>
        </p:sp>
        <p:cxnSp>
          <p:nvCxnSpPr>
            <p:cNvPr id="171" name="꺾인 연결선 170"/>
            <p:cNvCxnSpPr>
              <a:stCxn id="125" idx="0"/>
              <a:endCxn id="136" idx="2"/>
            </p:cNvCxnSpPr>
            <p:nvPr/>
          </p:nvCxnSpPr>
          <p:spPr bwMode="auto">
            <a:xfrm rot="5400000" flipH="1" flipV="1">
              <a:off x="6032618" y="2879275"/>
              <a:ext cx="864097" cy="100911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72" name="꺾인 연결선 171"/>
            <p:cNvCxnSpPr>
              <a:stCxn id="125" idx="0"/>
              <a:endCxn id="137" idx="2"/>
            </p:cNvCxnSpPr>
            <p:nvPr/>
          </p:nvCxnSpPr>
          <p:spPr bwMode="auto">
            <a:xfrm rot="5400000" flipH="1" flipV="1">
              <a:off x="6896715" y="2015178"/>
              <a:ext cx="864097" cy="2737308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73" name="꺾인 연결선 172"/>
            <p:cNvCxnSpPr>
              <a:stCxn id="125" idx="0"/>
              <a:endCxn id="138" idx="1"/>
            </p:cNvCxnSpPr>
            <p:nvPr/>
          </p:nvCxnSpPr>
          <p:spPr bwMode="auto">
            <a:xfrm rot="5400000" flipH="1" flipV="1">
              <a:off x="6932718" y="2771264"/>
              <a:ext cx="72008" cy="2017227"/>
            </a:xfrm>
            <a:prstGeom prst="bentConnector2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74" name="원호 173"/>
            <p:cNvSpPr/>
            <p:nvPr/>
          </p:nvSpPr>
          <p:spPr bwMode="auto">
            <a:xfrm rot="8399260">
              <a:off x="6695056" y="3185116"/>
              <a:ext cx="1792017" cy="1082771"/>
            </a:xfrm>
            <a:prstGeom prst="arc">
              <a:avLst>
                <a:gd name="adj1" fmla="val 16200000"/>
                <a:gd name="adj2" fmla="val 665161"/>
              </a:avLst>
            </a:prstGeom>
            <a:noFill/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윤명조220" pitchFamily="18" charset="-127"/>
                <a:ea typeface="-윤명조220" pitchFamily="18" charset="-127"/>
              </a:endParaRPr>
            </a:p>
          </p:txBody>
        </p:sp>
        <p:sp>
          <p:nvSpPr>
            <p:cNvPr id="175" name="TextBox 58"/>
            <p:cNvSpPr>
              <a:spLocks noChangeArrowheads="1"/>
            </p:cNvSpPr>
            <p:nvPr/>
          </p:nvSpPr>
          <p:spPr bwMode="auto">
            <a:xfrm>
              <a:off x="5667814" y="3649047"/>
              <a:ext cx="165100" cy="187325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76" name="Oval 9"/>
            <p:cNvSpPr>
              <a:spLocks noChangeArrowheads="1"/>
            </p:cNvSpPr>
            <p:nvPr/>
          </p:nvSpPr>
          <p:spPr bwMode="auto">
            <a:xfrm>
              <a:off x="1412032" y="3383832"/>
              <a:ext cx="228600" cy="2286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lIns="18000" tIns="18000" rIns="18000" bIns="1800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itchFamily="34" charset="0"/>
                  <a:ea typeface="-윤명조220" pitchFamily="18" charset="-127"/>
                </a:rPr>
                <a:t>1</a:t>
              </a:r>
            </a:p>
          </p:txBody>
        </p:sp>
        <p:sp>
          <p:nvSpPr>
            <p:cNvPr id="177" name="Oval 9"/>
            <p:cNvSpPr>
              <a:spLocks noChangeArrowheads="1"/>
            </p:cNvSpPr>
            <p:nvPr/>
          </p:nvSpPr>
          <p:spPr bwMode="auto">
            <a:xfrm>
              <a:off x="1928664" y="3671864"/>
              <a:ext cx="228600" cy="2286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lIns="18000" tIns="18000" rIns="18000" bIns="1800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itchFamily="34" charset="0"/>
                  <a:ea typeface="-윤명조220" pitchFamily="18" charset="-127"/>
                </a:rPr>
                <a:t>2</a:t>
              </a:r>
            </a:p>
          </p:txBody>
        </p:sp>
        <p:sp>
          <p:nvSpPr>
            <p:cNvPr id="178" name="Oval 9"/>
            <p:cNvSpPr>
              <a:spLocks noChangeArrowheads="1"/>
            </p:cNvSpPr>
            <p:nvPr/>
          </p:nvSpPr>
          <p:spPr bwMode="auto">
            <a:xfrm>
              <a:off x="2996208" y="3155232"/>
              <a:ext cx="228600" cy="2286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lIns="18000" tIns="18000" rIns="18000" bIns="1800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itchFamily="34" charset="0"/>
                  <a:ea typeface="-윤명조220" pitchFamily="18" charset="-127"/>
                </a:rPr>
                <a:t>3</a:t>
              </a:r>
            </a:p>
          </p:txBody>
        </p:sp>
        <p:sp>
          <p:nvSpPr>
            <p:cNvPr id="179" name="Oval 9"/>
            <p:cNvSpPr>
              <a:spLocks noChangeArrowheads="1"/>
            </p:cNvSpPr>
            <p:nvPr/>
          </p:nvSpPr>
          <p:spPr bwMode="auto">
            <a:xfrm>
              <a:off x="4880992" y="3671864"/>
              <a:ext cx="228600" cy="2286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lIns="18000" tIns="18000" rIns="18000" bIns="1800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itchFamily="34" charset="0"/>
                  <a:ea typeface="-윤명조220" pitchFamily="18" charset="-127"/>
                </a:rPr>
                <a:t>4</a:t>
              </a: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기반 미수원장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98552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수 항목에 대한 실시간 입금 정산 자동화와 오류 발생 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oll-Back Process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 필요 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체 스케줄에 대한 실시간 처리 자동화를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려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104" name="표 103"/>
          <p:cNvGraphicFramePr>
            <a:graphicFrameLocks noGrp="1"/>
          </p:cNvGraphicFramePr>
          <p:nvPr>
            <p:extLst/>
          </p:nvPr>
        </p:nvGraphicFramePr>
        <p:xfrm>
          <a:off x="278830" y="4784556"/>
          <a:ext cx="9354690" cy="1554480"/>
        </p:xfrm>
        <a:graphic>
          <a:graphicData uri="http://schemas.openxmlformats.org/drawingml/2006/table">
            <a:tbl>
              <a:tblPr firstRow="1" bandRow="1"/>
              <a:tblGrid>
                <a:gridCol w="425698"/>
                <a:gridCol w="8928992"/>
              </a:tblGrid>
              <a:tr h="2380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기능요구사항정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80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은행입금파일 접수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업무계 실시간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I/F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및 실시간 미수정산 반영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기능 구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80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매출의 경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현업 확정 혹은 자동확정 이벤트 발생 후 매출미수정산 실행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입금파일의 경우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실시간 미수정산 실행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80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미수정산 오류처리에 한해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Roll Back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기능 구현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(* Real Tim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업무에 대해 수정반영기능구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49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실시간 미수정산에 따른 상품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회차별 선 스케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이자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연체료 등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 생성 기능 구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(*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정보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채널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채권 등에서 이용하므로 현재와 동일한 정보를 생성하여야 함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5" name="Oval 9"/>
          <p:cNvSpPr>
            <a:spLocks noChangeArrowheads="1"/>
          </p:cNvSpPr>
          <p:nvPr/>
        </p:nvSpPr>
        <p:spPr bwMode="auto">
          <a:xfrm>
            <a:off x="375371" y="5097884"/>
            <a:ext cx="207818" cy="207818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1</a:t>
            </a:r>
          </a:p>
        </p:txBody>
      </p:sp>
      <p:sp>
        <p:nvSpPr>
          <p:cNvPr id="106" name="Oval 9"/>
          <p:cNvSpPr>
            <a:spLocks noChangeArrowheads="1"/>
          </p:cNvSpPr>
          <p:nvPr/>
        </p:nvSpPr>
        <p:spPr bwMode="auto">
          <a:xfrm>
            <a:off x="375371" y="5373216"/>
            <a:ext cx="207818" cy="207818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2</a:t>
            </a:r>
          </a:p>
        </p:txBody>
      </p:sp>
      <p:sp>
        <p:nvSpPr>
          <p:cNvPr id="107" name="Oval 9"/>
          <p:cNvSpPr>
            <a:spLocks noChangeArrowheads="1"/>
          </p:cNvSpPr>
          <p:nvPr/>
        </p:nvSpPr>
        <p:spPr bwMode="auto">
          <a:xfrm>
            <a:off x="375371" y="5640040"/>
            <a:ext cx="207818" cy="207818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3</a:t>
            </a:r>
          </a:p>
        </p:txBody>
      </p:sp>
      <p:sp>
        <p:nvSpPr>
          <p:cNvPr id="108" name="Oval 9"/>
          <p:cNvSpPr>
            <a:spLocks noChangeArrowheads="1"/>
          </p:cNvSpPr>
          <p:nvPr/>
        </p:nvSpPr>
        <p:spPr bwMode="auto">
          <a:xfrm>
            <a:off x="375371" y="6012780"/>
            <a:ext cx="207818" cy="207818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4</a:t>
            </a:r>
          </a:p>
        </p:txBody>
      </p:sp>
      <p:graphicFrame>
        <p:nvGraphicFramePr>
          <p:cNvPr id="122" name="표 121"/>
          <p:cNvGraphicFramePr>
            <a:graphicFrameLocks noGrp="1"/>
          </p:cNvGraphicFramePr>
          <p:nvPr>
            <p:extLst/>
          </p:nvPr>
        </p:nvGraphicFramePr>
        <p:xfrm>
          <a:off x="3224808" y="3749744"/>
          <a:ext cx="957215" cy="457200"/>
        </p:xfrm>
        <a:graphic>
          <a:graphicData uri="http://schemas.openxmlformats.org/drawingml/2006/table">
            <a:tbl>
              <a:tblPr firstRow="1" bandRow="1"/>
              <a:tblGrid>
                <a:gridCol w="191443"/>
                <a:gridCol w="19144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3" name="표 122"/>
          <p:cNvGraphicFramePr>
            <a:graphicFrameLocks noGrp="1"/>
          </p:cNvGraphicFramePr>
          <p:nvPr>
            <p:extLst/>
          </p:nvPr>
        </p:nvGraphicFramePr>
        <p:xfrm>
          <a:off x="3633739" y="3893760"/>
          <a:ext cx="957215" cy="457200"/>
        </p:xfrm>
        <a:graphic>
          <a:graphicData uri="http://schemas.openxmlformats.org/drawingml/2006/table">
            <a:tbl>
              <a:tblPr firstRow="1" bandRow="1"/>
              <a:tblGrid>
                <a:gridCol w="167133"/>
                <a:gridCol w="21575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4" name="표 123"/>
          <p:cNvGraphicFramePr>
            <a:graphicFrameLocks noGrp="1"/>
          </p:cNvGraphicFramePr>
          <p:nvPr>
            <p:extLst/>
          </p:nvPr>
        </p:nvGraphicFramePr>
        <p:xfrm>
          <a:off x="4281811" y="4109784"/>
          <a:ext cx="957215" cy="457200"/>
        </p:xfrm>
        <a:graphic>
          <a:graphicData uri="http://schemas.openxmlformats.org/drawingml/2006/table">
            <a:tbl>
              <a:tblPr firstRow="1" bandRow="1"/>
              <a:tblGrid>
                <a:gridCol w="191443"/>
                <a:gridCol w="191443"/>
                <a:gridCol w="191443"/>
                <a:gridCol w="191443"/>
                <a:gridCol w="191443"/>
              </a:tblGrid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>
                        <a:lumMod val="60000"/>
                        <a:lumOff val="40000"/>
                      </a:srgbClr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0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80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81" name="TextBox 18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미수 원장 관리를 위한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미수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low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및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필요 기능 정의 예시</a:t>
              </a:r>
            </a:p>
          </p:txBody>
        </p:sp>
        <p:cxnSp>
          <p:nvCxnSpPr>
            <p:cNvPr id="182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84" name="TextBox 18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8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1" name="그룹 7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2" name="그룹 9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107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실시간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산 기반 미수원장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수 관리 단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볼빙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입금 정산 기준 등 실시간 미수 정산 관리에 따른 업무 기준 변경 및 필요 기능에 대한 정의가 필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60" name="표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664918"/>
              </p:ext>
            </p:extLst>
          </p:nvPr>
        </p:nvGraphicFramePr>
        <p:xfrm>
          <a:off x="278830" y="1916852"/>
          <a:ext cx="9354690" cy="4347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505"/>
                <a:gridCol w="4189020"/>
                <a:gridCol w="3110061"/>
                <a:gridCol w="936104"/>
              </a:tblGrid>
              <a:tr h="27509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영업무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1792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월잔액관리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관리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이월잔액 매출 건 별 상세내역 확인요청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혹은 특정 매출지정입금 요청 처리 불가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월잔액 상세매출 및 입금내역 확인불가로 인한 민원발생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인 및 가족카드 모두 통합 시 가족카드 탈회 불가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족카드 탈회하기 위해 본인 이월잔액까지 완납필요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 건 별 관리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서 이월잔액 표기 요건 및 일정기간 이상 매출 건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관 등에 별도 검토 필요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수정산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84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반영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치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치방식 입금시스템으로 인해 리볼빙 신청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율변경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지에 대해서도 배치방식 처리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수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용일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하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일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일전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접수시에만 당월 결제일 변경 결제방식 적용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볼빙 신청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율변경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지에 대해서도 실시간 적용으로 개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수정산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78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한이익상실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없음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소결제금액 조차 납부하지 못하고 연체되는 경우 타 상품에 비해 연체 발생 시 리스크가 높기 때문에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략적으로 즉각적 기한이익 상실 프로세스 효력발생에 의한 리스크 관리 필요성이 높음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입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한이익 상실 조항에 의거 이월잔액 일시 청구 뿐만 아니라 서비스 해지까지 동시 구현하도록 도입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토 필요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78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소결제비율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등적용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괄 </a:t>
                      </a:r>
                      <a:r>
                        <a:rPr lang="en-US" altLang="ko-KR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 </a:t>
                      </a: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정</a:t>
                      </a:r>
                      <a:endParaRPr lang="ko-KR" altLang="en-US" sz="1100" b="1" u="sng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신용등급에 따른 최소결제비율 차등화</a:t>
                      </a:r>
                      <a:r>
                        <a:rPr lang="en-US" altLang="ko-KR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1" u="sng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감원 개선 요청사항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신용등급에 따른 최소결제비율 변경시점에 대한 요건정의가 마련되어야 최소청구비율에 따른 최소청구금액 산정가능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원장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61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6" name="TextBox 6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미수 원장 관리를 위한 반영 업무 정의 예시</a:t>
              </a:r>
            </a:p>
          </p:txBody>
        </p:sp>
        <p:cxnSp>
          <p:nvCxnSpPr>
            <p:cNvPr id="67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그룹 2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4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7" name="그룹 4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4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354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그룹 96"/>
          <p:cNvGrpSpPr/>
          <p:nvPr/>
        </p:nvGrpSpPr>
        <p:grpSpPr>
          <a:xfrm>
            <a:off x="5197540" y="2928152"/>
            <a:ext cx="4410000" cy="3400360"/>
            <a:chOff x="5197540" y="2928152"/>
            <a:chExt cx="4410000" cy="3400360"/>
          </a:xfrm>
        </p:grpSpPr>
        <p:sp>
          <p:nvSpPr>
            <p:cNvPr id="98" name="Rectangle 30"/>
            <p:cNvSpPr/>
            <p:nvPr/>
          </p:nvSpPr>
          <p:spPr bwMode="gray">
            <a:xfrm>
              <a:off x="5197540" y="3249103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Rectangle 30"/>
            <p:cNvSpPr/>
            <p:nvPr/>
          </p:nvSpPr>
          <p:spPr bwMode="gray">
            <a:xfrm>
              <a:off x="5197540" y="2928152"/>
              <a:ext cx="4410000" cy="3251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선 방향</a:t>
              </a:r>
            </a:p>
          </p:txBody>
        </p:sp>
      </p:grpSp>
      <p:grpSp>
        <p:nvGrpSpPr>
          <p:cNvPr id="100" name="그룹 99"/>
          <p:cNvGrpSpPr/>
          <p:nvPr/>
        </p:nvGrpSpPr>
        <p:grpSpPr>
          <a:xfrm>
            <a:off x="326408" y="2928153"/>
            <a:ext cx="4410000" cy="3381166"/>
            <a:chOff x="326408" y="2928153"/>
            <a:chExt cx="4410000" cy="3381166"/>
          </a:xfrm>
        </p:grpSpPr>
        <p:sp>
          <p:nvSpPr>
            <p:cNvPr id="101" name="Rectangle 30"/>
            <p:cNvSpPr/>
            <p:nvPr/>
          </p:nvSpPr>
          <p:spPr bwMode="gray">
            <a:xfrm>
              <a:off x="326408" y="3229910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1" name="Rectangle 30"/>
            <p:cNvSpPr/>
            <p:nvPr/>
          </p:nvSpPr>
          <p:spPr bwMode="gray">
            <a:xfrm>
              <a:off x="326408" y="2928153"/>
              <a:ext cx="4410000" cy="30175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행 문제점</a:t>
              </a: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 </a:t>
            </a:r>
            <a:r>
              <a:rPr lang="ko-KR" altLang="en-US" dirty="0"/>
              <a:t>   </a:t>
            </a:r>
            <a:r>
              <a:rPr lang="ko-KR" altLang="en-US" dirty="0" smtClean="0"/>
              <a:t>고객 </a:t>
            </a:r>
            <a:r>
              <a:rPr lang="ko-KR" altLang="en-US" dirty="0"/>
              <a:t>편의 중심의 청구</a:t>
            </a:r>
            <a:r>
              <a:rPr lang="en-US" altLang="ko-KR" dirty="0"/>
              <a:t>/</a:t>
            </a:r>
            <a:r>
              <a:rPr lang="ko-KR" altLang="en-US" dirty="0"/>
              <a:t>입금 체계 </a:t>
            </a:r>
            <a:r>
              <a:rPr lang="ko-KR" altLang="en-US" dirty="0" smtClean="0"/>
              <a:t>구축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16425" cy="605126"/>
          </a:xfrm>
        </p:spPr>
        <p:txBody>
          <a:bodyPr/>
          <a:lstStyle/>
          <a:p>
            <a:r>
              <a:rPr lang="ko-KR" altLang="en-US" dirty="0" smtClean="0"/>
              <a:t>청구</a:t>
            </a:r>
            <a:r>
              <a:rPr lang="en-US" altLang="ko-KR" dirty="0" smtClean="0"/>
              <a:t>/</a:t>
            </a:r>
            <a:r>
              <a:rPr lang="ko-KR" altLang="en-US" dirty="0" smtClean="0"/>
              <a:t>입금 업무는 고객이 카드사의 서비스의 수준을 비교</a:t>
            </a:r>
            <a:r>
              <a:rPr lang="en-US" altLang="ko-KR" dirty="0" smtClean="0"/>
              <a:t>/</a:t>
            </a:r>
            <a:r>
              <a:rPr lang="ko-KR" altLang="en-US" dirty="0" smtClean="0"/>
              <a:t>체감하는 영역으로 다양한 요구 사항에 유연하게 대응하면서</a:t>
            </a:r>
            <a:r>
              <a:rPr lang="en-US" altLang="ko-KR" dirty="0" smtClean="0"/>
              <a:t>, </a:t>
            </a:r>
            <a:r>
              <a:rPr lang="ko-KR" altLang="en-US" dirty="0" smtClean="0"/>
              <a:t>업무 본연의 정합성을 유지</a:t>
            </a:r>
            <a:r>
              <a:rPr lang="ko-KR" altLang="en-US" dirty="0"/>
              <a:t>하</a:t>
            </a:r>
            <a:r>
              <a:rPr lang="ko-KR" altLang="en-US" dirty="0" smtClean="0"/>
              <a:t>도록 설계하겠음 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유연한 청구처리를 위한 청구단위의 변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매출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산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청구 작업 간 정합성 대사를 위한 단계별 대사체계 구축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프로세싱 업무 전반의 영향을 고려한   청구 관리 단위 정의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담당 부서의 인력규모를 고려한 단계별 대사 단위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기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자동화 수준 정의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13" name="Rectangle 72"/>
          <p:cNvSpPr>
            <a:spLocks noChangeArrowheads="1"/>
          </p:cNvSpPr>
          <p:nvPr/>
        </p:nvSpPr>
        <p:spPr bwMode="auto">
          <a:xfrm>
            <a:off x="436600" y="5650067"/>
            <a:ext cx="4105681" cy="315942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anchor="ctr">
            <a:no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graphicFrame>
        <p:nvGraphicFramePr>
          <p:cNvPr id="114" name="개체 113"/>
          <p:cNvGraphicFramePr>
            <a:graphicFrameLocks noChangeAspect="1"/>
          </p:cNvGraphicFramePr>
          <p:nvPr>
            <p:extLst/>
          </p:nvPr>
        </p:nvGraphicFramePr>
        <p:xfrm>
          <a:off x="351468" y="3669153"/>
          <a:ext cx="512010" cy="5519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Visio" r:id="rId3" imgW="593525" imgH="774042" progId="Visio.Drawing.11">
                  <p:embed/>
                </p:oleObj>
              </mc:Choice>
              <mc:Fallback>
                <p:oleObj name="Visio" r:id="rId3" imgW="593525" imgH="774042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grayscl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1468" y="3669153"/>
                        <a:ext cx="512010" cy="55193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TextBox 114"/>
          <p:cNvSpPr txBox="1"/>
          <p:nvPr/>
        </p:nvSpPr>
        <p:spPr>
          <a:xfrm>
            <a:off x="296544" y="4163548"/>
            <a:ext cx="479062" cy="1727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모서리가 접힌 도형 115"/>
          <p:cNvSpPr/>
          <p:nvPr/>
        </p:nvSpPr>
        <p:spPr bwMode="auto">
          <a:xfrm>
            <a:off x="922120" y="3649953"/>
            <a:ext cx="1315279" cy="1016390"/>
          </a:xfrm>
          <a:prstGeom prst="foldedCorner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48543" y="3719354"/>
            <a:ext cx="13768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57796" fontAlgn="auto" latinLnBrk="0">
              <a:spcBef>
                <a:spcPts val="0"/>
              </a:spcBef>
              <a:spcAft>
                <a:spcPts val="600"/>
              </a:spcAft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외 </a:t>
            </a:r>
            <a:r>
              <a:rPr lang="ko-KR" altLang="en-US" sz="10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액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확인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957796" fontAlgn="auto" latinLnBrk="0">
              <a:spcBef>
                <a:spcPts val="0"/>
              </a:spcBef>
              <a:spcAft>
                <a:spcPts val="600"/>
              </a:spcAft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론 가상계좌 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 요청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957796" fontAlgn="auto" latinLnBrk="0">
              <a:spcBef>
                <a:spcPts val="0"/>
              </a:spcBef>
              <a:spcAft>
                <a:spcPts val="600"/>
              </a:spcAft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)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일 변경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2627014" y="3616744"/>
            <a:ext cx="1028682" cy="168992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매출전표 매입</a:t>
            </a:r>
          </a:p>
        </p:txBody>
      </p:sp>
      <p:sp>
        <p:nvSpPr>
          <p:cNvPr id="119" name="직사각형 118"/>
          <p:cNvSpPr/>
          <p:nvPr/>
        </p:nvSpPr>
        <p:spPr bwMode="auto">
          <a:xfrm>
            <a:off x="2627014" y="3827713"/>
            <a:ext cx="1028682" cy="178258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미수정산</a:t>
            </a:r>
          </a:p>
        </p:txBody>
      </p:sp>
      <p:sp>
        <p:nvSpPr>
          <p:cNvPr id="120" name="직사각형 119"/>
          <p:cNvSpPr/>
          <p:nvPr/>
        </p:nvSpPr>
        <p:spPr bwMode="auto">
          <a:xfrm>
            <a:off x="2627014" y="4038682"/>
            <a:ext cx="1028682" cy="193581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포인트 정보</a:t>
            </a:r>
          </a:p>
        </p:txBody>
      </p:sp>
      <p:sp>
        <p:nvSpPr>
          <p:cNvPr id="122" name="AutoShape 77"/>
          <p:cNvSpPr>
            <a:spLocks noChangeArrowheads="1"/>
          </p:cNvSpPr>
          <p:nvPr/>
        </p:nvSpPr>
        <p:spPr bwMode="auto">
          <a:xfrm>
            <a:off x="2000672" y="3723083"/>
            <a:ext cx="796252" cy="639980"/>
          </a:xfrm>
          <a:prstGeom prst="star32">
            <a:avLst>
              <a:gd name="adj" fmla="val 40519"/>
            </a:avLst>
          </a:prstGeom>
          <a:solidFill>
            <a:schemeClr val="tx2"/>
          </a:solidFill>
          <a:ln>
            <a:noFill/>
          </a:ln>
        </p:spPr>
        <p:txBody>
          <a:bodyPr wrap="none" lIns="18000" tIns="3600" rIns="18000" bIns="18000" anchor="t" anchorCtr="0"/>
          <a:lstStyle/>
          <a:p>
            <a:pPr marL="0" marR="0" lvl="0" indent="0" algn="ctr" defTabSz="9577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169682" y="3785923"/>
            <a:ext cx="479062" cy="496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</a:t>
            </a:r>
            <a:r>
              <a:rPr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객</a:t>
            </a:r>
            <a:endParaRPr lang="en-US" altLang="ko-KR" sz="100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구</a:t>
            </a:r>
            <a:endParaRPr lang="en-US" altLang="ko-KR" sz="100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응</a:t>
            </a:r>
            <a:endParaRPr lang="en-US" altLang="ko-KR" sz="100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957796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</a:t>
            </a:r>
            <a:r>
              <a:rPr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</a:t>
            </a:r>
            <a:endParaRPr lang="en-US" altLang="ko-KR" sz="10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2628174" y="4452309"/>
            <a:ext cx="1028682" cy="193581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통합청구작업</a:t>
            </a:r>
          </a:p>
        </p:txBody>
      </p:sp>
      <p:cxnSp>
        <p:nvCxnSpPr>
          <p:cNvPr id="126" name="직선 화살표 연결선 125"/>
          <p:cNvCxnSpPr/>
          <p:nvPr/>
        </p:nvCxnSpPr>
        <p:spPr bwMode="auto">
          <a:xfrm>
            <a:off x="717326" y="4187722"/>
            <a:ext cx="226861" cy="225332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27" name="직선 연결선 126"/>
          <p:cNvCxnSpPr/>
          <p:nvPr/>
        </p:nvCxnSpPr>
        <p:spPr bwMode="auto">
          <a:xfrm flipV="1">
            <a:off x="743118" y="3722231"/>
            <a:ext cx="218061" cy="132216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128" name="아래쪽 화살표 127"/>
          <p:cNvSpPr/>
          <p:nvPr/>
        </p:nvSpPr>
        <p:spPr bwMode="auto">
          <a:xfrm>
            <a:off x="2576736" y="4260389"/>
            <a:ext cx="1055661" cy="19192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gray">
          <a:xfrm>
            <a:off x="371279" y="3313641"/>
            <a:ext cx="4320258" cy="2525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입금 대고객 서비스의 한계</a:t>
            </a:r>
          </a:p>
        </p:txBody>
      </p:sp>
      <p:sp>
        <p:nvSpPr>
          <p:cNvPr id="141" name="직사각형 140"/>
          <p:cNvSpPr/>
          <p:nvPr/>
        </p:nvSpPr>
        <p:spPr bwMode="gray">
          <a:xfrm>
            <a:off x="371279" y="4753485"/>
            <a:ext cx="4320258" cy="2525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정합성 대사를 위한 관리 체계 부족</a:t>
            </a:r>
          </a:p>
        </p:txBody>
      </p:sp>
      <p:sp>
        <p:nvSpPr>
          <p:cNvPr id="143" name="AutoShape 102"/>
          <p:cNvSpPr>
            <a:spLocks/>
          </p:cNvSpPr>
          <p:nvPr/>
        </p:nvSpPr>
        <p:spPr bwMode="auto">
          <a:xfrm rot="16200000">
            <a:off x="2905620" y="3849597"/>
            <a:ext cx="66908" cy="3206415"/>
          </a:xfrm>
          <a:prstGeom prst="leftBracket">
            <a:avLst>
              <a:gd name="adj" fmla="val 108525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44" name="AutoShape 112"/>
          <p:cNvSpPr>
            <a:spLocks noChangeArrowheads="1"/>
          </p:cNvSpPr>
          <p:nvPr/>
        </p:nvSpPr>
        <p:spPr bwMode="auto">
          <a:xfrm>
            <a:off x="490024" y="5114735"/>
            <a:ext cx="781883" cy="3177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577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표접수</a:t>
            </a:r>
          </a:p>
        </p:txBody>
      </p:sp>
      <p:sp>
        <p:nvSpPr>
          <p:cNvPr id="145" name="Rectangle 116"/>
          <p:cNvSpPr>
            <a:spLocks noChangeArrowheads="1"/>
          </p:cNvSpPr>
          <p:nvPr/>
        </p:nvSpPr>
        <p:spPr bwMode="auto">
          <a:xfrm>
            <a:off x="1350191" y="5051872"/>
            <a:ext cx="795116" cy="434387"/>
          </a:xfrm>
          <a:prstGeom prst="notchedRightArrow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매출확정</a:t>
            </a:r>
            <a:endParaRPr kumimoji="1" lang="en-US" altLang="ko-KR" sz="1000" kern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46" name="Rectangle 117"/>
          <p:cNvSpPr>
            <a:spLocks noChangeArrowheads="1"/>
          </p:cNvSpPr>
          <p:nvPr/>
        </p:nvSpPr>
        <p:spPr bwMode="auto">
          <a:xfrm>
            <a:off x="2093062" y="5051872"/>
            <a:ext cx="795116" cy="434387"/>
          </a:xfrm>
          <a:prstGeom prst="notchedRightArrow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수정산</a:t>
            </a:r>
            <a:endParaRPr kumimoji="1"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7" name="Rectangle 118"/>
          <p:cNvSpPr>
            <a:spLocks noChangeArrowheads="1"/>
          </p:cNvSpPr>
          <p:nvPr/>
        </p:nvSpPr>
        <p:spPr bwMode="auto">
          <a:xfrm>
            <a:off x="2835935" y="5051872"/>
            <a:ext cx="795116" cy="434387"/>
          </a:xfrm>
          <a:prstGeom prst="notchedRightArrow">
            <a:avLst>
              <a:gd name="adj1" fmla="val 50000"/>
              <a:gd name="adj2" fmla="val 54290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작업</a:t>
            </a:r>
            <a:endParaRPr kumimoji="1"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8" name="AutoShape 143"/>
          <p:cNvSpPr>
            <a:spLocks noChangeArrowheads="1"/>
          </p:cNvSpPr>
          <p:nvPr/>
        </p:nvSpPr>
        <p:spPr bwMode="auto">
          <a:xfrm>
            <a:off x="3642765" y="5120211"/>
            <a:ext cx="781883" cy="3177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headEnd/>
            <a:tailEnd/>
          </a:ln>
          <a:effectLst/>
        </p:spPr>
        <p:txBody>
          <a:bodyPr anchor="ctr"/>
          <a:lstStyle/>
          <a:p>
            <a:pPr marL="0" marR="0" lvl="0" indent="0" defTabSz="9577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청구정보</a:t>
            </a:r>
          </a:p>
        </p:txBody>
      </p:sp>
      <p:sp>
        <p:nvSpPr>
          <p:cNvPr id="149" name="Text Box 149"/>
          <p:cNvSpPr txBox="1">
            <a:spLocks noChangeArrowheads="1"/>
          </p:cNvSpPr>
          <p:nvPr/>
        </p:nvSpPr>
        <p:spPr bwMode="auto">
          <a:xfrm>
            <a:off x="1843043" y="5511312"/>
            <a:ext cx="626680" cy="1079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3500" tIns="0" rIns="0" bIns="0">
            <a:spAutoFit/>
          </a:bodyPr>
          <a:lstStyle/>
          <a:p>
            <a:pPr defTabSz="957263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처리정보</a:t>
            </a:r>
            <a:endParaRPr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50" name="구부러진 연결선 159"/>
          <p:cNvCxnSpPr>
            <a:stCxn id="143" idx="1"/>
            <a:endCxn id="113" idx="0"/>
          </p:cNvCxnSpPr>
          <p:nvPr/>
        </p:nvCxnSpPr>
        <p:spPr>
          <a:xfrm rot="5400000">
            <a:off x="2632354" y="5343347"/>
            <a:ext cx="163809" cy="449634"/>
          </a:xfrm>
          <a:prstGeom prst="curvedConnector5">
            <a:avLst>
              <a:gd name="adj1" fmla="val 97912"/>
              <a:gd name="adj2" fmla="val 47766"/>
              <a:gd name="adj3" fmla="val 2088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oval"/>
            <a:tailEnd type="oval"/>
          </a:ln>
          <a:effectLst/>
        </p:spPr>
      </p:cxnSp>
      <p:sp>
        <p:nvSpPr>
          <p:cNvPr id="151" name="AutoShape 73"/>
          <p:cNvSpPr>
            <a:spLocks noChangeArrowheads="1"/>
          </p:cNvSpPr>
          <p:nvPr/>
        </p:nvSpPr>
        <p:spPr bwMode="auto">
          <a:xfrm>
            <a:off x="677143" y="5677481"/>
            <a:ext cx="291347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52" name="Rectangle 78"/>
          <p:cNvSpPr>
            <a:spLocks noChangeArrowheads="1"/>
          </p:cNvSpPr>
          <p:nvPr/>
        </p:nvSpPr>
        <p:spPr bwMode="auto">
          <a:xfrm>
            <a:off x="1128816" y="5736358"/>
            <a:ext cx="754429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매출원장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53" name="AutoShape 79"/>
          <p:cNvCxnSpPr>
            <a:cxnSpLocks noChangeShapeType="1"/>
            <a:stCxn id="151" idx="4"/>
            <a:endCxn id="152" idx="1"/>
          </p:cNvCxnSpPr>
          <p:nvPr/>
        </p:nvCxnSpPr>
        <p:spPr bwMode="auto">
          <a:xfrm>
            <a:off x="968490" y="5809114"/>
            <a:ext cx="160326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sp>
        <p:nvSpPr>
          <p:cNvPr id="154" name="AutoShape 73"/>
          <p:cNvSpPr>
            <a:spLocks noChangeArrowheads="1"/>
          </p:cNvSpPr>
          <p:nvPr/>
        </p:nvSpPr>
        <p:spPr bwMode="auto">
          <a:xfrm>
            <a:off x="2045591" y="5677481"/>
            <a:ext cx="291347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55" name="Rectangle 78"/>
          <p:cNvSpPr>
            <a:spLocks noChangeArrowheads="1"/>
          </p:cNvSpPr>
          <p:nvPr/>
        </p:nvSpPr>
        <p:spPr bwMode="auto">
          <a:xfrm>
            <a:off x="2497264" y="5736358"/>
            <a:ext cx="754429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미수원장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56" name="AutoShape 79"/>
          <p:cNvCxnSpPr>
            <a:cxnSpLocks noChangeShapeType="1"/>
            <a:stCxn id="154" idx="4"/>
            <a:endCxn id="155" idx="1"/>
          </p:cNvCxnSpPr>
          <p:nvPr/>
        </p:nvCxnSpPr>
        <p:spPr bwMode="auto">
          <a:xfrm>
            <a:off x="2336938" y="5809114"/>
            <a:ext cx="160326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sp>
        <p:nvSpPr>
          <p:cNvPr id="157" name="AutoShape 73"/>
          <p:cNvSpPr>
            <a:spLocks noChangeArrowheads="1"/>
          </p:cNvSpPr>
          <p:nvPr/>
        </p:nvSpPr>
        <p:spPr bwMode="auto">
          <a:xfrm>
            <a:off x="3296742" y="5677481"/>
            <a:ext cx="291347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58" name="Rectangle 78"/>
          <p:cNvSpPr>
            <a:spLocks noChangeArrowheads="1"/>
          </p:cNvSpPr>
          <p:nvPr/>
        </p:nvSpPr>
        <p:spPr bwMode="auto">
          <a:xfrm>
            <a:off x="3748416" y="5736358"/>
            <a:ext cx="754429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청구파일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59" name="AutoShape 79"/>
          <p:cNvCxnSpPr>
            <a:cxnSpLocks noChangeShapeType="1"/>
            <a:stCxn id="157" idx="4"/>
            <a:endCxn id="158" idx="1"/>
          </p:cNvCxnSpPr>
          <p:nvPr/>
        </p:nvCxnSpPr>
        <p:spPr bwMode="auto">
          <a:xfrm>
            <a:off x="3588089" y="5809114"/>
            <a:ext cx="160326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sp>
        <p:nvSpPr>
          <p:cNvPr id="180" name="직사각형 179"/>
          <p:cNvSpPr/>
          <p:nvPr/>
        </p:nvSpPr>
        <p:spPr bwMode="gray">
          <a:xfrm>
            <a:off x="397503" y="6041791"/>
            <a:ext cx="4222638" cy="251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15913" marR="0" lvl="0" indent="-1381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단계별 원장간 대사 체계 부재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5358833" y="3621807"/>
            <a:ext cx="1098560" cy="1031329"/>
            <a:chOff x="5358833" y="3642005"/>
            <a:chExt cx="1098560" cy="774853"/>
          </a:xfrm>
          <a:solidFill>
            <a:schemeClr val="bg1">
              <a:lumMod val="95000"/>
            </a:schemeClr>
          </a:solidFill>
        </p:grpSpPr>
        <p:sp>
          <p:nvSpPr>
            <p:cNvPr id="129" name="직사각형 128"/>
            <p:cNvSpPr/>
            <p:nvPr/>
          </p:nvSpPr>
          <p:spPr bwMode="auto">
            <a:xfrm>
              <a:off x="5358833" y="3642005"/>
              <a:ext cx="1098560" cy="232905"/>
            </a:xfrm>
            <a:prstGeom prst="rect">
              <a:avLst/>
            </a:prstGeom>
            <a:grp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매출 전표 매입</a:t>
              </a: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5358833" y="3912979"/>
              <a:ext cx="1098560" cy="232905"/>
            </a:xfrm>
            <a:prstGeom prst="rect">
              <a:avLst/>
            </a:prstGeom>
            <a:grp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       미수정산</a:t>
              </a: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5358833" y="4183953"/>
              <a:ext cx="1098560" cy="232905"/>
            </a:xfrm>
            <a:prstGeom prst="rect">
              <a:avLst/>
            </a:prstGeom>
            <a:grp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시간 포인트정보</a:t>
              </a:r>
            </a:p>
          </p:txBody>
        </p:sp>
      </p:grpSp>
      <p:cxnSp>
        <p:nvCxnSpPr>
          <p:cNvPr id="132" name="구부러진 연결선 131"/>
          <p:cNvCxnSpPr>
            <a:stCxn id="129" idx="3"/>
            <a:endCxn id="130" idx="3"/>
          </p:cNvCxnSpPr>
          <p:nvPr/>
        </p:nvCxnSpPr>
        <p:spPr bwMode="auto">
          <a:xfrm>
            <a:off x="6457393" y="3776805"/>
            <a:ext cx="12700" cy="360666"/>
          </a:xfrm>
          <a:prstGeom prst="curvedConnector3">
            <a:avLst>
              <a:gd name="adj1" fmla="val 180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3" name="구부러진 연결선 132"/>
          <p:cNvCxnSpPr>
            <a:stCxn id="129" idx="3"/>
            <a:endCxn id="131" idx="3"/>
          </p:cNvCxnSpPr>
          <p:nvPr/>
        </p:nvCxnSpPr>
        <p:spPr bwMode="auto">
          <a:xfrm>
            <a:off x="6457393" y="3776805"/>
            <a:ext cx="12700" cy="721333"/>
          </a:xfrm>
          <a:prstGeom prst="curvedConnector3">
            <a:avLst>
              <a:gd name="adj1" fmla="val 180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4" name="타원 133"/>
          <p:cNvSpPr/>
          <p:nvPr/>
        </p:nvSpPr>
        <p:spPr bwMode="auto">
          <a:xfrm>
            <a:off x="6573811" y="3841957"/>
            <a:ext cx="1055394" cy="397066"/>
          </a:xfrm>
          <a:prstGeom prst="ellipse">
            <a:avLst/>
          </a:prstGeom>
          <a:solidFill>
            <a:schemeClr val="tx2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65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일 청구  작업 가능</a:t>
            </a:r>
          </a:p>
        </p:txBody>
      </p:sp>
      <p:sp>
        <p:nvSpPr>
          <p:cNvPr id="135" name="직사각형 134"/>
          <p:cNvSpPr/>
          <p:nvPr/>
        </p:nvSpPr>
        <p:spPr bwMode="auto">
          <a:xfrm>
            <a:off x="7659577" y="3721722"/>
            <a:ext cx="867834" cy="7704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통합청구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작업</a:t>
            </a:r>
          </a:p>
        </p:txBody>
      </p:sp>
      <p:sp>
        <p:nvSpPr>
          <p:cNvPr id="136" name="타원 135"/>
          <p:cNvSpPr/>
          <p:nvPr/>
        </p:nvSpPr>
        <p:spPr bwMode="auto">
          <a:xfrm>
            <a:off x="8602468" y="3675357"/>
            <a:ext cx="993780" cy="397066"/>
          </a:xfrm>
          <a:prstGeom prst="ellipse">
            <a:avLst/>
          </a:prstGeom>
          <a:solidFill>
            <a:schemeClr val="tx2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검증체계 자동화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타원 136"/>
          <p:cNvSpPr/>
          <p:nvPr/>
        </p:nvSpPr>
        <p:spPr bwMode="auto">
          <a:xfrm>
            <a:off x="8607027" y="4112054"/>
            <a:ext cx="993780" cy="397066"/>
          </a:xfrm>
          <a:prstGeom prst="ellipse">
            <a:avLst/>
          </a:prstGeom>
          <a:solidFill>
            <a:schemeClr val="tx2"/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외부전송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보안 강화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gray">
          <a:xfrm>
            <a:off x="5192292" y="3313613"/>
            <a:ext cx="4386659" cy="2525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작업</a:t>
            </a:r>
            <a:r>
              <a:rPr kumimoji="0" lang="ko-KR" altLang="en-US" sz="12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프로세스 개선을 통한 대고객 편의 개선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42" name="직사각형 141"/>
          <p:cNvSpPr/>
          <p:nvPr/>
        </p:nvSpPr>
        <p:spPr bwMode="gray">
          <a:xfrm>
            <a:off x="5196061" y="4755466"/>
            <a:ext cx="4386659" cy="2525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정보 정확성 확보를 위한 단계 별 대사</a:t>
            </a:r>
          </a:p>
        </p:txBody>
      </p:sp>
      <p:sp>
        <p:nvSpPr>
          <p:cNvPr id="160" name="Rectangle 72"/>
          <p:cNvSpPr>
            <a:spLocks noChangeArrowheads="1"/>
          </p:cNvSpPr>
          <p:nvPr/>
        </p:nvSpPr>
        <p:spPr bwMode="auto">
          <a:xfrm>
            <a:off x="5436330" y="5637617"/>
            <a:ext cx="4086642" cy="315942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anchor="ctr">
            <a:no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61" name="AutoShape 102"/>
          <p:cNvSpPr>
            <a:spLocks/>
          </p:cNvSpPr>
          <p:nvPr/>
        </p:nvSpPr>
        <p:spPr bwMode="auto">
          <a:xfrm rot="16200000">
            <a:off x="7893746" y="3806303"/>
            <a:ext cx="66908" cy="3191546"/>
          </a:xfrm>
          <a:prstGeom prst="leftBracket">
            <a:avLst>
              <a:gd name="adj" fmla="val 108525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62" name="AutoShape 112"/>
          <p:cNvSpPr>
            <a:spLocks noChangeArrowheads="1"/>
          </p:cNvSpPr>
          <p:nvPr/>
        </p:nvSpPr>
        <p:spPr bwMode="auto">
          <a:xfrm>
            <a:off x="5489507" y="5064007"/>
            <a:ext cx="778257" cy="3177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577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표접수</a:t>
            </a:r>
          </a:p>
        </p:txBody>
      </p:sp>
      <p:sp>
        <p:nvSpPr>
          <p:cNvPr id="163" name="Rectangle 116"/>
          <p:cNvSpPr>
            <a:spLocks noChangeArrowheads="1"/>
          </p:cNvSpPr>
          <p:nvPr/>
        </p:nvSpPr>
        <p:spPr bwMode="auto">
          <a:xfrm>
            <a:off x="6345686" y="5001143"/>
            <a:ext cx="791429" cy="434387"/>
          </a:xfrm>
          <a:prstGeom prst="notchedRightArrow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매출확정</a:t>
            </a:r>
            <a:endParaRPr kumimoji="1" lang="en-US" altLang="ko-KR" sz="1000" kern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64" name="Rectangle 117"/>
          <p:cNvSpPr>
            <a:spLocks noChangeArrowheads="1"/>
          </p:cNvSpPr>
          <p:nvPr/>
        </p:nvSpPr>
        <p:spPr bwMode="auto">
          <a:xfrm>
            <a:off x="7085112" y="5001143"/>
            <a:ext cx="791429" cy="434387"/>
          </a:xfrm>
          <a:prstGeom prst="notchedRightArrow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수정산</a:t>
            </a:r>
            <a:endParaRPr kumimoji="1"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5" name="Rectangle 118"/>
          <p:cNvSpPr>
            <a:spLocks noChangeArrowheads="1"/>
          </p:cNvSpPr>
          <p:nvPr/>
        </p:nvSpPr>
        <p:spPr bwMode="auto">
          <a:xfrm>
            <a:off x="7824538" y="5001143"/>
            <a:ext cx="791429" cy="434387"/>
          </a:xfrm>
          <a:prstGeom prst="notchedRightArrow">
            <a:avLst>
              <a:gd name="adj1" fmla="val 50000"/>
              <a:gd name="adj2" fmla="val 54290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8000" tIns="10800" rIns="18000" bIns="10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작업</a:t>
            </a:r>
            <a:endParaRPr kumimoji="1" lang="ko-KR" altLang="en-US" sz="10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6" name="AutoShape 143"/>
          <p:cNvSpPr>
            <a:spLocks noChangeArrowheads="1"/>
          </p:cNvSpPr>
          <p:nvPr/>
        </p:nvSpPr>
        <p:spPr bwMode="auto">
          <a:xfrm>
            <a:off x="8627628" y="5069482"/>
            <a:ext cx="778257" cy="3177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headEnd/>
            <a:tailEnd/>
          </a:ln>
          <a:effectLst/>
        </p:spPr>
        <p:txBody>
          <a:bodyPr anchor="ctr"/>
          <a:lstStyle/>
          <a:p>
            <a:pPr marL="0" marR="0" lvl="0" indent="0" defTabSz="9577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청구정보</a:t>
            </a:r>
          </a:p>
        </p:txBody>
      </p:sp>
      <p:sp>
        <p:nvSpPr>
          <p:cNvPr id="167" name="Text Box 149"/>
          <p:cNvSpPr txBox="1">
            <a:spLocks noChangeArrowheads="1"/>
          </p:cNvSpPr>
          <p:nvPr/>
        </p:nvSpPr>
        <p:spPr bwMode="auto">
          <a:xfrm>
            <a:off x="8510026" y="5486051"/>
            <a:ext cx="623774" cy="1079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3500" tIns="0" rIns="0" bIns="0">
            <a:spAutoFit/>
          </a:bodyPr>
          <a:lstStyle/>
          <a:p>
            <a:pPr defTabSz="957263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처리정보</a:t>
            </a:r>
            <a:endParaRPr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68" name="구부러진 연결선 159"/>
          <p:cNvCxnSpPr>
            <a:stCxn id="161" idx="1"/>
            <a:endCxn id="160" idx="0"/>
          </p:cNvCxnSpPr>
          <p:nvPr/>
        </p:nvCxnSpPr>
        <p:spPr>
          <a:xfrm rot="5400000">
            <a:off x="7602383" y="5312799"/>
            <a:ext cx="202087" cy="447549"/>
          </a:xfrm>
          <a:prstGeom prst="curvedConnector5">
            <a:avLst>
              <a:gd name="adj1" fmla="val 79366"/>
              <a:gd name="adj2" fmla="val 34935"/>
              <a:gd name="adj3" fmla="val 20634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oval"/>
            <a:tailEnd type="oval"/>
          </a:ln>
          <a:effectLst/>
        </p:spPr>
      </p:cxnSp>
      <p:sp>
        <p:nvSpPr>
          <p:cNvPr id="169" name="AutoShape 73"/>
          <p:cNvSpPr>
            <a:spLocks noChangeArrowheads="1"/>
          </p:cNvSpPr>
          <p:nvPr/>
        </p:nvSpPr>
        <p:spPr bwMode="auto">
          <a:xfrm>
            <a:off x="5675758" y="5665031"/>
            <a:ext cx="289996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70" name="Rectangle 78"/>
          <p:cNvSpPr>
            <a:spLocks noChangeArrowheads="1"/>
          </p:cNvSpPr>
          <p:nvPr/>
        </p:nvSpPr>
        <p:spPr bwMode="auto">
          <a:xfrm>
            <a:off x="6125337" y="5723908"/>
            <a:ext cx="750930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매출원장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71" name="AutoShape 79"/>
          <p:cNvCxnSpPr>
            <a:cxnSpLocks noChangeShapeType="1"/>
            <a:stCxn id="169" idx="4"/>
            <a:endCxn id="170" idx="1"/>
          </p:cNvCxnSpPr>
          <p:nvPr/>
        </p:nvCxnSpPr>
        <p:spPr bwMode="auto">
          <a:xfrm>
            <a:off x="5965754" y="5796664"/>
            <a:ext cx="159583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sp>
        <p:nvSpPr>
          <p:cNvPr id="172" name="AutoShape 73"/>
          <p:cNvSpPr>
            <a:spLocks noChangeArrowheads="1"/>
          </p:cNvSpPr>
          <p:nvPr/>
        </p:nvSpPr>
        <p:spPr bwMode="auto">
          <a:xfrm>
            <a:off x="7037859" y="5665031"/>
            <a:ext cx="289996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73" name="Rectangle 78"/>
          <p:cNvSpPr>
            <a:spLocks noChangeArrowheads="1"/>
          </p:cNvSpPr>
          <p:nvPr/>
        </p:nvSpPr>
        <p:spPr bwMode="auto">
          <a:xfrm>
            <a:off x="7487438" y="5723908"/>
            <a:ext cx="750930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미수원장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74" name="AutoShape 79"/>
          <p:cNvCxnSpPr>
            <a:cxnSpLocks noChangeShapeType="1"/>
            <a:stCxn id="172" idx="4"/>
            <a:endCxn id="173" idx="1"/>
          </p:cNvCxnSpPr>
          <p:nvPr/>
        </p:nvCxnSpPr>
        <p:spPr bwMode="auto">
          <a:xfrm>
            <a:off x="7327855" y="5796664"/>
            <a:ext cx="159583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sp>
        <p:nvSpPr>
          <p:cNvPr id="175" name="AutoShape 73"/>
          <p:cNvSpPr>
            <a:spLocks noChangeArrowheads="1"/>
          </p:cNvSpPr>
          <p:nvPr/>
        </p:nvSpPr>
        <p:spPr bwMode="auto">
          <a:xfrm>
            <a:off x="8361381" y="5660287"/>
            <a:ext cx="289996" cy="263267"/>
          </a:xfrm>
          <a:prstGeom prst="can">
            <a:avLst>
              <a:gd name="adj" fmla="val 34763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dirty="0">
              <a:solidFill>
                <a:sysClr val="windowText" lastClr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76" name="Rectangle 78"/>
          <p:cNvSpPr>
            <a:spLocks noChangeArrowheads="1"/>
          </p:cNvSpPr>
          <p:nvPr/>
        </p:nvSpPr>
        <p:spPr bwMode="auto">
          <a:xfrm>
            <a:off x="8810959" y="5719163"/>
            <a:ext cx="750930" cy="1742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57796" fontAlgn="auto" latinLnBrk="0">
              <a:spcBef>
                <a:spcPct val="20000"/>
              </a:spcBef>
              <a:spcAft>
                <a:spcPts val="0"/>
              </a:spcAft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</a:rPr>
              <a:t>청구파일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77" name="AutoShape 79"/>
          <p:cNvCxnSpPr>
            <a:cxnSpLocks noChangeShapeType="1"/>
            <a:stCxn id="175" idx="4"/>
            <a:endCxn id="176" idx="1"/>
          </p:cNvCxnSpPr>
          <p:nvPr/>
        </p:nvCxnSpPr>
        <p:spPr bwMode="auto">
          <a:xfrm>
            <a:off x="8651377" y="5791920"/>
            <a:ext cx="159583" cy="143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oval" w="med" len="med"/>
            <a:tailEnd type="oval" w="med" len="med"/>
          </a:ln>
          <a:effectLst/>
        </p:spPr>
      </p:cxnSp>
      <p:cxnSp>
        <p:nvCxnSpPr>
          <p:cNvPr id="178" name="구부러진 연결선 177"/>
          <p:cNvCxnSpPr>
            <a:stCxn id="169" idx="1"/>
            <a:endCxn id="172" idx="1"/>
          </p:cNvCxnSpPr>
          <p:nvPr/>
        </p:nvCxnSpPr>
        <p:spPr bwMode="auto">
          <a:xfrm rot="5400000" flipH="1" flipV="1">
            <a:off x="6504216" y="4983980"/>
            <a:ext cx="8910" cy="1362102"/>
          </a:xfrm>
          <a:prstGeom prst="curvedConnector3">
            <a:avLst>
              <a:gd name="adj1" fmla="val 180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9" name="구부러진 연결선 178"/>
          <p:cNvCxnSpPr>
            <a:stCxn id="172" idx="1"/>
            <a:endCxn id="175" idx="1"/>
          </p:cNvCxnSpPr>
          <p:nvPr/>
        </p:nvCxnSpPr>
        <p:spPr bwMode="auto">
          <a:xfrm rot="5400000" flipH="1" flipV="1">
            <a:off x="7842245" y="5000899"/>
            <a:ext cx="4744" cy="1323520"/>
          </a:xfrm>
          <a:prstGeom prst="curvedConnector3">
            <a:avLst>
              <a:gd name="adj1" fmla="val 3480657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1" name="직사각형 180"/>
          <p:cNvSpPr/>
          <p:nvPr/>
        </p:nvSpPr>
        <p:spPr bwMode="gray">
          <a:xfrm>
            <a:off x="5397750" y="6041791"/>
            <a:ext cx="4203056" cy="251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15913" marR="0" lvl="0" indent="-1381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단계별 원장간 대사 체계 수립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608912" y="3584049"/>
            <a:ext cx="113494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외 합산 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역 확인 불가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endParaRPr lang="ko-KR" altLang="en-US" sz="1050" dirty="0"/>
          </a:p>
        </p:txBody>
      </p:sp>
      <p:sp>
        <p:nvSpPr>
          <p:cNvPr id="188" name="직사각형 187"/>
          <p:cNvSpPr/>
          <p:nvPr/>
        </p:nvSpPr>
        <p:spPr>
          <a:xfrm>
            <a:off x="3507704" y="3969152"/>
            <a:ext cx="13732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론 가상계좌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 제한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endParaRPr lang="ko-KR" altLang="en-US" sz="1050" dirty="0"/>
          </a:p>
        </p:txBody>
      </p:sp>
      <p:sp>
        <p:nvSpPr>
          <p:cNvPr id="189" name="직사각형 188"/>
          <p:cNvSpPr/>
          <p:nvPr/>
        </p:nvSpPr>
        <p:spPr>
          <a:xfrm>
            <a:off x="3512840" y="4342201"/>
            <a:ext cx="13732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복수 </a:t>
            </a:r>
            <a:r>
              <a:rPr lang="ko-KR" altLang="en-US" sz="105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사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청구 불가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＂</a:t>
            </a:r>
            <a:endParaRPr lang="ko-KR" altLang="en-US" sz="1050" dirty="0"/>
          </a:p>
        </p:txBody>
      </p:sp>
      <p:sp>
        <p:nvSpPr>
          <p:cNvPr id="112" name="이등변 삼각형 111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2" name="그룹 10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93" name="그룹 19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9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9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53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편의 중심의 청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요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06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의 요구사항에 유연하게 대응하려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본 청구단위인 회원 이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vel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복수의 청구단위를 관리할 수 있어야 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수생성 단계부터 고려가 필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0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8" name="TextBox 10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연한 청구프로세스 구성을 위한 반영 업무 정의 예시</a:t>
              </a:r>
            </a:p>
          </p:txBody>
        </p:sp>
        <p:cxnSp>
          <p:nvCxnSpPr>
            <p:cNvPr id="10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3" name="직사각형 252"/>
          <p:cNvSpPr/>
          <p:nvPr/>
        </p:nvSpPr>
        <p:spPr bwMode="auto">
          <a:xfrm>
            <a:off x="272480" y="1886555"/>
            <a:ext cx="9360470" cy="4566633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54000" rIns="18000" bIns="54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4" name="직사각형 253"/>
          <p:cNvSpPr/>
          <p:nvPr/>
        </p:nvSpPr>
        <p:spPr>
          <a:xfrm>
            <a:off x="318340" y="2519718"/>
            <a:ext cx="4326136" cy="384978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5" name="직사각형 254"/>
          <p:cNvSpPr/>
          <p:nvPr/>
        </p:nvSpPr>
        <p:spPr>
          <a:xfrm>
            <a:off x="318340" y="1997713"/>
            <a:ext cx="4326136" cy="522005"/>
          </a:xfrm>
          <a:prstGeom prst="rect">
            <a:avLst/>
          </a:prstGeom>
          <a:solidFill>
            <a:schemeClr val="tx2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인당 관리체계 내 복수 </a:t>
            </a:r>
            <a:r>
              <a:rPr kumimoji="1" lang="en-US" altLang="ko-KR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Accoun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보유 가능 구조로 변경</a:t>
            </a:r>
          </a:p>
        </p:txBody>
      </p:sp>
      <p:sp>
        <p:nvSpPr>
          <p:cNvPr id="256" name="직사각형 255"/>
          <p:cNvSpPr/>
          <p:nvPr/>
        </p:nvSpPr>
        <p:spPr>
          <a:xfrm>
            <a:off x="1308423" y="2671255"/>
            <a:ext cx="2520024" cy="456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7" name="직사각형 256"/>
          <p:cNvSpPr/>
          <p:nvPr/>
        </p:nvSpPr>
        <p:spPr>
          <a:xfrm>
            <a:off x="1719007" y="3237474"/>
            <a:ext cx="1698856" cy="456754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258" name="직선 연결선 257"/>
          <p:cNvCxnSpPr>
            <a:stCxn id="256" idx="2"/>
            <a:endCxn id="257" idx="0"/>
          </p:cNvCxnSpPr>
          <p:nvPr/>
        </p:nvCxnSpPr>
        <p:spPr bwMode="auto">
          <a:xfrm>
            <a:off x="2568435" y="3128009"/>
            <a:ext cx="0" cy="109466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59" name="직사각형 258"/>
          <p:cNvSpPr/>
          <p:nvPr/>
        </p:nvSpPr>
        <p:spPr>
          <a:xfrm>
            <a:off x="1824799" y="273650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</a:t>
            </a:r>
          </a:p>
        </p:txBody>
      </p:sp>
      <p:sp>
        <p:nvSpPr>
          <p:cNvPr id="260" name="직사각형 259"/>
          <p:cNvSpPr/>
          <p:nvPr/>
        </p:nvSpPr>
        <p:spPr>
          <a:xfrm>
            <a:off x="2328855" y="273650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법인</a:t>
            </a:r>
          </a:p>
        </p:txBody>
      </p:sp>
      <p:sp>
        <p:nvSpPr>
          <p:cNvPr id="261" name="직사각형 260"/>
          <p:cNvSpPr/>
          <p:nvPr/>
        </p:nvSpPr>
        <p:spPr>
          <a:xfrm>
            <a:off x="2832911" y="273650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가맹점주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62" name="직사각형 261"/>
          <p:cNvSpPr/>
          <p:nvPr/>
        </p:nvSpPr>
        <p:spPr>
          <a:xfrm>
            <a:off x="3336967" y="273650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비</a:t>
            </a:r>
            <a:endParaRPr kumimoji="1" lang="en-US" altLang="ko-K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회원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1265751" y="2782538"/>
            <a:ext cx="504056" cy="237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고객</a:t>
            </a:r>
            <a:endParaRPr kumimoji="1" lang="ko-KR" altLang="en-US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4" name="TextBox 263"/>
          <p:cNvSpPr txBox="1"/>
          <p:nvPr/>
        </p:nvSpPr>
        <p:spPr>
          <a:xfrm>
            <a:off x="1680907" y="3344959"/>
            <a:ext cx="504056" cy="237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회원</a:t>
            </a:r>
          </a:p>
        </p:txBody>
      </p:sp>
      <p:sp>
        <p:nvSpPr>
          <p:cNvPr id="265" name="직사각형 264"/>
          <p:cNvSpPr/>
          <p:nvPr/>
        </p:nvSpPr>
        <p:spPr>
          <a:xfrm>
            <a:off x="2256971" y="330272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</a:t>
            </a:r>
          </a:p>
        </p:txBody>
      </p:sp>
      <p:sp>
        <p:nvSpPr>
          <p:cNvPr id="266" name="직사각형 265"/>
          <p:cNvSpPr/>
          <p:nvPr/>
        </p:nvSpPr>
        <p:spPr>
          <a:xfrm>
            <a:off x="2845735" y="330272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법인</a:t>
            </a:r>
          </a:p>
        </p:txBody>
      </p:sp>
      <p:sp>
        <p:nvSpPr>
          <p:cNvPr id="267" name="직사각형 266"/>
          <p:cNvSpPr/>
          <p:nvPr/>
        </p:nvSpPr>
        <p:spPr>
          <a:xfrm>
            <a:off x="709696" y="3834472"/>
            <a:ext cx="711316" cy="326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신용대표</a:t>
            </a:r>
            <a:r>
              <a:rPr kumimoji="1" lang="en-US" altLang="ko-KR" sz="900" kern="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900" kern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</a:t>
            </a:r>
            <a:endParaRPr kumimoji="1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68" name="직사각형 267"/>
          <p:cNvSpPr/>
          <p:nvPr/>
        </p:nvSpPr>
        <p:spPr>
          <a:xfrm>
            <a:off x="1607696" y="3884752"/>
            <a:ext cx="711316" cy="326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법인</a:t>
            </a:r>
            <a:endParaRPr kumimoji="1" lang="en-US" altLang="ko-K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69" name="직사각형 268"/>
          <p:cNvSpPr/>
          <p:nvPr/>
        </p:nvSpPr>
        <p:spPr>
          <a:xfrm>
            <a:off x="2374384" y="3884752"/>
            <a:ext cx="711316" cy="326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법인</a:t>
            </a:r>
            <a:endParaRPr kumimoji="1" lang="en-US" altLang="ko-K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2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70" name="직사각형 269"/>
          <p:cNvSpPr/>
          <p:nvPr/>
        </p:nvSpPr>
        <p:spPr>
          <a:xfrm>
            <a:off x="3128372" y="3884752"/>
            <a:ext cx="711316" cy="326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SOHO</a:t>
            </a:r>
            <a:endParaRPr kumimoji="1" lang="en-US" altLang="ko-K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71" name="직사각형 270"/>
          <p:cNvSpPr/>
          <p:nvPr/>
        </p:nvSpPr>
        <p:spPr>
          <a:xfrm>
            <a:off x="3874348" y="3884752"/>
            <a:ext cx="711316" cy="326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체크</a:t>
            </a:r>
            <a:endParaRPr kumimoji="1" lang="en-US" altLang="ko-K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 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272" name="꺾인 연결선 271"/>
          <p:cNvCxnSpPr>
            <a:stCxn id="257" idx="2"/>
            <a:endCxn id="267" idx="0"/>
          </p:cNvCxnSpPr>
          <p:nvPr/>
        </p:nvCxnSpPr>
        <p:spPr bwMode="auto">
          <a:xfrm rot="5400000">
            <a:off x="1746773" y="3012810"/>
            <a:ext cx="140244" cy="150308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73" name="꺾인 연결선 272"/>
          <p:cNvCxnSpPr>
            <a:stCxn id="257" idx="2"/>
            <a:endCxn id="268" idx="0"/>
          </p:cNvCxnSpPr>
          <p:nvPr/>
        </p:nvCxnSpPr>
        <p:spPr bwMode="auto">
          <a:xfrm rot="5400000">
            <a:off x="2170633" y="3486950"/>
            <a:ext cx="190523" cy="60508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74" name="꺾인 연결선 273"/>
          <p:cNvCxnSpPr>
            <a:stCxn id="257" idx="2"/>
            <a:endCxn id="269" idx="0"/>
          </p:cNvCxnSpPr>
          <p:nvPr/>
        </p:nvCxnSpPr>
        <p:spPr bwMode="auto">
          <a:xfrm rot="16200000" flipH="1">
            <a:off x="2553976" y="3708686"/>
            <a:ext cx="190523" cy="16160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75" name="꺾인 연결선 274"/>
          <p:cNvCxnSpPr>
            <a:stCxn id="257" idx="2"/>
            <a:endCxn id="270" idx="0"/>
          </p:cNvCxnSpPr>
          <p:nvPr/>
        </p:nvCxnSpPr>
        <p:spPr bwMode="auto">
          <a:xfrm rot="16200000" flipH="1">
            <a:off x="2930970" y="3331692"/>
            <a:ext cx="190523" cy="91559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76" name="꺾인 연결선 275"/>
          <p:cNvCxnSpPr>
            <a:stCxn id="257" idx="2"/>
            <a:endCxn id="271" idx="0"/>
          </p:cNvCxnSpPr>
          <p:nvPr/>
        </p:nvCxnSpPr>
        <p:spPr bwMode="auto">
          <a:xfrm rot="16200000" flipH="1">
            <a:off x="3303958" y="2958704"/>
            <a:ext cx="190523" cy="166157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77" name="직사각형 276"/>
          <p:cNvSpPr/>
          <p:nvPr/>
        </p:nvSpPr>
        <p:spPr>
          <a:xfrm>
            <a:off x="417211" y="4433060"/>
            <a:ext cx="390459" cy="456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개인 신용</a:t>
            </a:r>
            <a:endParaRPr kumimoji="1" lang="en-US" altLang="ko-KR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Acct 1</a:t>
            </a:r>
            <a:endParaRPr kumimoji="1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78" name="직사각형 277"/>
          <p:cNvSpPr/>
          <p:nvPr/>
        </p:nvSpPr>
        <p:spPr>
          <a:xfrm>
            <a:off x="855381" y="4433060"/>
            <a:ext cx="390459" cy="456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개인</a:t>
            </a: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신용</a:t>
            </a:r>
            <a:endParaRPr kumimoji="1" lang="en-US" altLang="ko-KR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Acct 2</a:t>
            </a:r>
            <a:endParaRPr kumimoji="1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279" name="꺾인 연결선 278"/>
          <p:cNvCxnSpPr>
            <a:stCxn id="267" idx="2"/>
            <a:endCxn id="277" idx="0"/>
          </p:cNvCxnSpPr>
          <p:nvPr/>
        </p:nvCxnSpPr>
        <p:spPr bwMode="auto">
          <a:xfrm rot="5400000">
            <a:off x="702731" y="4070436"/>
            <a:ext cx="272335" cy="45291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80" name="꺾인 연결선 279"/>
          <p:cNvCxnSpPr>
            <a:stCxn id="267" idx="2"/>
            <a:endCxn id="278" idx="0"/>
          </p:cNvCxnSpPr>
          <p:nvPr/>
        </p:nvCxnSpPr>
        <p:spPr bwMode="auto">
          <a:xfrm rot="5400000">
            <a:off x="921816" y="4289521"/>
            <a:ext cx="272335" cy="1474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81" name="직사각형 280"/>
          <p:cNvSpPr/>
          <p:nvPr/>
        </p:nvSpPr>
        <p:spPr>
          <a:xfrm>
            <a:off x="1760030" y="4395396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cxnSp>
        <p:nvCxnSpPr>
          <p:cNvPr id="282" name="직선 연결선 281"/>
          <p:cNvCxnSpPr>
            <a:stCxn id="268" idx="2"/>
            <a:endCxn id="281" idx="0"/>
          </p:cNvCxnSpPr>
          <p:nvPr/>
        </p:nvCxnSpPr>
        <p:spPr bwMode="auto">
          <a:xfrm>
            <a:off x="1963354" y="4211005"/>
            <a:ext cx="0" cy="18439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83" name="직사각형 282"/>
          <p:cNvSpPr/>
          <p:nvPr/>
        </p:nvSpPr>
        <p:spPr>
          <a:xfrm>
            <a:off x="2526718" y="4395396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sp>
        <p:nvSpPr>
          <p:cNvPr id="284" name="직사각형 283"/>
          <p:cNvSpPr/>
          <p:nvPr/>
        </p:nvSpPr>
        <p:spPr>
          <a:xfrm>
            <a:off x="3280706" y="4395396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sp>
        <p:nvSpPr>
          <p:cNvPr id="285" name="직사각형 284"/>
          <p:cNvSpPr/>
          <p:nvPr/>
        </p:nvSpPr>
        <p:spPr>
          <a:xfrm>
            <a:off x="4033940" y="4395396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cxnSp>
        <p:nvCxnSpPr>
          <p:cNvPr id="286" name="직선 연결선 285"/>
          <p:cNvCxnSpPr>
            <a:stCxn id="269" idx="2"/>
            <a:endCxn id="283" idx="0"/>
          </p:cNvCxnSpPr>
          <p:nvPr/>
        </p:nvCxnSpPr>
        <p:spPr bwMode="auto">
          <a:xfrm>
            <a:off x="2730042" y="4211005"/>
            <a:ext cx="0" cy="18439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87" name="직선 연결선 286"/>
          <p:cNvCxnSpPr>
            <a:stCxn id="270" idx="2"/>
            <a:endCxn id="284" idx="0"/>
          </p:cNvCxnSpPr>
          <p:nvPr/>
        </p:nvCxnSpPr>
        <p:spPr bwMode="auto">
          <a:xfrm>
            <a:off x="3484030" y="4211005"/>
            <a:ext cx="0" cy="18439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88" name="직선 연결선 287"/>
          <p:cNvCxnSpPr>
            <a:stCxn id="271" idx="2"/>
            <a:endCxn id="285" idx="0"/>
          </p:cNvCxnSpPr>
          <p:nvPr/>
        </p:nvCxnSpPr>
        <p:spPr bwMode="auto">
          <a:xfrm>
            <a:off x="4230006" y="4211005"/>
            <a:ext cx="7258" cy="18439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89" name="직사각형 288"/>
          <p:cNvSpPr/>
          <p:nvPr/>
        </p:nvSpPr>
        <p:spPr>
          <a:xfrm>
            <a:off x="407007" y="498047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sp>
        <p:nvSpPr>
          <p:cNvPr id="290" name="직사각형 289"/>
          <p:cNvSpPr/>
          <p:nvPr/>
        </p:nvSpPr>
        <p:spPr>
          <a:xfrm>
            <a:off x="845177" y="498047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cxnSp>
        <p:nvCxnSpPr>
          <p:cNvPr id="291" name="직선 연결선 290"/>
          <p:cNvCxnSpPr>
            <a:stCxn id="277" idx="2"/>
            <a:endCxn id="289" idx="0"/>
          </p:cNvCxnSpPr>
          <p:nvPr/>
        </p:nvCxnSpPr>
        <p:spPr bwMode="auto">
          <a:xfrm flipH="1">
            <a:off x="610331" y="4889814"/>
            <a:ext cx="2110" cy="9066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2" name="직선 연결선 291"/>
          <p:cNvCxnSpPr>
            <a:stCxn id="278" idx="2"/>
            <a:endCxn id="290" idx="0"/>
          </p:cNvCxnSpPr>
          <p:nvPr/>
        </p:nvCxnSpPr>
        <p:spPr bwMode="auto">
          <a:xfrm flipH="1">
            <a:off x="1048501" y="4889814"/>
            <a:ext cx="2110" cy="9066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93" name="모서리가 둥근 직사각형 292"/>
          <p:cNvSpPr/>
          <p:nvPr/>
        </p:nvSpPr>
        <p:spPr>
          <a:xfrm>
            <a:off x="365464" y="3732612"/>
            <a:ext cx="4236032" cy="1667896"/>
          </a:xfrm>
          <a:prstGeom prst="roundRect">
            <a:avLst>
              <a:gd name="adj" fmla="val 7040"/>
            </a:avLst>
          </a:prstGeom>
          <a:noFill/>
          <a:ln w="12700">
            <a:solidFill>
              <a:srgbClr val="FF0000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 latinLnBrk="0"/>
            <a:endParaRPr kumimoji="1" lang="ko-KR" altLang="en-US" sz="10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493412" y="5490519"/>
            <a:ext cx="3985417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indent="-82550" latinLnBrk="0">
              <a:buFont typeface="Wingdings" pitchFamily="2" charset="2"/>
              <a:buChar char="§"/>
            </a:pPr>
            <a:r>
              <a:rPr kumimoji="1"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kumimoji="1"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인당 관리 체계는 유지하는 동시에</a:t>
            </a:r>
            <a:r>
              <a:rPr kumimoji="1"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1"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고객 요청 발생에 유연하게 대응하기 위한 </a:t>
            </a:r>
            <a:r>
              <a:rPr kumimoji="1"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Account </a:t>
            </a:r>
            <a:r>
              <a:rPr kumimoji="1"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단위 고객 정보 관리 및 활용 가능 체계</a:t>
            </a:r>
            <a:endParaRPr kumimoji="1" lang="en-US" altLang="ko-KR" sz="1200" i="1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2550" indent="-82550" latinLnBrk="0"/>
            <a:r>
              <a:rPr kumimoji="1" lang="ko-KR" altLang="en-US" sz="1100" b="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  </a:t>
            </a:r>
            <a:r>
              <a:rPr kumimoji="1" lang="en-US" altLang="ko-KR" sz="1100" b="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* </a:t>
            </a:r>
            <a:r>
              <a:rPr kumimoji="1" lang="ko-KR" altLang="en-US" sz="1100" b="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복수 </a:t>
            </a:r>
            <a:r>
              <a:rPr kumimoji="1" lang="en-US" altLang="ko-KR" sz="1100" b="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Account </a:t>
            </a:r>
            <a:r>
              <a:rPr kumimoji="1" lang="ko-KR" altLang="en-US" sz="1100" b="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생성시라도 결제일은 단일로 유지 필요</a:t>
            </a:r>
            <a:endParaRPr kumimoji="1" lang="en-US" altLang="ko-KR" sz="1100" b="0" i="1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95" name="직사각형 294"/>
          <p:cNvSpPr/>
          <p:nvPr/>
        </p:nvSpPr>
        <p:spPr>
          <a:xfrm>
            <a:off x="1310900" y="4433060"/>
            <a:ext cx="390459" cy="456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가족</a:t>
            </a:r>
            <a:endParaRPr kumimoji="1" lang="en-US" altLang="ko-KR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Acct 1</a:t>
            </a:r>
            <a:endParaRPr kumimoji="1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296" name="꺾인 연결선 295"/>
          <p:cNvCxnSpPr>
            <a:stCxn id="267" idx="2"/>
            <a:endCxn id="295" idx="0"/>
          </p:cNvCxnSpPr>
          <p:nvPr/>
        </p:nvCxnSpPr>
        <p:spPr bwMode="auto">
          <a:xfrm rot="16200000" flipH="1">
            <a:off x="1149575" y="4076504"/>
            <a:ext cx="272335" cy="44077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97" name="직사각형 296"/>
          <p:cNvSpPr/>
          <p:nvPr/>
        </p:nvSpPr>
        <p:spPr>
          <a:xfrm>
            <a:off x="1298200" y="4980475"/>
            <a:ext cx="406648" cy="32625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cxnSp>
        <p:nvCxnSpPr>
          <p:cNvPr id="298" name="직선 연결선 297"/>
          <p:cNvCxnSpPr>
            <a:endCxn id="297" idx="0"/>
          </p:cNvCxnSpPr>
          <p:nvPr/>
        </p:nvCxnSpPr>
        <p:spPr bwMode="auto">
          <a:xfrm flipH="1">
            <a:off x="1501524" y="4889814"/>
            <a:ext cx="2110" cy="9066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99" name="이등변 삼각형 298"/>
          <p:cNvSpPr/>
          <p:nvPr/>
        </p:nvSpPr>
        <p:spPr bwMode="auto">
          <a:xfrm rot="5400000">
            <a:off x="2654008" y="4109147"/>
            <a:ext cx="4313437" cy="207272"/>
          </a:xfrm>
          <a:prstGeom prst="triangle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2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0" name="직사각형 299"/>
          <p:cNvSpPr/>
          <p:nvPr/>
        </p:nvSpPr>
        <p:spPr>
          <a:xfrm>
            <a:off x="4953000" y="2016282"/>
            <a:ext cx="4608512" cy="203159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1" name="이등변 삼각형 300"/>
          <p:cNvSpPr/>
          <p:nvPr/>
        </p:nvSpPr>
        <p:spPr bwMode="auto">
          <a:xfrm rot="10800000">
            <a:off x="5025008" y="4092631"/>
            <a:ext cx="4536504" cy="210568"/>
          </a:xfrm>
          <a:prstGeom prst="triangle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2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2" name="직사각형 301"/>
          <p:cNvSpPr/>
          <p:nvPr/>
        </p:nvSpPr>
        <p:spPr>
          <a:xfrm>
            <a:off x="4953000" y="4333135"/>
            <a:ext cx="4608512" cy="203159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3" name="직사각형 302"/>
          <p:cNvSpPr/>
          <p:nvPr/>
        </p:nvSpPr>
        <p:spPr>
          <a:xfrm>
            <a:off x="4953000" y="2004612"/>
            <a:ext cx="4608512" cy="52200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AS-IS </a:t>
            </a:r>
          </a:p>
        </p:txBody>
      </p:sp>
      <p:sp>
        <p:nvSpPr>
          <p:cNvPr id="304" name="직사각형 303"/>
          <p:cNvSpPr/>
          <p:nvPr/>
        </p:nvSpPr>
        <p:spPr>
          <a:xfrm>
            <a:off x="4953000" y="4341963"/>
            <a:ext cx="4608512" cy="522005"/>
          </a:xfrm>
          <a:prstGeom prst="rect">
            <a:avLst/>
          </a:prstGeom>
          <a:solidFill>
            <a:schemeClr val="tx2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To-Be</a:t>
            </a:r>
          </a:p>
        </p:txBody>
      </p:sp>
      <p:sp>
        <p:nvSpPr>
          <p:cNvPr id="305" name="직사각형 304"/>
          <p:cNvSpPr/>
          <p:nvPr/>
        </p:nvSpPr>
        <p:spPr>
          <a:xfrm>
            <a:off x="5050408" y="2673559"/>
            <a:ext cx="1270744" cy="128121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신용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</a:t>
            </a:r>
          </a:p>
        </p:txBody>
      </p:sp>
      <p:sp>
        <p:nvSpPr>
          <p:cNvPr id="306" name="직사각형 305"/>
          <p:cNvSpPr/>
          <p:nvPr/>
        </p:nvSpPr>
        <p:spPr>
          <a:xfrm>
            <a:off x="6609184" y="2668788"/>
            <a:ext cx="1270744" cy="128121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미수생성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7" name="직사각형 306"/>
          <p:cNvSpPr/>
          <p:nvPr/>
        </p:nvSpPr>
        <p:spPr>
          <a:xfrm>
            <a:off x="8193002" y="2668788"/>
            <a:ext cx="1270744" cy="128121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청구서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8" name="AutoShape 24"/>
          <p:cNvSpPr>
            <a:spLocks noChangeArrowheads="1"/>
          </p:cNvSpPr>
          <p:nvPr/>
        </p:nvSpPr>
        <p:spPr bwMode="auto">
          <a:xfrm>
            <a:off x="6313539" y="3069911"/>
            <a:ext cx="367653" cy="447135"/>
          </a:xfrm>
          <a:custGeom>
            <a:avLst/>
            <a:gdLst>
              <a:gd name="T0" fmla="*/ 7258050 w 21600"/>
              <a:gd name="T1" fmla="*/ 0 h 21600"/>
              <a:gd name="T2" fmla="*/ 0 w 21600"/>
              <a:gd name="T3" fmla="*/ 9240821 h 21600"/>
              <a:gd name="T4" fmla="*/ 7258050 w 21600"/>
              <a:gd name="T5" fmla="*/ 18481613 h 21600"/>
              <a:gd name="T6" fmla="*/ 9677399 w 21600"/>
              <a:gd name="T7" fmla="*/ 9240821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DDDDDD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endParaRPr kumimoji="1" lang="ko-KR" altLang="en-US" sz="15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9" name="AutoShape 24"/>
          <p:cNvSpPr>
            <a:spLocks noChangeArrowheads="1"/>
          </p:cNvSpPr>
          <p:nvPr/>
        </p:nvSpPr>
        <p:spPr bwMode="auto">
          <a:xfrm>
            <a:off x="7905328" y="3060292"/>
            <a:ext cx="367653" cy="447135"/>
          </a:xfrm>
          <a:custGeom>
            <a:avLst/>
            <a:gdLst>
              <a:gd name="T0" fmla="*/ 7258050 w 21600"/>
              <a:gd name="T1" fmla="*/ 0 h 21600"/>
              <a:gd name="T2" fmla="*/ 0 w 21600"/>
              <a:gd name="T3" fmla="*/ 9240821 h 21600"/>
              <a:gd name="T4" fmla="*/ 7258050 w 21600"/>
              <a:gd name="T5" fmla="*/ 18481613 h 21600"/>
              <a:gd name="T6" fmla="*/ 9677399 w 21600"/>
              <a:gd name="T7" fmla="*/ 9240821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DDDDDD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endParaRPr kumimoji="1" lang="ko-KR" altLang="en-US" sz="15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0" name="직사각형 309"/>
          <p:cNvSpPr/>
          <p:nvPr/>
        </p:nvSpPr>
        <p:spPr>
          <a:xfrm>
            <a:off x="5025008" y="4952559"/>
            <a:ext cx="1270744" cy="46120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대표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</a:t>
            </a:r>
          </a:p>
        </p:txBody>
      </p:sp>
      <p:sp>
        <p:nvSpPr>
          <p:cNvPr id="311" name="직사각형 310"/>
          <p:cNvSpPr/>
          <p:nvPr/>
        </p:nvSpPr>
        <p:spPr>
          <a:xfrm>
            <a:off x="5025008" y="5539814"/>
            <a:ext cx="1270744" cy="320304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Map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 1</a:t>
            </a:r>
          </a:p>
        </p:txBody>
      </p:sp>
      <p:cxnSp>
        <p:nvCxnSpPr>
          <p:cNvPr id="312" name="직선 연결선 311"/>
          <p:cNvCxnSpPr>
            <a:stCxn id="311" idx="0"/>
            <a:endCxn id="310" idx="2"/>
          </p:cNvCxnSpPr>
          <p:nvPr/>
        </p:nvCxnSpPr>
        <p:spPr bwMode="auto">
          <a:xfrm flipV="1">
            <a:off x="5660380" y="5413760"/>
            <a:ext cx="0" cy="126054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13" name="직사각형 312"/>
          <p:cNvSpPr/>
          <p:nvPr/>
        </p:nvSpPr>
        <p:spPr>
          <a:xfrm>
            <a:off x="5037529" y="5996568"/>
            <a:ext cx="1270744" cy="320304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Map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Account N</a:t>
            </a:r>
          </a:p>
        </p:txBody>
      </p:sp>
      <p:cxnSp>
        <p:nvCxnSpPr>
          <p:cNvPr id="314" name="직선 연결선 313"/>
          <p:cNvCxnSpPr>
            <a:stCxn id="313" idx="0"/>
            <a:endCxn id="311" idx="2"/>
          </p:cNvCxnSpPr>
          <p:nvPr/>
        </p:nvCxnSpPr>
        <p:spPr bwMode="auto">
          <a:xfrm flipH="1" flipV="1">
            <a:off x="5660380" y="5860118"/>
            <a:ext cx="12521" cy="136450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15" name="직사각형 314"/>
          <p:cNvSpPr/>
          <p:nvPr/>
        </p:nvSpPr>
        <p:spPr>
          <a:xfrm>
            <a:off x="6490568" y="4987128"/>
            <a:ext cx="1270744" cy="5200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별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미수생성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316" name="직선 연결선 315"/>
          <p:cNvCxnSpPr>
            <a:endCxn id="315" idx="2"/>
          </p:cNvCxnSpPr>
          <p:nvPr/>
        </p:nvCxnSpPr>
        <p:spPr bwMode="auto">
          <a:xfrm flipV="1">
            <a:off x="7125940" y="5507190"/>
            <a:ext cx="0" cy="359836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17" name="직사각형 316"/>
          <p:cNvSpPr/>
          <p:nvPr/>
        </p:nvSpPr>
        <p:spPr>
          <a:xfrm>
            <a:off x="8002736" y="4987570"/>
            <a:ext cx="1270744" cy="51961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리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청구서생성</a:t>
            </a:r>
            <a:endParaRPr kumimoji="1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318" name="직선 연결선 317"/>
          <p:cNvCxnSpPr>
            <a:endCxn id="317" idx="2"/>
          </p:cNvCxnSpPr>
          <p:nvPr/>
        </p:nvCxnSpPr>
        <p:spPr bwMode="auto">
          <a:xfrm flipV="1">
            <a:off x="8638108" y="5507189"/>
            <a:ext cx="0" cy="352929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19" name="AutoShape 6"/>
          <p:cNvSpPr>
            <a:spLocks noChangeArrowheads="1"/>
          </p:cNvSpPr>
          <p:nvPr/>
        </p:nvSpPr>
        <p:spPr bwMode="auto">
          <a:xfrm>
            <a:off x="6300660" y="5017809"/>
            <a:ext cx="189908" cy="978759"/>
          </a:xfrm>
          <a:prstGeom prst="rightArrow">
            <a:avLst>
              <a:gd name="adj1" fmla="val 60093"/>
              <a:gd name="adj2" fmla="val 69326"/>
            </a:avLst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endParaRPr kumimoji="1" lang="ko-KR" altLang="en-US" sz="1500" b="0">
              <a:solidFill>
                <a:srgbClr val="000000"/>
              </a:solidFill>
              <a:ea typeface="-윤명조220" pitchFamily="18" charset="-127"/>
            </a:endParaRPr>
          </a:p>
        </p:txBody>
      </p:sp>
      <p:sp>
        <p:nvSpPr>
          <p:cNvPr id="320" name="AutoShape 6"/>
          <p:cNvSpPr>
            <a:spLocks noChangeArrowheads="1"/>
          </p:cNvSpPr>
          <p:nvPr/>
        </p:nvSpPr>
        <p:spPr bwMode="auto">
          <a:xfrm>
            <a:off x="7799949" y="5017809"/>
            <a:ext cx="189908" cy="978759"/>
          </a:xfrm>
          <a:prstGeom prst="rightArrow">
            <a:avLst>
              <a:gd name="adj1" fmla="val 60093"/>
              <a:gd name="adj2" fmla="val 69326"/>
            </a:avLst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endParaRPr kumimoji="1" lang="ko-KR" altLang="en-US" sz="1500" b="0">
              <a:solidFill>
                <a:srgbClr val="000000"/>
              </a:solidFill>
              <a:ea typeface="-윤명조220" pitchFamily="18" charset="-127"/>
            </a:endParaRPr>
          </a:p>
        </p:txBody>
      </p:sp>
      <p:sp>
        <p:nvSpPr>
          <p:cNvPr id="321" name="TextBox 320"/>
          <p:cNvSpPr txBox="1">
            <a:spLocks noChangeArrowheads="1"/>
          </p:cNvSpPr>
          <p:nvPr/>
        </p:nvSpPr>
        <p:spPr bwMode="auto">
          <a:xfrm>
            <a:off x="6535170" y="5913952"/>
            <a:ext cx="2928576" cy="418341"/>
          </a:xfrm>
          <a:prstGeom prst="rect">
            <a:avLst/>
          </a:prstGeom>
          <a:pattFill prst="ltDnDiag">
            <a:fgClr>
              <a:srgbClr val="BBE0E3"/>
            </a:fgClr>
            <a:bgClr>
              <a:srgbClr val="FFFFFF"/>
            </a:bgClr>
          </a:patt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결계계좌가 같을 경우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분리 청구 별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금액만큼 인출이 됨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대응 필요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grpSp>
        <p:nvGrpSpPr>
          <p:cNvPr id="98" name="그룹 9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6" name="그룹 12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11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2" name="TextBox 11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1302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편의 중심의 청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요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33240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일 변경 후에도 통합청구를 가능하게 하려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구 파일 생성 작업 여부에 따라 결제일 변경 반영 작업을 분리하여 설계 해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03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04" name="TextBox 10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8" name="TextBox 10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제일 변경 프로세스 개선을 위한 반영 업무 정의 예시</a:t>
              </a:r>
            </a:p>
          </p:txBody>
        </p:sp>
        <p:cxnSp>
          <p:nvCxnSpPr>
            <p:cNvPr id="10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3" name="직사각형 152"/>
          <p:cNvSpPr/>
          <p:nvPr/>
        </p:nvSpPr>
        <p:spPr bwMode="auto">
          <a:xfrm>
            <a:off x="272480" y="1916832"/>
            <a:ext cx="9360470" cy="3168352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54000" rIns="18000" bIns="54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graphicFrame>
        <p:nvGraphicFramePr>
          <p:cNvPr id="154" name="표 153"/>
          <p:cNvGraphicFramePr>
            <a:graphicFrameLocks noGrp="1"/>
          </p:cNvGraphicFramePr>
          <p:nvPr>
            <p:extLst/>
          </p:nvPr>
        </p:nvGraphicFramePr>
        <p:xfrm>
          <a:off x="278830" y="5241304"/>
          <a:ext cx="9354690" cy="1113601"/>
        </p:xfrm>
        <a:graphic>
          <a:graphicData uri="http://schemas.openxmlformats.org/drawingml/2006/table">
            <a:tbl>
              <a:tblPr firstRow="1" bandRow="1"/>
              <a:tblGrid>
                <a:gridCol w="785738"/>
                <a:gridCol w="8568952"/>
              </a:tblGrid>
              <a:tr h="22695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기능요구사항정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695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결제일 즉시변경 대상자들에 대한 업무팀 처리 기능 및 변경 결제일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반영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06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익일 자동이체청구파일 검증 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결제일 즉시변경 요청자 자동 검출 및 대상제외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695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71450" indent="-17145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</a:rPr>
                        <a:t>변경결제일에 청구금액 재생성 기능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5" name="Oval 9"/>
          <p:cNvSpPr>
            <a:spLocks noChangeArrowheads="1"/>
          </p:cNvSpPr>
          <p:nvPr/>
        </p:nvSpPr>
        <p:spPr bwMode="auto">
          <a:xfrm>
            <a:off x="568868" y="5542632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1</a:t>
            </a:r>
          </a:p>
        </p:txBody>
      </p:sp>
      <p:sp>
        <p:nvSpPr>
          <p:cNvPr id="156" name="Oval 9"/>
          <p:cNvSpPr>
            <a:spLocks noChangeArrowheads="1"/>
          </p:cNvSpPr>
          <p:nvPr/>
        </p:nvSpPr>
        <p:spPr bwMode="auto">
          <a:xfrm>
            <a:off x="568868" y="5830664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2</a:t>
            </a:r>
          </a:p>
        </p:txBody>
      </p:sp>
      <p:sp>
        <p:nvSpPr>
          <p:cNvPr id="157" name="Oval 9"/>
          <p:cNvSpPr>
            <a:spLocks noChangeArrowheads="1"/>
          </p:cNvSpPr>
          <p:nvPr/>
        </p:nvSpPr>
        <p:spPr bwMode="auto">
          <a:xfrm>
            <a:off x="568868" y="6118696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3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344487" y="1964087"/>
            <a:ext cx="1224137" cy="30127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결제일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즉시변경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반영요청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리스트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1712639" y="1976965"/>
            <a:ext cx="2520281" cy="299982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Text Box 23"/>
          <p:cNvSpPr txBox="1">
            <a:spLocks noChangeArrowheads="1"/>
          </p:cNvSpPr>
          <p:nvPr/>
        </p:nvSpPr>
        <p:spPr bwMode="auto">
          <a:xfrm>
            <a:off x="1725519" y="1969732"/>
            <a:ext cx="2507401" cy="5832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업무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팀</a:t>
            </a: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 변경반영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856656" y="2835289"/>
            <a:ext cx="1008112" cy="953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업무팀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담당자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리스트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수령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4448944" y="1988467"/>
            <a:ext cx="5040560" cy="148197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Text Box 23"/>
          <p:cNvSpPr txBox="1">
            <a:spLocks noChangeArrowheads="1"/>
          </p:cNvSpPr>
          <p:nvPr/>
        </p:nvSpPr>
        <p:spPr bwMode="auto">
          <a:xfrm>
            <a:off x="4441331" y="1975587"/>
            <a:ext cx="720079" cy="14995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청구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파일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前</a:t>
            </a:r>
            <a:endParaRPr kumimoji="1" lang="ko-KR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5241032" y="2060847"/>
            <a:ext cx="1296144" cy="13627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변경 결제일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B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반영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4443305" y="3540392"/>
            <a:ext cx="5040560" cy="148197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Text Box 23"/>
          <p:cNvSpPr txBox="1">
            <a:spLocks noChangeArrowheads="1"/>
          </p:cNvSpPr>
          <p:nvPr/>
        </p:nvSpPr>
        <p:spPr bwMode="auto">
          <a:xfrm>
            <a:off x="4435692" y="3527512"/>
            <a:ext cx="720079" cy="14995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>
            <a:defPPr>
              <a:defRPr lang="ko-KR"/>
            </a:defPPr>
            <a:lvl1pPr algn="ctr">
              <a:lnSpc>
                <a:spcPct val="120000"/>
              </a:lnSpc>
              <a:defRPr sz="12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청구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파일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  <a:endParaRPr kumimoji="1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後</a:t>
            </a:r>
            <a:endParaRPr kumimoji="1" lang="ko-KR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67" name="꺾인 연결선 166"/>
          <p:cNvCxnSpPr>
            <a:stCxn id="158" idx="3"/>
            <a:endCxn id="161" idx="0"/>
          </p:cNvCxnSpPr>
          <p:nvPr/>
        </p:nvCxnSpPr>
        <p:spPr bwMode="auto">
          <a:xfrm flipV="1">
            <a:off x="1568624" y="2835289"/>
            <a:ext cx="792088" cy="635151"/>
          </a:xfrm>
          <a:prstGeom prst="bentConnector4">
            <a:avLst>
              <a:gd name="adj1" fmla="val 11490"/>
              <a:gd name="adj2" fmla="val 120844"/>
            </a:avLst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8" name="TextBox 167"/>
          <p:cNvSpPr txBox="1"/>
          <p:nvPr/>
        </p:nvSpPr>
        <p:spPr>
          <a:xfrm>
            <a:off x="3080792" y="3645024"/>
            <a:ext cx="1008112" cy="953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결제일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즉시변경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청처리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작업화면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9" name="꺾인 연결선 168"/>
          <p:cNvCxnSpPr>
            <a:stCxn id="161" idx="2"/>
            <a:endCxn id="168" idx="1"/>
          </p:cNvCxnSpPr>
          <p:nvPr/>
        </p:nvCxnSpPr>
        <p:spPr bwMode="auto">
          <a:xfrm rot="16200000" flipH="1">
            <a:off x="2554322" y="3595430"/>
            <a:ext cx="332860" cy="720080"/>
          </a:xfrm>
          <a:prstGeom prst="bentConnector2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0" name="꺾인 연결선 169"/>
          <p:cNvCxnSpPr>
            <a:stCxn id="168" idx="3"/>
            <a:endCxn id="163" idx="1"/>
          </p:cNvCxnSpPr>
          <p:nvPr/>
        </p:nvCxnSpPr>
        <p:spPr bwMode="auto">
          <a:xfrm flipV="1">
            <a:off x="4088904" y="2725342"/>
            <a:ext cx="352427" cy="1396558"/>
          </a:xfrm>
          <a:prstGeom prst="bentConnector3">
            <a:avLst>
              <a:gd name="adj1" fmla="val 68801"/>
            </a:avLst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1" name="꺾인 연결선 170"/>
          <p:cNvCxnSpPr>
            <a:stCxn id="168" idx="3"/>
            <a:endCxn id="166" idx="1"/>
          </p:cNvCxnSpPr>
          <p:nvPr/>
        </p:nvCxnSpPr>
        <p:spPr bwMode="auto">
          <a:xfrm>
            <a:off x="4088904" y="4121900"/>
            <a:ext cx="346788" cy="155367"/>
          </a:xfrm>
          <a:prstGeom prst="bentConnector3">
            <a:avLst>
              <a:gd name="adj1" fmla="val 69107"/>
            </a:avLst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2" name="TextBox 171"/>
          <p:cNvSpPr txBox="1"/>
          <p:nvPr/>
        </p:nvSpPr>
        <p:spPr>
          <a:xfrm>
            <a:off x="6713443" y="2060848"/>
            <a:ext cx="2730665" cy="136277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3" name="직선 화살표 연결선 172"/>
          <p:cNvCxnSpPr>
            <a:stCxn id="164" idx="3"/>
            <a:endCxn id="172" idx="1"/>
          </p:cNvCxnSpPr>
          <p:nvPr/>
        </p:nvCxnSpPr>
        <p:spPr bwMode="auto">
          <a:xfrm>
            <a:off x="6537176" y="2742234"/>
            <a:ext cx="176267" cy="1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4" name="TextBox 173"/>
          <p:cNvSpPr txBox="1"/>
          <p:nvPr/>
        </p:nvSpPr>
        <p:spPr>
          <a:xfrm>
            <a:off x="7168895" y="2207615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결제일변경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청일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5" name="직선 연결선 174"/>
          <p:cNvCxnSpPr/>
          <p:nvPr/>
        </p:nvCxnSpPr>
        <p:spPr bwMode="auto">
          <a:xfrm>
            <a:off x="6825208" y="2720127"/>
            <a:ext cx="21593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76" name="직선 연결선 175"/>
          <p:cNvCxnSpPr/>
          <p:nvPr/>
        </p:nvCxnSpPr>
        <p:spPr bwMode="auto">
          <a:xfrm>
            <a:off x="6825208" y="2593096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77" name="직선 연결선 176"/>
          <p:cNvCxnSpPr/>
          <p:nvPr/>
        </p:nvCxnSpPr>
        <p:spPr bwMode="auto">
          <a:xfrm>
            <a:off x="7600349" y="2581926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78" name="직선 연결선 177"/>
          <p:cNvCxnSpPr/>
          <p:nvPr/>
        </p:nvCxnSpPr>
        <p:spPr bwMode="auto">
          <a:xfrm>
            <a:off x="8984529" y="2591388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79" name="직선 연결선 178"/>
          <p:cNvCxnSpPr/>
          <p:nvPr/>
        </p:nvCxnSpPr>
        <p:spPr bwMode="auto">
          <a:xfrm>
            <a:off x="6825208" y="2893475"/>
            <a:ext cx="21593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0" name="TextBox 179"/>
          <p:cNvSpPr txBox="1"/>
          <p:nvPr/>
        </p:nvSpPr>
        <p:spPr>
          <a:xfrm>
            <a:off x="8438535" y="2219872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변경결제일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8454888" y="2969056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금액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생성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5241032" y="3591647"/>
            <a:ext cx="1296144" cy="13627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자동이체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제외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익일 오전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파일검증 시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6719083" y="3599520"/>
            <a:ext cx="2730665" cy="136277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7174535" y="3746287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일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5" name="직선 연결선 184"/>
          <p:cNvCxnSpPr/>
          <p:nvPr/>
        </p:nvCxnSpPr>
        <p:spPr bwMode="auto">
          <a:xfrm>
            <a:off x="6830848" y="4258799"/>
            <a:ext cx="21593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86" name="직선 연결선 185"/>
          <p:cNvCxnSpPr/>
          <p:nvPr/>
        </p:nvCxnSpPr>
        <p:spPr bwMode="auto">
          <a:xfrm>
            <a:off x="6830848" y="4131768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87" name="직선 연결선 186"/>
          <p:cNvCxnSpPr/>
          <p:nvPr/>
        </p:nvCxnSpPr>
        <p:spPr bwMode="auto">
          <a:xfrm>
            <a:off x="7605989" y="4120598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88" name="직선 연결선 187"/>
          <p:cNvCxnSpPr/>
          <p:nvPr/>
        </p:nvCxnSpPr>
        <p:spPr bwMode="auto">
          <a:xfrm>
            <a:off x="8990169" y="4130060"/>
            <a:ext cx="0" cy="279438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89" name="직선 연결선 188"/>
          <p:cNvCxnSpPr/>
          <p:nvPr/>
        </p:nvCxnSpPr>
        <p:spPr bwMode="auto">
          <a:xfrm>
            <a:off x="6830848" y="4432147"/>
            <a:ext cx="77514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0" name="TextBox 189"/>
          <p:cNvSpPr txBox="1"/>
          <p:nvPr/>
        </p:nvSpPr>
        <p:spPr>
          <a:xfrm>
            <a:off x="8444175" y="3758544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변경결제일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8460528" y="4507728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금액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재생성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A+B)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7151131" y="4490489"/>
            <a:ext cx="952457" cy="3614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청구금액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3" name="직선 연결선 192"/>
          <p:cNvCxnSpPr/>
          <p:nvPr/>
        </p:nvCxnSpPr>
        <p:spPr bwMode="auto">
          <a:xfrm>
            <a:off x="7655187" y="4439237"/>
            <a:ext cx="1334982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4" name="TextBox 42"/>
          <p:cNvSpPr txBox="1">
            <a:spLocks noChangeArrowheads="1"/>
          </p:cNvSpPr>
          <p:nvPr/>
        </p:nvSpPr>
        <p:spPr bwMode="auto">
          <a:xfrm>
            <a:off x="7151131" y="4223213"/>
            <a:ext cx="360040" cy="27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 </a:t>
            </a:r>
          </a:p>
        </p:txBody>
      </p:sp>
      <p:sp>
        <p:nvSpPr>
          <p:cNvPr id="195" name="TextBox 42"/>
          <p:cNvSpPr txBox="1">
            <a:spLocks noChangeArrowheads="1"/>
          </p:cNvSpPr>
          <p:nvPr/>
        </p:nvSpPr>
        <p:spPr bwMode="auto">
          <a:xfrm>
            <a:off x="8159243" y="4215033"/>
            <a:ext cx="360040" cy="27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cxnSp>
        <p:nvCxnSpPr>
          <p:cNvPr id="196" name="직선 화살표 연결선 195"/>
          <p:cNvCxnSpPr>
            <a:endCxn id="183" idx="1"/>
          </p:cNvCxnSpPr>
          <p:nvPr/>
        </p:nvCxnSpPr>
        <p:spPr bwMode="auto">
          <a:xfrm flipV="1">
            <a:off x="6537176" y="4280907"/>
            <a:ext cx="181907" cy="472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7" name="TextBox 42"/>
          <p:cNvSpPr txBox="1">
            <a:spLocks noChangeArrowheads="1"/>
          </p:cNvSpPr>
          <p:nvPr/>
        </p:nvSpPr>
        <p:spPr bwMode="auto">
          <a:xfrm>
            <a:off x="7113240" y="2670283"/>
            <a:ext cx="360040" cy="27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 </a:t>
            </a:r>
          </a:p>
        </p:txBody>
      </p:sp>
      <p:sp>
        <p:nvSpPr>
          <p:cNvPr id="198" name="TextBox 42"/>
          <p:cNvSpPr txBox="1">
            <a:spLocks noChangeArrowheads="1"/>
          </p:cNvSpPr>
          <p:nvPr/>
        </p:nvSpPr>
        <p:spPr bwMode="auto">
          <a:xfrm>
            <a:off x="8121352" y="2669980"/>
            <a:ext cx="360040" cy="27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199" name="Oval 9"/>
          <p:cNvSpPr>
            <a:spLocks noChangeArrowheads="1"/>
          </p:cNvSpPr>
          <p:nvPr/>
        </p:nvSpPr>
        <p:spPr bwMode="auto">
          <a:xfrm>
            <a:off x="3932312" y="3573016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1</a:t>
            </a:r>
          </a:p>
        </p:txBody>
      </p:sp>
      <p:sp>
        <p:nvSpPr>
          <p:cNvPr id="200" name="Oval 9"/>
          <p:cNvSpPr>
            <a:spLocks noChangeArrowheads="1"/>
          </p:cNvSpPr>
          <p:nvPr/>
        </p:nvSpPr>
        <p:spPr bwMode="auto">
          <a:xfrm>
            <a:off x="6321152" y="3560440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2</a:t>
            </a:r>
          </a:p>
        </p:txBody>
      </p:sp>
      <p:sp>
        <p:nvSpPr>
          <p:cNvPr id="201" name="Oval 9"/>
          <p:cNvSpPr>
            <a:spLocks noChangeArrowheads="1"/>
          </p:cNvSpPr>
          <p:nvPr/>
        </p:nvSpPr>
        <p:spPr bwMode="auto">
          <a:xfrm>
            <a:off x="9240109" y="3501008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3</a:t>
            </a:r>
          </a:p>
        </p:txBody>
      </p:sp>
      <p:sp>
        <p:nvSpPr>
          <p:cNvPr id="202" name="Oval 9"/>
          <p:cNvSpPr>
            <a:spLocks noChangeArrowheads="1"/>
          </p:cNvSpPr>
          <p:nvPr/>
        </p:nvSpPr>
        <p:spPr bwMode="auto">
          <a:xfrm>
            <a:off x="6321152" y="2048272"/>
            <a:ext cx="228600" cy="2286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 type="none" w="sm" len="sm"/>
            <a:tailEnd type="none" w="sm" len="sm"/>
          </a:ln>
          <a:effectLst/>
        </p:spPr>
        <p:txBody>
          <a:bodyPr wrap="none" lIns="18000" tIns="18000" rIns="18000" bIns="18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 charset="0"/>
                <a:ea typeface="-윤명조220" pitchFamily="18" charset="-127"/>
              </a:rPr>
              <a:t>1</a:t>
            </a:r>
          </a:p>
        </p:txBody>
      </p:sp>
      <p:grpSp>
        <p:nvGrpSpPr>
          <p:cNvPr id="79" name="그룹 7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0" name="그룹 9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128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카드프로세싱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정산</a:t>
            </a:r>
            <a:r>
              <a:rPr lang="en-US" altLang="ko-KR" dirty="0" smtClean="0"/>
              <a:t>/</a:t>
            </a:r>
            <a:r>
              <a:rPr lang="ko-KR" altLang="en-US" dirty="0" smtClean="0"/>
              <a:t>포인트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정산</a:t>
            </a:r>
            <a:r>
              <a:rPr lang="en-US" altLang="ko-KR" dirty="0" smtClean="0"/>
              <a:t>/</a:t>
            </a:r>
            <a:r>
              <a:rPr lang="ko-KR" altLang="en-US" dirty="0" smtClean="0"/>
              <a:t>포인트 업무처리 기준과 절차를 표준화 하고 시스템 지원 범위를 확대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산 결과의 정합성과 신뢰성을 제고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고객의 포인트 적립 사용 환경개선을 목표로 함 </a:t>
            </a:r>
            <a:endParaRPr lang="ko-KR" altLang="en-US" dirty="0"/>
          </a:p>
        </p:txBody>
      </p:sp>
      <p:sp>
        <p:nvSpPr>
          <p:cNvPr id="26" name="직사각형 6"/>
          <p:cNvSpPr/>
          <p:nvPr/>
        </p:nvSpPr>
        <p:spPr bwMode="auto">
          <a:xfrm>
            <a:off x="287917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</a:p>
        </p:txBody>
      </p:sp>
      <p:sp>
        <p:nvSpPr>
          <p:cNvPr id="27" name="직사각형 7"/>
          <p:cNvSpPr/>
          <p:nvPr/>
        </p:nvSpPr>
        <p:spPr bwMode="auto">
          <a:xfrm>
            <a:off x="1461818" y="1412776"/>
            <a:ext cx="1108684" cy="648000"/>
          </a:xfrm>
          <a:prstGeom prst="homePlate">
            <a:avLst>
              <a:gd name="adj" fmla="val 1200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</a:p>
        </p:txBody>
      </p:sp>
      <p:sp>
        <p:nvSpPr>
          <p:cNvPr id="28" name="직사각형 8"/>
          <p:cNvSpPr/>
          <p:nvPr/>
        </p:nvSpPr>
        <p:spPr bwMode="auto">
          <a:xfrm>
            <a:off x="2635718" y="1412776"/>
            <a:ext cx="1108684" cy="648000"/>
          </a:xfrm>
          <a:prstGeom prst="homePlate">
            <a:avLst>
              <a:gd name="adj" fmla="val 12699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</a:p>
        </p:txBody>
      </p:sp>
      <p:sp>
        <p:nvSpPr>
          <p:cNvPr id="30" name="직사각형 10"/>
          <p:cNvSpPr/>
          <p:nvPr/>
        </p:nvSpPr>
        <p:spPr bwMode="auto">
          <a:xfrm>
            <a:off x="4983517" y="1412776"/>
            <a:ext cx="1108684" cy="648000"/>
          </a:xfrm>
          <a:prstGeom prst="homePlate">
            <a:avLst>
              <a:gd name="adj" fmla="val 14772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관리</a:t>
            </a:r>
          </a:p>
        </p:txBody>
      </p:sp>
      <p:sp>
        <p:nvSpPr>
          <p:cNvPr id="31" name="직사각형 11"/>
          <p:cNvSpPr/>
          <p:nvPr/>
        </p:nvSpPr>
        <p:spPr bwMode="auto">
          <a:xfrm>
            <a:off x="6157417" y="1412776"/>
            <a:ext cx="1108684" cy="648000"/>
          </a:xfrm>
          <a:prstGeom prst="homePlate">
            <a:avLst>
              <a:gd name="adj" fmla="val 15463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관리</a:t>
            </a:r>
          </a:p>
        </p:txBody>
      </p:sp>
      <p:sp>
        <p:nvSpPr>
          <p:cNvPr id="32" name="직사각형 12"/>
          <p:cNvSpPr/>
          <p:nvPr/>
        </p:nvSpPr>
        <p:spPr bwMode="auto">
          <a:xfrm>
            <a:off x="7331318" y="1412776"/>
            <a:ext cx="1108684" cy="648000"/>
          </a:xfrm>
          <a:prstGeom prst="homePlate">
            <a:avLst>
              <a:gd name="adj" fmla="val 17535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서비스 관리</a:t>
            </a:r>
          </a:p>
        </p:txBody>
      </p:sp>
      <p:sp>
        <p:nvSpPr>
          <p:cNvPr id="33" name="직사각형 13"/>
          <p:cNvSpPr/>
          <p:nvPr/>
        </p:nvSpPr>
        <p:spPr bwMode="auto">
          <a:xfrm>
            <a:off x="8505217" y="1412776"/>
            <a:ext cx="1108684" cy="648000"/>
          </a:xfrm>
          <a:prstGeom prst="homePlate">
            <a:avLst>
              <a:gd name="adj" fmla="val 20988"/>
            </a:avLst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관리</a:t>
            </a: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88504" y="2638100"/>
            <a:ext cx="3040025" cy="3588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488504" y="2995532"/>
            <a:ext cx="3040025" cy="31697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결과 검증 위한 시스템 지원 부족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급 수수료 대사 검증 절차 미비 </a:t>
            </a: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 산정 내역의 정확성 및 대사를 위한 프로세스의 표준화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화 필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업무기준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선 필요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회계처리 기준 재정의 필요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관련 실시간 업무 처리 한계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‒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간 양방향 전환 제한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0698"/>
            <a:ext cx="9334604" cy="28627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6065">
                <a:moveTo>
                  <a:pt x="0" y="276065"/>
                </a:moveTo>
                <a:lnTo>
                  <a:pt x="69782" y="0"/>
                </a:lnTo>
                <a:lnTo>
                  <a:pt x="991418" y="0"/>
                </a:lnTo>
                <a:lnTo>
                  <a:pt x="9334604" y="273652"/>
                </a:lnTo>
                <a:lnTo>
                  <a:pt x="0" y="27606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6590244" y="3140968"/>
            <a:ext cx="2755244" cy="1457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   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정산업무 표준화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및 자동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5113" lvl="0" indent="-119063">
              <a:lnSpc>
                <a:spcPct val="150000"/>
              </a:lnSpc>
              <a:buFontTx/>
              <a:buChar char="-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산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련 계약의 등록에서 최종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증까지의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절차 표준화</a:t>
            </a:r>
            <a:endParaRPr lang="en-US" altLang="ko-KR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5113" lvl="0" indent="-119063">
              <a:lnSpc>
                <a:spcPct val="150000"/>
              </a:lnSpc>
              <a:buFontTx/>
              <a:buChar char="-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산 기준정보 관리 및 검증단계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지원 확대</a:t>
            </a:r>
            <a:endParaRPr lang="en-US" altLang="ko-KR" b="0" dirty="0">
              <a:solidFill>
                <a:srgbClr val="FFFFFF"/>
              </a:solidFill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6590244" y="3195274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6590243" y="4770440"/>
            <a:ext cx="2893001" cy="10883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    포인트 적립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사용 고객 편의성 제고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5113" indent="-119063">
              <a:lnSpc>
                <a:spcPct val="150000"/>
              </a:lnSpc>
              <a:buFontTx/>
              <a:buChar char="-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인트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간 양방향 전환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취소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인트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 관련 편의 기반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  <a:endParaRPr lang="en-US" altLang="ko-KR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5113" indent="-119063">
              <a:lnSpc>
                <a:spcPct val="150000"/>
              </a:lnSpc>
              <a:buFontTx/>
              <a:buChar char="-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인트 관련 회계 처리 기준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립</a:t>
            </a:r>
            <a:endParaRPr lang="en-US" altLang="ko-KR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6590244" y="4776056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3690211" y="2782116"/>
            <a:ext cx="2702949" cy="3167164"/>
            <a:chOff x="3834227" y="2782116"/>
            <a:chExt cx="2785307" cy="3167164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387730"/>
              <a:ext cx="2785307" cy="256155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883204" y="3267726"/>
              <a:ext cx="2558638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 효율성 및 </a:t>
              </a:r>
              <a:r>
                <a:rPr kumimoji="1" lang="en-US" altLang="ko-KR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연성 </a:t>
              </a: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고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 중심의 서비스 제공 기반 강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4" name="직사각형 9"/>
          <p:cNvSpPr/>
          <p:nvPr/>
        </p:nvSpPr>
        <p:spPr bwMode="auto">
          <a:xfrm>
            <a:off x="3809616" y="1412776"/>
            <a:ext cx="1108684" cy="50581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카드프로세싱</a:t>
            </a:r>
            <a:endParaRPr kumimoji="1"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9"/>
          <p:cNvSpPr/>
          <p:nvPr/>
        </p:nvSpPr>
        <p:spPr bwMode="auto">
          <a:xfrm>
            <a:off x="3809616" y="1990998"/>
            <a:ext cx="1108684" cy="357882"/>
          </a:xfrm>
          <a:prstGeom prst="homePlate">
            <a:avLst>
              <a:gd name="adj" fmla="val 14772"/>
            </a:avLst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정산</a:t>
            </a: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포인트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269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그룹 92"/>
          <p:cNvGrpSpPr/>
          <p:nvPr/>
        </p:nvGrpSpPr>
        <p:grpSpPr>
          <a:xfrm>
            <a:off x="5197540" y="2928152"/>
            <a:ext cx="4410000" cy="3400360"/>
            <a:chOff x="5197540" y="2928152"/>
            <a:chExt cx="4410000" cy="3400360"/>
          </a:xfrm>
        </p:grpSpPr>
        <p:sp>
          <p:nvSpPr>
            <p:cNvPr id="95" name="Rectangle 30"/>
            <p:cNvSpPr/>
            <p:nvPr/>
          </p:nvSpPr>
          <p:spPr bwMode="gray">
            <a:xfrm>
              <a:off x="5197540" y="3249103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6" name="Rectangle 30"/>
            <p:cNvSpPr/>
            <p:nvPr/>
          </p:nvSpPr>
          <p:spPr bwMode="gray">
            <a:xfrm>
              <a:off x="5197540" y="2928152"/>
              <a:ext cx="4410000" cy="3251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선 방향</a:t>
              </a:r>
            </a:p>
          </p:txBody>
        </p:sp>
      </p:grpSp>
      <p:grpSp>
        <p:nvGrpSpPr>
          <p:cNvPr id="98" name="그룹 97"/>
          <p:cNvGrpSpPr/>
          <p:nvPr/>
        </p:nvGrpSpPr>
        <p:grpSpPr>
          <a:xfrm>
            <a:off x="326408" y="2928153"/>
            <a:ext cx="4410000" cy="3381166"/>
            <a:chOff x="326408" y="2928153"/>
            <a:chExt cx="4410000" cy="3381166"/>
          </a:xfrm>
        </p:grpSpPr>
        <p:sp>
          <p:nvSpPr>
            <p:cNvPr id="99" name="Rectangle 30"/>
            <p:cNvSpPr/>
            <p:nvPr/>
          </p:nvSpPr>
          <p:spPr bwMode="gray">
            <a:xfrm>
              <a:off x="326408" y="3229910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0" name="Rectangle 30"/>
            <p:cNvSpPr/>
            <p:nvPr/>
          </p:nvSpPr>
          <p:spPr bwMode="gray">
            <a:xfrm>
              <a:off x="326408" y="2928153"/>
              <a:ext cx="4410000" cy="30175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행 문제점</a:t>
              </a: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정산업무 </a:t>
            </a:r>
            <a:r>
              <a:rPr lang="ko-KR" altLang="en-US" dirty="0"/>
              <a:t>표준화 및 </a:t>
            </a:r>
            <a:r>
              <a:rPr lang="ko-KR" altLang="en-US" dirty="0" smtClean="0"/>
              <a:t>자동화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정산 업무의 표준화는 업무 절차와 실제 계약 내용에 대한 표준화를 함께 진행하면</a:t>
            </a:r>
            <a:r>
              <a:rPr lang="en-US" altLang="ko-KR" dirty="0" smtClean="0"/>
              <a:t>,</a:t>
            </a:r>
            <a:r>
              <a:rPr lang="ko-KR" altLang="en-US" dirty="0" smtClean="0"/>
              <a:t> 자동화를 통한 효과를 극대화 할 수 있음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Rule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반의 정산 기준 정보 관리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산 기초 정보 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ata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의 확보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사 작업 시스템 지원 확대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산 업무 표준화를 위한 계약서 재검토 필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0" indent="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계약 변경 등을 통한 계약 표준화 고려 필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 효율 고려한 정산 자동화 범위의 정의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7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그룹 12"/>
          <p:cNvGrpSpPr/>
          <p:nvPr/>
        </p:nvGrpSpPr>
        <p:grpSpPr>
          <a:xfrm>
            <a:off x="5252279" y="3386124"/>
            <a:ext cx="4259174" cy="2717657"/>
            <a:chOff x="5185180" y="3386124"/>
            <a:chExt cx="4388231" cy="2717657"/>
          </a:xfrm>
        </p:grpSpPr>
        <p:sp>
          <p:nvSpPr>
            <p:cNvPr id="5" name="아래쪽 화살표 4"/>
            <p:cNvSpPr/>
            <p:nvPr/>
          </p:nvSpPr>
          <p:spPr bwMode="auto">
            <a:xfrm>
              <a:off x="5185180" y="3508399"/>
              <a:ext cx="957774" cy="931714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기준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관리</a:t>
              </a: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6078331" y="3616232"/>
              <a:ext cx="957774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 계약 정보 등록 </a:t>
              </a:r>
            </a:p>
          </p:txBody>
        </p:sp>
        <p:sp>
          <p:nvSpPr>
            <p:cNvPr id="7" name="순서도: 자기 디스크 6"/>
            <p:cNvSpPr/>
            <p:nvPr/>
          </p:nvSpPr>
          <p:spPr bwMode="auto">
            <a:xfrm>
              <a:off x="7166818" y="3672321"/>
              <a:ext cx="860403" cy="52109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처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</a:t>
              </a:r>
            </a:p>
          </p:txBody>
        </p:sp>
        <p:sp>
          <p:nvSpPr>
            <p:cNvPr id="92" name="순서도: 자기 디스크 91"/>
            <p:cNvSpPr/>
            <p:nvPr/>
          </p:nvSpPr>
          <p:spPr bwMode="auto">
            <a:xfrm>
              <a:off x="8672408" y="3684295"/>
              <a:ext cx="860403" cy="521094"/>
            </a:xfrm>
            <a:prstGeom prst="flowChartMagneticDisk">
              <a:avLst/>
            </a:prstGeom>
            <a:solidFill>
              <a:srgbClr val="1B3A87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1" lang="ko-KR" altLang="en-US" sz="120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아래쪽 화살표 93"/>
            <p:cNvSpPr/>
            <p:nvPr/>
          </p:nvSpPr>
          <p:spPr bwMode="auto">
            <a:xfrm>
              <a:off x="5185180" y="4440112"/>
              <a:ext cx="957774" cy="977130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절차 자동화</a:t>
              </a:r>
            </a:p>
          </p:txBody>
        </p:sp>
        <p:cxnSp>
          <p:nvCxnSpPr>
            <p:cNvPr id="9" name="구부러진 연결선 8"/>
            <p:cNvCxnSpPr>
              <a:stCxn id="89" idx="0"/>
              <a:endCxn id="7" idx="1"/>
            </p:cNvCxnSpPr>
            <p:nvPr/>
          </p:nvCxnSpPr>
          <p:spPr bwMode="auto">
            <a:xfrm rot="16200000" flipH="1">
              <a:off x="7049074" y="3124376"/>
              <a:ext cx="56089" cy="1039801"/>
            </a:xfrm>
            <a:prstGeom prst="curvedConnector3">
              <a:avLst>
                <a:gd name="adj1" fmla="val -370514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7" name="구부러진 연결선 96"/>
            <p:cNvCxnSpPr>
              <a:stCxn id="89" idx="0"/>
              <a:endCxn id="92" idx="1"/>
            </p:cNvCxnSpPr>
            <p:nvPr/>
          </p:nvCxnSpPr>
          <p:spPr bwMode="auto">
            <a:xfrm rot="16200000" flipH="1">
              <a:off x="7795882" y="2377567"/>
              <a:ext cx="68063" cy="2545392"/>
            </a:xfrm>
            <a:prstGeom prst="curvedConnector3">
              <a:avLst>
                <a:gd name="adj1" fmla="val -305333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102" name="순서도: 자기 디스크 101"/>
            <p:cNvSpPr/>
            <p:nvPr/>
          </p:nvSpPr>
          <p:spPr bwMode="auto">
            <a:xfrm>
              <a:off x="7196521" y="4600760"/>
              <a:ext cx="860403" cy="521094"/>
            </a:xfrm>
            <a:prstGeom prst="flowChartMagneticDisk">
              <a:avLst/>
            </a:prstGeom>
            <a:solidFill>
              <a:srgbClr val="1B3A87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정산결과</a:t>
              </a:r>
              <a:endParaRPr kumimoji="1" lang="en-US" altLang="ko-KR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" name="오른쪽 화살표 18"/>
            <p:cNvSpPr/>
            <p:nvPr/>
          </p:nvSpPr>
          <p:spPr bwMode="auto">
            <a:xfrm>
              <a:off x="6999822" y="4588786"/>
              <a:ext cx="196700" cy="521094"/>
            </a:xfrm>
            <a:prstGeom prst="rightArrow">
              <a:avLst/>
            </a:prstGeom>
            <a:solidFill>
              <a:srgbClr val="A2B7EC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순서도: 자기 디스크 103"/>
            <p:cNvSpPr/>
            <p:nvPr/>
          </p:nvSpPr>
          <p:spPr bwMode="auto">
            <a:xfrm>
              <a:off x="8681948" y="4599390"/>
              <a:ext cx="860403" cy="52109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당사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결과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6095021" y="4585507"/>
              <a:ext cx="957774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기초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 확보</a:t>
              </a:r>
            </a:p>
          </p:txBody>
        </p:sp>
        <p:cxnSp>
          <p:nvCxnSpPr>
            <p:cNvPr id="25" name="직선 화살표 연결선 24"/>
            <p:cNvCxnSpPr>
              <a:stCxn id="92" idx="3"/>
              <a:endCxn id="104" idx="1"/>
            </p:cNvCxnSpPr>
            <p:nvPr/>
          </p:nvCxnSpPr>
          <p:spPr bwMode="auto">
            <a:xfrm>
              <a:off x="9102610" y="4205388"/>
              <a:ext cx="9540" cy="39400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6" name="직사각형 25"/>
            <p:cNvSpPr/>
            <p:nvPr/>
          </p:nvSpPr>
          <p:spPr>
            <a:xfrm>
              <a:off x="7543956" y="4178464"/>
              <a:ext cx="1626780" cy="41969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“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Rule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에 따라 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결과 자동 산출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”</a:t>
              </a:r>
              <a:endParaRPr lang="ko-KR" altLang="en-US" sz="1200" dirty="0"/>
            </a:p>
          </p:txBody>
        </p:sp>
        <p:sp>
          <p:nvSpPr>
            <p:cNvPr id="111" name="아래쪽 화살표 110"/>
            <p:cNvSpPr/>
            <p:nvPr/>
          </p:nvSpPr>
          <p:spPr bwMode="auto">
            <a:xfrm>
              <a:off x="5185180" y="5417243"/>
              <a:ext cx="957774" cy="686538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결과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검증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및 회계처리</a:t>
              </a: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6081254" y="5417243"/>
              <a:ext cx="957774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결과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검증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" name="모서리가 접힌 도형 28"/>
            <p:cNvSpPr/>
            <p:nvPr/>
          </p:nvSpPr>
          <p:spPr bwMode="auto">
            <a:xfrm>
              <a:off x="7352652" y="5449163"/>
              <a:ext cx="566282" cy="504426"/>
            </a:xfrm>
            <a:prstGeom prst="foldedCorner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사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eport</a:t>
              </a:r>
            </a:p>
          </p:txBody>
        </p:sp>
        <p:cxnSp>
          <p:nvCxnSpPr>
            <p:cNvPr id="31" name="직선 화살표 연결선 30"/>
            <p:cNvCxnSpPr>
              <a:stCxn id="104" idx="3"/>
              <a:endCxn id="29" idx="0"/>
            </p:cNvCxnSpPr>
            <p:nvPr/>
          </p:nvCxnSpPr>
          <p:spPr bwMode="auto">
            <a:xfrm flipH="1">
              <a:off x="7635794" y="5120484"/>
              <a:ext cx="1476356" cy="3286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18" name="직선 화살표 연결선 117"/>
            <p:cNvCxnSpPr>
              <a:stCxn id="102" idx="3"/>
              <a:endCxn id="29" idx="0"/>
            </p:cNvCxnSpPr>
            <p:nvPr/>
          </p:nvCxnSpPr>
          <p:spPr bwMode="auto">
            <a:xfrm>
              <a:off x="7626723" y="5121854"/>
              <a:ext cx="9071" cy="32730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21" name="오각형 120"/>
            <p:cNvSpPr/>
            <p:nvPr/>
          </p:nvSpPr>
          <p:spPr bwMode="auto">
            <a:xfrm>
              <a:off x="8672565" y="5394140"/>
              <a:ext cx="893563" cy="601808"/>
            </a:xfrm>
            <a:prstGeom prst="homePlate">
              <a:avLst>
                <a:gd name="adj" fmla="val 13549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회계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계처리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2" name="직선 화살표 연결선 121"/>
            <p:cNvCxnSpPr>
              <a:stCxn id="29" idx="3"/>
              <a:endCxn id="121" idx="1"/>
            </p:cNvCxnSpPr>
            <p:nvPr/>
          </p:nvCxnSpPr>
          <p:spPr bwMode="auto">
            <a:xfrm flipV="1">
              <a:off x="7918934" y="5695045"/>
              <a:ext cx="753631" cy="633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25" name="직사각형 124"/>
            <p:cNvSpPr/>
            <p:nvPr/>
          </p:nvSpPr>
          <p:spPr>
            <a:xfrm>
              <a:off x="6954150" y="5133399"/>
              <a:ext cx="2604819" cy="251817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</p:spPr>
          <p:txBody>
            <a:bodyPr wrap="none">
              <a:spAutoFit/>
            </a:bodyPr>
            <a:lstStyle/>
            <a:p>
              <a:pPr algn="ctr"/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“</a:t>
              </a: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사 화면을 통해 정산 결과 검증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＂</a:t>
              </a:r>
              <a:endPara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>
            <a:xfrm>
              <a:off x="7104268" y="3386124"/>
              <a:ext cx="2469143" cy="251817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</p:spPr>
          <p:txBody>
            <a:bodyPr wrap="none">
              <a:spAutoFit/>
            </a:bodyPr>
            <a:lstStyle/>
            <a:p>
              <a:pPr algn="ctr"/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“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, Rule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준정보화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”</a:t>
              </a:r>
              <a:endParaRPr lang="ko-KR" altLang="en-US" sz="1200" dirty="0"/>
            </a:p>
          </p:txBody>
        </p:sp>
        <p:graphicFrame>
          <p:nvGraphicFramePr>
            <p:cNvPr id="160" name="개체 159"/>
            <p:cNvGraphicFramePr>
              <a:graphicFrameLocks noChangeAspect="1"/>
            </p:cNvGraphicFramePr>
            <p:nvPr>
              <p:extLst/>
            </p:nvPr>
          </p:nvGraphicFramePr>
          <p:xfrm>
            <a:off x="6884425" y="3810815"/>
            <a:ext cx="341772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3" name="Visio" r:id="rId3" imgW="593525" imgH="774042" progId="Visio.Drawing.11">
                    <p:embed/>
                  </p:oleObj>
                </mc:Choice>
                <mc:Fallback>
                  <p:oleObj name="Visio" r:id="rId3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884425" y="3810815"/>
                          <a:ext cx="341772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2" name="개체 161"/>
            <p:cNvGraphicFramePr>
              <a:graphicFrameLocks noChangeAspect="1"/>
            </p:cNvGraphicFramePr>
            <p:nvPr>
              <p:extLst/>
            </p:nvPr>
          </p:nvGraphicFramePr>
          <p:xfrm>
            <a:off x="6957706" y="5490909"/>
            <a:ext cx="341772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4" name="Visio" r:id="rId5" imgW="593525" imgH="774042" progId="Visio.Drawing.11">
                    <p:embed/>
                  </p:oleObj>
                </mc:Choice>
                <mc:Fallback>
                  <p:oleObj name="Visio" r:id="rId5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957706" y="5490909"/>
                          <a:ext cx="341772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12" name="그룹 11"/>
          <p:cNvGrpSpPr/>
          <p:nvPr/>
        </p:nvGrpSpPr>
        <p:grpSpPr>
          <a:xfrm>
            <a:off x="415108" y="3353136"/>
            <a:ext cx="4306226" cy="2761416"/>
            <a:chOff x="387967" y="3353136"/>
            <a:chExt cx="4436709" cy="2761416"/>
          </a:xfrm>
        </p:grpSpPr>
        <p:sp>
          <p:nvSpPr>
            <p:cNvPr id="128" name="아래쪽 화살표 127"/>
            <p:cNvSpPr/>
            <p:nvPr/>
          </p:nvSpPr>
          <p:spPr bwMode="auto">
            <a:xfrm>
              <a:off x="387967" y="3519170"/>
              <a:ext cx="964733" cy="931714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기준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관리</a:t>
              </a: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1250606" y="3627003"/>
              <a:ext cx="964733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 계약 정보 등록 </a:t>
              </a:r>
            </a:p>
          </p:txBody>
        </p:sp>
        <p:sp>
          <p:nvSpPr>
            <p:cNvPr id="130" name="순서도: 자기 디스크 129"/>
            <p:cNvSpPr/>
            <p:nvPr/>
          </p:nvSpPr>
          <p:spPr bwMode="auto">
            <a:xfrm>
              <a:off x="2337911" y="3694637"/>
              <a:ext cx="866655" cy="52109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처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</a:t>
              </a:r>
            </a:p>
          </p:txBody>
        </p:sp>
        <p:sp>
          <p:nvSpPr>
            <p:cNvPr id="132" name="아래쪽 화살표 131"/>
            <p:cNvSpPr/>
            <p:nvPr/>
          </p:nvSpPr>
          <p:spPr bwMode="auto">
            <a:xfrm>
              <a:off x="387967" y="4450883"/>
              <a:ext cx="964733" cy="977130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절차 자동화</a:t>
              </a:r>
            </a:p>
          </p:txBody>
        </p:sp>
        <p:cxnSp>
          <p:nvCxnSpPr>
            <p:cNvPr id="133" name="구부러진 연결선 132"/>
            <p:cNvCxnSpPr>
              <a:stCxn id="129" idx="0"/>
              <a:endCxn id="130" idx="1"/>
            </p:cNvCxnSpPr>
            <p:nvPr/>
          </p:nvCxnSpPr>
          <p:spPr bwMode="auto">
            <a:xfrm rot="16200000" flipH="1">
              <a:off x="2218289" y="3141688"/>
              <a:ext cx="67635" cy="1038265"/>
            </a:xfrm>
            <a:prstGeom prst="curvedConnector3">
              <a:avLst>
                <a:gd name="adj1" fmla="val -307266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135" name="순서도: 자기 디스크 134"/>
            <p:cNvSpPr/>
            <p:nvPr/>
          </p:nvSpPr>
          <p:spPr bwMode="auto">
            <a:xfrm>
              <a:off x="2376921" y="4611531"/>
              <a:ext cx="866655" cy="52109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결과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7" name="순서도: 자기 디스크 136"/>
            <p:cNvSpPr/>
            <p:nvPr/>
          </p:nvSpPr>
          <p:spPr bwMode="auto">
            <a:xfrm>
              <a:off x="3814184" y="4610161"/>
              <a:ext cx="866655" cy="52109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당사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결과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1267418" y="4596278"/>
              <a:ext cx="964733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기초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 확보</a:t>
              </a:r>
            </a:p>
          </p:txBody>
        </p:sp>
        <p:cxnSp>
          <p:nvCxnSpPr>
            <p:cNvPr id="139" name="직선 화살표 연결선 138"/>
            <p:cNvCxnSpPr/>
            <p:nvPr/>
          </p:nvCxnSpPr>
          <p:spPr bwMode="auto">
            <a:xfrm>
              <a:off x="4422453" y="4228310"/>
              <a:ext cx="9431" cy="39103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140" name="직사각형 139"/>
            <p:cNvSpPr/>
            <p:nvPr/>
          </p:nvSpPr>
          <p:spPr>
            <a:xfrm>
              <a:off x="2822205" y="3353136"/>
              <a:ext cx="2002471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“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을 위한 별도 프로그램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or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문서로 관리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＂</a:t>
              </a:r>
              <a:endParaRPr lang="ko-KR" altLang="en-US" sz="1100" dirty="0"/>
            </a:p>
          </p:txBody>
        </p:sp>
        <p:sp>
          <p:nvSpPr>
            <p:cNvPr id="141" name="아래쪽 화살표 140"/>
            <p:cNvSpPr/>
            <p:nvPr/>
          </p:nvSpPr>
          <p:spPr bwMode="auto">
            <a:xfrm>
              <a:off x="387967" y="5428014"/>
              <a:ext cx="964733" cy="686538"/>
            </a:xfrm>
            <a:prstGeom prst="downArrow">
              <a:avLst>
                <a:gd name="adj1" fmla="val 100000"/>
                <a:gd name="adj2" fmla="val 1312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결과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검증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및 회계처리</a:t>
              </a: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1253550" y="5428014"/>
              <a:ext cx="964733" cy="6018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결과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검증</a:t>
              </a:r>
              <a:endPara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모서리가 접힌 도형 142"/>
            <p:cNvSpPr/>
            <p:nvPr/>
          </p:nvSpPr>
          <p:spPr bwMode="auto">
            <a:xfrm>
              <a:off x="2534186" y="5459934"/>
              <a:ext cx="570396" cy="504426"/>
            </a:xfrm>
            <a:prstGeom prst="foldedCorner">
              <a:avLst/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작업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사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4" name="직선 화살표 연결선 143"/>
            <p:cNvCxnSpPr>
              <a:stCxn id="137" idx="3"/>
              <a:endCxn id="143" idx="0"/>
            </p:cNvCxnSpPr>
            <p:nvPr/>
          </p:nvCxnSpPr>
          <p:spPr bwMode="auto">
            <a:xfrm flipH="1">
              <a:off x="2819385" y="5131255"/>
              <a:ext cx="1428127" cy="3286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45" name="직선 화살표 연결선 144"/>
            <p:cNvCxnSpPr>
              <a:stCxn id="135" idx="3"/>
              <a:endCxn id="143" idx="0"/>
            </p:cNvCxnSpPr>
            <p:nvPr/>
          </p:nvCxnSpPr>
          <p:spPr bwMode="auto">
            <a:xfrm>
              <a:off x="2810248" y="5132625"/>
              <a:ext cx="9137" cy="32730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146" name="오각형 145"/>
            <p:cNvSpPr/>
            <p:nvPr/>
          </p:nvSpPr>
          <p:spPr bwMode="auto">
            <a:xfrm>
              <a:off x="3876708" y="5404911"/>
              <a:ext cx="900056" cy="601808"/>
            </a:xfrm>
            <a:prstGeom prst="homePlate">
              <a:avLst>
                <a:gd name="adj" fmla="val 13549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작업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전표 처리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7" name="직선 화살표 연결선 146"/>
            <p:cNvCxnSpPr>
              <a:stCxn id="143" idx="3"/>
              <a:endCxn id="146" idx="1"/>
            </p:cNvCxnSpPr>
            <p:nvPr/>
          </p:nvCxnSpPr>
          <p:spPr bwMode="auto">
            <a:xfrm flipV="1">
              <a:off x="3104583" y="5705816"/>
              <a:ext cx="772125" cy="633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234" name="직사각형 233"/>
            <p:cNvSpPr/>
            <p:nvPr/>
          </p:nvSpPr>
          <p:spPr bwMode="auto">
            <a:xfrm>
              <a:off x="3297489" y="3739650"/>
              <a:ext cx="694001" cy="4677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Program</a:t>
              </a: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070384" y="3751801"/>
              <a:ext cx="694001" cy="467718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Excel </a:t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문서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>
            <a:xfrm>
              <a:off x="1950744" y="4331163"/>
              <a:ext cx="1817708" cy="25181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문서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공문 형태로 확보</a:t>
              </a:r>
              <a:endParaRPr lang="ko-KR" altLang="en-US" sz="1200" dirty="0"/>
            </a:p>
          </p:txBody>
        </p:sp>
        <p:cxnSp>
          <p:nvCxnSpPr>
            <p:cNvPr id="153" name="직선 화살표 연결선 152"/>
            <p:cNvCxnSpPr>
              <a:stCxn id="234" idx="2"/>
              <a:endCxn id="137" idx="1"/>
            </p:cNvCxnSpPr>
            <p:nvPr/>
          </p:nvCxnSpPr>
          <p:spPr bwMode="auto">
            <a:xfrm>
              <a:off x="3644489" y="4207368"/>
              <a:ext cx="603023" cy="40279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graphicFrame>
          <p:nvGraphicFramePr>
            <p:cNvPr id="158" name="개체 157"/>
            <p:cNvGraphicFramePr>
              <a:graphicFrameLocks noChangeAspect="1"/>
            </p:cNvGraphicFramePr>
            <p:nvPr>
              <p:extLst/>
            </p:nvPr>
          </p:nvGraphicFramePr>
          <p:xfrm>
            <a:off x="3986625" y="4044423"/>
            <a:ext cx="344255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5" name="Visio" r:id="rId6" imgW="593525" imgH="774042" progId="Visio.Drawing.11">
                    <p:embed/>
                  </p:oleObj>
                </mc:Choice>
                <mc:Fallback>
                  <p:oleObj name="Visio" r:id="rId6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986625" y="4044423"/>
                          <a:ext cx="344255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59" name="개체 158"/>
            <p:cNvGraphicFramePr>
              <a:graphicFrameLocks noChangeAspect="1"/>
            </p:cNvGraphicFramePr>
            <p:nvPr>
              <p:extLst/>
            </p:nvPr>
          </p:nvGraphicFramePr>
          <p:xfrm>
            <a:off x="2141283" y="4764503"/>
            <a:ext cx="344255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6" name="Visio" r:id="rId7" imgW="593525" imgH="774042" progId="Visio.Drawing.11">
                    <p:embed/>
                  </p:oleObj>
                </mc:Choice>
                <mc:Fallback>
                  <p:oleObj name="Visio" r:id="rId7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41283" y="4764503"/>
                          <a:ext cx="344255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1" name="개체 160"/>
            <p:cNvGraphicFramePr>
              <a:graphicFrameLocks noChangeAspect="1"/>
            </p:cNvGraphicFramePr>
            <p:nvPr>
              <p:extLst/>
            </p:nvPr>
          </p:nvGraphicFramePr>
          <p:xfrm>
            <a:off x="2116470" y="5550045"/>
            <a:ext cx="344255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7" name="Visio" r:id="rId8" imgW="593525" imgH="774042" progId="Visio.Drawing.11">
                    <p:embed/>
                  </p:oleObj>
                </mc:Choice>
                <mc:Fallback>
                  <p:oleObj name="Visio" r:id="rId8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16470" y="5550045"/>
                          <a:ext cx="344255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3" name="개체 162"/>
            <p:cNvGraphicFramePr>
              <a:graphicFrameLocks noChangeAspect="1"/>
            </p:cNvGraphicFramePr>
            <p:nvPr>
              <p:extLst/>
            </p:nvPr>
          </p:nvGraphicFramePr>
          <p:xfrm>
            <a:off x="3630575" y="5557779"/>
            <a:ext cx="344255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8" name="Visio" r:id="rId9" imgW="593525" imgH="774042" progId="Visio.Drawing.11">
                    <p:embed/>
                  </p:oleObj>
                </mc:Choice>
                <mc:Fallback>
                  <p:oleObj name="Visio" r:id="rId9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630575" y="5557779"/>
                          <a:ext cx="344255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6" name="개체 165"/>
            <p:cNvGraphicFramePr>
              <a:graphicFrameLocks noChangeAspect="1"/>
            </p:cNvGraphicFramePr>
            <p:nvPr>
              <p:extLst/>
            </p:nvPr>
          </p:nvGraphicFramePr>
          <p:xfrm>
            <a:off x="2141283" y="3867317"/>
            <a:ext cx="344255" cy="32911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679" name="Visio" r:id="rId10" imgW="593525" imgH="774042" progId="Visio.Drawing.11">
                    <p:embed/>
                  </p:oleObj>
                </mc:Choice>
                <mc:Fallback>
                  <p:oleObj name="Visio" r:id="rId10" imgW="593525" imgH="774042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41283" y="3867317"/>
                          <a:ext cx="344255" cy="329111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11" name="직사각형 10"/>
          <p:cNvSpPr/>
          <p:nvPr/>
        </p:nvSpPr>
        <p:spPr>
          <a:xfrm>
            <a:off x="972219" y="6021288"/>
            <a:ext cx="33073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i="1" u="sng" kern="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200" i="1" u="sng" kern="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표준화</a:t>
            </a:r>
            <a:r>
              <a:rPr lang="en-US" altLang="ko-KR" sz="1200" i="1" u="sng" kern="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i="1" u="sng" kern="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자동화 前 일반적인 정산 업무 절차 </a:t>
            </a:r>
            <a:r>
              <a:rPr lang="en-US" altLang="ko-KR" sz="1200" i="1" u="sng" kern="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endParaRPr lang="ko-KR" altLang="en-US" sz="1200" i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6061630" y="6021288"/>
            <a:ext cx="27703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n-US" altLang="ko-KR" sz="1200" i="1" u="sng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200" i="1" u="sng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산 </a:t>
            </a:r>
            <a:r>
              <a:rPr lang="ko-KR" altLang="en-US" sz="1200" i="1" u="sng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 표준화</a:t>
            </a:r>
            <a:r>
              <a:rPr lang="en-US" altLang="ko-KR" sz="1200" i="1" u="sng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i="1" u="sng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자동화 확대 </a:t>
            </a:r>
            <a:r>
              <a:rPr lang="ko-KR" altLang="en-US" sz="1200" i="1" u="sng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결과</a:t>
            </a:r>
            <a:r>
              <a:rPr lang="en-US" altLang="ko-KR" sz="1200" i="1" u="sng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”</a:t>
            </a:r>
            <a:endParaRPr lang="ko-KR" altLang="en-US" sz="1200" i="1" u="sng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이등변 삼각형 102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6" name="그룹 12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0464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업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화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조건에 해당하는 기준정보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형태로 상품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ster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에 관리하고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결과를 검증 후 최종 회계처리 연계까지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low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정의해야 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75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76" name="TextBox 7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2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83" name="TextBox 8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5" name="오각형 194"/>
          <p:cNvSpPr/>
          <p:nvPr/>
        </p:nvSpPr>
        <p:spPr bwMode="auto">
          <a:xfrm>
            <a:off x="1713050" y="2438802"/>
            <a:ext cx="1440000" cy="361467"/>
          </a:xfrm>
          <a:prstGeom prst="homePlate">
            <a:avLst>
              <a:gd name="adj" fmla="val 25607"/>
            </a:avLst>
          </a:prstGeom>
          <a:solidFill>
            <a:srgbClr val="006699"/>
          </a:solidFill>
          <a:ln w="12700" cap="flat" cmpd="sng" algn="ctr">
            <a:solidFill>
              <a:srgbClr val="1B3A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상품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서비스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생성</a:t>
            </a:r>
          </a:p>
        </p:txBody>
      </p:sp>
      <p:sp>
        <p:nvSpPr>
          <p:cNvPr id="196" name="오각형 195"/>
          <p:cNvSpPr/>
          <p:nvPr/>
        </p:nvSpPr>
        <p:spPr bwMode="auto">
          <a:xfrm>
            <a:off x="273050" y="2438802"/>
            <a:ext cx="1440000" cy="361467"/>
          </a:xfrm>
          <a:prstGeom prst="homePlate">
            <a:avLst>
              <a:gd name="adj" fmla="val 25607"/>
            </a:avLst>
          </a:prstGeom>
          <a:solidFill>
            <a:srgbClr val="006699"/>
          </a:solidFill>
          <a:ln w="12700" cap="flat" cmpd="sng" algn="ctr">
            <a:solidFill>
              <a:srgbClr val="1B3A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제휴계약발생</a:t>
            </a:r>
          </a:p>
        </p:txBody>
      </p:sp>
      <p:sp>
        <p:nvSpPr>
          <p:cNvPr id="197" name="직사각형 196"/>
          <p:cNvSpPr/>
          <p:nvPr/>
        </p:nvSpPr>
        <p:spPr bwMode="auto">
          <a:xfrm>
            <a:off x="419298" y="4760565"/>
            <a:ext cx="1080000" cy="394327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기준정보등록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코드 생성</a:t>
            </a:r>
          </a:p>
        </p:txBody>
      </p:sp>
      <p:sp>
        <p:nvSpPr>
          <p:cNvPr id="198" name="직사각형 197"/>
          <p:cNvSpPr/>
          <p:nvPr/>
        </p:nvSpPr>
        <p:spPr bwMode="auto">
          <a:xfrm>
            <a:off x="1861546" y="4760565"/>
            <a:ext cx="1080000" cy="394327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Rule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록</a:t>
            </a:r>
          </a:p>
        </p:txBody>
      </p:sp>
      <p:sp>
        <p:nvSpPr>
          <p:cNvPr id="199" name="오각형 198"/>
          <p:cNvSpPr/>
          <p:nvPr/>
        </p:nvSpPr>
        <p:spPr bwMode="auto">
          <a:xfrm>
            <a:off x="273050" y="1844824"/>
            <a:ext cx="2880000" cy="492909"/>
          </a:xfrm>
          <a:prstGeom prst="homePlate">
            <a:avLst>
              <a:gd name="adj" fmla="val 19762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정산기준정보 및 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Rule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관리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0" name="오각형 199"/>
          <p:cNvSpPr/>
          <p:nvPr/>
        </p:nvSpPr>
        <p:spPr bwMode="auto">
          <a:xfrm>
            <a:off x="273050" y="5335588"/>
            <a:ext cx="2880000" cy="985928"/>
          </a:xfrm>
          <a:prstGeom prst="homePlate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8900" marR="0" lvl="0" indent="-88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기준정보 및 계약사항 관리</a:t>
            </a:r>
            <a:endParaRPr kumimoji="1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 :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담당자 개인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PC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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시스템 관리로</a:t>
            </a:r>
            <a:endParaRPr kumimoji="1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sym typeface="Wingdings" pitchFamily="2" charset="2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   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정보 누락 방지</a:t>
            </a:r>
            <a:endParaRPr kumimoji="1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sym typeface="Wingdings" pitchFamily="2" charset="2"/>
            </a:endParaRPr>
          </a:p>
        </p:txBody>
      </p:sp>
      <p:sp>
        <p:nvSpPr>
          <p:cNvPr id="201" name="다이아몬드 200"/>
          <p:cNvSpPr/>
          <p:nvPr/>
        </p:nvSpPr>
        <p:spPr bwMode="auto">
          <a:xfrm>
            <a:off x="419298" y="3847871"/>
            <a:ext cx="1080000" cy="394327"/>
          </a:xfrm>
          <a:prstGeom prst="diamond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발생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419298" y="2910191"/>
            <a:ext cx="1080000" cy="394327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제휴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M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록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계약서관리</a:t>
            </a:r>
          </a:p>
        </p:txBody>
      </p:sp>
      <p:sp>
        <p:nvSpPr>
          <p:cNvPr id="203" name="직사각형 202"/>
          <p:cNvSpPr/>
          <p:nvPr/>
        </p:nvSpPr>
        <p:spPr bwMode="auto">
          <a:xfrm>
            <a:off x="1861546" y="2910191"/>
            <a:ext cx="1080000" cy="394327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M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록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M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록</a:t>
            </a:r>
          </a:p>
        </p:txBody>
      </p:sp>
      <p:sp>
        <p:nvSpPr>
          <p:cNvPr id="204" name="오각형 203"/>
          <p:cNvSpPr/>
          <p:nvPr/>
        </p:nvSpPr>
        <p:spPr bwMode="auto">
          <a:xfrm>
            <a:off x="3273446" y="1844824"/>
            <a:ext cx="3708000" cy="492909"/>
          </a:xfrm>
          <a:prstGeom prst="homePlate">
            <a:avLst>
              <a:gd name="adj" fmla="val 19537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정산 데이터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산출 및 정산 금액 계산 자동화</a:t>
            </a:r>
          </a:p>
        </p:txBody>
      </p:sp>
      <p:sp>
        <p:nvSpPr>
          <p:cNvPr id="205" name="오각형 204"/>
          <p:cNvSpPr/>
          <p:nvPr/>
        </p:nvSpPr>
        <p:spPr bwMode="auto">
          <a:xfrm>
            <a:off x="3273446" y="5335588"/>
            <a:ext cx="3708000" cy="985928"/>
          </a:xfrm>
          <a:prstGeom prst="homePlate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8900" marR="0" lvl="0" indent="-88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신속한 업무처리와 인적 오류 제거</a:t>
            </a:r>
            <a:endParaRPr kumimoji="1" lang="en-US" altLang="ko-KR" sz="1100" b="0" kern="0" dirty="0">
              <a:solidFill>
                <a:srgbClr val="000000"/>
              </a:solidFill>
              <a:latin typeface="맑은 고딕"/>
              <a:ea typeface="맑은 고딕"/>
              <a:sym typeface="Wingdings" pitchFamily="2" charset="2"/>
            </a:endParaRPr>
          </a:p>
          <a:p>
            <a:pPr marL="88900" marR="0" lvl="0" indent="-88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en-US" altLang="ko-KR" sz="1100" b="0" kern="0" dirty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 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Rule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시스템을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통한 정산조건 및 </a:t>
            </a:r>
            <a:r>
              <a:rPr kumimoji="1" lang="ko-KR" altLang="en-US" sz="1100" b="0" kern="0" dirty="0" err="1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로직</a:t>
            </a:r>
            <a:r>
              <a:rPr kumimoji="1" lang="en-US" altLang="ko-KR" sz="1100" b="0" kern="0" dirty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관리로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/>
                <a:ea typeface="맑은 고딕"/>
                <a:sym typeface="Wingdings" pitchFamily="2" charset="2"/>
              </a:rPr>
              <a:t>신속한 업무적용</a:t>
            </a:r>
            <a:endParaRPr kumimoji="1" lang="en-US" altLang="ko-KR" sz="1100" b="0" kern="0" dirty="0">
              <a:solidFill>
                <a:srgbClr val="000000"/>
              </a:solidFill>
              <a:latin typeface="맑은 고딕"/>
              <a:ea typeface="맑은 고딕"/>
              <a:sym typeface="Wingdings" pitchFamily="2" charset="2"/>
            </a:endParaRPr>
          </a:p>
        </p:txBody>
      </p:sp>
      <p:sp>
        <p:nvSpPr>
          <p:cNvPr id="206" name="TextBox 205"/>
          <p:cNvSpPr txBox="1"/>
          <p:nvPr/>
        </p:nvSpPr>
        <p:spPr>
          <a:xfrm>
            <a:off x="3276014" y="2429370"/>
            <a:ext cx="1080000" cy="230024"/>
          </a:xfrm>
          <a:prstGeom prst="rect">
            <a:avLst/>
          </a:prstGeom>
          <a:solidFill>
            <a:srgbClr val="B9CDE5"/>
          </a:solidFill>
          <a:ln>
            <a:solidFill>
              <a:srgbClr val="000000"/>
            </a:solidFill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당사 정산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Data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7" name="Rectangle 85"/>
          <p:cNvSpPr>
            <a:spLocks noChangeArrowheads="1"/>
          </p:cNvSpPr>
          <p:nvPr/>
        </p:nvSpPr>
        <p:spPr bwMode="auto">
          <a:xfrm>
            <a:off x="3276014" y="2663302"/>
            <a:ext cx="1080000" cy="82151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8" name="AutoShape 22"/>
          <p:cNvSpPr>
            <a:spLocks noChangeArrowheads="1"/>
          </p:cNvSpPr>
          <p:nvPr/>
        </p:nvSpPr>
        <p:spPr bwMode="auto">
          <a:xfrm>
            <a:off x="3456014" y="3160284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DW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09" name="AutoShape 22"/>
          <p:cNvSpPr>
            <a:spLocks noChangeArrowheads="1"/>
          </p:cNvSpPr>
          <p:nvPr/>
        </p:nvSpPr>
        <p:spPr bwMode="auto">
          <a:xfrm>
            <a:off x="3456014" y="2953059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매출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10" name="AutoShape 22"/>
          <p:cNvSpPr>
            <a:spLocks noChangeArrowheads="1"/>
          </p:cNvSpPr>
          <p:nvPr/>
        </p:nvSpPr>
        <p:spPr bwMode="auto">
          <a:xfrm>
            <a:off x="3456014" y="2745836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발급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11" name="직사각형 210"/>
          <p:cNvSpPr/>
          <p:nvPr/>
        </p:nvSpPr>
        <p:spPr>
          <a:xfrm>
            <a:off x="4688212" y="2762865"/>
            <a:ext cx="848729" cy="290316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제휴사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 정산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/>
            </a:r>
            <a:b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</a:b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데이터 등록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12" name="직사각형 211"/>
          <p:cNvSpPr/>
          <p:nvPr/>
        </p:nvSpPr>
        <p:spPr bwMode="auto">
          <a:xfrm>
            <a:off x="3366014" y="3737854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유형별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데이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원장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</a:p>
        </p:txBody>
      </p:sp>
      <p:sp>
        <p:nvSpPr>
          <p:cNvPr id="213" name="직사각형 212"/>
          <p:cNvSpPr/>
          <p:nvPr/>
        </p:nvSpPr>
        <p:spPr bwMode="auto">
          <a:xfrm>
            <a:off x="4663563" y="3737854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검증용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데이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</a:p>
        </p:txBody>
      </p:sp>
      <p:sp>
        <p:nvSpPr>
          <p:cNvPr id="214" name="직사각형 213"/>
          <p:cNvSpPr/>
          <p:nvPr/>
        </p:nvSpPr>
        <p:spPr bwMode="auto">
          <a:xfrm>
            <a:off x="5961112" y="3737854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금액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계산</a:t>
            </a:r>
          </a:p>
        </p:txBody>
      </p:sp>
      <p:sp>
        <p:nvSpPr>
          <p:cNvPr id="215" name="직사각형 214"/>
          <p:cNvSpPr/>
          <p:nvPr/>
        </p:nvSpPr>
        <p:spPr bwMode="auto">
          <a:xfrm>
            <a:off x="7248204" y="2435165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레포트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생성</a:t>
            </a:r>
          </a:p>
        </p:txBody>
      </p:sp>
      <p:sp>
        <p:nvSpPr>
          <p:cNvPr id="216" name="직사각형 215"/>
          <p:cNvSpPr/>
          <p:nvPr/>
        </p:nvSpPr>
        <p:spPr bwMode="auto">
          <a:xfrm>
            <a:off x="7248204" y="3737854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품의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청구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지급요청</a:t>
            </a:r>
          </a:p>
        </p:txBody>
      </p:sp>
      <p:sp>
        <p:nvSpPr>
          <p:cNvPr id="217" name="직사각형 216"/>
          <p:cNvSpPr/>
          <p:nvPr/>
        </p:nvSpPr>
        <p:spPr bwMode="auto">
          <a:xfrm>
            <a:off x="7248204" y="4781883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결과관리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작업스케줄관리</a:t>
            </a:r>
          </a:p>
        </p:txBody>
      </p:sp>
      <p:sp>
        <p:nvSpPr>
          <p:cNvPr id="218" name="직사각형 217"/>
          <p:cNvSpPr/>
          <p:nvPr/>
        </p:nvSpPr>
        <p:spPr bwMode="auto">
          <a:xfrm>
            <a:off x="8554442" y="2429370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 데이터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영업회계 전송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19" name="AutoShape 22"/>
          <p:cNvSpPr>
            <a:spLocks noChangeArrowheads="1"/>
          </p:cNvSpPr>
          <p:nvPr/>
        </p:nvSpPr>
        <p:spPr bwMode="auto">
          <a:xfrm>
            <a:off x="8644441" y="3681070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회계처리결과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20" name="직사각형 219"/>
          <p:cNvSpPr/>
          <p:nvPr/>
        </p:nvSpPr>
        <p:spPr bwMode="auto">
          <a:xfrm>
            <a:off x="8554442" y="4169712"/>
            <a:ext cx="900000" cy="49290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전표자동 처리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청구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지급 처리</a:t>
            </a:r>
          </a:p>
        </p:txBody>
      </p:sp>
      <p:sp>
        <p:nvSpPr>
          <p:cNvPr id="221" name="오각형 220"/>
          <p:cNvSpPr/>
          <p:nvPr/>
        </p:nvSpPr>
        <p:spPr bwMode="auto">
          <a:xfrm>
            <a:off x="7113240" y="5335588"/>
            <a:ext cx="2519710" cy="985928"/>
          </a:xfrm>
          <a:prstGeom prst="homePlate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8900" marR="0" lvl="0" indent="-88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작업스케줄 관리를 통해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업무누락 방지 및 가시성 확보</a:t>
            </a:r>
            <a:endParaRPr kumimoji="1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8900" marR="0" lvl="0" indent="-88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회계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및 손익 배분연계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: </a:t>
            </a:r>
            <a:r>
              <a:rPr kumimoji="1" lang="ko-KR" altLang="en-US" sz="11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계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데이터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제공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</a:p>
        </p:txBody>
      </p:sp>
      <p:sp>
        <p:nvSpPr>
          <p:cNvPr id="222" name="오각형 221"/>
          <p:cNvSpPr/>
          <p:nvPr/>
        </p:nvSpPr>
        <p:spPr bwMode="auto">
          <a:xfrm>
            <a:off x="7113240" y="1844824"/>
            <a:ext cx="2519710" cy="492909"/>
          </a:xfrm>
          <a:prstGeom prst="homePlate">
            <a:avLst>
              <a:gd name="adj" fmla="val 25809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정산결과 관리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및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결재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회계시스템 연계</a:t>
            </a:r>
          </a:p>
        </p:txBody>
      </p:sp>
      <p:cxnSp>
        <p:nvCxnSpPr>
          <p:cNvPr id="223" name="꺾인 연결선 222"/>
          <p:cNvCxnSpPr>
            <a:stCxn id="214" idx="3"/>
            <a:endCxn id="215" idx="1"/>
          </p:cNvCxnSpPr>
          <p:nvPr/>
        </p:nvCxnSpPr>
        <p:spPr bwMode="auto">
          <a:xfrm flipV="1">
            <a:off x="6861112" y="2681620"/>
            <a:ext cx="387092" cy="130268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4" name="꺾인 연결선 223"/>
          <p:cNvCxnSpPr>
            <a:stCxn id="216" idx="3"/>
            <a:endCxn id="218" idx="1"/>
          </p:cNvCxnSpPr>
          <p:nvPr/>
        </p:nvCxnSpPr>
        <p:spPr bwMode="auto">
          <a:xfrm flipV="1">
            <a:off x="8148204" y="2675824"/>
            <a:ext cx="406238" cy="130848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5" name="꺾인 연결선 224"/>
          <p:cNvCxnSpPr>
            <a:stCxn id="218" idx="2"/>
            <a:endCxn id="219" idx="1"/>
          </p:cNvCxnSpPr>
          <p:nvPr/>
        </p:nvCxnSpPr>
        <p:spPr bwMode="auto">
          <a:xfrm rot="5400000">
            <a:off x="8625047" y="3301674"/>
            <a:ext cx="758791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6" name="꺾인 연결선 225"/>
          <p:cNvCxnSpPr>
            <a:stCxn id="219" idx="3"/>
            <a:endCxn id="220" idx="0"/>
          </p:cNvCxnSpPr>
          <p:nvPr/>
        </p:nvCxnSpPr>
        <p:spPr bwMode="auto">
          <a:xfrm rot="16200000" flipH="1">
            <a:off x="8891563" y="4056832"/>
            <a:ext cx="225757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7" name="TextBox 226"/>
          <p:cNvSpPr txBox="1"/>
          <p:nvPr/>
        </p:nvSpPr>
        <p:spPr>
          <a:xfrm>
            <a:off x="200472" y="3312316"/>
            <a:ext cx="1080120" cy="365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제호계약번호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제휴계약사항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2366651" y="3312316"/>
            <a:ext cx="930165" cy="365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코드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코드</a:t>
            </a:r>
            <a:endParaRPr kumimoji="1" lang="ko-KR" altLang="en-US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8554442" y="3159825"/>
            <a:ext cx="1186614" cy="365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전표 정보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손익기초 데이터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8390351" y="5000224"/>
            <a:ext cx="811121" cy="224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buFont typeface="Arial" pitchFamily="34" charset="0"/>
              <a:buChar char="•"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처리결과</a:t>
            </a:r>
            <a:endParaRPr kumimoji="1"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231" name="직선 화살표 연결선 230"/>
          <p:cNvCxnSpPr>
            <a:stCxn id="197" idx="3"/>
            <a:endCxn id="198" idx="1"/>
          </p:cNvCxnSpPr>
          <p:nvPr/>
        </p:nvCxnSpPr>
        <p:spPr bwMode="auto">
          <a:xfrm>
            <a:off x="1499298" y="4957729"/>
            <a:ext cx="362248" cy="0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2" name="꺾인 연결선 231"/>
          <p:cNvCxnSpPr>
            <a:stCxn id="203" idx="2"/>
            <a:endCxn id="201" idx="0"/>
          </p:cNvCxnSpPr>
          <p:nvPr/>
        </p:nvCxnSpPr>
        <p:spPr bwMode="auto">
          <a:xfrm rot="5400000">
            <a:off x="1408746" y="2855071"/>
            <a:ext cx="543352" cy="1442248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3" name="직선 화살표 연결선 232"/>
          <p:cNvCxnSpPr>
            <a:stCxn id="201" idx="2"/>
            <a:endCxn id="197" idx="0"/>
          </p:cNvCxnSpPr>
          <p:nvPr/>
        </p:nvCxnSpPr>
        <p:spPr bwMode="auto">
          <a:xfrm>
            <a:off x="959298" y="4242198"/>
            <a:ext cx="0" cy="518367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5" name="직선 화살표 연결선 234"/>
          <p:cNvCxnSpPr>
            <a:stCxn id="202" idx="2"/>
            <a:endCxn id="201" idx="0"/>
          </p:cNvCxnSpPr>
          <p:nvPr/>
        </p:nvCxnSpPr>
        <p:spPr bwMode="auto">
          <a:xfrm>
            <a:off x="959298" y="3304518"/>
            <a:ext cx="0" cy="543352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36" name="TextBox 235"/>
          <p:cNvSpPr txBox="1"/>
          <p:nvPr/>
        </p:nvSpPr>
        <p:spPr>
          <a:xfrm>
            <a:off x="762304" y="4267289"/>
            <a:ext cx="401852" cy="224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kumimoji="1" lang="en-US" altLang="ko-KR" sz="1000" dirty="0">
                <a:solidFill>
                  <a:srgbClr val="000000"/>
                </a:solidFill>
                <a:latin typeface="맑은 고딕"/>
                <a:ea typeface="맑은 고딕"/>
              </a:rPr>
              <a:t>Y</a:t>
            </a:r>
            <a:endParaRPr kumimoji="1" lang="ko-KR" altLang="en-US" sz="10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4575145" y="2438802"/>
            <a:ext cx="1080000" cy="230024"/>
          </a:xfrm>
          <a:prstGeom prst="rect">
            <a:avLst/>
          </a:prstGeom>
          <a:solidFill>
            <a:srgbClr val="B9CDE5"/>
          </a:solidFill>
          <a:ln>
            <a:solidFill>
              <a:srgbClr val="000000"/>
            </a:solidFill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제휴사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정산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Data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39" name="Rectangle 85"/>
          <p:cNvSpPr>
            <a:spLocks noChangeArrowheads="1"/>
          </p:cNvSpPr>
          <p:nvPr/>
        </p:nvSpPr>
        <p:spPr bwMode="auto">
          <a:xfrm>
            <a:off x="4575145" y="2663302"/>
            <a:ext cx="1080000" cy="82151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40" name="AutoShape 22"/>
          <p:cNvSpPr>
            <a:spLocks noChangeArrowheads="1"/>
          </p:cNvSpPr>
          <p:nvPr/>
        </p:nvSpPr>
        <p:spPr bwMode="auto">
          <a:xfrm>
            <a:off x="4755145" y="3114705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정산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Data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cxnSp>
        <p:nvCxnSpPr>
          <p:cNvPr id="241" name="직선 화살표 연결선 240"/>
          <p:cNvCxnSpPr>
            <a:stCxn id="215" idx="2"/>
            <a:endCxn id="216" idx="0"/>
          </p:cNvCxnSpPr>
          <p:nvPr/>
        </p:nvCxnSpPr>
        <p:spPr bwMode="auto">
          <a:xfrm>
            <a:off x="7698204" y="2928074"/>
            <a:ext cx="0" cy="80978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2" name="직선 화살표 연결선 241"/>
          <p:cNvCxnSpPr>
            <a:stCxn id="216" idx="2"/>
            <a:endCxn id="217" idx="0"/>
          </p:cNvCxnSpPr>
          <p:nvPr/>
        </p:nvCxnSpPr>
        <p:spPr bwMode="auto">
          <a:xfrm>
            <a:off x="7698204" y="4230764"/>
            <a:ext cx="0" cy="551119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3" name="직선 화살표 연결선 242"/>
          <p:cNvCxnSpPr>
            <a:stCxn id="207" idx="2"/>
            <a:endCxn id="212" idx="0"/>
          </p:cNvCxnSpPr>
          <p:nvPr/>
        </p:nvCxnSpPr>
        <p:spPr bwMode="auto">
          <a:xfrm>
            <a:off x="3816014" y="3484817"/>
            <a:ext cx="0" cy="253037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4" name="직선 화살표 연결선 243"/>
          <p:cNvCxnSpPr>
            <a:stCxn id="212" idx="3"/>
            <a:endCxn id="213" idx="1"/>
          </p:cNvCxnSpPr>
          <p:nvPr/>
        </p:nvCxnSpPr>
        <p:spPr bwMode="auto">
          <a:xfrm>
            <a:off x="4266014" y="3984309"/>
            <a:ext cx="397549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5" name="직선 화살표 연결선 244"/>
          <p:cNvCxnSpPr>
            <a:stCxn id="213" idx="3"/>
            <a:endCxn id="214" idx="1"/>
          </p:cNvCxnSpPr>
          <p:nvPr/>
        </p:nvCxnSpPr>
        <p:spPr bwMode="auto">
          <a:xfrm>
            <a:off x="5563563" y="3984309"/>
            <a:ext cx="397549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6" name="꺾인 연결선 245"/>
          <p:cNvCxnSpPr>
            <a:stCxn id="239" idx="2"/>
            <a:endCxn id="213" idx="0"/>
          </p:cNvCxnSpPr>
          <p:nvPr/>
        </p:nvCxnSpPr>
        <p:spPr bwMode="auto">
          <a:xfrm rot="5400000">
            <a:off x="4987836" y="3610544"/>
            <a:ext cx="253037" cy="15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7" name="TextBox 246"/>
          <p:cNvSpPr txBox="1"/>
          <p:nvPr/>
        </p:nvSpPr>
        <p:spPr>
          <a:xfrm>
            <a:off x="3273446" y="4416167"/>
            <a:ext cx="1080000" cy="230024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Rule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시스템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48" name="Rectangle 85"/>
          <p:cNvSpPr>
            <a:spLocks noChangeArrowheads="1"/>
          </p:cNvSpPr>
          <p:nvPr/>
        </p:nvSpPr>
        <p:spPr bwMode="auto">
          <a:xfrm>
            <a:off x="3273446" y="4640667"/>
            <a:ext cx="1080000" cy="634125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49" name="AutoShape 22"/>
          <p:cNvSpPr>
            <a:spLocks noChangeArrowheads="1"/>
          </p:cNvSpPr>
          <p:nvPr/>
        </p:nvSpPr>
        <p:spPr bwMode="auto">
          <a:xfrm>
            <a:off x="3453446" y="4939857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계산 </a:t>
            </a: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로직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50" name="AutoShape 22"/>
          <p:cNvSpPr>
            <a:spLocks noChangeArrowheads="1"/>
          </p:cNvSpPr>
          <p:nvPr/>
        </p:nvSpPr>
        <p:spPr bwMode="auto">
          <a:xfrm>
            <a:off x="3453446" y="4732633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Data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조건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cxnSp>
        <p:nvCxnSpPr>
          <p:cNvPr id="251" name="꺾인 연결선 250"/>
          <p:cNvCxnSpPr>
            <a:stCxn id="198" idx="3"/>
            <a:endCxn id="248" idx="1"/>
          </p:cNvCxnSpPr>
          <p:nvPr/>
        </p:nvCxnSpPr>
        <p:spPr bwMode="auto">
          <a:xfrm>
            <a:off x="2941546" y="4957729"/>
            <a:ext cx="331900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2" name="꺾인 연결선 251"/>
          <p:cNvCxnSpPr>
            <a:stCxn id="250" idx="4"/>
            <a:endCxn id="213" idx="1"/>
          </p:cNvCxnSpPr>
          <p:nvPr/>
        </p:nvCxnSpPr>
        <p:spPr bwMode="auto">
          <a:xfrm flipV="1">
            <a:off x="4173446" y="3984309"/>
            <a:ext cx="490117" cy="87976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3" name="꺾인 연결선 252"/>
          <p:cNvCxnSpPr>
            <a:stCxn id="249" idx="4"/>
            <a:endCxn id="214" idx="1"/>
          </p:cNvCxnSpPr>
          <p:nvPr/>
        </p:nvCxnSpPr>
        <p:spPr bwMode="auto">
          <a:xfrm flipV="1">
            <a:off x="4173446" y="3984309"/>
            <a:ext cx="1787666" cy="1086990"/>
          </a:xfrm>
          <a:prstGeom prst="bentConnector3">
            <a:avLst>
              <a:gd name="adj1" fmla="val 88363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4" name="꺾인 연결선 253"/>
          <p:cNvCxnSpPr>
            <a:stCxn id="220" idx="2"/>
            <a:endCxn id="217" idx="3"/>
          </p:cNvCxnSpPr>
          <p:nvPr/>
        </p:nvCxnSpPr>
        <p:spPr bwMode="auto">
          <a:xfrm rot="5400000">
            <a:off x="8393466" y="4417360"/>
            <a:ext cx="365716" cy="856238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5" name="TextBox 254"/>
          <p:cNvSpPr txBox="1"/>
          <p:nvPr/>
        </p:nvSpPr>
        <p:spPr>
          <a:xfrm>
            <a:off x="1861546" y="3837609"/>
            <a:ext cx="1080000" cy="230024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산기준정보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6" name="Rectangle 85"/>
          <p:cNvSpPr>
            <a:spLocks noChangeArrowheads="1"/>
          </p:cNvSpPr>
          <p:nvPr/>
        </p:nvSpPr>
        <p:spPr bwMode="auto">
          <a:xfrm>
            <a:off x="1861546" y="4062110"/>
            <a:ext cx="1080000" cy="478014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7" name="AutoShape 22"/>
          <p:cNvSpPr>
            <a:spLocks noChangeArrowheads="1"/>
          </p:cNvSpPr>
          <p:nvPr/>
        </p:nvSpPr>
        <p:spPr bwMode="auto">
          <a:xfrm>
            <a:off x="2041546" y="4154075"/>
            <a:ext cx="720000" cy="262885"/>
          </a:xfrm>
          <a:prstGeom prst="can">
            <a:avLst>
              <a:gd name="adj" fmla="val 3263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정산기준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cxnSp>
        <p:nvCxnSpPr>
          <p:cNvPr id="258" name="꺾인 연결선 257"/>
          <p:cNvCxnSpPr>
            <a:stCxn id="197" idx="3"/>
            <a:endCxn id="256" idx="1"/>
          </p:cNvCxnSpPr>
          <p:nvPr/>
        </p:nvCxnSpPr>
        <p:spPr bwMode="auto">
          <a:xfrm flipV="1">
            <a:off x="1499298" y="4301117"/>
            <a:ext cx="362248" cy="65661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9" name="꺾인 연결선 258"/>
          <p:cNvCxnSpPr>
            <a:stCxn id="257" idx="4"/>
            <a:endCxn id="212" idx="1"/>
          </p:cNvCxnSpPr>
          <p:nvPr/>
        </p:nvCxnSpPr>
        <p:spPr bwMode="auto">
          <a:xfrm flipV="1">
            <a:off x="2761546" y="3984309"/>
            <a:ext cx="604468" cy="3012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92" name="그룹 9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9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99" name="TextBox 9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산 업무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low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 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716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152936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배경 및 목적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범위 및 추진 전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진행 로드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의 특장점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27284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업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화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기준정보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직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된 형태로 정리하는 작업이 필요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초 정보의 확보 수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복잡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효과 등을 고려하여 정산업무 개선 방안을 정의하겠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9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353334"/>
              </p:ext>
            </p:extLst>
          </p:nvPr>
        </p:nvGraphicFramePr>
        <p:xfrm>
          <a:off x="326205" y="2016802"/>
          <a:ext cx="9360470" cy="4148504"/>
        </p:xfrm>
        <a:graphic>
          <a:graphicData uri="http://schemas.openxmlformats.org/drawingml/2006/table">
            <a:tbl>
              <a:tblPr/>
              <a:tblGrid>
                <a:gridCol w="1094913"/>
                <a:gridCol w="1197633"/>
                <a:gridCol w="2531420"/>
                <a:gridCol w="4536504"/>
              </a:tblGrid>
              <a:tr h="28987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영역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정보영역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역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성 예시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366028"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기준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약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코드에 연계된 제휴계약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계약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계약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상 상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코드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73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유형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업무 유형 및 데이터 관리 유형을 구분하는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집수수료 지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수수료 지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분담금 청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이자분담금 청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인트적립분담금 청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사비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,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, Data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없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코드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0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대상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에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대한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사업자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장정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사 정산담당 부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사 정산담당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0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주기 정보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시기 및 처리 주기에 대한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수행 기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주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데이터 추출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품의 주기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4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금액의 회계 처리를 위한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 계정 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방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방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결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펌뱅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동출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조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계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정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계좌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02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로직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계산식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상 정산코드의 정산 산술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술식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담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Ru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법 이용 산식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73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기초 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endParaRPr kumimoji="1" lang="ko-KR" alt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기초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금액 계산의 기초 데이터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집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신청정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집이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종류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청진행구분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청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매출실적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집이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종류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…).</a:t>
                      </a: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분담금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금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담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담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73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결과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과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 금액 산출 결과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집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급구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가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금액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가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금액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액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담금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7" name="그룹 2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3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4" name="그룹 4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4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26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36" name="TextBox 3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산 자동화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화를 위한 정보 영역 정의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9703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그룹 71"/>
          <p:cNvGrpSpPr/>
          <p:nvPr/>
        </p:nvGrpSpPr>
        <p:grpSpPr>
          <a:xfrm>
            <a:off x="5197540" y="2928152"/>
            <a:ext cx="4410000" cy="3400360"/>
            <a:chOff x="5197540" y="2928152"/>
            <a:chExt cx="4410000" cy="3400360"/>
          </a:xfrm>
        </p:grpSpPr>
        <p:sp>
          <p:nvSpPr>
            <p:cNvPr id="73" name="Rectangle 30"/>
            <p:cNvSpPr/>
            <p:nvPr/>
          </p:nvSpPr>
          <p:spPr bwMode="gray">
            <a:xfrm>
              <a:off x="5197540" y="3249103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5" name="Rectangle 30"/>
            <p:cNvSpPr/>
            <p:nvPr/>
          </p:nvSpPr>
          <p:spPr bwMode="gray">
            <a:xfrm>
              <a:off x="5197540" y="2928152"/>
              <a:ext cx="4410000" cy="3251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선 방향</a:t>
              </a:r>
            </a:p>
          </p:txBody>
        </p:sp>
      </p:grpSp>
      <p:grpSp>
        <p:nvGrpSpPr>
          <p:cNvPr id="76" name="그룹 75"/>
          <p:cNvGrpSpPr/>
          <p:nvPr/>
        </p:nvGrpSpPr>
        <p:grpSpPr>
          <a:xfrm>
            <a:off x="326408" y="2928153"/>
            <a:ext cx="4410000" cy="3381166"/>
            <a:chOff x="326408" y="2928153"/>
            <a:chExt cx="4410000" cy="3381166"/>
          </a:xfrm>
        </p:grpSpPr>
        <p:sp>
          <p:nvSpPr>
            <p:cNvPr id="77" name="Rectangle 30"/>
            <p:cNvSpPr/>
            <p:nvPr/>
          </p:nvSpPr>
          <p:spPr bwMode="gray">
            <a:xfrm>
              <a:off x="326408" y="3229910"/>
              <a:ext cx="4410000" cy="307940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Rectangle 30"/>
            <p:cNvSpPr/>
            <p:nvPr/>
          </p:nvSpPr>
          <p:spPr bwMode="gray">
            <a:xfrm>
              <a:off x="326408" y="2928153"/>
              <a:ext cx="4410000" cy="30175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현행 문제점</a:t>
              </a:r>
            </a:p>
          </p:txBody>
        </p:sp>
      </p:grpSp>
      <p:sp>
        <p:nvSpPr>
          <p:cNvPr id="32" name="이등변 삼각형 31"/>
          <p:cNvSpPr/>
          <p:nvPr/>
        </p:nvSpPr>
        <p:spPr bwMode="auto">
          <a:xfrm rot="16200000">
            <a:off x="7884739" y="4652853"/>
            <a:ext cx="856438" cy="654616"/>
          </a:xfrm>
          <a:prstGeom prst="triangle">
            <a:avLst/>
          </a:prstGeom>
          <a:solidFill>
            <a:schemeClr val="accent3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정육면체 108"/>
          <p:cNvSpPr/>
          <p:nvPr/>
        </p:nvSpPr>
        <p:spPr bwMode="gray">
          <a:xfrm>
            <a:off x="5320378" y="3861048"/>
            <a:ext cx="1296000" cy="1800200"/>
          </a:xfrm>
          <a:prstGeom prst="cube">
            <a:avLst>
              <a:gd name="adj" fmla="val 10329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포인트 </a:t>
            </a:r>
            <a:r>
              <a:rPr lang="ko-KR" altLang="en-US" dirty="0"/>
              <a:t>적립</a:t>
            </a:r>
            <a:r>
              <a:rPr lang="en-US" altLang="ko-KR" dirty="0"/>
              <a:t>/</a:t>
            </a:r>
            <a:r>
              <a:rPr lang="ko-KR" altLang="en-US" dirty="0"/>
              <a:t>사용 고객 편의성 </a:t>
            </a:r>
            <a:r>
              <a:rPr lang="ko-KR" altLang="en-US" dirty="0" smtClean="0"/>
              <a:t>제고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포인트 운영 절차</a:t>
            </a:r>
            <a:r>
              <a:rPr lang="en-US" altLang="ko-KR" dirty="0" smtClean="0"/>
              <a:t>/</a:t>
            </a:r>
            <a:r>
              <a:rPr lang="ko-KR" altLang="en-US" dirty="0" smtClean="0"/>
              <a:t>기준을 정비하고 </a:t>
            </a:r>
            <a:r>
              <a:rPr lang="en-US" altLang="ko-KR" dirty="0" smtClean="0"/>
              <a:t>Rule</a:t>
            </a:r>
            <a:r>
              <a:rPr lang="ko-KR" altLang="en-US" dirty="0" smtClean="0"/>
              <a:t>의 형태로 관리함으로써</a:t>
            </a:r>
            <a:r>
              <a:rPr lang="en-US" altLang="ko-KR" dirty="0" smtClean="0"/>
              <a:t>,</a:t>
            </a:r>
            <a:r>
              <a:rPr lang="en-US" altLang="ko-KR" dirty="0"/>
              <a:t> </a:t>
            </a:r>
            <a:r>
              <a:rPr lang="ko-KR" altLang="en-US" dirty="0" smtClean="0"/>
              <a:t>양방향 포인트 전환</a:t>
            </a:r>
            <a:r>
              <a:rPr lang="en-US" altLang="ko-KR" dirty="0"/>
              <a:t> </a:t>
            </a:r>
            <a:r>
              <a:rPr lang="ko-KR" altLang="en-US" dirty="0" smtClean="0"/>
              <a:t>및 실시간 운영을 지원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 적립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용 관련 실시간 대응 강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 양방향 전환 프로세스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준 수립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 관련 회계처리 재정립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항후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포인트 제도의 운영방향 및 </a:t>
            </a:r>
            <a:r>
              <a:rPr kumimoji="0" lang="ko-KR" altLang="en-US" sz="13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확장성을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려한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운영 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ocess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설계 필요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19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직사각형 38"/>
          <p:cNvSpPr/>
          <p:nvPr/>
        </p:nvSpPr>
        <p:spPr bwMode="gray">
          <a:xfrm>
            <a:off x="332560" y="3297186"/>
            <a:ext cx="1764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buSzPct val="90000"/>
            </a:pP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실시간 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</a:t>
            </a: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 취소 제약</a:t>
            </a:r>
          </a:p>
        </p:txBody>
      </p:sp>
      <p:sp>
        <p:nvSpPr>
          <p:cNvPr id="40" name="직사각형 39"/>
          <p:cNvSpPr/>
          <p:nvPr/>
        </p:nvSpPr>
        <p:spPr bwMode="gray">
          <a:xfrm>
            <a:off x="5214964" y="3297186"/>
            <a:ext cx="1764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서비스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Rule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형태의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운영 기준 관리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8" name="원통 57"/>
          <p:cNvSpPr/>
          <p:nvPr/>
        </p:nvSpPr>
        <p:spPr bwMode="gray">
          <a:xfrm>
            <a:off x="2366458" y="3786725"/>
            <a:ext cx="864000" cy="432000"/>
          </a:xfrm>
          <a:prstGeom prst="can">
            <a:avLst/>
          </a:prstGeom>
          <a:solidFill>
            <a:srgbClr val="1B3A87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en-US" altLang="ko-KR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NH </a:t>
            </a: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</a:p>
        </p:txBody>
      </p:sp>
      <p:sp>
        <p:nvSpPr>
          <p:cNvPr id="59" name="원통 58"/>
          <p:cNvSpPr/>
          <p:nvPr/>
        </p:nvSpPr>
        <p:spPr bwMode="gray">
          <a:xfrm>
            <a:off x="2366458" y="4562165"/>
            <a:ext cx="864000" cy="432000"/>
          </a:xfrm>
          <a:prstGeom prst="can">
            <a:avLst/>
          </a:prstGeom>
          <a:solidFill>
            <a:srgbClr val="1B3A87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휴</a:t>
            </a:r>
            <a:endParaRPr lang="en-US" altLang="ko-KR" sz="1000" kern="0" dirty="0" smtClean="0"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</a:p>
        </p:txBody>
      </p:sp>
      <p:sp>
        <p:nvSpPr>
          <p:cNvPr id="62" name="직사각형 61"/>
          <p:cNvSpPr/>
          <p:nvPr/>
        </p:nvSpPr>
        <p:spPr bwMode="gray">
          <a:xfrm>
            <a:off x="2174573" y="3297186"/>
            <a:ext cx="252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간 전환 제</a:t>
            </a:r>
            <a:r>
              <a:rPr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약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도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시스템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3" name="이등변 삼각형 62"/>
          <p:cNvSpPr/>
          <p:nvPr/>
        </p:nvSpPr>
        <p:spPr bwMode="gray">
          <a:xfrm rot="5400000">
            <a:off x="2870697" y="4308532"/>
            <a:ext cx="1046924" cy="180001"/>
          </a:xfrm>
          <a:prstGeom prst="triangle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4" name="위쪽/아래쪽 화살표 63"/>
          <p:cNvSpPr/>
          <p:nvPr/>
        </p:nvSpPr>
        <p:spPr bwMode="gray">
          <a:xfrm>
            <a:off x="2618438" y="4246445"/>
            <a:ext cx="360040" cy="288000"/>
          </a:xfrm>
          <a:prstGeom prst="upDownArrow">
            <a:avLst>
              <a:gd name="adj1" fmla="val 37906"/>
              <a:gd name="adj2" fmla="val 25812"/>
            </a:avLst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65" name="직선 연결선 64"/>
          <p:cNvCxnSpPr/>
          <p:nvPr/>
        </p:nvCxnSpPr>
        <p:spPr bwMode="auto">
          <a:xfrm flipV="1">
            <a:off x="2582458" y="4318455"/>
            <a:ext cx="432000" cy="90489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6" name="직선 연결선 65"/>
          <p:cNvCxnSpPr/>
          <p:nvPr/>
        </p:nvCxnSpPr>
        <p:spPr bwMode="auto">
          <a:xfrm flipV="1">
            <a:off x="2582458" y="4387172"/>
            <a:ext cx="432000" cy="90489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7" name="직사각형 66"/>
          <p:cNvSpPr/>
          <p:nvPr/>
        </p:nvSpPr>
        <p:spPr bwMode="gray">
          <a:xfrm>
            <a:off x="3464703" y="4157050"/>
            <a:ext cx="1199902" cy="41289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7313" indent="-87313" defTabSz="914400" latinLnBrk="0">
              <a:spcBef>
                <a:spcPct val="0"/>
              </a:spcBef>
              <a:buSzPct val="90000"/>
              <a:buFont typeface="Wingdings" pitchFamily="2" charset="2"/>
              <a:buChar char="§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간 양방향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환  제한</a:t>
            </a:r>
            <a:endParaRPr lang="en-US" altLang="ko-KR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defTabSz="914400" latinLnBrk="0">
              <a:spcBef>
                <a:spcPct val="0"/>
              </a:spcBef>
              <a:buSzPct val="90000"/>
            </a:pP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-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도적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시스템 적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약 존재</a:t>
            </a:r>
            <a:endParaRPr lang="en-US" altLang="ko-KR" sz="10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0" name="직사각형 69"/>
          <p:cNvSpPr/>
          <p:nvPr/>
        </p:nvSpPr>
        <p:spPr bwMode="gray">
          <a:xfrm>
            <a:off x="7075420" y="3297186"/>
            <a:ext cx="252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운영 기준에 따른 유연한 포인트 운영</a:t>
            </a:r>
          </a:p>
        </p:txBody>
      </p:sp>
      <p:sp>
        <p:nvSpPr>
          <p:cNvPr id="74" name="직사각형 73"/>
          <p:cNvSpPr/>
          <p:nvPr/>
        </p:nvSpPr>
        <p:spPr bwMode="gray">
          <a:xfrm>
            <a:off x="2174573" y="5098396"/>
            <a:ext cx="252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운영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처리 기준</a:t>
            </a: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4" name="직사각형 83"/>
          <p:cNvSpPr/>
          <p:nvPr/>
        </p:nvSpPr>
        <p:spPr bwMode="gray">
          <a:xfrm>
            <a:off x="488504" y="3894347"/>
            <a:ext cx="863507" cy="360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사용가능 포인트 확인</a:t>
            </a:r>
          </a:p>
        </p:txBody>
      </p:sp>
      <p:cxnSp>
        <p:nvCxnSpPr>
          <p:cNvPr id="85" name="직선 연결선 84"/>
          <p:cNvCxnSpPr>
            <a:stCxn id="86" idx="2"/>
            <a:endCxn id="87" idx="0"/>
          </p:cNvCxnSpPr>
          <p:nvPr/>
        </p:nvCxnSpPr>
        <p:spPr bwMode="auto">
          <a:xfrm>
            <a:off x="920258" y="4795322"/>
            <a:ext cx="0" cy="1809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6" name="직사각형 85"/>
          <p:cNvSpPr/>
          <p:nvPr/>
        </p:nvSpPr>
        <p:spPr bwMode="gray">
          <a:xfrm>
            <a:off x="488504" y="4435322"/>
            <a:ext cx="863507" cy="360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사용</a:t>
            </a:r>
          </a:p>
        </p:txBody>
      </p:sp>
      <p:sp>
        <p:nvSpPr>
          <p:cNvPr id="87" name="직사각형 86"/>
          <p:cNvSpPr/>
          <p:nvPr/>
        </p:nvSpPr>
        <p:spPr bwMode="gray">
          <a:xfrm>
            <a:off x="488504" y="4976297"/>
            <a:ext cx="863507" cy="360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</a:t>
            </a:r>
            <a:r>
              <a:rPr lang="ko-KR" altLang="en-US" sz="1000" b="1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사용분</a:t>
            </a:r>
            <a:endParaRPr lang="en-US" altLang="ko-KR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포인트</a:t>
            </a:r>
          </a:p>
        </p:txBody>
      </p:sp>
      <p:sp>
        <p:nvSpPr>
          <p:cNvPr id="88" name="직사각형 87"/>
          <p:cNvSpPr/>
          <p:nvPr/>
        </p:nvSpPr>
        <p:spPr bwMode="gray">
          <a:xfrm>
            <a:off x="488504" y="5733296"/>
            <a:ext cx="863507" cy="360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latinLnBrk="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사용</a:t>
            </a:r>
          </a:p>
        </p:txBody>
      </p:sp>
      <p:cxnSp>
        <p:nvCxnSpPr>
          <p:cNvPr id="89" name="직선 연결선 88"/>
          <p:cNvCxnSpPr>
            <a:stCxn id="84" idx="2"/>
            <a:endCxn id="86" idx="0"/>
          </p:cNvCxnSpPr>
          <p:nvPr/>
        </p:nvCxnSpPr>
        <p:spPr bwMode="auto">
          <a:xfrm>
            <a:off x="920258" y="4254347"/>
            <a:ext cx="0" cy="1809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0" name="직선 연결선 89"/>
          <p:cNvCxnSpPr>
            <a:stCxn id="87" idx="2"/>
            <a:endCxn id="88" idx="0"/>
          </p:cNvCxnSpPr>
          <p:nvPr/>
        </p:nvCxnSpPr>
        <p:spPr bwMode="auto">
          <a:xfrm>
            <a:off x="920258" y="5336297"/>
            <a:ext cx="0" cy="39699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91" name="꺾인 연결선 90"/>
          <p:cNvCxnSpPr>
            <a:stCxn id="87" idx="3"/>
            <a:endCxn id="84" idx="3"/>
          </p:cNvCxnSpPr>
          <p:nvPr/>
        </p:nvCxnSpPr>
        <p:spPr bwMode="auto">
          <a:xfrm flipV="1">
            <a:off x="1352011" y="4074347"/>
            <a:ext cx="12700" cy="1081950"/>
          </a:xfrm>
          <a:prstGeom prst="bentConnector3">
            <a:avLst>
              <a:gd name="adj1" fmla="val 4357898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2" name="직사각형 91"/>
          <p:cNvSpPr/>
          <p:nvPr/>
        </p:nvSpPr>
        <p:spPr>
          <a:xfrm>
            <a:off x="920553" y="5324263"/>
            <a:ext cx="1157992" cy="4449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실시간</a:t>
            </a:r>
            <a:r>
              <a:rPr lang="en-US" altLang="ko-KR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 후 </a:t>
            </a:r>
            <a:r>
              <a:rPr lang="en-US" altLang="ko-KR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1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사용  불가</a:t>
            </a:r>
            <a:endParaRPr lang="ko-KR" altLang="en-US" sz="1100" dirty="0"/>
          </a:p>
        </p:txBody>
      </p:sp>
      <p:sp>
        <p:nvSpPr>
          <p:cNvPr id="5" name="직사각형 4"/>
          <p:cNvSpPr/>
          <p:nvPr/>
        </p:nvSpPr>
        <p:spPr>
          <a:xfrm rot="16200000">
            <a:off x="1473599" y="4560257"/>
            <a:ext cx="6110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buSzPct val="90000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Batch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02" name="직사각형 101"/>
          <p:cNvSpPr/>
          <p:nvPr/>
        </p:nvSpPr>
        <p:spPr bwMode="gray">
          <a:xfrm>
            <a:off x="2228728" y="5598881"/>
            <a:ext cx="2452023" cy="57737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7313" indent="-87313" defTabSz="914400" latinLnBrk="0">
              <a:spcBef>
                <a:spcPct val="0"/>
              </a:spcBef>
              <a:buSzPct val="90000"/>
              <a:buFont typeface="Wingdings" pitchFamily="2" charset="2"/>
              <a:buChar char="§"/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운영 기준 정립 필요</a:t>
            </a:r>
            <a:endParaRPr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defTabSz="914400" latinLnBrk="0">
              <a:spcBef>
                <a:spcPct val="0"/>
              </a:spcBef>
              <a:buSzPct val="90000"/>
            </a:pP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- 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 지연 시 대응 방안 등 포인트 적립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   /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사용 관련 운영 기준 정비</a:t>
            </a:r>
            <a:endParaRPr lang="en-US" altLang="ko-KR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defTabSz="914400" latinLnBrk="0">
              <a:spcBef>
                <a:spcPct val="0"/>
              </a:spcBef>
              <a:buSzPct val="90000"/>
            </a:pP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- BC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관련 회계처리 기준 재정비</a:t>
            </a:r>
            <a:endParaRPr lang="en-US" altLang="ko-KR" sz="10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0" name="원통 109"/>
          <p:cNvSpPr/>
          <p:nvPr/>
        </p:nvSpPr>
        <p:spPr bwMode="gray">
          <a:xfrm>
            <a:off x="5464742" y="5201145"/>
            <a:ext cx="853988" cy="360000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…</a:t>
            </a:r>
            <a:endParaRPr lang="ko-KR" altLang="en-US" sz="10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>
            <a:off x="5320378" y="3997525"/>
            <a:ext cx="1152000" cy="287562"/>
          </a:xfrm>
          <a:prstGeom prst="roundRect">
            <a:avLst>
              <a:gd name="adj" fmla="val 0"/>
            </a:avLst>
          </a:prstGeom>
          <a:noFill/>
          <a:ln w="9525">
            <a:solidFill>
              <a:schemeClr val="tx1"/>
            </a:solidFill>
          </a:ln>
        </p:spPr>
        <p:txBody>
          <a:bodyPr vert="horz" wrap="square" lIns="0" tIns="45720" rIns="0" bIns="45720" rtlCol="0" anchor="ctr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속성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원통 111"/>
          <p:cNvSpPr/>
          <p:nvPr/>
        </p:nvSpPr>
        <p:spPr bwMode="gray">
          <a:xfrm>
            <a:off x="5464742" y="4922464"/>
            <a:ext cx="853988" cy="360000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무이자할부</a:t>
            </a:r>
          </a:p>
        </p:txBody>
      </p:sp>
      <p:sp>
        <p:nvSpPr>
          <p:cNvPr id="113" name="원통 112"/>
          <p:cNvSpPr/>
          <p:nvPr/>
        </p:nvSpPr>
        <p:spPr bwMode="gray">
          <a:xfrm>
            <a:off x="5464742" y="4643784"/>
            <a:ext cx="853988" cy="360000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적립</a:t>
            </a:r>
          </a:p>
        </p:txBody>
      </p:sp>
      <p:sp>
        <p:nvSpPr>
          <p:cNvPr id="114" name="원통 113"/>
          <p:cNvSpPr/>
          <p:nvPr/>
        </p:nvSpPr>
        <p:spPr bwMode="gray">
          <a:xfrm>
            <a:off x="5464742" y="4365104"/>
            <a:ext cx="853988" cy="360000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  <a:buSzPct val="90000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할인</a:t>
            </a:r>
          </a:p>
        </p:txBody>
      </p:sp>
      <p:sp>
        <p:nvSpPr>
          <p:cNvPr id="8" name="아래쪽 화살표 7"/>
          <p:cNvSpPr/>
          <p:nvPr/>
        </p:nvSpPr>
        <p:spPr bwMode="auto">
          <a:xfrm>
            <a:off x="7070164" y="4293096"/>
            <a:ext cx="1152128" cy="486100"/>
          </a:xfrm>
          <a:prstGeom prst="downArrow">
            <a:avLst>
              <a:gd name="adj1" fmla="val 100000"/>
              <a:gd name="adj2" fmla="val 179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아래쪽 화살표 115"/>
          <p:cNvSpPr/>
          <p:nvPr/>
        </p:nvSpPr>
        <p:spPr bwMode="auto">
          <a:xfrm>
            <a:off x="7074956" y="5322361"/>
            <a:ext cx="1152128" cy="486100"/>
          </a:xfrm>
          <a:prstGeom prst="downArrow">
            <a:avLst>
              <a:gd name="adj1" fmla="val 100000"/>
              <a:gd name="adj2" fmla="val 21861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소멸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" name="직선 화살표 연결선 9"/>
          <p:cNvCxnSpPr>
            <a:stCxn id="113" idx="4"/>
            <a:endCxn id="8" idx="1"/>
          </p:cNvCxnSpPr>
          <p:nvPr/>
        </p:nvCxnSpPr>
        <p:spPr bwMode="auto">
          <a:xfrm flipV="1">
            <a:off x="6318730" y="4692184"/>
            <a:ext cx="751434" cy="13160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" name="직사각형 12"/>
          <p:cNvSpPr/>
          <p:nvPr/>
        </p:nvSpPr>
        <p:spPr>
          <a:xfrm>
            <a:off x="6883180" y="3741096"/>
            <a:ext cx="27538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latinLnBrk="0">
              <a:spcBef>
                <a:spcPct val="20000"/>
              </a:spcBef>
            </a:pP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“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 Rule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 등록된 포인트 운영 기준에 따라 적립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사용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소멸 처리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” 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17" name="원통 116"/>
          <p:cNvSpPr/>
          <p:nvPr/>
        </p:nvSpPr>
        <p:spPr bwMode="gray">
          <a:xfrm>
            <a:off x="8643353" y="5019203"/>
            <a:ext cx="864000" cy="432000"/>
          </a:xfrm>
          <a:prstGeom prst="can">
            <a:avLst/>
          </a:prstGeom>
          <a:solidFill>
            <a:srgbClr val="1B3A87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제휴</a:t>
            </a:r>
            <a:r>
              <a:rPr lang="en-US" altLang="ko-KR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 포인트</a:t>
            </a:r>
            <a:endParaRPr lang="ko-KR" altLang="en-US" sz="1000" kern="0" dirty="0"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8" name="원통 117"/>
          <p:cNvSpPr/>
          <p:nvPr/>
        </p:nvSpPr>
        <p:spPr bwMode="gray">
          <a:xfrm>
            <a:off x="8643353" y="4477661"/>
            <a:ext cx="864000" cy="432000"/>
          </a:xfrm>
          <a:prstGeom prst="can">
            <a:avLst/>
          </a:prstGeom>
          <a:solidFill>
            <a:srgbClr val="1B3A87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lang="en-US" altLang="ko-KR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NH </a:t>
            </a:r>
            <a:r>
              <a:rPr lang="ko-KR" altLang="en-US" sz="1000" kern="0" dirty="0" smtClean="0"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  <a:endParaRPr lang="ko-KR" altLang="en-US" sz="1000" kern="0" dirty="0"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8" name="위쪽/아래쪽 화살표 17"/>
          <p:cNvSpPr/>
          <p:nvPr/>
        </p:nvSpPr>
        <p:spPr bwMode="auto">
          <a:xfrm>
            <a:off x="8912044" y="4805359"/>
            <a:ext cx="360378" cy="403890"/>
          </a:xfrm>
          <a:prstGeom prst="upDownArrow">
            <a:avLst>
              <a:gd name="adj1" fmla="val 33084"/>
              <a:gd name="adj2" fmla="val 30265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7085381" y="5982178"/>
            <a:ext cx="1136911" cy="29111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</a:p>
        </p:txBody>
      </p:sp>
      <p:cxnSp>
        <p:nvCxnSpPr>
          <p:cNvPr id="35" name="구부러진 연결선 34"/>
          <p:cNvCxnSpPr>
            <a:stCxn id="8" idx="3"/>
            <a:endCxn id="33" idx="3"/>
          </p:cNvCxnSpPr>
          <p:nvPr/>
        </p:nvCxnSpPr>
        <p:spPr bwMode="auto">
          <a:xfrm>
            <a:off x="8222292" y="4692184"/>
            <a:ext cx="12700" cy="1435553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cxnSp>
        <p:nvCxnSpPr>
          <p:cNvPr id="120" name="구부러진 연결선 119"/>
          <p:cNvCxnSpPr>
            <a:stCxn id="115" idx="3"/>
            <a:endCxn id="33" idx="3"/>
          </p:cNvCxnSpPr>
          <p:nvPr/>
        </p:nvCxnSpPr>
        <p:spPr bwMode="auto">
          <a:xfrm flipH="1">
            <a:off x="8222292" y="5186112"/>
            <a:ext cx="4976" cy="941625"/>
          </a:xfrm>
          <a:prstGeom prst="curvedConnector3">
            <a:avLst>
              <a:gd name="adj1" fmla="val -3385088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115" name="아래쪽 화살표 114"/>
          <p:cNvSpPr/>
          <p:nvPr/>
        </p:nvSpPr>
        <p:spPr bwMode="auto">
          <a:xfrm>
            <a:off x="7075140" y="4806273"/>
            <a:ext cx="1152128" cy="486100"/>
          </a:xfrm>
          <a:prstGeom prst="downArrow">
            <a:avLst>
              <a:gd name="adj1" fmla="val 100000"/>
              <a:gd name="adj2" fmla="val 2186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환</a:t>
            </a:r>
          </a:p>
        </p:txBody>
      </p:sp>
      <p:cxnSp>
        <p:nvCxnSpPr>
          <p:cNvPr id="124" name="구부러진 연결선 123"/>
          <p:cNvCxnSpPr>
            <a:stCxn id="116" idx="3"/>
            <a:endCxn id="33" idx="3"/>
          </p:cNvCxnSpPr>
          <p:nvPr/>
        </p:nvCxnSpPr>
        <p:spPr bwMode="auto">
          <a:xfrm flipH="1">
            <a:off x="8222292" y="5702195"/>
            <a:ext cx="4792" cy="425542"/>
          </a:xfrm>
          <a:prstGeom prst="curvedConnector3">
            <a:avLst>
              <a:gd name="adj1" fmla="val -2008619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128" name="직사각형 127"/>
          <p:cNvSpPr/>
          <p:nvPr/>
        </p:nvSpPr>
        <p:spPr>
          <a:xfrm>
            <a:off x="8155260" y="5799711"/>
            <a:ext cx="13769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latinLnBrk="0">
              <a:spcBef>
                <a:spcPct val="20000"/>
              </a:spcBef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개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Rule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에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따라 회계처리 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317929" y="5864572"/>
            <a:ext cx="1653477" cy="338554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/>
            <a:r>
              <a:rPr lang="ko-KR" altLang="en-US" sz="1100" i="1" u="sng" kern="0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 적립</a:t>
            </a:r>
            <a:r>
              <a:rPr lang="en-US" altLang="ko-KR" sz="1100" i="1" u="sng" kern="0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100" i="1" u="sng" kern="0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용 고객 편의성 제고</a:t>
            </a:r>
            <a:endParaRPr lang="ko-KR" altLang="en-US" sz="1100" i="1" u="sng" dirty="0">
              <a:solidFill>
                <a:srgbClr val="1B3A87"/>
              </a:solidFill>
            </a:endParaRPr>
          </a:p>
        </p:txBody>
      </p:sp>
      <p:sp>
        <p:nvSpPr>
          <p:cNvPr id="80" name="이등변 삼각형 79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0" name="그룹 9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1" name="그룹 12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152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고객 편의성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90803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에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형태로 등록된 포인트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운영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입확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금 시 포인트 승인 기준으로 작동하게 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62" name="오각형 161"/>
          <p:cNvSpPr/>
          <p:nvPr/>
        </p:nvSpPr>
        <p:spPr bwMode="auto">
          <a:xfrm>
            <a:off x="273050" y="1988840"/>
            <a:ext cx="2663726" cy="360362"/>
          </a:xfrm>
          <a:prstGeom prst="homePlate">
            <a:avLst>
              <a:gd name="adj" fmla="val 19762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승인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3" name="오각형 162"/>
          <p:cNvSpPr/>
          <p:nvPr/>
        </p:nvSpPr>
        <p:spPr bwMode="auto">
          <a:xfrm>
            <a:off x="3043975" y="1988840"/>
            <a:ext cx="2701113" cy="360362"/>
          </a:xfrm>
          <a:prstGeom prst="homePlate">
            <a:avLst>
              <a:gd name="adj" fmla="val 19537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매출확정 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전표매입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4" name="오각형 163"/>
          <p:cNvSpPr/>
          <p:nvPr/>
        </p:nvSpPr>
        <p:spPr bwMode="auto">
          <a:xfrm>
            <a:off x="5817096" y="1988840"/>
            <a:ext cx="3815854" cy="360362"/>
          </a:xfrm>
          <a:prstGeom prst="homePlate">
            <a:avLst>
              <a:gd name="adj" fmla="val 25809"/>
            </a:avLst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청구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입금</a:t>
            </a:r>
          </a:p>
        </p:txBody>
      </p:sp>
      <p:sp>
        <p:nvSpPr>
          <p:cNvPr id="165" name="직사각형 164"/>
          <p:cNvSpPr/>
          <p:nvPr/>
        </p:nvSpPr>
        <p:spPr bwMode="gray">
          <a:xfrm>
            <a:off x="1496516" y="2493367"/>
            <a:ext cx="936104" cy="504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가맹점</a:t>
            </a:r>
          </a:p>
        </p:txBody>
      </p:sp>
      <p:cxnSp>
        <p:nvCxnSpPr>
          <p:cNvPr id="166" name="꺾인 연결선 165"/>
          <p:cNvCxnSpPr>
            <a:stCxn id="175" idx="1"/>
            <a:endCxn id="168" idx="4"/>
          </p:cNvCxnSpPr>
          <p:nvPr/>
        </p:nvCxnSpPr>
        <p:spPr bwMode="auto">
          <a:xfrm rot="10800000">
            <a:off x="2432621" y="4977616"/>
            <a:ext cx="611355" cy="24737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167" name="직사각형 166"/>
          <p:cNvSpPr/>
          <p:nvPr/>
        </p:nvSpPr>
        <p:spPr bwMode="gray">
          <a:xfrm>
            <a:off x="3835923" y="2493367"/>
            <a:ext cx="936104" cy="504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매출확정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표매입</a:t>
            </a: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kumimoji="1" lang="ko-KR" altLang="en-US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68" name="원통 167"/>
          <p:cNvSpPr/>
          <p:nvPr/>
        </p:nvSpPr>
        <p:spPr bwMode="gray">
          <a:xfrm>
            <a:off x="1496516" y="4725615"/>
            <a:ext cx="936104" cy="504000"/>
          </a:xfrm>
          <a:prstGeom prst="can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시점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판단요건</a:t>
            </a:r>
          </a:p>
        </p:txBody>
      </p:sp>
      <p:sp>
        <p:nvSpPr>
          <p:cNvPr id="169" name="원통 168"/>
          <p:cNvSpPr/>
          <p:nvPr/>
        </p:nvSpPr>
        <p:spPr bwMode="gray">
          <a:xfrm>
            <a:off x="1496516" y="5373687"/>
            <a:ext cx="936104" cy="504000"/>
          </a:xfrm>
          <a:prstGeom prst="can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정보 생성</a:t>
            </a:r>
          </a:p>
        </p:txBody>
      </p:sp>
      <p:cxnSp>
        <p:nvCxnSpPr>
          <p:cNvPr id="170" name="직선 화살표 연결선 169"/>
          <p:cNvCxnSpPr>
            <a:stCxn id="168" idx="3"/>
            <a:endCxn id="169" idx="1"/>
          </p:cNvCxnSpPr>
          <p:nvPr/>
        </p:nvCxnSpPr>
        <p:spPr bwMode="auto">
          <a:xfrm>
            <a:off x="1964568" y="5229615"/>
            <a:ext cx="0" cy="14407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1" name="TextBox 170"/>
          <p:cNvSpPr txBox="1"/>
          <p:nvPr/>
        </p:nvSpPr>
        <p:spPr>
          <a:xfrm>
            <a:off x="1245583" y="3385112"/>
            <a:ext cx="1440000" cy="252000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 wrap="square" lIns="36000" r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승인 시스템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2" name="Rectangle 85"/>
          <p:cNvSpPr>
            <a:spLocks noChangeArrowheads="1"/>
          </p:cNvSpPr>
          <p:nvPr/>
        </p:nvSpPr>
        <p:spPr bwMode="auto">
          <a:xfrm>
            <a:off x="1245583" y="3645575"/>
            <a:ext cx="1440000" cy="72000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3" name="원통 172"/>
          <p:cNvSpPr/>
          <p:nvPr/>
        </p:nvSpPr>
        <p:spPr bwMode="gray">
          <a:xfrm>
            <a:off x="1496516" y="3753575"/>
            <a:ext cx="936104" cy="504000"/>
          </a:xfrm>
          <a:prstGeom prst="can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승인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Tandem)</a:t>
            </a:r>
            <a:endParaRPr kumimoji="1" lang="ko-KR" altLang="en-US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174" name="그룹 173"/>
          <p:cNvGrpSpPr/>
          <p:nvPr/>
        </p:nvGrpSpPr>
        <p:grpSpPr>
          <a:xfrm>
            <a:off x="3043975" y="5098992"/>
            <a:ext cx="2520000" cy="980463"/>
            <a:chOff x="3298350" y="5143454"/>
            <a:chExt cx="2520000" cy="980463"/>
          </a:xfrm>
        </p:grpSpPr>
        <p:sp>
          <p:nvSpPr>
            <p:cNvPr id="175" name="TextBox 174"/>
            <p:cNvSpPr txBox="1"/>
            <p:nvPr/>
          </p:nvSpPr>
          <p:spPr>
            <a:xfrm>
              <a:off x="3298350" y="5143454"/>
              <a:ext cx="2520000" cy="252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>
              <a:solidFill>
                <a:srgbClr val="000000"/>
              </a:solidFill>
            </a:ln>
          </p:spPr>
          <p:txBody>
            <a:bodyPr wrap="square" lIns="36000" r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</a:t>
              </a: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시스템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76" name="Rectangle 85"/>
            <p:cNvSpPr>
              <a:spLocks noChangeArrowheads="1"/>
            </p:cNvSpPr>
            <p:nvPr/>
          </p:nvSpPr>
          <p:spPr bwMode="auto">
            <a:xfrm>
              <a:off x="3298350" y="5403917"/>
              <a:ext cx="2520000" cy="720000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grpSp>
          <p:nvGrpSpPr>
            <p:cNvPr id="177" name="그룹 176"/>
            <p:cNvGrpSpPr/>
            <p:nvPr/>
          </p:nvGrpSpPr>
          <p:grpSpPr>
            <a:xfrm>
              <a:off x="3563097" y="5511917"/>
              <a:ext cx="1990507" cy="504000"/>
              <a:chOff x="3466549" y="5523451"/>
              <a:chExt cx="1990507" cy="504000"/>
            </a:xfrm>
          </p:grpSpPr>
          <p:sp>
            <p:nvSpPr>
              <p:cNvPr id="178" name="원통 177"/>
              <p:cNvSpPr/>
              <p:nvPr/>
            </p:nvSpPr>
            <p:spPr bwMode="gray">
              <a:xfrm>
                <a:off x="4520952" y="5523451"/>
                <a:ext cx="936104" cy="504000"/>
              </a:xfrm>
              <a:prstGeom prst="can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상품</a:t>
                </a: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/</a:t>
                </a: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서비스</a:t>
                </a:r>
                <a:endPara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Rule</a:t>
                </a:r>
                <a:endPara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endParaRPr>
              </a:p>
            </p:txBody>
          </p:sp>
          <p:sp>
            <p:nvSpPr>
              <p:cNvPr id="179" name="원통 178"/>
              <p:cNvSpPr/>
              <p:nvPr/>
            </p:nvSpPr>
            <p:spPr bwMode="gray">
              <a:xfrm>
                <a:off x="3466549" y="5523451"/>
                <a:ext cx="936104" cy="504000"/>
              </a:xfrm>
              <a:prstGeom prst="can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상품</a:t>
                </a:r>
                <a:r>
                  <a:rPr kumimoji="1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/</a:t>
                </a: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서비스</a:t>
                </a:r>
                <a:endPara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마스터</a:t>
                </a:r>
              </a:p>
            </p:txBody>
          </p:sp>
        </p:grpSp>
      </p:grpSp>
      <p:cxnSp>
        <p:nvCxnSpPr>
          <p:cNvPr id="180" name="직선 화살표 연결선 179"/>
          <p:cNvCxnSpPr>
            <a:stCxn id="172" idx="2"/>
            <a:endCxn id="168" idx="1"/>
          </p:cNvCxnSpPr>
          <p:nvPr/>
        </p:nvCxnSpPr>
        <p:spPr bwMode="auto">
          <a:xfrm flipH="1">
            <a:off x="1964568" y="4365575"/>
            <a:ext cx="1015" cy="36004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1" name="원통 180"/>
          <p:cNvSpPr/>
          <p:nvPr/>
        </p:nvSpPr>
        <p:spPr bwMode="gray">
          <a:xfrm>
            <a:off x="3043975" y="4293567"/>
            <a:ext cx="936104" cy="504000"/>
          </a:xfrm>
          <a:prstGeom prst="can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표매입연계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적립요건</a:t>
            </a:r>
          </a:p>
        </p:txBody>
      </p:sp>
      <p:cxnSp>
        <p:nvCxnSpPr>
          <p:cNvPr id="182" name="꺾인 연결선 181"/>
          <p:cNvCxnSpPr>
            <a:stCxn id="175" idx="0"/>
            <a:endCxn id="181" idx="3"/>
          </p:cNvCxnSpPr>
          <p:nvPr/>
        </p:nvCxnSpPr>
        <p:spPr bwMode="auto">
          <a:xfrm rot="16200000" flipV="1">
            <a:off x="3757289" y="4552306"/>
            <a:ext cx="301425" cy="79194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183" name="직선 화살표 연결선 182"/>
          <p:cNvCxnSpPr>
            <a:stCxn id="167" idx="2"/>
            <a:endCxn id="184" idx="0"/>
          </p:cNvCxnSpPr>
          <p:nvPr/>
        </p:nvCxnSpPr>
        <p:spPr bwMode="auto">
          <a:xfrm>
            <a:off x="4303975" y="2997367"/>
            <a:ext cx="0" cy="468224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4" name="다이아몬드 183"/>
          <p:cNvSpPr/>
          <p:nvPr/>
        </p:nvSpPr>
        <p:spPr bwMode="gray">
          <a:xfrm>
            <a:off x="3835923" y="3465591"/>
            <a:ext cx="936104" cy="504000"/>
          </a:xfrm>
          <a:prstGeom prst="diamond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유형</a:t>
            </a:r>
          </a:p>
        </p:txBody>
      </p:sp>
      <p:sp>
        <p:nvSpPr>
          <p:cNvPr id="185" name="직사각형 184"/>
          <p:cNvSpPr/>
          <p:nvPr/>
        </p:nvSpPr>
        <p:spPr bwMode="gray">
          <a:xfrm>
            <a:off x="4627871" y="4293567"/>
            <a:ext cx="936104" cy="5040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매입연계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</a:t>
            </a:r>
            <a:r>
              <a:rPr kumimoji="1" lang="ko-KR" altLang="en-US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트 </a:t>
            </a: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적립</a:t>
            </a:r>
          </a:p>
        </p:txBody>
      </p:sp>
      <p:cxnSp>
        <p:nvCxnSpPr>
          <p:cNvPr id="186" name="꺾인 연결선 185"/>
          <p:cNvCxnSpPr>
            <a:stCxn id="192" idx="3"/>
            <a:endCxn id="195" idx="1"/>
          </p:cNvCxnSpPr>
          <p:nvPr/>
        </p:nvCxnSpPr>
        <p:spPr bwMode="auto">
          <a:xfrm rot="16200000" flipH="1">
            <a:off x="6399944" y="3246545"/>
            <a:ext cx="374708" cy="62557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87" name="그룹 45"/>
          <p:cNvGrpSpPr/>
          <p:nvPr/>
        </p:nvGrpSpPr>
        <p:grpSpPr>
          <a:xfrm>
            <a:off x="6630085" y="2831977"/>
            <a:ext cx="540000" cy="498997"/>
            <a:chOff x="2951880" y="2276872"/>
            <a:chExt cx="540000" cy="498997"/>
          </a:xfrm>
        </p:grpSpPr>
        <p:sp>
          <p:nvSpPr>
            <p:cNvPr id="188" name="원통 187"/>
            <p:cNvSpPr/>
            <p:nvPr/>
          </p:nvSpPr>
          <p:spPr bwMode="gray">
            <a:xfrm>
              <a:off x="2951880" y="2487869"/>
              <a:ext cx="540000" cy="288000"/>
            </a:xfrm>
            <a:prstGeom prst="can">
              <a:avLst/>
            </a:prstGeom>
            <a:solidFill>
              <a:srgbClr val="DDDDDD"/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부분입금</a:t>
              </a:r>
            </a:p>
          </p:txBody>
        </p:sp>
        <p:sp>
          <p:nvSpPr>
            <p:cNvPr id="189" name="원통 188"/>
            <p:cNvSpPr/>
            <p:nvPr/>
          </p:nvSpPr>
          <p:spPr bwMode="gray">
            <a:xfrm>
              <a:off x="2951880" y="2276872"/>
              <a:ext cx="540000" cy="288000"/>
            </a:xfrm>
            <a:prstGeom prst="can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54000" tIns="54000" rIns="54000" bIns="54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itchFamily="50" charset="-127"/>
                  <a:cs typeface="Arial" pitchFamily="34" charset="0"/>
                </a:rPr>
                <a:t>미수</a:t>
              </a:r>
            </a:p>
          </p:txBody>
        </p:sp>
      </p:grpSp>
      <p:sp>
        <p:nvSpPr>
          <p:cNvPr id="190" name="원통 189"/>
          <p:cNvSpPr/>
          <p:nvPr/>
        </p:nvSpPr>
        <p:spPr bwMode="gray">
          <a:xfrm>
            <a:off x="7264712" y="2831977"/>
            <a:ext cx="540000" cy="288000"/>
          </a:xfrm>
          <a:prstGeom prst="can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54000" tIns="54000" rIns="54000" bIns="54000" rtlCol="0" anchor="ctr"/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연체입금</a:t>
            </a:r>
          </a:p>
        </p:txBody>
      </p:sp>
      <p:sp>
        <p:nvSpPr>
          <p:cNvPr id="191" name="직사각형 190"/>
          <p:cNvSpPr/>
          <p:nvPr/>
        </p:nvSpPr>
        <p:spPr bwMode="gray">
          <a:xfrm>
            <a:off x="5912550" y="2745591"/>
            <a:ext cx="1975069" cy="720000"/>
          </a:xfrm>
          <a:prstGeom prst="rect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kumimoji="1" lang="ko-KR" altLang="en-US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92" name="원통 191"/>
          <p:cNvSpPr/>
          <p:nvPr/>
        </p:nvSpPr>
        <p:spPr bwMode="gray">
          <a:xfrm>
            <a:off x="6004512" y="2831977"/>
            <a:ext cx="540000" cy="540000"/>
          </a:xfrm>
          <a:prstGeom prst="can">
            <a:avLst>
              <a:gd name="adj" fmla="val 14675"/>
            </a:avLst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54000" tIns="54000" rIns="54000" bIns="54000" rtlCol="0" anchor="ctr"/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입금완납</a:t>
            </a:r>
          </a:p>
        </p:txBody>
      </p:sp>
      <p:sp>
        <p:nvSpPr>
          <p:cNvPr id="193" name="직사각형 192"/>
          <p:cNvSpPr/>
          <p:nvPr/>
        </p:nvSpPr>
        <p:spPr bwMode="gray">
          <a:xfrm>
            <a:off x="5912550" y="2489447"/>
            <a:ext cx="1975069" cy="252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</a:t>
            </a: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입금 시스템</a:t>
            </a:r>
          </a:p>
        </p:txBody>
      </p:sp>
      <p:cxnSp>
        <p:nvCxnSpPr>
          <p:cNvPr id="194" name="꺾인 연결선 193"/>
          <p:cNvCxnSpPr>
            <a:stCxn id="205" idx="2"/>
            <a:endCxn id="204" idx="1"/>
          </p:cNvCxnSpPr>
          <p:nvPr/>
        </p:nvCxnSpPr>
        <p:spPr bwMode="auto">
          <a:xfrm>
            <a:off x="6971110" y="4536610"/>
            <a:ext cx="610182" cy="294466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5" name="원통 194"/>
          <p:cNvSpPr/>
          <p:nvPr/>
        </p:nvSpPr>
        <p:spPr bwMode="gray">
          <a:xfrm>
            <a:off x="6432032" y="3746685"/>
            <a:ext cx="936104" cy="504000"/>
          </a:xfrm>
          <a:prstGeom prst="can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입금연계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적립요건</a:t>
            </a:r>
          </a:p>
        </p:txBody>
      </p:sp>
      <p:sp>
        <p:nvSpPr>
          <p:cNvPr id="196" name="직사각형 195"/>
          <p:cNvSpPr/>
          <p:nvPr/>
        </p:nvSpPr>
        <p:spPr bwMode="gray">
          <a:xfrm>
            <a:off x="7640742" y="3746685"/>
            <a:ext cx="936104" cy="5040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입금연계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적립</a:t>
            </a:r>
          </a:p>
        </p:txBody>
      </p:sp>
      <p:cxnSp>
        <p:nvCxnSpPr>
          <p:cNvPr id="197" name="직선 화살표 연결선 196"/>
          <p:cNvCxnSpPr>
            <a:stCxn id="195" idx="4"/>
            <a:endCxn id="196" idx="1"/>
          </p:cNvCxnSpPr>
          <p:nvPr/>
        </p:nvCxnSpPr>
        <p:spPr bwMode="auto">
          <a:xfrm>
            <a:off x="7368136" y="3998685"/>
            <a:ext cx="27260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8" name="꺾인 연결선 197"/>
          <p:cNvCxnSpPr>
            <a:stCxn id="188" idx="3"/>
            <a:endCxn id="195" idx="1"/>
          </p:cNvCxnSpPr>
          <p:nvPr/>
        </p:nvCxnSpPr>
        <p:spPr bwMode="auto">
          <a:xfrm rot="5400000">
            <a:off x="6692230" y="3538829"/>
            <a:ext cx="415711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9" name="꺾인 연결선 198"/>
          <p:cNvCxnSpPr>
            <a:stCxn id="190" idx="3"/>
            <a:endCxn id="195" idx="1"/>
          </p:cNvCxnSpPr>
          <p:nvPr/>
        </p:nvCxnSpPr>
        <p:spPr bwMode="auto">
          <a:xfrm rot="5400000">
            <a:off x="6904044" y="3116017"/>
            <a:ext cx="626708" cy="634628"/>
          </a:xfrm>
          <a:prstGeom prst="bentConnector3">
            <a:avLst>
              <a:gd name="adj1" fmla="val 70576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0" name="꺾인 연결선 199"/>
          <p:cNvCxnSpPr>
            <a:stCxn id="175" idx="3"/>
            <a:endCxn id="195" idx="3"/>
          </p:cNvCxnSpPr>
          <p:nvPr/>
        </p:nvCxnSpPr>
        <p:spPr bwMode="auto">
          <a:xfrm flipV="1">
            <a:off x="5563975" y="4250685"/>
            <a:ext cx="1336109" cy="974307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201" name="직선 화살표 연결선 200"/>
          <p:cNvCxnSpPr>
            <a:stCxn id="165" idx="2"/>
            <a:endCxn id="171" idx="0"/>
          </p:cNvCxnSpPr>
          <p:nvPr/>
        </p:nvCxnSpPr>
        <p:spPr bwMode="auto">
          <a:xfrm>
            <a:off x="1964568" y="2997367"/>
            <a:ext cx="1015" cy="387745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2" name="직선 화살표 연결선 201"/>
          <p:cNvCxnSpPr>
            <a:stCxn id="167" idx="3"/>
          </p:cNvCxnSpPr>
          <p:nvPr/>
        </p:nvCxnSpPr>
        <p:spPr bwMode="auto">
          <a:xfrm>
            <a:off x="4772027" y="2745367"/>
            <a:ext cx="114052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3" name="직선 화살표 연결선 202"/>
          <p:cNvCxnSpPr>
            <a:stCxn id="204" idx="3"/>
            <a:endCxn id="207" idx="0"/>
          </p:cNvCxnSpPr>
          <p:nvPr/>
        </p:nvCxnSpPr>
        <p:spPr bwMode="auto">
          <a:xfrm>
            <a:off x="7581292" y="5335076"/>
            <a:ext cx="0" cy="182683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4" name="원통 203"/>
          <p:cNvSpPr/>
          <p:nvPr/>
        </p:nvSpPr>
        <p:spPr bwMode="gray">
          <a:xfrm>
            <a:off x="7113240" y="4831076"/>
            <a:ext cx="936104" cy="504000"/>
          </a:xfrm>
          <a:prstGeom prst="can">
            <a:avLst/>
          </a:prstGeom>
          <a:pattFill prst="pct50">
            <a:fgClr>
              <a:schemeClr val="accent6">
                <a:lumMod val="40000"/>
                <a:lumOff val="60000"/>
              </a:schemeClr>
            </a:fgClr>
            <a:bgClr>
              <a:schemeClr val="bg1"/>
            </a:bgClr>
          </a:patt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매출포인트</a:t>
            </a:r>
          </a:p>
        </p:txBody>
      </p:sp>
      <p:sp>
        <p:nvSpPr>
          <p:cNvPr id="205" name="자유형 204"/>
          <p:cNvSpPr/>
          <p:nvPr/>
        </p:nvSpPr>
        <p:spPr bwMode="gray">
          <a:xfrm>
            <a:off x="6827110" y="4437527"/>
            <a:ext cx="144000" cy="106703"/>
          </a:xfrm>
          <a:custGeom>
            <a:avLst/>
            <a:gdLst>
              <a:gd name="connsiteX0" fmla="*/ 0 w 99060"/>
              <a:gd name="connsiteY0" fmla="*/ 106703 h 106703"/>
              <a:gd name="connsiteX1" fmla="*/ 45720 w 99060"/>
              <a:gd name="connsiteY1" fmla="*/ 23 h 106703"/>
              <a:gd name="connsiteX2" fmla="*/ 99060 w 99060"/>
              <a:gd name="connsiteY2" fmla="*/ 99083 h 106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60" h="106703">
                <a:moveTo>
                  <a:pt x="0" y="106703"/>
                </a:moveTo>
                <a:cubicBezTo>
                  <a:pt x="14605" y="53998"/>
                  <a:pt x="29210" y="1293"/>
                  <a:pt x="45720" y="23"/>
                </a:cubicBezTo>
                <a:cubicBezTo>
                  <a:pt x="62230" y="-1247"/>
                  <a:pt x="80645" y="48918"/>
                  <a:pt x="99060" y="99083"/>
                </a:cubicBezTo>
              </a:path>
            </a:pathLst>
          </a:cu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kumimoji="1" lang="ko-KR" altLang="en-US" sz="1500" b="0">
              <a:solidFill>
                <a:srgbClr val="000000"/>
              </a:solidFill>
              <a:ea typeface="-윤명조220" pitchFamily="18" charset="-127"/>
            </a:endParaRPr>
          </a:p>
        </p:txBody>
      </p:sp>
      <p:cxnSp>
        <p:nvCxnSpPr>
          <p:cNvPr id="206" name="직선 화살표 연결선 205"/>
          <p:cNvCxnSpPr>
            <a:stCxn id="185" idx="3"/>
            <a:endCxn id="205" idx="0"/>
          </p:cNvCxnSpPr>
          <p:nvPr/>
        </p:nvCxnSpPr>
        <p:spPr bwMode="auto">
          <a:xfrm flipV="1">
            <a:off x="5563975" y="4544230"/>
            <a:ext cx="1263135" cy="1337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07" name="다이아몬드 206"/>
          <p:cNvSpPr/>
          <p:nvPr/>
        </p:nvSpPr>
        <p:spPr bwMode="gray">
          <a:xfrm>
            <a:off x="7113240" y="5517759"/>
            <a:ext cx="936104" cy="504000"/>
          </a:xfrm>
          <a:prstGeom prst="diamond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타사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마일리지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전환</a:t>
            </a:r>
          </a:p>
        </p:txBody>
      </p:sp>
      <p:sp>
        <p:nvSpPr>
          <p:cNvPr id="208" name="원통 207"/>
          <p:cNvSpPr/>
          <p:nvPr/>
        </p:nvSpPr>
        <p:spPr bwMode="gray">
          <a:xfrm>
            <a:off x="8685693" y="5516852"/>
            <a:ext cx="936104" cy="504000"/>
          </a:xfrm>
          <a:prstGeom prst="can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타사</a:t>
            </a: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항공</a:t>
            </a: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algn="ctr">
              <a:buSzPct val="90000"/>
            </a:pPr>
            <a:r>
              <a:rPr kumimoji="1" lang="ko-KR" altLang="en-US" sz="10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마일리지</a:t>
            </a:r>
            <a:endParaRPr kumimoji="1" lang="ko-KR" altLang="en-US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209" name="꺾인 연결선 208"/>
          <p:cNvCxnSpPr>
            <a:stCxn id="196" idx="2"/>
            <a:endCxn id="204" idx="1"/>
          </p:cNvCxnSpPr>
          <p:nvPr/>
        </p:nvCxnSpPr>
        <p:spPr bwMode="auto">
          <a:xfrm rot="5400000">
            <a:off x="7554848" y="4277129"/>
            <a:ext cx="580391" cy="5275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210" name="그룹 209"/>
          <p:cNvGrpSpPr/>
          <p:nvPr/>
        </p:nvGrpSpPr>
        <p:grpSpPr>
          <a:xfrm>
            <a:off x="237311" y="2433082"/>
            <a:ext cx="968999" cy="1008000"/>
            <a:chOff x="237311" y="1977229"/>
            <a:chExt cx="968999" cy="1008000"/>
          </a:xfrm>
        </p:grpSpPr>
        <p:sp>
          <p:nvSpPr>
            <p:cNvPr id="211" name="타원 210"/>
            <p:cNvSpPr/>
            <p:nvPr/>
          </p:nvSpPr>
          <p:spPr bwMode="gray">
            <a:xfrm>
              <a:off x="270310" y="1977229"/>
              <a:ext cx="936000" cy="1008000"/>
            </a:xfrm>
            <a:prstGeom prst="ellips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90000"/>
              </a:pPr>
              <a:endPara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grpSp>
          <p:nvGrpSpPr>
            <p:cNvPr id="212" name="그룹 211"/>
            <p:cNvGrpSpPr/>
            <p:nvPr/>
          </p:nvGrpSpPr>
          <p:grpSpPr>
            <a:xfrm>
              <a:off x="237311" y="2187844"/>
              <a:ext cx="875871" cy="712679"/>
              <a:chOff x="231709" y="2243898"/>
              <a:chExt cx="875871" cy="712679"/>
            </a:xfrm>
          </p:grpSpPr>
          <p:pic>
            <p:nvPicPr>
              <p:cNvPr id="213" name="Picture 56" descr="휴대폰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3643" y="2243898"/>
                <a:ext cx="283937" cy="5533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14" name="그룹 392"/>
              <p:cNvGrpSpPr/>
              <p:nvPr/>
            </p:nvGrpSpPr>
            <p:grpSpPr>
              <a:xfrm>
                <a:off x="276078" y="2244103"/>
                <a:ext cx="648072" cy="576062"/>
                <a:chOff x="8568898" y="3799200"/>
                <a:chExt cx="1021684" cy="1222893"/>
              </a:xfrm>
            </p:grpSpPr>
            <p:pic>
              <p:nvPicPr>
                <p:cNvPr id="216" name="Picture 11" descr="MCj04316010000[1]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8568898" y="3799200"/>
                  <a:ext cx="995311" cy="11169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17" name="직사각형 216"/>
                <p:cNvSpPr/>
                <p:nvPr/>
              </p:nvSpPr>
              <p:spPr bwMode="auto">
                <a:xfrm>
                  <a:off x="8655544" y="4734755"/>
                  <a:ext cx="935038" cy="287338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/>
                <a:lstStyle/>
                <a:p>
                  <a:pPr algn="ctr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200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218" name="TextBox 217"/>
                <p:cNvSpPr txBox="1"/>
                <p:nvPr/>
              </p:nvSpPr>
              <p:spPr>
                <a:xfrm rot="5400000">
                  <a:off x="8764446" y="3945771"/>
                  <a:ext cx="708493" cy="4366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ko-KR" sz="1200" kern="0" dirty="0" smtClean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Arial" pitchFamily="34" charset="0"/>
                    </a:rPr>
                    <a:t>: )</a:t>
                  </a:r>
                  <a:endParaRPr lang="ko-KR" altLang="en-US" sz="1200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215" name="직사각형 214"/>
              <p:cNvSpPr/>
              <p:nvPr/>
            </p:nvSpPr>
            <p:spPr bwMode="gray">
              <a:xfrm>
                <a:off x="231709" y="2685474"/>
                <a:ext cx="720080" cy="271103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54000" tIns="54000" rIns="54000" bIns="54000" rtlCol="0" anchor="ctr"/>
              <a:lstStyle/>
              <a:p>
                <a:pPr algn="ctr">
                  <a:buSzPct val="90000"/>
                </a:pPr>
                <a:r>
                  <a:rPr kumimoji="1" lang="ko-KR" altLang="en-US" sz="10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itchFamily="50" charset="-127"/>
                    <a:cs typeface="Arial" pitchFamily="34" charset="0"/>
                  </a:rPr>
                  <a:t>고객</a:t>
                </a:r>
              </a:p>
            </p:txBody>
          </p:sp>
        </p:grpSp>
      </p:grpSp>
      <p:sp>
        <p:nvSpPr>
          <p:cNvPr id="219" name="직사각형 218"/>
          <p:cNvSpPr/>
          <p:nvPr/>
        </p:nvSpPr>
        <p:spPr bwMode="gray">
          <a:xfrm>
            <a:off x="271089" y="5373687"/>
            <a:ext cx="936104" cy="5040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휴대전화</a:t>
            </a:r>
            <a:endParaRPr kumimoji="1" lang="en-US" altLang="ko-KR" sz="10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algn="ctr">
              <a:buSzPct val="90000"/>
            </a:pPr>
            <a:r>
              <a:rPr kumimoji="1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SMS </a:t>
            </a:r>
            <a:r>
              <a:rPr kumimoji="1"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안내</a:t>
            </a:r>
          </a:p>
        </p:txBody>
      </p:sp>
      <p:cxnSp>
        <p:nvCxnSpPr>
          <p:cNvPr id="220" name="직선 화살표 연결선 219"/>
          <p:cNvCxnSpPr>
            <a:stCxn id="169" idx="2"/>
            <a:endCxn id="219" idx="3"/>
          </p:cNvCxnSpPr>
          <p:nvPr/>
        </p:nvCxnSpPr>
        <p:spPr bwMode="auto">
          <a:xfrm flipH="1">
            <a:off x="1207193" y="5625687"/>
            <a:ext cx="28932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1" name="직선 화살표 연결선 220"/>
          <p:cNvCxnSpPr>
            <a:stCxn id="219" idx="0"/>
            <a:endCxn id="211" idx="4"/>
          </p:cNvCxnSpPr>
          <p:nvPr/>
        </p:nvCxnSpPr>
        <p:spPr bwMode="auto">
          <a:xfrm flipH="1" flipV="1">
            <a:off x="738310" y="3441082"/>
            <a:ext cx="831" cy="1932605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2" name="꺾인 연결선 221"/>
          <p:cNvCxnSpPr>
            <a:stCxn id="184" idx="1"/>
            <a:endCxn id="181" idx="1"/>
          </p:cNvCxnSpPr>
          <p:nvPr/>
        </p:nvCxnSpPr>
        <p:spPr bwMode="auto">
          <a:xfrm rot="10800000" flipV="1">
            <a:off x="3512027" y="3717591"/>
            <a:ext cx="323896" cy="575976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3" name="꺾인 연결선 222"/>
          <p:cNvCxnSpPr>
            <a:stCxn id="184" idx="3"/>
            <a:endCxn id="195" idx="2"/>
          </p:cNvCxnSpPr>
          <p:nvPr/>
        </p:nvCxnSpPr>
        <p:spPr bwMode="auto">
          <a:xfrm>
            <a:off x="4772027" y="3717591"/>
            <a:ext cx="1660005" cy="28109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4" name="직선 화살표 연결선 223"/>
          <p:cNvCxnSpPr>
            <a:stCxn id="181" idx="4"/>
            <a:endCxn id="185" idx="1"/>
          </p:cNvCxnSpPr>
          <p:nvPr/>
        </p:nvCxnSpPr>
        <p:spPr bwMode="auto">
          <a:xfrm>
            <a:off x="3980079" y="4545567"/>
            <a:ext cx="647792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5" name="Text Box 21"/>
          <p:cNvSpPr txBox="1">
            <a:spLocks noChangeArrowheads="1"/>
          </p:cNvSpPr>
          <p:nvPr/>
        </p:nvSpPr>
        <p:spPr bwMode="gray">
          <a:xfrm>
            <a:off x="3215588" y="3357463"/>
            <a:ext cx="764491" cy="292223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noAutofit/>
          </a:bodyPr>
          <a:lstStyle/>
          <a:p>
            <a:pPr latinLnBrk="0"/>
            <a:r>
              <a:rPr kumimoji="1" lang="ko-KR" altLang="en-US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표매입시</a:t>
            </a:r>
            <a:endParaRPr kumimoji="1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kumimoji="1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</a:p>
        </p:txBody>
      </p:sp>
      <p:sp>
        <p:nvSpPr>
          <p:cNvPr id="226" name="Text Box 21"/>
          <p:cNvSpPr txBox="1">
            <a:spLocks noChangeArrowheads="1"/>
          </p:cNvSpPr>
          <p:nvPr/>
        </p:nvSpPr>
        <p:spPr bwMode="gray">
          <a:xfrm>
            <a:off x="4758291" y="3357463"/>
            <a:ext cx="764491" cy="292223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noAutofit/>
          </a:bodyPr>
          <a:lstStyle/>
          <a:p>
            <a:pPr latinLnBrk="0"/>
            <a:r>
              <a:rPr kumimoji="1" lang="ko-KR" altLang="en-US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입금시</a:t>
            </a:r>
            <a:endParaRPr kumimoji="1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kumimoji="1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</a:p>
        </p:txBody>
      </p:sp>
      <p:cxnSp>
        <p:nvCxnSpPr>
          <p:cNvPr id="227" name="직선 화살표 연결선 226"/>
          <p:cNvCxnSpPr>
            <a:stCxn id="207" idx="3"/>
            <a:endCxn id="208" idx="2"/>
          </p:cNvCxnSpPr>
          <p:nvPr/>
        </p:nvCxnSpPr>
        <p:spPr bwMode="auto">
          <a:xfrm flipV="1">
            <a:off x="8049344" y="5768852"/>
            <a:ext cx="636349" cy="907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8" name="Text Box 21"/>
          <p:cNvSpPr txBox="1">
            <a:spLocks noChangeArrowheads="1"/>
          </p:cNvSpPr>
          <p:nvPr/>
        </p:nvSpPr>
        <p:spPr bwMode="gray">
          <a:xfrm>
            <a:off x="7977336" y="5550361"/>
            <a:ext cx="764491" cy="292223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noAutofit/>
          </a:bodyPr>
          <a:lstStyle/>
          <a:p>
            <a:pPr latinLnBrk="0"/>
            <a:r>
              <a:rPr kumimoji="1" lang="ko-KR" altLang="en-US" sz="10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환대상</a:t>
            </a:r>
            <a:endParaRPr kumimoji="1" lang="ko-KR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3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38" name="TextBox 23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서비스 시스템을 활용한 포인트 승인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low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</a:p>
          </p:txBody>
        </p:sp>
        <p:cxnSp>
          <p:nvCxnSpPr>
            <p:cNvPr id="23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그룹 10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4" name="그룹 11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96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97" name="TextBox 9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5205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고객 편의성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 형태의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워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서비스는 대상 가맹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립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한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담 조건 등 포인트 운영을 위한 전반의 정보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형태로 관리하게 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4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카드프로세싱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3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38" name="TextBox 23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포인트 운영 기준의 정의 예시</a:t>
              </a:r>
            </a:p>
          </p:txBody>
        </p:sp>
        <p:cxnSp>
          <p:nvCxnSpPr>
            <p:cNvPr id="23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5" name="오른쪽 화살표 설명선 244"/>
          <p:cNvSpPr/>
          <p:nvPr/>
        </p:nvSpPr>
        <p:spPr bwMode="gray">
          <a:xfrm>
            <a:off x="489074" y="2421036"/>
            <a:ext cx="2159670" cy="3816276"/>
          </a:xfrm>
          <a:prstGeom prst="rightArrowCallout">
            <a:avLst>
              <a:gd name="adj1" fmla="val 31047"/>
              <a:gd name="adj2" fmla="val 25000"/>
              <a:gd name="adj3" fmla="val 11610"/>
              <a:gd name="adj4" fmla="val 85798"/>
            </a:avLst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72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indent="-96838" latinLnBrk="0">
              <a:buSzPct val="90000"/>
              <a:buFont typeface="Wingdings" pitchFamily="2" charset="2"/>
              <a:buChar char="§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신규 제휴 특화 포인트의 적립 프로세스 구현</a:t>
            </a:r>
            <a:endParaRPr kumimoji="1"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marL="92075" indent="-96838" latinLnBrk="0">
              <a:buSzPct val="90000"/>
              <a:buFont typeface="Wingdings" pitchFamily="2" charset="2"/>
              <a:buChar char="§"/>
            </a:pPr>
            <a:endParaRPr kumimoji="1"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  <a:p>
            <a:pPr marL="92075" indent="-96838" latinLnBrk="0">
              <a:buSzPct val="90000"/>
              <a:buFont typeface="Wingdings" pitchFamily="2" charset="2"/>
              <a:buChar char="§"/>
            </a:pP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 적립 조건의 추가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변경</a:t>
            </a:r>
            <a:endParaRPr kumimoji="1"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46" name="직사각형 245"/>
          <p:cNvSpPr/>
          <p:nvPr/>
        </p:nvSpPr>
        <p:spPr bwMode="gray">
          <a:xfrm>
            <a:off x="489074" y="1967216"/>
            <a:ext cx="1850657" cy="3600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>
                <a:latin typeface="맑은 고딕"/>
                <a:ea typeface="맑은 고딕"/>
              </a:rPr>
              <a:t>적립 요건의 추가</a:t>
            </a:r>
            <a:r>
              <a:rPr kumimoji="1" lang="en-US" altLang="ko-KR" sz="1200" kern="0" dirty="0">
                <a:latin typeface="맑은 고딕"/>
                <a:ea typeface="맑은 고딕"/>
              </a:rPr>
              <a:t>/</a:t>
            </a:r>
            <a:r>
              <a:rPr kumimoji="1" lang="ko-KR" altLang="en-US" sz="1200" kern="0" dirty="0">
                <a:latin typeface="맑은 고딕"/>
                <a:ea typeface="맑은 고딕"/>
              </a:rPr>
              <a:t>변경</a:t>
            </a:r>
          </a:p>
        </p:txBody>
      </p:sp>
      <p:sp>
        <p:nvSpPr>
          <p:cNvPr id="247" name="정육면체 246"/>
          <p:cNvSpPr/>
          <p:nvPr/>
        </p:nvSpPr>
        <p:spPr bwMode="gray">
          <a:xfrm>
            <a:off x="2760493" y="2595027"/>
            <a:ext cx="1296000" cy="1800200"/>
          </a:xfrm>
          <a:prstGeom prst="cube">
            <a:avLst>
              <a:gd name="adj" fmla="val 10329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48" name="원통 247"/>
          <p:cNvSpPr/>
          <p:nvPr/>
        </p:nvSpPr>
        <p:spPr bwMode="gray">
          <a:xfrm>
            <a:off x="2904857" y="3935124"/>
            <a:ext cx="853988" cy="360000"/>
          </a:xfrm>
          <a:prstGeom prst="can">
            <a:avLst/>
          </a:prstGeom>
          <a:solidFill>
            <a:srgbClr val="FFFFFF">
              <a:lumMod val="85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…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49" name="모서리가 둥근 직사각형 248"/>
          <p:cNvSpPr/>
          <p:nvPr/>
        </p:nvSpPr>
        <p:spPr>
          <a:xfrm>
            <a:off x="2760493" y="2731504"/>
            <a:ext cx="1152000" cy="287562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0" tIns="45720" rIns="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 속성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Rule</a:t>
            </a:r>
            <a:endParaRPr kumimoji="1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50" name="원통 249"/>
          <p:cNvSpPr/>
          <p:nvPr/>
        </p:nvSpPr>
        <p:spPr bwMode="gray">
          <a:xfrm>
            <a:off x="2904857" y="3656443"/>
            <a:ext cx="853988" cy="360000"/>
          </a:xfrm>
          <a:prstGeom prst="can">
            <a:avLst/>
          </a:prstGeom>
          <a:solidFill>
            <a:srgbClr val="FFFFFF">
              <a:lumMod val="85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무이자할부</a:t>
            </a:r>
          </a:p>
        </p:txBody>
      </p:sp>
      <p:sp>
        <p:nvSpPr>
          <p:cNvPr id="251" name="원통 250"/>
          <p:cNvSpPr/>
          <p:nvPr/>
        </p:nvSpPr>
        <p:spPr bwMode="gray">
          <a:xfrm>
            <a:off x="2904857" y="3377763"/>
            <a:ext cx="853988" cy="360000"/>
          </a:xfrm>
          <a:prstGeom prst="can">
            <a:avLst/>
          </a:prstGeom>
          <a:solidFill>
            <a:srgbClr val="FFFFFF">
              <a:lumMod val="85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포인트적립</a:t>
            </a:r>
          </a:p>
        </p:txBody>
      </p:sp>
      <p:sp>
        <p:nvSpPr>
          <p:cNvPr id="252" name="원통 251"/>
          <p:cNvSpPr/>
          <p:nvPr/>
        </p:nvSpPr>
        <p:spPr bwMode="gray">
          <a:xfrm>
            <a:off x="2904857" y="3099083"/>
            <a:ext cx="853988" cy="360000"/>
          </a:xfrm>
          <a:prstGeom prst="can">
            <a:avLst/>
          </a:prstGeom>
          <a:solidFill>
            <a:srgbClr val="FFFFFF">
              <a:lumMod val="85000"/>
            </a:srgb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rPr>
              <a:t>청구할인</a:t>
            </a:r>
          </a:p>
        </p:txBody>
      </p:sp>
      <p:sp>
        <p:nvSpPr>
          <p:cNvPr id="253" name="모서리가 둥근 직사각형 252"/>
          <p:cNvSpPr/>
          <p:nvPr/>
        </p:nvSpPr>
        <p:spPr>
          <a:xfrm>
            <a:off x="4325871" y="2501207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가능 여부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4" name="모서리가 둥근 직사각형 253"/>
          <p:cNvSpPr/>
          <p:nvPr/>
        </p:nvSpPr>
        <p:spPr>
          <a:xfrm>
            <a:off x="4325871" y="2796385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서비스 </a:t>
            </a: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적용값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5" name="모서리가 둥근 직사각형 254"/>
          <p:cNvSpPr/>
          <p:nvPr/>
        </p:nvSpPr>
        <p:spPr>
          <a:xfrm>
            <a:off x="4325871" y="3091563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일한도 횟수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6" name="모서리가 둥근 직사각형 255"/>
          <p:cNvSpPr/>
          <p:nvPr/>
        </p:nvSpPr>
        <p:spPr>
          <a:xfrm>
            <a:off x="4325871" y="3386741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주간한도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횟수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7" name="모서리가 둥근 직사각형 256"/>
          <p:cNvSpPr/>
          <p:nvPr/>
        </p:nvSpPr>
        <p:spPr>
          <a:xfrm>
            <a:off x="4325871" y="3681919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월한도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횟수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8" name="모서리가 둥근 직사각형 257"/>
          <p:cNvSpPr/>
          <p:nvPr/>
        </p:nvSpPr>
        <p:spPr>
          <a:xfrm>
            <a:off x="4325871" y="3977097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연한도 금액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59" name="모서리가 둥근 직사각형 258"/>
          <p:cNvSpPr/>
          <p:nvPr/>
        </p:nvSpPr>
        <p:spPr>
          <a:xfrm>
            <a:off x="4325871" y="4272275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 </a:t>
            </a: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부담값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0" name="모서리가 둥근 직사각형 259"/>
          <p:cNvSpPr/>
          <p:nvPr/>
        </p:nvSpPr>
        <p:spPr>
          <a:xfrm>
            <a:off x="4325871" y="4567453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 </a:t>
            </a: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추가부담값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1" name="모서리가 둥근 직사각형 260"/>
          <p:cNvSpPr/>
          <p:nvPr/>
        </p:nvSpPr>
        <p:spPr>
          <a:xfrm>
            <a:off x="4325871" y="4862631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당사 </a:t>
            </a:r>
            <a:r>
              <a:rPr kumimoji="1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부담값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2" name="모서리가 둥근 직사각형 261"/>
          <p:cNvSpPr/>
          <p:nvPr/>
        </p:nvSpPr>
        <p:spPr>
          <a:xfrm>
            <a:off x="4325871" y="5157810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…</a:t>
            </a:r>
            <a:endParaRPr kumimoji="1"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3" name="TextBox 262"/>
          <p:cNvSpPr txBox="1"/>
          <p:nvPr/>
        </p:nvSpPr>
        <p:spPr>
          <a:xfrm>
            <a:off x="4216429" y="1984051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sz="12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관리 속성</a:t>
            </a:r>
          </a:p>
        </p:txBody>
      </p:sp>
      <p:sp>
        <p:nvSpPr>
          <p:cNvPr id="264" name="사다리꼴 2"/>
          <p:cNvSpPr/>
          <p:nvPr/>
        </p:nvSpPr>
        <p:spPr bwMode="gray">
          <a:xfrm rot="16200000">
            <a:off x="2585673" y="3713767"/>
            <a:ext cx="2850345" cy="504000"/>
          </a:xfrm>
          <a:custGeom>
            <a:avLst/>
            <a:gdLst>
              <a:gd name="connsiteX0" fmla="*/ 0 w 2850345"/>
              <a:gd name="connsiteY0" fmla="*/ 701227 h 701227"/>
              <a:gd name="connsiteX1" fmla="*/ 1222155 w 2850345"/>
              <a:gd name="connsiteY1" fmla="*/ 0 h 701227"/>
              <a:gd name="connsiteX2" fmla="*/ 1628190 w 2850345"/>
              <a:gd name="connsiteY2" fmla="*/ 0 h 701227"/>
              <a:gd name="connsiteX3" fmla="*/ 2850345 w 2850345"/>
              <a:gd name="connsiteY3" fmla="*/ 701227 h 701227"/>
              <a:gd name="connsiteX4" fmla="*/ 0 w 2850345"/>
              <a:gd name="connsiteY4" fmla="*/ 701227 h 701227"/>
              <a:gd name="connsiteX0" fmla="*/ 0 w 2850345"/>
              <a:gd name="connsiteY0" fmla="*/ 701227 h 701227"/>
              <a:gd name="connsiteX1" fmla="*/ 1222155 w 2850345"/>
              <a:gd name="connsiteY1" fmla="*/ 0 h 701227"/>
              <a:gd name="connsiteX2" fmla="*/ 1932990 w 2850345"/>
              <a:gd name="connsiteY2" fmla="*/ 10886 h 701227"/>
              <a:gd name="connsiteX3" fmla="*/ 2850345 w 2850345"/>
              <a:gd name="connsiteY3" fmla="*/ 701227 h 701227"/>
              <a:gd name="connsiteX4" fmla="*/ 0 w 2850345"/>
              <a:gd name="connsiteY4" fmla="*/ 701227 h 701227"/>
              <a:gd name="connsiteX0" fmla="*/ 0 w 2850345"/>
              <a:gd name="connsiteY0" fmla="*/ 701227 h 701227"/>
              <a:gd name="connsiteX1" fmla="*/ 1668469 w 2850345"/>
              <a:gd name="connsiteY1" fmla="*/ 0 h 701227"/>
              <a:gd name="connsiteX2" fmla="*/ 1932990 w 2850345"/>
              <a:gd name="connsiteY2" fmla="*/ 10886 h 701227"/>
              <a:gd name="connsiteX3" fmla="*/ 2850345 w 2850345"/>
              <a:gd name="connsiteY3" fmla="*/ 701227 h 701227"/>
              <a:gd name="connsiteX4" fmla="*/ 0 w 2850345"/>
              <a:gd name="connsiteY4" fmla="*/ 701227 h 701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0345" h="701227">
                <a:moveTo>
                  <a:pt x="0" y="701227"/>
                </a:moveTo>
                <a:lnTo>
                  <a:pt x="1668469" y="0"/>
                </a:lnTo>
                <a:lnTo>
                  <a:pt x="1932990" y="10886"/>
                </a:lnTo>
                <a:lnTo>
                  <a:pt x="2850345" y="701227"/>
                </a:lnTo>
                <a:lnTo>
                  <a:pt x="0" y="701227"/>
                </a:lnTo>
                <a:close/>
              </a:path>
            </a:pathLst>
          </a:custGeom>
          <a:solidFill>
            <a:srgbClr val="FFFFFF">
              <a:lumMod val="85000"/>
              <a:alpha val="50000"/>
            </a:srgbClr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6178134" y="1984051"/>
            <a:ext cx="29995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ko-KR" sz="12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kumimoji="1" lang="ko-KR" altLang="en-US" sz="12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기반의 포인트 적립 요건 추가</a:t>
            </a:r>
            <a:r>
              <a:rPr kumimoji="1" lang="en-US" altLang="ko-KR" sz="12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2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변경</a:t>
            </a:r>
          </a:p>
        </p:txBody>
      </p:sp>
      <p:sp>
        <p:nvSpPr>
          <p:cNvPr id="266" name="모서리가 둥근 직사각형 265"/>
          <p:cNvSpPr/>
          <p:nvPr/>
        </p:nvSpPr>
        <p:spPr>
          <a:xfrm>
            <a:off x="6288885" y="2501207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대상 가맹점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= {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 업종 코드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= 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대상 업종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)}</a:t>
            </a:r>
          </a:p>
        </p:txBody>
      </p:sp>
      <p:sp>
        <p:nvSpPr>
          <p:cNvPr id="267" name="모서리가 둥근 직사각형 266"/>
          <p:cNvSpPr/>
          <p:nvPr/>
        </p:nvSpPr>
        <p:spPr>
          <a:xfrm>
            <a:off x="6288885" y="2804001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제</a:t>
            </a:r>
            <a:r>
              <a:rPr kumimoji="1" lang="ko-KR" altLang="en-US" sz="1050" dirty="0">
                <a:solidFill>
                  <a:srgbClr val="000000"/>
                </a:solidFill>
                <a:latin typeface="맑은 고딕"/>
                <a:ea typeface="맑은 고딕"/>
              </a:rPr>
              <a:t>외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 가맹점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= {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 코드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in (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제외 그룹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)}</a:t>
            </a:r>
          </a:p>
        </p:txBody>
      </p:sp>
      <p:sp>
        <p:nvSpPr>
          <p:cNvPr id="268" name="왼쪽 중괄호 267"/>
          <p:cNvSpPr/>
          <p:nvPr/>
        </p:nvSpPr>
        <p:spPr bwMode="auto">
          <a:xfrm>
            <a:off x="6105128" y="2540594"/>
            <a:ext cx="144016" cy="558489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-윤명조220" pitchFamily="18" charset="-127"/>
            </a:endParaRPr>
          </a:p>
        </p:txBody>
      </p:sp>
      <p:sp>
        <p:nvSpPr>
          <p:cNvPr id="269" name="모서리가 둥근 직사각형 268"/>
          <p:cNvSpPr/>
          <p:nvPr/>
        </p:nvSpPr>
        <p:spPr>
          <a:xfrm>
            <a:off x="6288885" y="4070564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일반적립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= {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슬라이딩 기본 적립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}</a:t>
            </a:r>
          </a:p>
        </p:txBody>
      </p:sp>
      <p:sp>
        <p:nvSpPr>
          <p:cNvPr id="270" name="모서리가 둥근 직사각형 269"/>
          <p:cNvSpPr/>
          <p:nvPr/>
        </p:nvSpPr>
        <p:spPr>
          <a:xfrm>
            <a:off x="6288885" y="4410653"/>
            <a:ext cx="1224000" cy="287562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txBody>
          <a:bodyPr vert="horz" wrap="none" lIns="0" tIns="45720" rIns="0" bIns="45720" rtlCol="0" anchor="ctr">
            <a:noAutofit/>
          </a:bodyPr>
          <a:lstStyle/>
          <a:p>
            <a:pPr marL="87313" indent="-87313">
              <a:buFont typeface="Wingdings" pitchFamily="2" charset="2"/>
              <a:buChar char="§"/>
            </a:pP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더블적립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= {{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슬라이딩 기본 적립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} * 2,</a:t>
            </a:r>
            <a:b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                 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in (NH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유통그룹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맑은 고딕"/>
                <a:ea typeface="맑은 고딕"/>
              </a:rPr>
              <a:t>)}</a:t>
            </a:r>
          </a:p>
        </p:txBody>
      </p:sp>
      <p:sp>
        <p:nvSpPr>
          <p:cNvPr id="271" name="왼쪽 중괄호 270"/>
          <p:cNvSpPr/>
          <p:nvPr/>
        </p:nvSpPr>
        <p:spPr bwMode="auto">
          <a:xfrm>
            <a:off x="6105128" y="4109950"/>
            <a:ext cx="144016" cy="648000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-윤명조220" pitchFamily="18" charset="-127"/>
            </a:endParaRPr>
          </a:p>
        </p:txBody>
      </p:sp>
      <p:cxnSp>
        <p:nvCxnSpPr>
          <p:cNvPr id="272" name="직선 연결선 271"/>
          <p:cNvCxnSpPr>
            <a:stCxn id="253" idx="3"/>
            <a:endCxn id="268" idx="1"/>
          </p:cNvCxnSpPr>
          <p:nvPr/>
        </p:nvCxnSpPr>
        <p:spPr bwMode="auto">
          <a:xfrm>
            <a:off x="5549871" y="2644988"/>
            <a:ext cx="555257" cy="17485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3" name="직선 연결선 272"/>
          <p:cNvCxnSpPr>
            <a:stCxn id="254" idx="3"/>
            <a:endCxn id="271" idx="1"/>
          </p:cNvCxnSpPr>
          <p:nvPr/>
        </p:nvCxnSpPr>
        <p:spPr bwMode="auto">
          <a:xfrm>
            <a:off x="5549871" y="2940166"/>
            <a:ext cx="555257" cy="1493784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74" name="모서리가 둥근 직사각형 273"/>
          <p:cNvSpPr/>
          <p:nvPr/>
        </p:nvSpPr>
        <p:spPr bwMode="gray">
          <a:xfrm>
            <a:off x="6249144" y="2788769"/>
            <a:ext cx="2952328" cy="360000"/>
          </a:xfrm>
          <a:prstGeom prst="roundRect">
            <a:avLst/>
          </a:prstGeom>
          <a:noFill/>
          <a:ln w="38100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75" name="모서리가 둥근 직사각형 274"/>
          <p:cNvSpPr/>
          <p:nvPr/>
        </p:nvSpPr>
        <p:spPr>
          <a:xfrm>
            <a:off x="6753472" y="3260073"/>
            <a:ext cx="2448000" cy="72000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기존 가맹점 업종 조건에 추가로 제외 가맹점 조건을 지정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Rule Engine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의 연산 </a:t>
            </a:r>
            <a:r>
              <a:rPr kumimoji="1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로직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활용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76" name="모서리가 둥근 직사각형 275"/>
          <p:cNvSpPr/>
          <p:nvPr/>
        </p:nvSpPr>
        <p:spPr>
          <a:xfrm>
            <a:off x="6385681" y="3260073"/>
            <a:ext cx="367791" cy="720000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</a:ln>
        </p:spPr>
        <p:txBody>
          <a:bodyPr vert="horz" wrap="square" lIns="0" tIns="45720" rIns="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추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가</a:t>
            </a:r>
          </a:p>
        </p:txBody>
      </p:sp>
      <p:sp>
        <p:nvSpPr>
          <p:cNvPr id="277" name="모서리가 둥근 직사각형 276"/>
          <p:cNvSpPr/>
          <p:nvPr/>
        </p:nvSpPr>
        <p:spPr>
          <a:xfrm>
            <a:off x="6753472" y="4869388"/>
            <a:ext cx="2448000" cy="720000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일반 적립 포인트 금액의 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2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배를 적립하는 더블 적립 요건을 추가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Rule Engine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의 연산 </a:t>
            </a:r>
            <a:r>
              <a:rPr kumimoji="1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로직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활용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78" name="모서리가 둥근 직사각형 277"/>
          <p:cNvSpPr/>
          <p:nvPr/>
        </p:nvSpPr>
        <p:spPr>
          <a:xfrm>
            <a:off x="6385681" y="4869388"/>
            <a:ext cx="367791" cy="720000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</a:ln>
        </p:spPr>
        <p:txBody>
          <a:bodyPr vert="horz" wrap="square" lIns="0" tIns="45720" rIns="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추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가</a:t>
            </a:r>
          </a:p>
        </p:txBody>
      </p:sp>
      <p:sp>
        <p:nvSpPr>
          <p:cNvPr id="279" name="모서리가 둥근 직사각형 278"/>
          <p:cNvSpPr/>
          <p:nvPr/>
        </p:nvSpPr>
        <p:spPr bwMode="gray">
          <a:xfrm>
            <a:off x="6249144" y="4340178"/>
            <a:ext cx="2952328" cy="432000"/>
          </a:xfrm>
          <a:prstGeom prst="roundRect">
            <a:avLst/>
          </a:prstGeom>
          <a:noFill/>
          <a:ln w="38100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rot="0" spcFirstLastPara="0" vertOverflow="overflow" horzOverflow="overflow" vert="horz" wrap="non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80" name="모서리가 둥근 직사각형 279"/>
          <p:cNvSpPr/>
          <p:nvPr/>
        </p:nvSpPr>
        <p:spPr>
          <a:xfrm>
            <a:off x="6753472" y="5589388"/>
            <a:ext cx="2448000" cy="647924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특정 가맹점 매출에 대한 추가 </a:t>
            </a:r>
            <a:r>
              <a:rPr kumimoji="1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적립율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변경 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: </a:t>
            </a:r>
            <a:r>
              <a:rPr kumimoji="1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기본적립율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* (1.5 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sym typeface="Wingdings" pitchFamily="2" charset="2"/>
              </a:rPr>
              <a:t> 2)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81" name="모서리가 둥근 직사각형 280"/>
          <p:cNvSpPr/>
          <p:nvPr/>
        </p:nvSpPr>
        <p:spPr>
          <a:xfrm>
            <a:off x="6385681" y="5589388"/>
            <a:ext cx="367791" cy="647924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</a:ln>
        </p:spPr>
        <p:txBody>
          <a:bodyPr vert="horz" wrap="square" lIns="0" tIns="45720" rIns="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변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경</a:t>
            </a:r>
          </a:p>
        </p:txBody>
      </p:sp>
      <p:grpSp>
        <p:nvGrpSpPr>
          <p:cNvPr id="75" name="그룹 7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4" name="그룹 8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66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67" name="TextBox 6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8113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신용관리 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신용 프로세스의 가설적 이슈를 기반으로 한도관리 프로세스 개선 및 통합</a:t>
            </a:r>
            <a:r>
              <a:rPr lang="en-US" altLang="ko-KR" dirty="0"/>
              <a:t>, </a:t>
            </a:r>
            <a:r>
              <a:rPr lang="ko-KR" altLang="en-US" dirty="0"/>
              <a:t>카드 심사 자동화 등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예상 과제를 도출함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04" y="2638100"/>
            <a:ext cx="3040025" cy="3527204"/>
            <a:chOff x="488504" y="2638100"/>
            <a:chExt cx="3040025" cy="3527204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488504" y="2638100"/>
              <a:ext cx="3040025" cy="35885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이슈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488504" y="2995532"/>
              <a:ext cx="3040025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361950" indent="-180975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25936"/>
            <a:ext cx="9334604" cy="291038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80657">
                <a:moveTo>
                  <a:pt x="0" y="280657"/>
                </a:moveTo>
                <a:lnTo>
                  <a:pt x="4689407" y="0"/>
                </a:lnTo>
                <a:lnTo>
                  <a:pt x="5682481" y="4592"/>
                </a:lnTo>
                <a:lnTo>
                  <a:pt x="9334604" y="278244"/>
                </a:lnTo>
                <a:lnTo>
                  <a:pt x="0" y="280657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590244" y="3068960"/>
            <a:ext cx="2755244" cy="1162232"/>
            <a:chOff x="6590244" y="3565354"/>
            <a:chExt cx="2755244" cy="1162232"/>
          </a:xfrm>
        </p:grpSpPr>
        <p:sp>
          <p:nvSpPr>
            <p:cNvPr id="56" name="TextBox 55"/>
            <p:cNvSpPr txBox="1"/>
            <p:nvPr/>
          </p:nvSpPr>
          <p:spPr bwMode="auto">
            <a:xfrm>
              <a:off x="6590244" y="3565354"/>
              <a:ext cx="2755244" cy="11622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한도관리 프로세스 재정립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중심 한도 운영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개인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/SOHO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사업자 한도관리 체계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농축협 한도운영 체계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590244" y="3570970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6590244" y="4293096"/>
            <a:ext cx="2755244" cy="922166"/>
            <a:chOff x="6590244" y="4179743"/>
            <a:chExt cx="2755244" cy="922166"/>
          </a:xfrm>
        </p:grpSpPr>
        <p:sp>
          <p:nvSpPr>
            <p:cNvPr id="73" name="TextBox 72"/>
            <p:cNvSpPr txBox="1"/>
            <p:nvPr/>
          </p:nvSpPr>
          <p:spPr bwMode="auto">
            <a:xfrm>
              <a:off x="6590244" y="4179743"/>
              <a:ext cx="2755244" cy="922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 및 신용정보 활용 자동화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입회심사 신용정보 인터페이스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수작업 심사 업무 자동화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6590244" y="4185359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6590244" y="5243138"/>
            <a:ext cx="2755244" cy="922166"/>
            <a:chOff x="6590244" y="4794132"/>
            <a:chExt cx="2755244" cy="922166"/>
          </a:xfrm>
        </p:grpSpPr>
        <p:sp>
          <p:nvSpPr>
            <p:cNvPr id="75" name="TextBox 74"/>
            <p:cNvSpPr txBox="1"/>
            <p:nvPr/>
          </p:nvSpPr>
          <p:spPr bwMode="auto">
            <a:xfrm>
              <a:off x="6590244" y="4794132"/>
              <a:ext cx="2755244" cy="922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사고조사 프로세스 개선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FDS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를 활용한 사전사고 기능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사고관리 업무 자동화</a:t>
              </a: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6590244" y="4799748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512840" y="2782116"/>
            <a:ext cx="2987565" cy="3352450"/>
            <a:chOff x="3651451" y="2782116"/>
            <a:chExt cx="3078595" cy="3352450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212976"/>
              <a:ext cx="2895819" cy="292159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651451" y="3370634"/>
              <a:ext cx="2893881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 중심 신용관리 체계 수립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 업무 자동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전</a:t>
              </a:r>
              <a:r>
                <a:rPr kumimoji="1" lang="en-US" altLang="ko-KR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후 사고조사 업무 연계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4" name="화살표: 오각형 3"/>
          <p:cNvSpPr/>
          <p:nvPr/>
        </p:nvSpPr>
        <p:spPr bwMode="auto">
          <a:xfrm rot="5400000">
            <a:off x="772317" y="2948685"/>
            <a:ext cx="432000" cy="816567"/>
          </a:xfrm>
          <a:prstGeom prst="homePlate">
            <a:avLst>
              <a:gd name="adj" fmla="val 2767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획</a:t>
            </a:r>
          </a:p>
        </p:txBody>
      </p:sp>
      <p:sp>
        <p:nvSpPr>
          <p:cNvPr id="35" name="화살표: 오각형 34"/>
          <p:cNvSpPr/>
          <p:nvPr/>
        </p:nvSpPr>
        <p:spPr bwMode="auto">
          <a:xfrm rot="5400000">
            <a:off x="772317" y="3452741"/>
            <a:ext cx="432000" cy="816567"/>
          </a:xfrm>
          <a:prstGeom prst="homePlate">
            <a:avLst>
              <a:gd name="adj" fmla="val 2767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심사</a:t>
            </a:r>
          </a:p>
        </p:txBody>
      </p:sp>
      <p:sp>
        <p:nvSpPr>
          <p:cNvPr id="36" name="화살표: 오각형 35"/>
          <p:cNvSpPr/>
          <p:nvPr/>
        </p:nvSpPr>
        <p:spPr bwMode="auto">
          <a:xfrm rot="5400000">
            <a:off x="772317" y="3912925"/>
            <a:ext cx="432000" cy="816567"/>
          </a:xfrm>
          <a:prstGeom prst="homePlate">
            <a:avLst>
              <a:gd name="adj" fmla="val 2767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발급</a:t>
            </a:r>
          </a:p>
        </p:txBody>
      </p:sp>
      <p:sp>
        <p:nvSpPr>
          <p:cNvPr id="38" name="화살표: 오각형 37"/>
          <p:cNvSpPr/>
          <p:nvPr/>
        </p:nvSpPr>
        <p:spPr bwMode="auto">
          <a:xfrm rot="5400000">
            <a:off x="638827" y="4546789"/>
            <a:ext cx="698979" cy="816567"/>
          </a:xfrm>
          <a:prstGeom prst="homePlate">
            <a:avLst>
              <a:gd name="adj" fmla="val 2062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운영</a:t>
            </a:r>
          </a:p>
        </p:txBody>
      </p:sp>
      <p:sp>
        <p:nvSpPr>
          <p:cNvPr id="45" name="화살표: 오각형 44"/>
          <p:cNvSpPr/>
          <p:nvPr/>
        </p:nvSpPr>
        <p:spPr bwMode="auto">
          <a:xfrm rot="5400000">
            <a:off x="628278" y="5324973"/>
            <a:ext cx="720078" cy="816567"/>
          </a:xfrm>
          <a:prstGeom prst="homePlate">
            <a:avLst>
              <a:gd name="adj" fmla="val 2376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불량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관리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488130" y="3594118"/>
            <a:ext cx="2016311" cy="8513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심사 업무 자동화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신용정보 자동제공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외 신용정보 입수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활용 미흡</a:t>
            </a:r>
          </a:p>
        </p:txBody>
      </p:sp>
      <p:sp>
        <p:nvSpPr>
          <p:cNvPr id="46" name="TextBox 45"/>
          <p:cNvSpPr txBox="1"/>
          <p:nvPr/>
        </p:nvSpPr>
        <p:spPr bwMode="auto">
          <a:xfrm>
            <a:off x="1461818" y="4609264"/>
            <a:ext cx="2016311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통합한도 관리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한도 수기 심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한도 즉시 복원 불가</a:t>
            </a:r>
          </a:p>
        </p:txBody>
      </p:sp>
      <p:sp>
        <p:nvSpPr>
          <p:cNvPr id="47" name="TextBox 46"/>
          <p:cNvSpPr txBox="1"/>
          <p:nvPr/>
        </p:nvSpPr>
        <p:spPr bwMode="auto">
          <a:xfrm>
            <a:off x="1496529" y="5373216"/>
            <a:ext cx="201631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FDS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와 사고조사 연계 자동화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FDS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셀프 기능 미비 </a:t>
            </a:r>
          </a:p>
        </p:txBody>
      </p:sp>
      <p:cxnSp>
        <p:nvCxnSpPr>
          <p:cNvPr id="8" name="직선 연결선 7"/>
          <p:cNvCxnSpPr/>
          <p:nvPr/>
        </p:nvCxnSpPr>
        <p:spPr bwMode="auto">
          <a:xfrm>
            <a:off x="1396600" y="3537218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48" name="직선 연결선 47"/>
          <p:cNvCxnSpPr/>
          <p:nvPr/>
        </p:nvCxnSpPr>
        <p:spPr bwMode="auto">
          <a:xfrm>
            <a:off x="1396600" y="4531890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49" name="직선 연결선 48"/>
          <p:cNvCxnSpPr/>
          <p:nvPr/>
        </p:nvCxnSpPr>
        <p:spPr bwMode="auto">
          <a:xfrm>
            <a:off x="1396600" y="5343412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0" name="TextBox 49"/>
          <p:cNvSpPr txBox="1"/>
          <p:nvPr/>
        </p:nvSpPr>
        <p:spPr bwMode="auto">
          <a:xfrm>
            <a:off x="1489495" y="3187020"/>
            <a:ext cx="201631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농축협 한도운영 기준 미흡</a:t>
            </a:r>
          </a:p>
        </p:txBody>
      </p:sp>
    </p:spTree>
    <p:extLst>
      <p:ext uri="{BB962C8B-B14F-4D97-AF65-F5344CB8AC3E}">
        <p14:creationId xmlns:p14="http://schemas.microsoft.com/office/powerpoint/2010/main" val="331303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한도관리 </a:t>
            </a:r>
            <a:r>
              <a:rPr lang="ko-KR" altLang="en-US" dirty="0"/>
              <a:t>프로세스 재정립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브랜드별</a:t>
            </a:r>
            <a:r>
              <a:rPr lang="en-US" altLang="ko-KR" dirty="0"/>
              <a:t>, </a:t>
            </a:r>
            <a:r>
              <a:rPr lang="ko-KR" altLang="en-US" dirty="0"/>
              <a:t>고객유형별 분리 운영되던 신용한도를 고객 중심 통합 </a:t>
            </a:r>
            <a:r>
              <a:rPr lang="ko-KR" altLang="en-US" dirty="0" smtClean="0"/>
              <a:t>한도로 개선하여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한도관리 체계 단순화 및 </a:t>
            </a:r>
            <a:r>
              <a:rPr lang="ko-KR" altLang="en-US" dirty="0" smtClean="0"/>
              <a:t>일원화를 달성함 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유형별 한도 통합관리 구조 개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 한도 </a:t>
            </a:r>
            <a:r>
              <a:rPr kumimoji="0" lang="ko-KR" altLang="en-US" sz="12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점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일원화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단위 통합한도 체계 수립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 고객분류 체계 및 데이터 모델 변경 검토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고객번호 체계에 따른 통합한도 운영 기준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사업자 한도관리 기준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SOHO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분류 기준</a:t>
            </a:r>
            <a:endParaRPr kumimoji="0"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 한도 관리 일원화 관리 프로세스 검토</a:t>
            </a:r>
            <a:endParaRPr kumimoji="0"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88" name="그룹 187"/>
          <p:cNvGrpSpPr/>
          <p:nvPr/>
        </p:nvGrpSpPr>
        <p:grpSpPr>
          <a:xfrm>
            <a:off x="416496" y="3299842"/>
            <a:ext cx="4201864" cy="2304256"/>
            <a:chOff x="416496" y="3299842"/>
            <a:chExt cx="4201864" cy="2304256"/>
          </a:xfrm>
        </p:grpSpPr>
        <p:grpSp>
          <p:nvGrpSpPr>
            <p:cNvPr id="19" name="그룹 18"/>
            <p:cNvGrpSpPr/>
            <p:nvPr/>
          </p:nvGrpSpPr>
          <p:grpSpPr>
            <a:xfrm>
              <a:off x="416496" y="3299842"/>
              <a:ext cx="4200116" cy="2304256"/>
              <a:chOff x="443750" y="3429000"/>
              <a:chExt cx="4200116" cy="1975595"/>
            </a:xfrm>
          </p:grpSpPr>
          <p:grpSp>
            <p:nvGrpSpPr>
              <p:cNvPr id="7" name="그룹 6"/>
              <p:cNvGrpSpPr/>
              <p:nvPr/>
            </p:nvGrpSpPr>
            <p:grpSpPr>
              <a:xfrm>
                <a:off x="443750" y="3429000"/>
                <a:ext cx="4200116" cy="1975595"/>
                <a:chOff x="392844" y="3541633"/>
                <a:chExt cx="4511250" cy="1975595"/>
              </a:xfrm>
            </p:grpSpPr>
            <p:sp>
              <p:nvSpPr>
                <p:cNvPr id="5" name="직사각형 4"/>
                <p:cNvSpPr/>
                <p:nvPr/>
              </p:nvSpPr>
              <p:spPr bwMode="auto">
                <a:xfrm>
                  <a:off x="392844" y="3541633"/>
                  <a:ext cx="1103772" cy="1975595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algn="ctr" latinLnBrk="0">
                    <a:spcBef>
                      <a:spcPct val="50000"/>
                    </a:spcBef>
                    <a:buClr>
                      <a:schemeClr val="bg2"/>
                    </a:buClr>
                  </a:pPr>
                  <a:endParaRPr kumimoji="1" lang="ko-KR" altLang="en-US" sz="12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32" name="직사각형 31"/>
                <p:cNvSpPr/>
                <p:nvPr/>
              </p:nvSpPr>
              <p:spPr bwMode="auto">
                <a:xfrm>
                  <a:off x="1528670" y="3541633"/>
                  <a:ext cx="1103772" cy="1975595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algn="ctr" latinLnBrk="0">
                    <a:spcBef>
                      <a:spcPct val="50000"/>
                    </a:spcBef>
                    <a:buClr>
                      <a:schemeClr val="bg2"/>
                    </a:buClr>
                  </a:pPr>
                  <a:endParaRPr kumimoji="1" lang="ko-KR" altLang="en-US" sz="12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33" name="직사각형 32"/>
                <p:cNvSpPr/>
                <p:nvPr/>
              </p:nvSpPr>
              <p:spPr bwMode="auto">
                <a:xfrm>
                  <a:off x="2664496" y="3541633"/>
                  <a:ext cx="1103772" cy="1975595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algn="ctr" latinLnBrk="0">
                    <a:spcBef>
                      <a:spcPct val="50000"/>
                    </a:spcBef>
                    <a:buClr>
                      <a:schemeClr val="bg2"/>
                    </a:buClr>
                  </a:pPr>
                  <a:endParaRPr kumimoji="1" lang="ko-KR" altLang="en-US" sz="12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34" name="직사각형 33"/>
                <p:cNvSpPr/>
                <p:nvPr/>
              </p:nvSpPr>
              <p:spPr bwMode="auto">
                <a:xfrm>
                  <a:off x="3800322" y="3541633"/>
                  <a:ext cx="1103772" cy="1975595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algn="ctr" latinLnBrk="0">
                    <a:spcBef>
                      <a:spcPct val="50000"/>
                    </a:spcBef>
                    <a:buClr>
                      <a:schemeClr val="bg2"/>
                    </a:buClr>
                  </a:pPr>
                  <a:endParaRPr kumimoji="1" lang="ko-KR" altLang="en-US" sz="12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sp>
            <p:nvSpPr>
              <p:cNvPr id="9" name="TextBox 8"/>
              <p:cNvSpPr txBox="1"/>
              <p:nvPr/>
            </p:nvSpPr>
            <p:spPr bwMode="auto">
              <a:xfrm>
                <a:off x="532376" y="3450013"/>
                <a:ext cx="878532" cy="25736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latinLnBrk="0">
                  <a:spcBef>
                    <a:spcPct val="30000"/>
                  </a:spcBef>
                </a:pPr>
                <a:r>
                  <a:rPr lang="ko-KR" altLang="en-US" sz="120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개인고객</a:t>
                </a:r>
                <a:endPara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 bwMode="auto">
              <a:xfrm>
                <a:off x="1582324" y="3450013"/>
                <a:ext cx="878532" cy="25736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latinLnBrk="0">
                  <a:spcBef>
                    <a:spcPct val="30000"/>
                  </a:spcBef>
                </a:pPr>
                <a:r>
                  <a:rPr lang="ko-KR" altLang="en-US" sz="12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기업고객</a:t>
                </a:r>
              </a:p>
            </p:txBody>
          </p:sp>
          <p:sp>
            <p:nvSpPr>
              <p:cNvPr id="43" name="TextBox 42"/>
              <p:cNvSpPr txBox="1"/>
              <p:nvPr/>
            </p:nvSpPr>
            <p:spPr bwMode="auto">
              <a:xfrm>
                <a:off x="2632272" y="3450013"/>
                <a:ext cx="878532" cy="25736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latinLnBrk="0">
                  <a:spcBef>
                    <a:spcPct val="30000"/>
                  </a:spcBef>
                </a:pPr>
                <a:r>
                  <a:rPr lang="ko-KR" altLang="en-US" sz="120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농축협고객</a:t>
                </a:r>
                <a:endPara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 bwMode="auto">
              <a:xfrm>
                <a:off x="3682220" y="3450013"/>
                <a:ext cx="878532" cy="25736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latinLnBrk="0">
                  <a:spcBef>
                    <a:spcPct val="30000"/>
                  </a:spcBef>
                </a:pPr>
                <a:r>
                  <a:rPr lang="en-US" altLang="ko-KR" sz="12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SOHO</a:t>
                </a:r>
                <a:r>
                  <a:rPr lang="ko-KR" altLang="en-US" sz="12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고객</a:t>
                </a:r>
              </a:p>
            </p:txBody>
          </p:sp>
        </p:grpSp>
        <p:sp>
          <p:nvSpPr>
            <p:cNvPr id="22" name="직사각형 21"/>
            <p:cNvSpPr/>
            <p:nvPr/>
          </p:nvSpPr>
          <p:spPr bwMode="auto">
            <a:xfrm>
              <a:off x="1028592" y="3623906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본인</a:t>
              </a: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468752" y="4229774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족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776536" y="4226504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족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직사각형 56"/>
            <p:cNvSpPr/>
            <p:nvPr/>
          </p:nvSpPr>
          <p:spPr bwMode="auto">
            <a:xfrm>
              <a:off x="472768" y="4854934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직사각형 57"/>
            <p:cNvSpPr/>
            <p:nvPr/>
          </p:nvSpPr>
          <p:spPr bwMode="auto">
            <a:xfrm>
              <a:off x="704040" y="4854934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934938" y="4854934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1172926" y="4854934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" name="직선 연결선 23"/>
            <p:cNvCxnSpPr>
              <a:stCxn id="22" idx="2"/>
              <a:endCxn id="54" idx="0"/>
            </p:cNvCxnSpPr>
            <p:nvPr/>
          </p:nvCxnSpPr>
          <p:spPr bwMode="auto">
            <a:xfrm flipH="1">
              <a:off x="594752" y="3875906"/>
              <a:ext cx="559840" cy="35386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1" name="직선 연결선 60"/>
            <p:cNvCxnSpPr>
              <a:stCxn id="22" idx="2"/>
              <a:endCxn id="55" idx="0"/>
            </p:cNvCxnSpPr>
            <p:nvPr/>
          </p:nvCxnSpPr>
          <p:spPr bwMode="auto">
            <a:xfrm flipH="1">
              <a:off x="902536" y="3875906"/>
              <a:ext cx="252056" cy="35059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2" name="직선 연결선 61"/>
            <p:cNvCxnSpPr>
              <a:stCxn id="54" idx="2"/>
              <a:endCxn id="57" idx="0"/>
            </p:cNvCxnSpPr>
            <p:nvPr/>
          </p:nvCxnSpPr>
          <p:spPr bwMode="auto">
            <a:xfrm flipH="1">
              <a:off x="580768" y="4481774"/>
              <a:ext cx="13984" cy="3731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3" name="직선 연결선 62"/>
            <p:cNvCxnSpPr>
              <a:stCxn id="55" idx="2"/>
              <a:endCxn id="58" idx="0"/>
            </p:cNvCxnSpPr>
            <p:nvPr/>
          </p:nvCxnSpPr>
          <p:spPr bwMode="auto">
            <a:xfrm flipH="1">
              <a:off x="812040" y="4478504"/>
              <a:ext cx="90496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4" name="직선 연결선 63"/>
            <p:cNvCxnSpPr>
              <a:stCxn id="22" idx="2"/>
              <a:endCxn id="59" idx="0"/>
            </p:cNvCxnSpPr>
            <p:nvPr/>
          </p:nvCxnSpPr>
          <p:spPr bwMode="auto">
            <a:xfrm flipH="1">
              <a:off x="1042938" y="3875906"/>
              <a:ext cx="111654" cy="97902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7" name="직선 연결선 66"/>
            <p:cNvCxnSpPr>
              <a:stCxn id="22" idx="2"/>
              <a:endCxn id="60" idx="0"/>
            </p:cNvCxnSpPr>
            <p:nvPr/>
          </p:nvCxnSpPr>
          <p:spPr bwMode="auto">
            <a:xfrm>
              <a:off x="1154592" y="3875906"/>
              <a:ext cx="126334" cy="97902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70" name="직사각형 69"/>
            <p:cNvSpPr/>
            <p:nvPr/>
          </p:nvSpPr>
          <p:spPr bwMode="auto">
            <a:xfrm>
              <a:off x="2983768" y="3616010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본인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2595786" y="4221878"/>
              <a:ext cx="36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축협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b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7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점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3091808" y="4218608"/>
              <a:ext cx="36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축협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b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7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점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2672900" y="4847038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029878" y="4847038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260776" y="4847038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cxnSp>
          <p:nvCxnSpPr>
            <p:cNvPr id="77" name="직선 연결선 76"/>
            <p:cNvCxnSpPr>
              <a:stCxn id="70" idx="2"/>
              <a:endCxn id="71" idx="0"/>
            </p:cNvCxnSpPr>
            <p:nvPr/>
          </p:nvCxnSpPr>
          <p:spPr bwMode="auto">
            <a:xfrm flipH="1">
              <a:off x="2775786" y="3868010"/>
              <a:ext cx="333982" cy="35386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8" name="직선 연결선 77"/>
            <p:cNvCxnSpPr>
              <a:stCxn id="70" idx="2"/>
              <a:endCxn id="72" idx="0"/>
            </p:cNvCxnSpPr>
            <p:nvPr/>
          </p:nvCxnSpPr>
          <p:spPr bwMode="auto">
            <a:xfrm>
              <a:off x="3109768" y="3868010"/>
              <a:ext cx="162040" cy="35059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9" name="직선 연결선 78"/>
            <p:cNvCxnSpPr>
              <a:stCxn id="71" idx="2"/>
              <a:endCxn id="73" idx="0"/>
            </p:cNvCxnSpPr>
            <p:nvPr/>
          </p:nvCxnSpPr>
          <p:spPr bwMode="auto">
            <a:xfrm>
              <a:off x="2775786" y="4473878"/>
              <a:ext cx="5114" cy="3731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0" name="직선 연결선 79"/>
            <p:cNvCxnSpPr>
              <a:stCxn id="72" idx="2"/>
              <a:endCxn id="74" idx="0"/>
            </p:cNvCxnSpPr>
            <p:nvPr/>
          </p:nvCxnSpPr>
          <p:spPr bwMode="auto">
            <a:xfrm flipH="1">
              <a:off x="3137878" y="4470608"/>
              <a:ext cx="133930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5" name="직선 연결선 84"/>
            <p:cNvCxnSpPr>
              <a:stCxn id="72" idx="2"/>
              <a:endCxn id="75" idx="0"/>
            </p:cNvCxnSpPr>
            <p:nvPr/>
          </p:nvCxnSpPr>
          <p:spPr bwMode="auto">
            <a:xfrm>
              <a:off x="3271808" y="4470608"/>
              <a:ext cx="96968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88" name="직사각형 87"/>
            <p:cNvSpPr/>
            <p:nvPr/>
          </p:nvSpPr>
          <p:spPr bwMode="auto">
            <a:xfrm>
              <a:off x="4207552" y="3623364"/>
              <a:ext cx="288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자</a:t>
              </a: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4167734" y="4225962"/>
              <a:ext cx="36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용자</a:t>
              </a: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3729776" y="485439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4105804" y="485439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4336702" y="485439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cxnSp>
          <p:nvCxnSpPr>
            <p:cNvPr id="95" name="직선 연결선 94"/>
            <p:cNvCxnSpPr>
              <a:stCxn id="88" idx="2"/>
              <a:endCxn id="90" idx="0"/>
            </p:cNvCxnSpPr>
            <p:nvPr/>
          </p:nvCxnSpPr>
          <p:spPr bwMode="auto">
            <a:xfrm flipH="1">
              <a:off x="4347734" y="3875364"/>
              <a:ext cx="3818" cy="35059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6" name="직선 연결선 95"/>
            <p:cNvCxnSpPr>
              <a:stCxn id="121" idx="2"/>
              <a:endCxn id="91" idx="0"/>
            </p:cNvCxnSpPr>
            <p:nvPr/>
          </p:nvCxnSpPr>
          <p:spPr bwMode="auto">
            <a:xfrm>
              <a:off x="3836888" y="3877974"/>
              <a:ext cx="888" cy="97641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7" name="직선 연결선 96"/>
            <p:cNvCxnSpPr>
              <a:stCxn id="90" idx="2"/>
              <a:endCxn id="92" idx="0"/>
            </p:cNvCxnSpPr>
            <p:nvPr/>
          </p:nvCxnSpPr>
          <p:spPr bwMode="auto">
            <a:xfrm flipH="1">
              <a:off x="4213804" y="4477962"/>
              <a:ext cx="133930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8" name="직선 연결선 97"/>
            <p:cNvCxnSpPr>
              <a:stCxn id="90" idx="2"/>
              <a:endCxn id="93" idx="0"/>
            </p:cNvCxnSpPr>
            <p:nvPr/>
          </p:nvCxnSpPr>
          <p:spPr bwMode="auto">
            <a:xfrm>
              <a:off x="4347734" y="4477962"/>
              <a:ext cx="96968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00" name="직사각형 99"/>
            <p:cNvSpPr/>
            <p:nvPr/>
          </p:nvSpPr>
          <p:spPr bwMode="auto">
            <a:xfrm>
              <a:off x="1527404" y="4231842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체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1866938" y="4228572"/>
              <a:ext cx="2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체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1550470" y="485700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1781742" y="485700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2012640" y="485700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2250628" y="4857002"/>
              <a:ext cx="216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cxnSp>
          <p:nvCxnSpPr>
            <p:cNvPr id="106" name="직선 연결선 105"/>
            <p:cNvCxnSpPr>
              <a:stCxn id="112" idx="2"/>
              <a:endCxn id="100" idx="0"/>
            </p:cNvCxnSpPr>
            <p:nvPr/>
          </p:nvCxnSpPr>
          <p:spPr bwMode="auto">
            <a:xfrm flipH="1">
              <a:off x="1653404" y="3886482"/>
              <a:ext cx="10512" cy="3453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7" name="직선 연결선 106"/>
            <p:cNvCxnSpPr>
              <a:stCxn id="113" idx="2"/>
              <a:endCxn id="101" idx="0"/>
            </p:cNvCxnSpPr>
            <p:nvPr/>
          </p:nvCxnSpPr>
          <p:spPr bwMode="auto">
            <a:xfrm>
              <a:off x="1990146" y="3886482"/>
              <a:ext cx="2792" cy="34209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8" name="직선 연결선 107"/>
            <p:cNvCxnSpPr>
              <a:stCxn id="100" idx="2"/>
              <a:endCxn id="102" idx="0"/>
            </p:cNvCxnSpPr>
            <p:nvPr/>
          </p:nvCxnSpPr>
          <p:spPr bwMode="auto">
            <a:xfrm>
              <a:off x="1653404" y="4483842"/>
              <a:ext cx="5066" cy="3731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9" name="직선 연결선 108"/>
            <p:cNvCxnSpPr>
              <a:stCxn id="101" idx="2"/>
              <a:endCxn id="103" idx="0"/>
            </p:cNvCxnSpPr>
            <p:nvPr/>
          </p:nvCxnSpPr>
          <p:spPr bwMode="auto">
            <a:xfrm flipH="1">
              <a:off x="1889742" y="4480572"/>
              <a:ext cx="103196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1" name="직선 연결선 110"/>
            <p:cNvCxnSpPr>
              <a:stCxn id="114" idx="2"/>
              <a:endCxn id="105" idx="0"/>
            </p:cNvCxnSpPr>
            <p:nvPr/>
          </p:nvCxnSpPr>
          <p:spPr bwMode="auto">
            <a:xfrm>
              <a:off x="2316278" y="3886482"/>
              <a:ext cx="42350" cy="97052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12" name="직사각형 111"/>
            <p:cNvSpPr/>
            <p:nvPr/>
          </p:nvSpPr>
          <p:spPr bwMode="auto">
            <a:xfrm>
              <a:off x="1519916" y="3634482"/>
              <a:ext cx="288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자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1846146" y="3634482"/>
              <a:ext cx="288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자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2172278" y="3634482"/>
              <a:ext cx="288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자</a:t>
              </a: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endPara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7" name="직선 연결선 116"/>
            <p:cNvCxnSpPr>
              <a:stCxn id="101" idx="2"/>
              <a:endCxn id="104" idx="0"/>
            </p:cNvCxnSpPr>
            <p:nvPr/>
          </p:nvCxnSpPr>
          <p:spPr bwMode="auto">
            <a:xfrm>
              <a:off x="1992938" y="4480572"/>
              <a:ext cx="127702" cy="37643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21" name="직사각형 120"/>
            <p:cNvSpPr/>
            <p:nvPr/>
          </p:nvSpPr>
          <p:spPr bwMode="auto">
            <a:xfrm>
              <a:off x="3692888" y="3625974"/>
              <a:ext cx="288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7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표자</a:t>
              </a:r>
            </a:p>
          </p:txBody>
        </p:sp>
        <p:sp>
          <p:nvSpPr>
            <p:cNvPr id="183" name="TextBox 182"/>
            <p:cNvSpPr txBox="1"/>
            <p:nvPr/>
          </p:nvSpPr>
          <p:spPr bwMode="auto">
            <a:xfrm>
              <a:off x="2490055" y="5203800"/>
              <a:ext cx="1097161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“</a:t>
              </a: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농축협 한도운영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</a:b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기준 미흡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”</a:t>
              </a:r>
              <a:endPara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84" name="TextBox 183"/>
            <p:cNvSpPr txBox="1"/>
            <p:nvPr/>
          </p:nvSpPr>
          <p:spPr bwMode="auto">
            <a:xfrm>
              <a:off x="3574360" y="5203800"/>
              <a:ext cx="104400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“</a:t>
              </a: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대표자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사업자한도 분리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”</a:t>
              </a:r>
              <a:endPara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85" name="TextBox 184"/>
            <p:cNvSpPr txBox="1"/>
            <p:nvPr/>
          </p:nvSpPr>
          <p:spPr bwMode="auto">
            <a:xfrm>
              <a:off x="1430958" y="5203800"/>
              <a:ext cx="104400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“</a:t>
              </a: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다수 사업장별 한도 분리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”</a:t>
              </a:r>
              <a:endPara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86" name="TextBox 185"/>
            <p:cNvSpPr txBox="1"/>
            <p:nvPr/>
          </p:nvSpPr>
          <p:spPr bwMode="auto">
            <a:xfrm>
              <a:off x="422846" y="5203800"/>
              <a:ext cx="104400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“</a:t>
              </a: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상품 관점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</a:br>
              <a:r>
                <a:rPr lang="ko-KR" altLang="en-US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한도 운영</a:t>
              </a:r>
              <a:r>
                <a:rPr lang="en-US" altLang="ko-KR" sz="1000" i="1" dirty="0">
                  <a:solidFill>
                    <a:srgbClr val="1B3A87"/>
                  </a:solidFill>
                  <a:latin typeface="맑은 고딕"/>
                  <a:ea typeface="맑은 고딕"/>
                </a:rPr>
                <a:t>”</a:t>
              </a:r>
              <a:endPara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endParaRPr>
            </a:p>
          </p:txBody>
        </p:sp>
      </p:grpSp>
      <p:sp>
        <p:nvSpPr>
          <p:cNvPr id="187" name="TextBox 186"/>
          <p:cNvSpPr txBox="1"/>
          <p:nvPr/>
        </p:nvSpPr>
        <p:spPr bwMode="auto">
          <a:xfrm>
            <a:off x="420688" y="5618832"/>
            <a:ext cx="4195924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SOHO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별 신용 분리로 한도 운영방식 복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움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BC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브랜드별 중복 심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서비스 관점 한도 복원 프로세스 미흡</a:t>
            </a:r>
          </a:p>
        </p:txBody>
      </p:sp>
      <p:grpSp>
        <p:nvGrpSpPr>
          <p:cNvPr id="190" name="그룹 189"/>
          <p:cNvGrpSpPr/>
          <p:nvPr/>
        </p:nvGrpSpPr>
        <p:grpSpPr>
          <a:xfrm>
            <a:off x="5346948" y="3304034"/>
            <a:ext cx="4200116" cy="2304256"/>
            <a:chOff x="443750" y="3429000"/>
            <a:chExt cx="4200116" cy="1975595"/>
          </a:xfrm>
        </p:grpSpPr>
        <p:grpSp>
          <p:nvGrpSpPr>
            <p:cNvPr id="244" name="그룹 243"/>
            <p:cNvGrpSpPr/>
            <p:nvPr/>
          </p:nvGrpSpPr>
          <p:grpSpPr>
            <a:xfrm>
              <a:off x="443750" y="3429000"/>
              <a:ext cx="4200116" cy="1975595"/>
              <a:chOff x="392844" y="3541633"/>
              <a:chExt cx="4511250" cy="1975595"/>
            </a:xfrm>
          </p:grpSpPr>
          <p:sp>
            <p:nvSpPr>
              <p:cNvPr id="249" name="직사각형 248"/>
              <p:cNvSpPr/>
              <p:nvPr/>
            </p:nvSpPr>
            <p:spPr bwMode="auto">
              <a:xfrm>
                <a:off x="392844" y="3541633"/>
                <a:ext cx="1103772" cy="19755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0" name="직사각형 249"/>
              <p:cNvSpPr/>
              <p:nvPr/>
            </p:nvSpPr>
            <p:spPr bwMode="auto">
              <a:xfrm>
                <a:off x="1528670" y="3541633"/>
                <a:ext cx="1103772" cy="19755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1" name="직사각형 250"/>
              <p:cNvSpPr/>
              <p:nvPr/>
            </p:nvSpPr>
            <p:spPr bwMode="auto">
              <a:xfrm>
                <a:off x="2664496" y="3541633"/>
                <a:ext cx="1103772" cy="19755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2" name="직사각형 251"/>
              <p:cNvSpPr/>
              <p:nvPr/>
            </p:nvSpPr>
            <p:spPr bwMode="auto">
              <a:xfrm>
                <a:off x="3800322" y="3541633"/>
                <a:ext cx="1103772" cy="19755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5" name="TextBox 244"/>
            <p:cNvSpPr txBox="1"/>
            <p:nvPr/>
          </p:nvSpPr>
          <p:spPr bwMode="auto">
            <a:xfrm>
              <a:off x="532376" y="3450013"/>
              <a:ext cx="8785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>
                  <a:solidFill>
                    <a:srgbClr val="000000"/>
                  </a:solidFill>
                  <a:latin typeface="맑은 고딕"/>
                  <a:ea typeface="맑은 고딕"/>
                </a:rPr>
                <a:t>개인고객</a:t>
              </a:r>
              <a:endParaRPr lang="ko-KR" altLang="en-US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46" name="TextBox 245"/>
            <p:cNvSpPr txBox="1"/>
            <p:nvPr/>
          </p:nvSpPr>
          <p:spPr bwMode="auto">
            <a:xfrm>
              <a:off x="1582324" y="3450013"/>
              <a:ext cx="8785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기업고객</a:t>
              </a:r>
            </a:p>
          </p:txBody>
        </p:sp>
        <p:sp>
          <p:nvSpPr>
            <p:cNvPr id="247" name="TextBox 246"/>
            <p:cNvSpPr txBox="1"/>
            <p:nvPr/>
          </p:nvSpPr>
          <p:spPr bwMode="auto">
            <a:xfrm>
              <a:off x="2632272" y="3450013"/>
              <a:ext cx="8785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농축협고객</a:t>
              </a:r>
              <a:endParaRPr lang="ko-KR" altLang="en-US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48" name="TextBox 247"/>
            <p:cNvSpPr txBox="1"/>
            <p:nvPr/>
          </p:nvSpPr>
          <p:spPr bwMode="auto">
            <a:xfrm>
              <a:off x="3682220" y="3450013"/>
              <a:ext cx="8785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SOHO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</a:p>
          </p:txBody>
        </p:sp>
      </p:grpSp>
      <p:sp>
        <p:nvSpPr>
          <p:cNvPr id="191" name="직사각형 190"/>
          <p:cNvSpPr/>
          <p:nvPr/>
        </p:nvSpPr>
        <p:spPr bwMode="auto">
          <a:xfrm>
            <a:off x="5709144" y="3628098"/>
            <a:ext cx="540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고객번호</a:t>
            </a:r>
          </a:p>
        </p:txBody>
      </p:sp>
      <p:sp>
        <p:nvSpPr>
          <p:cNvPr id="192" name="직사각형 191"/>
          <p:cNvSpPr/>
          <p:nvPr/>
        </p:nvSpPr>
        <p:spPr bwMode="auto">
          <a:xfrm>
            <a:off x="5399204" y="4233966"/>
            <a:ext cx="25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족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5706988" y="4230696"/>
            <a:ext cx="25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족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5384170" y="4859126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</a:p>
        </p:txBody>
      </p:sp>
      <p:sp>
        <p:nvSpPr>
          <p:cNvPr id="195" name="직사각형 194"/>
          <p:cNvSpPr/>
          <p:nvPr/>
        </p:nvSpPr>
        <p:spPr bwMode="auto">
          <a:xfrm>
            <a:off x="5710692" y="4859126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6045852" y="4859126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8" name="직선 연결선 197"/>
          <p:cNvCxnSpPr>
            <a:stCxn id="191" idx="2"/>
            <a:endCxn id="192" idx="0"/>
          </p:cNvCxnSpPr>
          <p:nvPr/>
        </p:nvCxnSpPr>
        <p:spPr bwMode="auto">
          <a:xfrm flipH="1">
            <a:off x="5525204" y="3880098"/>
            <a:ext cx="453940" cy="35386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99" name="직선 연결선 198"/>
          <p:cNvCxnSpPr>
            <a:stCxn id="191" idx="2"/>
            <a:endCxn id="193" idx="0"/>
          </p:cNvCxnSpPr>
          <p:nvPr/>
        </p:nvCxnSpPr>
        <p:spPr bwMode="auto">
          <a:xfrm flipH="1">
            <a:off x="5832988" y="3880098"/>
            <a:ext cx="146156" cy="35059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00" name="직선 연결선 199"/>
          <p:cNvCxnSpPr>
            <a:stCxn id="192" idx="2"/>
            <a:endCxn id="194" idx="0"/>
          </p:cNvCxnSpPr>
          <p:nvPr/>
        </p:nvCxnSpPr>
        <p:spPr bwMode="auto">
          <a:xfrm>
            <a:off x="5525204" y="4485966"/>
            <a:ext cx="2966" cy="37316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01" name="직선 연결선 200"/>
          <p:cNvCxnSpPr>
            <a:stCxn id="193" idx="2"/>
            <a:endCxn id="195" idx="0"/>
          </p:cNvCxnSpPr>
          <p:nvPr/>
        </p:nvCxnSpPr>
        <p:spPr bwMode="auto">
          <a:xfrm>
            <a:off x="5832988" y="4482696"/>
            <a:ext cx="21704" cy="3764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02" name="직선 연결선 201"/>
          <p:cNvCxnSpPr>
            <a:stCxn id="191" idx="2"/>
            <a:endCxn id="196" idx="0"/>
          </p:cNvCxnSpPr>
          <p:nvPr/>
        </p:nvCxnSpPr>
        <p:spPr bwMode="auto">
          <a:xfrm>
            <a:off x="5979144" y="3880098"/>
            <a:ext cx="210708" cy="97902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04" name="직사각형 203"/>
          <p:cNvSpPr/>
          <p:nvPr/>
        </p:nvSpPr>
        <p:spPr bwMode="auto">
          <a:xfrm>
            <a:off x="7854888" y="3620202"/>
            <a:ext cx="25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본인</a:t>
            </a:r>
          </a:p>
        </p:txBody>
      </p:sp>
      <p:sp>
        <p:nvSpPr>
          <p:cNvPr id="206" name="직사각형 205"/>
          <p:cNvSpPr/>
          <p:nvPr/>
        </p:nvSpPr>
        <p:spPr bwMode="auto">
          <a:xfrm>
            <a:off x="7805738" y="4222800"/>
            <a:ext cx="360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7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점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8" name="직사각형 207"/>
          <p:cNvSpPr/>
          <p:nvPr/>
        </p:nvSpPr>
        <p:spPr bwMode="auto">
          <a:xfrm>
            <a:off x="7702004" y="4851230"/>
            <a:ext cx="21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9" name="직사각형 208"/>
          <p:cNvSpPr/>
          <p:nvPr/>
        </p:nvSpPr>
        <p:spPr bwMode="auto">
          <a:xfrm>
            <a:off x="8131896" y="4851230"/>
            <a:ext cx="21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</a:p>
        </p:txBody>
      </p:sp>
      <p:cxnSp>
        <p:nvCxnSpPr>
          <p:cNvPr id="211" name="직선 연결선 210"/>
          <p:cNvCxnSpPr>
            <a:stCxn id="204" idx="2"/>
            <a:endCxn id="206" idx="0"/>
          </p:cNvCxnSpPr>
          <p:nvPr/>
        </p:nvCxnSpPr>
        <p:spPr bwMode="auto">
          <a:xfrm>
            <a:off x="7980888" y="3872202"/>
            <a:ext cx="4850" cy="35059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13" name="직선 연결선 212"/>
          <p:cNvCxnSpPr>
            <a:stCxn id="206" idx="2"/>
            <a:endCxn id="208" idx="0"/>
          </p:cNvCxnSpPr>
          <p:nvPr/>
        </p:nvCxnSpPr>
        <p:spPr bwMode="auto">
          <a:xfrm flipH="1">
            <a:off x="7810004" y="4474800"/>
            <a:ext cx="175734" cy="3764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14" name="직선 연결선 213"/>
          <p:cNvCxnSpPr>
            <a:stCxn id="206" idx="2"/>
            <a:endCxn id="209" idx="0"/>
          </p:cNvCxnSpPr>
          <p:nvPr/>
        </p:nvCxnSpPr>
        <p:spPr bwMode="auto">
          <a:xfrm>
            <a:off x="7985738" y="4474800"/>
            <a:ext cx="254158" cy="3764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15" name="직사각형 214"/>
          <p:cNvSpPr/>
          <p:nvPr/>
        </p:nvSpPr>
        <p:spPr bwMode="auto">
          <a:xfrm>
            <a:off x="9138004" y="3627556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업자</a:t>
            </a:r>
          </a:p>
        </p:txBody>
      </p:sp>
      <p:sp>
        <p:nvSpPr>
          <p:cNvPr id="216" name="직사각형 215"/>
          <p:cNvSpPr/>
          <p:nvPr/>
        </p:nvSpPr>
        <p:spPr bwMode="auto">
          <a:xfrm>
            <a:off x="9098186" y="4230154"/>
            <a:ext cx="360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자</a:t>
            </a:r>
          </a:p>
        </p:txBody>
      </p:sp>
      <p:sp>
        <p:nvSpPr>
          <p:cNvPr id="217" name="직사각형 216"/>
          <p:cNvSpPr/>
          <p:nvPr/>
        </p:nvSpPr>
        <p:spPr bwMode="auto">
          <a:xfrm>
            <a:off x="8619058" y="4858584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</a:p>
        </p:txBody>
      </p:sp>
      <p:sp>
        <p:nvSpPr>
          <p:cNvPr id="219" name="직사각형 218"/>
          <p:cNvSpPr/>
          <p:nvPr/>
        </p:nvSpPr>
        <p:spPr bwMode="auto">
          <a:xfrm>
            <a:off x="9129464" y="4858584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0" name="직선 연결선 219"/>
          <p:cNvCxnSpPr>
            <a:stCxn id="215" idx="2"/>
            <a:endCxn id="216" idx="0"/>
          </p:cNvCxnSpPr>
          <p:nvPr/>
        </p:nvCxnSpPr>
        <p:spPr bwMode="auto">
          <a:xfrm flipH="1">
            <a:off x="9278186" y="3879556"/>
            <a:ext cx="3818" cy="35059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21" name="직선 연결선 220"/>
          <p:cNvCxnSpPr>
            <a:stCxn id="239" idx="2"/>
            <a:endCxn id="217" idx="0"/>
          </p:cNvCxnSpPr>
          <p:nvPr/>
        </p:nvCxnSpPr>
        <p:spPr bwMode="auto">
          <a:xfrm flipH="1">
            <a:off x="8763058" y="3882166"/>
            <a:ext cx="4282" cy="97641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23" name="직선 연결선 222"/>
          <p:cNvCxnSpPr>
            <a:stCxn id="216" idx="2"/>
            <a:endCxn id="219" idx="0"/>
          </p:cNvCxnSpPr>
          <p:nvPr/>
        </p:nvCxnSpPr>
        <p:spPr bwMode="auto">
          <a:xfrm flipH="1">
            <a:off x="9273464" y="4482154"/>
            <a:ext cx="4722" cy="3764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24" name="직사각형 223"/>
          <p:cNvSpPr/>
          <p:nvPr/>
        </p:nvSpPr>
        <p:spPr bwMode="auto">
          <a:xfrm>
            <a:off x="6457856" y="4454094"/>
            <a:ext cx="25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체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5" name="직사각형 224"/>
          <p:cNvSpPr/>
          <p:nvPr/>
        </p:nvSpPr>
        <p:spPr bwMode="auto">
          <a:xfrm>
            <a:off x="6797390" y="4450824"/>
            <a:ext cx="25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체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6" name="직사각형 225"/>
          <p:cNvSpPr/>
          <p:nvPr/>
        </p:nvSpPr>
        <p:spPr bwMode="auto">
          <a:xfrm>
            <a:off x="6436472" y="4854844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</a:p>
        </p:txBody>
      </p:sp>
      <p:sp>
        <p:nvSpPr>
          <p:cNvPr id="227" name="직사각형 226"/>
          <p:cNvSpPr/>
          <p:nvPr/>
        </p:nvSpPr>
        <p:spPr bwMode="auto">
          <a:xfrm>
            <a:off x="6782044" y="4854844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9" name="직사각형 228"/>
          <p:cNvSpPr/>
          <p:nvPr/>
        </p:nvSpPr>
        <p:spPr bwMode="auto">
          <a:xfrm>
            <a:off x="7104880" y="4854844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30" name="직선 연결선 229"/>
          <p:cNvCxnSpPr>
            <a:stCxn id="235" idx="2"/>
            <a:endCxn id="224" idx="0"/>
          </p:cNvCxnSpPr>
          <p:nvPr/>
        </p:nvCxnSpPr>
        <p:spPr bwMode="auto">
          <a:xfrm flipH="1">
            <a:off x="6583856" y="4272900"/>
            <a:ext cx="10512" cy="18119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31" name="직선 연결선 230"/>
          <p:cNvCxnSpPr>
            <a:stCxn id="236" idx="2"/>
            <a:endCxn id="225" idx="0"/>
          </p:cNvCxnSpPr>
          <p:nvPr/>
        </p:nvCxnSpPr>
        <p:spPr bwMode="auto">
          <a:xfrm>
            <a:off x="6920598" y="4272900"/>
            <a:ext cx="2792" cy="17792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32" name="직선 연결선 231"/>
          <p:cNvCxnSpPr>
            <a:stCxn id="224" idx="2"/>
            <a:endCxn id="226" idx="0"/>
          </p:cNvCxnSpPr>
          <p:nvPr/>
        </p:nvCxnSpPr>
        <p:spPr bwMode="auto">
          <a:xfrm flipH="1">
            <a:off x="6580472" y="4706094"/>
            <a:ext cx="3384" cy="1487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33" name="직선 연결선 232"/>
          <p:cNvCxnSpPr>
            <a:stCxn id="225" idx="2"/>
            <a:endCxn id="227" idx="0"/>
          </p:cNvCxnSpPr>
          <p:nvPr/>
        </p:nvCxnSpPr>
        <p:spPr bwMode="auto">
          <a:xfrm>
            <a:off x="6923390" y="4702824"/>
            <a:ext cx="2654" cy="15202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34" name="직선 연결선 233"/>
          <p:cNvCxnSpPr>
            <a:stCxn id="237" idx="2"/>
            <a:endCxn id="229" idx="0"/>
          </p:cNvCxnSpPr>
          <p:nvPr/>
        </p:nvCxnSpPr>
        <p:spPr bwMode="auto">
          <a:xfrm>
            <a:off x="7246730" y="4272900"/>
            <a:ext cx="2150" cy="58194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35" name="직사각형 234"/>
          <p:cNvSpPr/>
          <p:nvPr/>
        </p:nvSpPr>
        <p:spPr bwMode="auto">
          <a:xfrm>
            <a:off x="6450368" y="4020900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업자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6" name="직사각형 235"/>
          <p:cNvSpPr/>
          <p:nvPr/>
        </p:nvSpPr>
        <p:spPr bwMode="auto">
          <a:xfrm>
            <a:off x="6776598" y="4020900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업자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7" name="직사각형 236"/>
          <p:cNvSpPr/>
          <p:nvPr/>
        </p:nvSpPr>
        <p:spPr bwMode="auto">
          <a:xfrm>
            <a:off x="7102730" y="4020900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업자</a:t>
            </a: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7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9" name="직사각형 238"/>
          <p:cNvSpPr/>
          <p:nvPr/>
        </p:nvSpPr>
        <p:spPr bwMode="auto">
          <a:xfrm>
            <a:off x="8623340" y="3630166"/>
            <a:ext cx="288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표자</a:t>
            </a:r>
          </a:p>
        </p:txBody>
      </p:sp>
      <p:sp>
        <p:nvSpPr>
          <p:cNvPr id="240" name="TextBox 239"/>
          <p:cNvSpPr txBox="1"/>
          <p:nvPr/>
        </p:nvSpPr>
        <p:spPr bwMode="auto">
          <a:xfrm>
            <a:off x="7420507" y="5207992"/>
            <a:ext cx="1097161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“</a:t>
            </a: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농축협 한도 관리 일원화 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”</a:t>
            </a:r>
            <a:endParaRPr lang="ko-KR" altLang="en-US" sz="1000" i="1" dirty="0">
              <a:solidFill>
                <a:srgbClr val="1B3A87"/>
              </a:solidFill>
              <a:latin typeface="맑은 고딕"/>
              <a:ea typeface="맑은 고딕"/>
            </a:endParaRPr>
          </a:p>
        </p:txBody>
      </p:sp>
      <p:sp>
        <p:nvSpPr>
          <p:cNvPr id="241" name="TextBox 240"/>
          <p:cNvSpPr txBox="1"/>
          <p:nvPr/>
        </p:nvSpPr>
        <p:spPr bwMode="auto">
          <a:xfrm>
            <a:off x="8504812" y="5207992"/>
            <a:ext cx="1044000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“</a:t>
            </a: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대표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/</a:t>
            </a: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사업자간 한도 통합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”</a:t>
            </a:r>
            <a:endParaRPr lang="ko-KR" altLang="en-US" sz="1000" i="1" dirty="0">
              <a:solidFill>
                <a:srgbClr val="1B3A87"/>
              </a:solidFill>
              <a:latin typeface="맑은 고딕"/>
              <a:ea typeface="맑은 고딕"/>
            </a:endParaRPr>
          </a:p>
        </p:txBody>
      </p:sp>
      <p:sp>
        <p:nvSpPr>
          <p:cNvPr id="242" name="TextBox 241"/>
          <p:cNvSpPr txBox="1"/>
          <p:nvPr/>
        </p:nvSpPr>
        <p:spPr bwMode="auto">
          <a:xfrm>
            <a:off x="6361410" y="5207992"/>
            <a:ext cx="1044000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“</a:t>
            </a: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법인 단위 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/>
            </a:r>
            <a:b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</a:b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통합 한도 운영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”</a:t>
            </a:r>
            <a:endParaRPr lang="ko-KR" altLang="en-US" sz="1000" i="1" dirty="0">
              <a:solidFill>
                <a:srgbClr val="1B3A87"/>
              </a:solidFill>
              <a:latin typeface="맑은 고딕"/>
              <a:ea typeface="맑은 고딕"/>
            </a:endParaRPr>
          </a:p>
        </p:txBody>
      </p:sp>
      <p:sp>
        <p:nvSpPr>
          <p:cNvPr id="243" name="TextBox 242"/>
          <p:cNvSpPr txBox="1"/>
          <p:nvPr/>
        </p:nvSpPr>
        <p:spPr bwMode="auto">
          <a:xfrm>
            <a:off x="5353298" y="5207992"/>
            <a:ext cx="1044000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“</a:t>
            </a: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고객 관점 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/>
            </a:r>
            <a:b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</a:br>
            <a:r>
              <a:rPr lang="ko-KR" altLang="en-US" sz="1000" i="1" dirty="0">
                <a:solidFill>
                  <a:srgbClr val="1B3A87"/>
                </a:solidFill>
                <a:latin typeface="맑은 고딕"/>
                <a:ea typeface="맑은 고딕"/>
              </a:rPr>
              <a:t>한도 운영</a:t>
            </a:r>
            <a:r>
              <a:rPr lang="en-US" altLang="ko-KR" sz="1000" i="1" dirty="0">
                <a:solidFill>
                  <a:srgbClr val="1B3A87"/>
                </a:solidFill>
                <a:latin typeface="맑은 고딕"/>
                <a:ea typeface="맑은 고딕"/>
              </a:rPr>
              <a:t>”</a:t>
            </a:r>
            <a:endParaRPr lang="ko-KR" altLang="en-US" sz="1000" i="1" dirty="0">
              <a:solidFill>
                <a:srgbClr val="1B3A87"/>
              </a:solidFill>
              <a:latin typeface="맑은 고딕"/>
              <a:ea typeface="맑은 고딕"/>
            </a:endParaRPr>
          </a:p>
        </p:txBody>
      </p:sp>
      <p:sp>
        <p:nvSpPr>
          <p:cNvPr id="253" name="직사각형 252"/>
          <p:cNvSpPr/>
          <p:nvPr/>
        </p:nvSpPr>
        <p:spPr bwMode="auto">
          <a:xfrm>
            <a:off x="6645256" y="3609048"/>
            <a:ext cx="61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고객번호</a:t>
            </a:r>
          </a:p>
        </p:txBody>
      </p:sp>
      <p:cxnSp>
        <p:nvCxnSpPr>
          <p:cNvPr id="254" name="직선 연결선 253"/>
          <p:cNvCxnSpPr>
            <a:stCxn id="253" idx="2"/>
            <a:endCxn id="235" idx="0"/>
          </p:cNvCxnSpPr>
          <p:nvPr/>
        </p:nvCxnSpPr>
        <p:spPr bwMode="auto">
          <a:xfrm flipH="1">
            <a:off x="6594368" y="3861048"/>
            <a:ext cx="356888" cy="15985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58" name="직선 연결선 257"/>
          <p:cNvCxnSpPr>
            <a:stCxn id="253" idx="2"/>
            <a:endCxn id="236" idx="0"/>
          </p:cNvCxnSpPr>
          <p:nvPr/>
        </p:nvCxnSpPr>
        <p:spPr bwMode="auto">
          <a:xfrm flipH="1">
            <a:off x="6920598" y="3861048"/>
            <a:ext cx="30658" cy="15985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61" name="직선 연결선 260"/>
          <p:cNvCxnSpPr>
            <a:stCxn id="253" idx="2"/>
            <a:endCxn id="237" idx="0"/>
          </p:cNvCxnSpPr>
          <p:nvPr/>
        </p:nvCxnSpPr>
        <p:spPr bwMode="auto">
          <a:xfrm>
            <a:off x="6951256" y="3861048"/>
            <a:ext cx="295474" cy="15985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64" name="직선 연결선 263"/>
          <p:cNvCxnSpPr>
            <a:stCxn id="239" idx="3"/>
            <a:endCxn id="215" idx="1"/>
          </p:cNvCxnSpPr>
          <p:nvPr/>
        </p:nvCxnSpPr>
        <p:spPr bwMode="auto">
          <a:xfrm flipV="1">
            <a:off x="8911340" y="3753556"/>
            <a:ext cx="226664" cy="261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69" name="TextBox 268"/>
          <p:cNvSpPr txBox="1"/>
          <p:nvPr/>
        </p:nvSpPr>
        <p:spPr bwMode="auto">
          <a:xfrm>
            <a:off x="5365588" y="5627219"/>
            <a:ext cx="4195924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SOHO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분류 개선으로 한도 운영 프로세스 개선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농축협 한도 관리 일원화로 채권 귀속 문제 완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식별번호 단위 한도 통합운영으로 고객서비스 개선 </a:t>
            </a:r>
          </a:p>
        </p:txBody>
      </p:sp>
      <p:grpSp>
        <p:nvGrpSpPr>
          <p:cNvPr id="165" name="그룹 16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6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6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6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6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7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7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7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74" name="그룹 17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7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관리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재정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브랜드별 한도 운영관리 체계에서 고객 기준 한도운영 체계로 통합 개선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</a:t>
            </a:r>
            <a:r>
              <a:rPr lang="en-US" altLang="ko-KR" sz="1200" kern="0" dirty="0" smtClean="0">
                <a:solidFill>
                  <a:srgbClr val="FFFFFF"/>
                </a:solidFill>
              </a:rPr>
              <a:t>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291000" y="2132202"/>
            <a:ext cx="4293976" cy="3270704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74" name="구부러진 연결선 73"/>
          <p:cNvCxnSpPr>
            <a:stCxn id="46" idx="0"/>
            <a:endCxn id="50" idx="2"/>
          </p:cNvCxnSpPr>
          <p:nvPr/>
        </p:nvCxnSpPr>
        <p:spPr bwMode="auto">
          <a:xfrm rot="5400000" flipH="1" flipV="1">
            <a:off x="1805596" y="1978566"/>
            <a:ext cx="1123535" cy="3016291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76" name="구부러진 연결선 75"/>
          <p:cNvCxnSpPr>
            <a:stCxn id="49" idx="0"/>
            <a:endCxn id="50" idx="2"/>
          </p:cNvCxnSpPr>
          <p:nvPr/>
        </p:nvCxnSpPr>
        <p:spPr bwMode="auto">
          <a:xfrm rot="5400000" flipH="1" flipV="1">
            <a:off x="2330423" y="2503393"/>
            <a:ext cx="1123534" cy="196663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80" name="구부러진 연결선 79"/>
          <p:cNvCxnSpPr>
            <a:stCxn id="47" idx="0"/>
            <a:endCxn id="50" idx="2"/>
          </p:cNvCxnSpPr>
          <p:nvPr/>
        </p:nvCxnSpPr>
        <p:spPr bwMode="auto">
          <a:xfrm rot="5400000" flipH="1" flipV="1">
            <a:off x="2851524" y="3031946"/>
            <a:ext cx="1130987" cy="91698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83" name="구부러진 연결선 82"/>
          <p:cNvCxnSpPr>
            <a:stCxn id="48" idx="0"/>
            <a:endCxn id="50" idx="2"/>
          </p:cNvCxnSpPr>
          <p:nvPr/>
        </p:nvCxnSpPr>
        <p:spPr bwMode="auto">
          <a:xfrm rot="16200000" flipV="1">
            <a:off x="3376352" y="3424103"/>
            <a:ext cx="1130987" cy="132670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23" name="Rectangle 30"/>
          <p:cNvSpPr/>
          <p:nvPr/>
        </p:nvSpPr>
        <p:spPr bwMode="gray">
          <a:xfrm>
            <a:off x="291000" y="1916832"/>
            <a:ext cx="4293976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en-US" altLang="ko-KR" sz="14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s-Is – </a:t>
            </a:r>
            <a:r>
              <a:rPr lang="ko-KR" altLang="en-US" sz="14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상품 중심 개별 한도분류 체계</a:t>
            </a:r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941498" y="2348880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1941498" y="2910117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917126" y="3573016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회원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016433" y="3573016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회원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1441953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392300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43" name="직사각형 42"/>
          <p:cNvSpPr/>
          <p:nvPr/>
        </p:nvSpPr>
        <p:spPr bwMode="auto">
          <a:xfrm>
            <a:off x="3541261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45" name="직사각형 44"/>
          <p:cNvSpPr/>
          <p:nvPr/>
        </p:nvSpPr>
        <p:spPr bwMode="auto">
          <a:xfrm>
            <a:off x="2491606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50" name="모서리가 둥근 직사각형 49"/>
          <p:cNvSpPr/>
          <p:nvPr/>
        </p:nvSpPr>
        <p:spPr bwMode="auto">
          <a:xfrm>
            <a:off x="3408590" y="2622085"/>
            <a:ext cx="933838" cy="3028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한도</a:t>
            </a:r>
          </a:p>
        </p:txBody>
      </p:sp>
      <p:cxnSp>
        <p:nvCxnSpPr>
          <p:cNvPr id="14" name="직선 연결선 13"/>
          <p:cNvCxnSpPr>
            <a:stCxn id="6" idx="2"/>
            <a:endCxn id="29" idx="0"/>
          </p:cNvCxnSpPr>
          <p:nvPr/>
        </p:nvCxnSpPr>
        <p:spPr bwMode="auto">
          <a:xfrm>
            <a:off x="2408417" y="2651739"/>
            <a:ext cx="0" cy="2583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6" name="꺾인 연결선 15"/>
          <p:cNvCxnSpPr>
            <a:stCxn id="29" idx="2"/>
            <a:endCxn id="40" idx="0"/>
          </p:cNvCxnSpPr>
          <p:nvPr/>
        </p:nvCxnSpPr>
        <p:spPr bwMode="auto">
          <a:xfrm rot="5400000">
            <a:off x="1716212" y="2880811"/>
            <a:ext cx="360040" cy="1024372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8" name="꺾인 연결선 17"/>
          <p:cNvCxnSpPr>
            <a:stCxn id="29" idx="2"/>
            <a:endCxn id="41" idx="0"/>
          </p:cNvCxnSpPr>
          <p:nvPr/>
        </p:nvCxnSpPr>
        <p:spPr bwMode="auto">
          <a:xfrm rot="16200000" flipH="1">
            <a:off x="2765865" y="2855528"/>
            <a:ext cx="360040" cy="1074936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0" name="꺾인 연결선 59"/>
          <p:cNvCxnSpPr>
            <a:stCxn id="40" idx="2"/>
            <a:endCxn id="44" idx="0"/>
          </p:cNvCxnSpPr>
          <p:nvPr/>
        </p:nvCxnSpPr>
        <p:spPr bwMode="auto">
          <a:xfrm rot="5400000">
            <a:off x="812424" y="3922671"/>
            <a:ext cx="618418" cy="524826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3" name="꺾인 연결선 62"/>
          <p:cNvCxnSpPr>
            <a:stCxn id="40" idx="2"/>
            <a:endCxn id="42" idx="0"/>
          </p:cNvCxnSpPr>
          <p:nvPr/>
        </p:nvCxnSpPr>
        <p:spPr bwMode="auto">
          <a:xfrm rot="16200000" flipH="1">
            <a:off x="1337250" y="3922671"/>
            <a:ext cx="618418" cy="524826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6" name="꺾인 연결선 65"/>
          <p:cNvCxnSpPr>
            <a:stCxn id="41" idx="2"/>
            <a:endCxn id="45" idx="0"/>
          </p:cNvCxnSpPr>
          <p:nvPr/>
        </p:nvCxnSpPr>
        <p:spPr bwMode="auto">
          <a:xfrm rot="5400000">
            <a:off x="2911731" y="3922671"/>
            <a:ext cx="618418" cy="52482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9" name="꺾인 연결선 68"/>
          <p:cNvCxnSpPr>
            <a:stCxn id="41" idx="2"/>
            <a:endCxn id="43" idx="0"/>
          </p:cNvCxnSpPr>
          <p:nvPr/>
        </p:nvCxnSpPr>
        <p:spPr bwMode="auto">
          <a:xfrm rot="16200000" flipH="1">
            <a:off x="3436557" y="3922671"/>
            <a:ext cx="618418" cy="5248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47" name="모서리가 둥근 직사각형 46"/>
          <p:cNvSpPr/>
          <p:nvPr/>
        </p:nvSpPr>
        <p:spPr bwMode="auto">
          <a:xfrm>
            <a:off x="2668605" y="4055931"/>
            <a:ext cx="579840" cy="3028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3718259" y="4055931"/>
            <a:ext cx="579840" cy="3028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</a:p>
        </p:txBody>
      </p:sp>
      <p:sp>
        <p:nvSpPr>
          <p:cNvPr id="49" name="모서리가 둥근 직사각형 48"/>
          <p:cNvSpPr/>
          <p:nvPr/>
        </p:nvSpPr>
        <p:spPr bwMode="auto">
          <a:xfrm>
            <a:off x="1618951" y="4048478"/>
            <a:ext cx="579840" cy="3028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 bwMode="auto">
          <a:xfrm>
            <a:off x="569298" y="4048479"/>
            <a:ext cx="579840" cy="3028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</a:p>
        </p:txBody>
      </p:sp>
      <p:sp>
        <p:nvSpPr>
          <p:cNvPr id="86" name="Rectangle 30"/>
          <p:cNvSpPr/>
          <p:nvPr/>
        </p:nvSpPr>
        <p:spPr bwMode="gray">
          <a:xfrm>
            <a:off x="409036" y="4915481"/>
            <a:ext cx="4082799" cy="45773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 </a:t>
            </a:r>
            <a:r>
              <a:rPr lang="en-US" altLang="ko-KR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브랜드 단위 통합 한도</a:t>
            </a:r>
            <a:endParaRPr lang="en-US" altLang="ko-KR" sz="1200" b="1" i="1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 eaLnBrk="0" latinLnBrk="0" hangingPunct="0"/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업 </a:t>
            </a:r>
            <a:r>
              <a:rPr lang="en-US" altLang="ko-KR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업자번호 단위 통합 한도</a:t>
            </a:r>
            <a:endParaRPr lang="ko-KR" altLang="en-US" sz="1200" b="1" i="1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Rectangle 30"/>
          <p:cNvSpPr/>
          <p:nvPr/>
        </p:nvSpPr>
        <p:spPr bwMode="gray">
          <a:xfrm>
            <a:off x="409036" y="5445109"/>
            <a:ext cx="4082800" cy="8373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18000" rIns="18000" anchor="t"/>
          <a:lstStyle/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황 문제점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71450" indent="-87313" eaLnBrk="0" latinLnBrk="0" hangingPunct="0">
              <a:buFont typeface="Wingdings" panose="05000000000000000000" pitchFamily="2" charset="2"/>
              <a:buChar char="ü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브랜드 별 카드 심사 및 한도 산정 후 통합한도 적용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71450" indent="-87313" eaLnBrk="0" latinLnBrk="0" hangingPunct="0">
              <a:buFont typeface="Wingdings" panose="05000000000000000000" pitchFamily="2" charset="2"/>
              <a:buChar char="ü"/>
            </a:pPr>
            <a:r>
              <a:rPr lang="ko-KR" altLang="en-US" sz="1200" b="0" kern="0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업카드 </a:t>
            </a:r>
            <a:r>
              <a:rPr lang="ko-KR" altLang="en-US" sz="1200" b="0" kern="0" spc="-15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총한도</a:t>
            </a:r>
            <a:r>
              <a:rPr lang="ko-KR" altLang="en-US" sz="1200" b="0" kern="0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적용 미흡에 따라 개별 기업카드 한도 총합이 기업카드 </a:t>
            </a:r>
            <a:r>
              <a:rPr lang="ko-KR" altLang="en-US" sz="1200" b="0" kern="0" spc="-15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총한도를</a:t>
            </a:r>
            <a:r>
              <a:rPr lang="ko-KR" altLang="en-US" sz="1200" b="0" kern="0" spc="-15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초과하는 경우 발생하거나 관리 미비</a:t>
            </a:r>
            <a:endParaRPr lang="ko-KR" altLang="en-US" sz="1200" b="0" kern="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Rectangle 30"/>
          <p:cNvSpPr/>
          <p:nvPr/>
        </p:nvSpPr>
        <p:spPr bwMode="gray">
          <a:xfrm>
            <a:off x="5234690" y="2132202"/>
            <a:ext cx="4293976" cy="3270704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21" name="구부러진 연결선 120"/>
          <p:cNvCxnSpPr>
            <a:stCxn id="134" idx="2"/>
            <a:endCxn id="145" idx="0"/>
          </p:cNvCxnSpPr>
          <p:nvPr/>
        </p:nvCxnSpPr>
        <p:spPr bwMode="auto">
          <a:xfrm rot="5400000">
            <a:off x="6749287" y="1978566"/>
            <a:ext cx="1123535" cy="3016291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122" name="구부러진 연결선 121"/>
          <p:cNvCxnSpPr>
            <a:stCxn id="134" idx="2"/>
            <a:endCxn id="142" idx="0"/>
          </p:cNvCxnSpPr>
          <p:nvPr/>
        </p:nvCxnSpPr>
        <p:spPr bwMode="auto">
          <a:xfrm rot="5400000">
            <a:off x="7795214" y="3031945"/>
            <a:ext cx="1130987" cy="91698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123" name="구부러진 연결선 122"/>
          <p:cNvCxnSpPr>
            <a:stCxn id="134" idx="2"/>
            <a:endCxn id="144" idx="0"/>
          </p:cNvCxnSpPr>
          <p:nvPr/>
        </p:nvCxnSpPr>
        <p:spPr bwMode="auto">
          <a:xfrm rot="5400000">
            <a:off x="7274113" y="2503392"/>
            <a:ext cx="1123534" cy="196663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124" name="구부러진 연결선 123"/>
          <p:cNvCxnSpPr>
            <a:stCxn id="134" idx="2"/>
          </p:cNvCxnSpPr>
          <p:nvPr/>
        </p:nvCxnSpPr>
        <p:spPr bwMode="auto">
          <a:xfrm rot="16200000" flipH="1">
            <a:off x="8321116" y="3423026"/>
            <a:ext cx="1118656" cy="122491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125" name="Rectangle 30"/>
          <p:cNvSpPr/>
          <p:nvPr/>
        </p:nvSpPr>
        <p:spPr bwMode="gray">
          <a:xfrm>
            <a:off x="5234690" y="1916832"/>
            <a:ext cx="4293976" cy="30175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o-Be </a:t>
            </a: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중심 한도분류 체계</a:t>
            </a:r>
          </a:p>
        </p:txBody>
      </p:sp>
      <p:sp>
        <p:nvSpPr>
          <p:cNvPr id="126" name="직사각형 125"/>
          <p:cNvSpPr/>
          <p:nvPr/>
        </p:nvSpPr>
        <p:spPr bwMode="auto">
          <a:xfrm>
            <a:off x="6885188" y="2348880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6885188" y="2910117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6885188" y="3544880"/>
            <a:ext cx="933838" cy="302859"/>
          </a:xfrm>
          <a:prstGeom prst="rect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 회원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6385643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131" name="직사각형 130"/>
          <p:cNvSpPr/>
          <p:nvPr/>
        </p:nvSpPr>
        <p:spPr bwMode="auto">
          <a:xfrm>
            <a:off x="5335990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132" name="직사각형 131"/>
          <p:cNvSpPr/>
          <p:nvPr/>
        </p:nvSpPr>
        <p:spPr bwMode="auto">
          <a:xfrm>
            <a:off x="8484951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133" name="직사각형 132"/>
          <p:cNvSpPr/>
          <p:nvPr/>
        </p:nvSpPr>
        <p:spPr bwMode="auto">
          <a:xfrm>
            <a:off x="7435296" y="4494293"/>
            <a:ext cx="933838" cy="30285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134" name="모서리가 둥근 직사각형 133"/>
          <p:cNvSpPr/>
          <p:nvPr/>
        </p:nvSpPr>
        <p:spPr bwMode="auto">
          <a:xfrm>
            <a:off x="8352280" y="2622085"/>
            <a:ext cx="933838" cy="302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한도</a:t>
            </a:r>
          </a:p>
        </p:txBody>
      </p:sp>
      <p:cxnSp>
        <p:nvCxnSpPr>
          <p:cNvPr id="135" name="직선 연결선 134"/>
          <p:cNvCxnSpPr>
            <a:stCxn id="126" idx="2"/>
            <a:endCxn id="127" idx="0"/>
          </p:cNvCxnSpPr>
          <p:nvPr/>
        </p:nvCxnSpPr>
        <p:spPr bwMode="auto">
          <a:xfrm>
            <a:off x="7352107" y="2651739"/>
            <a:ext cx="0" cy="2583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38" name="꺾인 연결선 137"/>
          <p:cNvCxnSpPr>
            <a:stCxn id="128" idx="2"/>
            <a:endCxn id="131" idx="0"/>
          </p:cNvCxnSpPr>
          <p:nvPr/>
        </p:nvCxnSpPr>
        <p:spPr bwMode="auto">
          <a:xfrm rot="5400000">
            <a:off x="6254231" y="3396417"/>
            <a:ext cx="646554" cy="154919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39" name="꺾인 연결선 138"/>
          <p:cNvCxnSpPr>
            <a:stCxn id="128" idx="2"/>
            <a:endCxn id="130" idx="0"/>
          </p:cNvCxnSpPr>
          <p:nvPr/>
        </p:nvCxnSpPr>
        <p:spPr bwMode="auto">
          <a:xfrm rot="5400000">
            <a:off x="6779058" y="3921244"/>
            <a:ext cx="646554" cy="499545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40" name="꺾인 연결선 139"/>
          <p:cNvCxnSpPr>
            <a:stCxn id="128" idx="2"/>
            <a:endCxn id="133" idx="0"/>
          </p:cNvCxnSpPr>
          <p:nvPr/>
        </p:nvCxnSpPr>
        <p:spPr bwMode="auto">
          <a:xfrm rot="16200000" flipH="1">
            <a:off x="7303884" y="3895962"/>
            <a:ext cx="646554" cy="55010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41" name="꺾인 연결선 140"/>
          <p:cNvCxnSpPr>
            <a:stCxn id="128" idx="2"/>
            <a:endCxn id="132" idx="0"/>
          </p:cNvCxnSpPr>
          <p:nvPr/>
        </p:nvCxnSpPr>
        <p:spPr bwMode="auto">
          <a:xfrm rot="16200000" flipH="1">
            <a:off x="7828711" y="3371134"/>
            <a:ext cx="646554" cy="159976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42" name="모서리가 둥근 직사각형 141"/>
          <p:cNvSpPr/>
          <p:nvPr/>
        </p:nvSpPr>
        <p:spPr bwMode="auto">
          <a:xfrm>
            <a:off x="7612295" y="4055931"/>
            <a:ext cx="579840" cy="302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모서리가 둥근 직사각형 142"/>
          <p:cNvSpPr/>
          <p:nvPr/>
        </p:nvSpPr>
        <p:spPr bwMode="auto">
          <a:xfrm>
            <a:off x="8661949" y="4055931"/>
            <a:ext cx="579840" cy="302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</a:p>
        </p:txBody>
      </p:sp>
      <p:sp>
        <p:nvSpPr>
          <p:cNvPr id="144" name="모서리가 둥근 직사각형 143"/>
          <p:cNvSpPr/>
          <p:nvPr/>
        </p:nvSpPr>
        <p:spPr bwMode="auto">
          <a:xfrm>
            <a:off x="6562641" y="4048478"/>
            <a:ext cx="579840" cy="302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5512988" y="4048479"/>
            <a:ext cx="579840" cy="302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</a:t>
            </a:r>
          </a:p>
        </p:txBody>
      </p:sp>
      <p:sp>
        <p:nvSpPr>
          <p:cNvPr id="146" name="Rectangle 30"/>
          <p:cNvSpPr/>
          <p:nvPr/>
        </p:nvSpPr>
        <p:spPr bwMode="gray">
          <a:xfrm>
            <a:off x="5352726" y="4915481"/>
            <a:ext cx="4082799" cy="45773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</a:t>
            </a:r>
            <a:r>
              <a:rPr lang="en-US" altLang="ko-KR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법인 고객기준 통합한도관리</a:t>
            </a:r>
            <a:endParaRPr lang="ko-KR" altLang="en-US" sz="1200" b="1" i="1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7" name="Rectangle 30"/>
          <p:cNvSpPr/>
          <p:nvPr/>
        </p:nvSpPr>
        <p:spPr bwMode="gray">
          <a:xfrm>
            <a:off x="5352726" y="5445109"/>
            <a:ext cx="4082800" cy="8373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18000" rIns="18000" anchor="t"/>
          <a:lstStyle/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oint</a:t>
            </a:r>
          </a:p>
          <a:p>
            <a:pPr marL="171450" indent="-87313" eaLnBrk="0" latinLnBrk="0" hangingPunct="0">
              <a:buFont typeface="Wingdings" panose="05000000000000000000" pitchFamily="2" charset="2"/>
              <a:buChar char="ü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회원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카드 의 고객중심 고객통합구조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(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하향식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)</a:t>
            </a:r>
          </a:p>
          <a:p>
            <a:pPr marL="171450" indent="-87313" eaLnBrk="0" latinLnBrk="0" hangingPunct="0">
              <a:buFont typeface="Wingdings" panose="05000000000000000000" pitchFamily="2" charset="2"/>
              <a:buChar char="ü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카드고객번호 중심 통합 한도관리 가능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48" name="직선 연결선 147"/>
          <p:cNvCxnSpPr>
            <a:stCxn id="127" idx="2"/>
            <a:endCxn id="128" idx="0"/>
          </p:cNvCxnSpPr>
          <p:nvPr/>
        </p:nvCxnSpPr>
        <p:spPr bwMode="auto">
          <a:xfrm>
            <a:off x="7352107" y="3212976"/>
            <a:ext cx="0" cy="3319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62" name="Rectangle 30"/>
          <p:cNvSpPr/>
          <p:nvPr/>
        </p:nvSpPr>
        <p:spPr bwMode="gray">
          <a:xfrm>
            <a:off x="5457056" y="2633161"/>
            <a:ext cx="1182641" cy="45773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하향식 </a:t>
            </a:r>
            <a:endParaRPr lang="en-US" altLang="ko-KR" sz="1200" b="1" i="1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 eaLnBrk="0" latinLnBrk="0" hangingPunct="0"/>
            <a:r>
              <a:rPr lang="ko-KR" altLang="en-US" sz="1200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통합</a:t>
            </a:r>
            <a:r>
              <a:rPr lang="ko-KR" altLang="en-US" sz="1200" b="1" i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한도 관리</a:t>
            </a:r>
            <a:endParaRPr lang="ko-KR" altLang="en-US" sz="1200" b="1" i="1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9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81" name="TextBox 8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7" name="그룹 9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8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88" name="TextBox 8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중심 한도 운영 체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2204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관리 프로세스 재정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03970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도사는 인당 통합 한도 관리 체계로 변경하여 개인 신용한도가 증가하는 위험을 선제적으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하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중심 한도 통합 운영 사례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4" name="갈매기형 수장 3"/>
          <p:cNvSpPr/>
          <p:nvPr/>
        </p:nvSpPr>
        <p:spPr bwMode="auto">
          <a:xfrm>
            <a:off x="291000" y="1876570"/>
            <a:ext cx="3044022" cy="360040"/>
          </a:xfrm>
          <a:prstGeom prst="chevron">
            <a:avLst>
              <a:gd name="adj" fmla="val 26556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상 및 문제점</a:t>
            </a:r>
          </a:p>
        </p:txBody>
      </p:sp>
      <p:sp>
        <p:nvSpPr>
          <p:cNvPr id="46" name="Rectangle 30"/>
          <p:cNvSpPr/>
          <p:nvPr/>
        </p:nvSpPr>
        <p:spPr bwMode="gray">
          <a:xfrm>
            <a:off x="291000" y="2279298"/>
            <a:ext cx="3044022" cy="16495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18000" rIns="18000" anchor="t"/>
          <a:lstStyle/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법인카드의 한도가 법인회사의 한도를 초과하는 경우 발생</a:t>
            </a:r>
            <a:endParaRPr lang="en-US" altLang="ko-KR" sz="11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특정고객이 동일회사 내 복수카드 발급의 경우 중복한도의 사용 발생으로 한도관리가 곤란</a:t>
            </a:r>
            <a:endParaRPr lang="en-US" altLang="ko-KR" sz="11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의 신용에 따라 카드 별 한도가 증가하여 총 한도가 증가</a:t>
            </a:r>
            <a:endParaRPr lang="en-US" altLang="ko-KR" sz="11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족카드와 본인카드 한도의 이중 관리로 인한 통합한도관리체계 미흡</a:t>
            </a:r>
            <a:endParaRPr lang="en-US" altLang="ko-KR" sz="11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570978" y="1876570"/>
            <a:ext cx="3044022" cy="2052294"/>
            <a:chOff x="3430989" y="1876570"/>
            <a:chExt cx="3044022" cy="2052294"/>
          </a:xfrm>
        </p:grpSpPr>
        <p:sp>
          <p:nvSpPr>
            <p:cNvPr id="43" name="갈매기형 수장 42"/>
            <p:cNvSpPr/>
            <p:nvPr/>
          </p:nvSpPr>
          <p:spPr bwMode="auto">
            <a:xfrm>
              <a:off x="3430989" y="1876570"/>
              <a:ext cx="3044022" cy="360040"/>
            </a:xfrm>
            <a:prstGeom prst="chevron">
              <a:avLst>
                <a:gd name="adj" fmla="val 26556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18000" rIns="18000" anchor="ctr"/>
            <a:lstStyle/>
            <a:p>
              <a:pPr algn="ctr" eaLnBrk="0" hangingPunct="0"/>
              <a:r>
                <a:rPr lang="ko-KR" altLang="en-US" sz="14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선 방향</a:t>
              </a:r>
            </a:p>
          </p:txBody>
        </p:sp>
        <p:sp>
          <p:nvSpPr>
            <p:cNvPr id="47" name="Rectangle 30"/>
            <p:cNvSpPr/>
            <p:nvPr/>
          </p:nvSpPr>
          <p:spPr bwMode="gray">
            <a:xfrm>
              <a:off x="3430989" y="2279298"/>
              <a:ext cx="3044022" cy="164956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  <a:extLst/>
          </p:spPr>
          <p:txBody>
            <a:bodyPr wrap="square" lIns="18000" rIns="18000" anchor="t"/>
            <a:lstStyle/>
            <a:p>
              <a:pPr marL="84138" indent="-84138" eaLnBrk="0" latinLnBrk="0" hangingPunct="0">
                <a:buFont typeface="Wingdings" panose="05000000000000000000" pitchFamily="2" charset="2"/>
                <a:buChar char="§"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법인카드 한도는 법인회사 한도초과 방지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법인회사에 불량징후가 감지되어 법인회사 한도를 하향할 경우 법인회사 한도와 비례하게 카드한도 역시 하향 조정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84138" indent="-84138" eaLnBrk="0" latinLnBrk="0" hangingPunct="0">
                <a:buFont typeface="Wingdings" panose="05000000000000000000" pitchFamily="2" charset="2"/>
                <a:buChar char="§"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인카드 인당 통합한도관리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신용과 관계없이 개인의 한도가 증가하는 것을 방지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본인카드의 한도 조정 정보를 가족카드에 반영함</a:t>
              </a:r>
              <a:r>
                <a:rPr lang="en-US" altLang="ko-KR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즉</a:t>
              </a:r>
              <a:r>
                <a:rPr lang="en-US" altLang="ko-KR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본인한도 </a:t>
              </a:r>
              <a:r>
                <a:rPr lang="ko-KR" altLang="en-US" sz="1100" b="0" kern="0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조정시</a:t>
              </a: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족한도도 조정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3430989" y="1876570"/>
            <a:ext cx="3044022" cy="2052294"/>
            <a:chOff x="6570978" y="1876570"/>
            <a:chExt cx="3044022" cy="2052294"/>
          </a:xfrm>
        </p:grpSpPr>
        <p:sp>
          <p:nvSpPr>
            <p:cNvPr id="45" name="갈매기형 수장 44"/>
            <p:cNvSpPr/>
            <p:nvPr/>
          </p:nvSpPr>
          <p:spPr bwMode="auto">
            <a:xfrm>
              <a:off x="6570978" y="1876570"/>
              <a:ext cx="3044022" cy="360040"/>
            </a:xfrm>
            <a:prstGeom prst="chevron">
              <a:avLst>
                <a:gd name="adj" fmla="val 26556"/>
              </a:avLst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려 사항</a:t>
              </a:r>
            </a:p>
          </p:txBody>
        </p:sp>
        <p:sp>
          <p:nvSpPr>
            <p:cNvPr id="48" name="Rectangle 30"/>
            <p:cNvSpPr/>
            <p:nvPr/>
          </p:nvSpPr>
          <p:spPr bwMode="gray">
            <a:xfrm>
              <a:off x="6570978" y="2279298"/>
              <a:ext cx="3044022" cy="164956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  <a:extLst/>
          </p:spPr>
          <p:txBody>
            <a:bodyPr wrap="square" lIns="18000" rIns="18000" anchor="t"/>
            <a:lstStyle/>
            <a:p>
              <a:pPr marL="84138" indent="-84138" eaLnBrk="0" latinLnBrk="0" hangingPunct="0">
                <a:buFont typeface="Wingdings" panose="05000000000000000000" pitchFamily="2" charset="2"/>
                <a:buChar char="§"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전략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조직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치산정 모델 개발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치산정 모델 활용전략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ko-KR" altLang="en-US" sz="1100" b="0" kern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고객 가치에 의한 고객관리</a:t>
              </a:r>
              <a:endParaRPr lang="en-US" altLang="ko-KR" sz="11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84138" indent="-84138" eaLnBrk="0" latinLnBrk="0" hangingPunct="0">
                <a:buFont typeface="Wingdings" panose="05000000000000000000" pitchFamily="2" charset="2"/>
                <a:buChar char="§"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시스템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Data Modeling</a:t>
              </a:r>
            </a:p>
            <a:p>
              <a:pPr marL="171450" indent="-85725" eaLnBrk="0" latinLnBrk="0" hangingPunct="0">
                <a:buFont typeface="Wingdings" panose="05000000000000000000" pitchFamily="2" charset="2"/>
                <a:buChar char="ü"/>
              </a:pP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Rule-based System</a:t>
              </a:r>
            </a:p>
          </p:txBody>
        </p:sp>
      </p:grpSp>
      <p:sp>
        <p:nvSpPr>
          <p:cNvPr id="16" name="직사각형 15"/>
          <p:cNvSpPr/>
          <p:nvPr/>
        </p:nvSpPr>
        <p:spPr bwMode="auto">
          <a:xfrm>
            <a:off x="6503732" y="1827276"/>
            <a:ext cx="3167888" cy="2101588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5" name="Rectangle 30"/>
          <p:cNvSpPr/>
          <p:nvPr/>
        </p:nvSpPr>
        <p:spPr bwMode="gray">
          <a:xfrm>
            <a:off x="450766" y="4318496"/>
            <a:ext cx="9137733" cy="1995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18000" rIns="18000" anchor="t"/>
          <a:lstStyle/>
          <a:p>
            <a:pPr eaLnBrk="0" latinLnBrk="0" hangingPunct="0"/>
            <a:endParaRPr lang="en-US" altLang="ko-KR" sz="11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211258" y="4819555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759058" y="5317601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1592382" y="5317601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1036833" y="6009770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481283" y="6009770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2211470" y="6009770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1592382" y="6009770"/>
            <a:ext cx="465113" cy="22754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</a:p>
        </p:txBody>
      </p:sp>
      <p:cxnSp>
        <p:nvCxnSpPr>
          <p:cNvPr id="64" name="꺾인 연결선 63"/>
          <p:cNvCxnSpPr>
            <a:stCxn id="55" idx="2"/>
            <a:endCxn id="56" idx="0"/>
          </p:cNvCxnSpPr>
          <p:nvPr/>
        </p:nvCxnSpPr>
        <p:spPr bwMode="auto">
          <a:xfrm rot="5400000">
            <a:off x="1082462" y="4956249"/>
            <a:ext cx="270504" cy="452200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5" name="꺾인 연결선 64"/>
          <p:cNvCxnSpPr>
            <a:stCxn id="55" idx="2"/>
            <a:endCxn id="57" idx="0"/>
          </p:cNvCxnSpPr>
          <p:nvPr/>
        </p:nvCxnSpPr>
        <p:spPr bwMode="auto">
          <a:xfrm rot="16200000" flipH="1">
            <a:off x="1499125" y="4991786"/>
            <a:ext cx="270504" cy="381125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6" name="꺾인 연결선 65"/>
          <p:cNvCxnSpPr>
            <a:stCxn id="56" idx="2"/>
            <a:endCxn id="59" idx="0"/>
          </p:cNvCxnSpPr>
          <p:nvPr/>
        </p:nvCxnSpPr>
        <p:spPr bwMode="auto">
          <a:xfrm rot="5400000">
            <a:off x="620415" y="5638569"/>
            <a:ext cx="464627" cy="277775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7" name="꺾인 연결선 66"/>
          <p:cNvCxnSpPr>
            <a:stCxn id="56" idx="2"/>
            <a:endCxn id="58" idx="0"/>
          </p:cNvCxnSpPr>
          <p:nvPr/>
        </p:nvCxnSpPr>
        <p:spPr bwMode="auto">
          <a:xfrm rot="16200000" flipH="1">
            <a:off x="898189" y="5638568"/>
            <a:ext cx="464627" cy="277775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4" name="모서리가 둥근 직사각형 73"/>
          <p:cNvSpPr/>
          <p:nvPr/>
        </p:nvSpPr>
        <p:spPr bwMode="auto">
          <a:xfrm>
            <a:off x="2063271" y="6009770"/>
            <a:ext cx="148199" cy="227542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모서리가 둥근 직사각형 74"/>
          <p:cNvSpPr/>
          <p:nvPr/>
        </p:nvSpPr>
        <p:spPr bwMode="auto">
          <a:xfrm>
            <a:off x="1690959" y="4905812"/>
            <a:ext cx="935301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회사 한도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500)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>
            <a:stCxn id="57" idx="2"/>
            <a:endCxn id="61" idx="0"/>
          </p:cNvCxnSpPr>
          <p:nvPr/>
        </p:nvCxnSpPr>
        <p:spPr bwMode="auto">
          <a:xfrm>
            <a:off x="1824940" y="5545143"/>
            <a:ext cx="0" cy="46462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6" name="모서리가 둥근 직사각형 75"/>
          <p:cNvSpPr/>
          <p:nvPr/>
        </p:nvSpPr>
        <p:spPr bwMode="auto">
          <a:xfrm>
            <a:off x="999927" y="5590848"/>
            <a:ext cx="549388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0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1836783" y="5590848"/>
            <a:ext cx="512425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00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타원 80"/>
          <p:cNvSpPr/>
          <p:nvPr/>
        </p:nvSpPr>
        <p:spPr bwMode="auto">
          <a:xfrm>
            <a:off x="944163" y="5537918"/>
            <a:ext cx="1434380" cy="258172"/>
          </a:xfrm>
          <a:prstGeom prst="ellipse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 w="12700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975742" y="4460374"/>
            <a:ext cx="1206383" cy="2275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 통합한도 관리</a:t>
            </a:r>
          </a:p>
        </p:txBody>
      </p:sp>
      <p:grpSp>
        <p:nvGrpSpPr>
          <p:cNvPr id="167" name="그룹 166"/>
          <p:cNvGrpSpPr/>
          <p:nvPr/>
        </p:nvGrpSpPr>
        <p:grpSpPr>
          <a:xfrm>
            <a:off x="2942869" y="4903114"/>
            <a:ext cx="2615751" cy="1386305"/>
            <a:chOff x="3622851" y="4903114"/>
            <a:chExt cx="2964512" cy="1386305"/>
          </a:xfrm>
        </p:grpSpPr>
        <p:sp>
          <p:nvSpPr>
            <p:cNvPr id="100" name="직사각형 99"/>
            <p:cNvSpPr/>
            <p:nvPr/>
          </p:nvSpPr>
          <p:spPr bwMode="auto">
            <a:xfrm>
              <a:off x="4212357" y="4903114"/>
              <a:ext cx="527127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3707217" y="5317601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4258100" y="5317601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cxnSp>
          <p:nvCxnSpPr>
            <p:cNvPr id="107" name="꺾인 연결선 106"/>
            <p:cNvCxnSpPr>
              <a:stCxn id="100" idx="2"/>
              <a:endCxn id="101" idx="0"/>
            </p:cNvCxnSpPr>
            <p:nvPr/>
          </p:nvCxnSpPr>
          <p:spPr bwMode="auto">
            <a:xfrm rot="5400000">
              <a:off x="4107008" y="4948687"/>
              <a:ext cx="186945" cy="550883"/>
            </a:xfrm>
            <a:prstGeom prst="bent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12" name="모서리가 둥근 직사각형 111"/>
            <p:cNvSpPr/>
            <p:nvPr/>
          </p:nvSpPr>
          <p:spPr bwMode="auto">
            <a:xfrm>
              <a:off x="4768990" y="4989371"/>
              <a:ext cx="658179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 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000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 bwMode="auto">
            <a:xfrm>
              <a:off x="4808984" y="5317601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cxnSp>
          <p:nvCxnSpPr>
            <p:cNvPr id="119" name="꺾인 연결선 118"/>
            <p:cNvCxnSpPr>
              <a:stCxn id="100" idx="2"/>
              <a:endCxn id="118" idx="0"/>
            </p:cNvCxnSpPr>
            <p:nvPr/>
          </p:nvCxnSpPr>
          <p:spPr bwMode="auto">
            <a:xfrm rot="16200000" flipH="1">
              <a:off x="4657891" y="4948686"/>
              <a:ext cx="186945" cy="550884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23" name="직선 연결선 122"/>
            <p:cNvCxnSpPr>
              <a:stCxn id="100" idx="2"/>
              <a:endCxn id="102" idx="0"/>
            </p:cNvCxnSpPr>
            <p:nvPr/>
          </p:nvCxnSpPr>
          <p:spPr bwMode="auto">
            <a:xfrm>
              <a:off x="4475921" y="5130656"/>
              <a:ext cx="0" cy="18694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16" name="타원 115"/>
            <p:cNvSpPr/>
            <p:nvPr/>
          </p:nvSpPr>
          <p:spPr bwMode="auto">
            <a:xfrm>
              <a:off x="3622851" y="5265281"/>
              <a:ext cx="1701401" cy="343627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40000"/>
              </a:schemeClr>
            </a:solidFill>
            <a:ln w="12700" algn="ctr">
              <a:solidFill>
                <a:srgbClr val="FF0000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5380768" y="5317601"/>
              <a:ext cx="527127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4875628" y="6009770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5426511" y="6009770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cxnSp>
          <p:nvCxnSpPr>
            <p:cNvPr id="131" name="꺾인 연결선 130"/>
            <p:cNvCxnSpPr>
              <a:stCxn id="142" idx="2"/>
              <a:endCxn id="130" idx="0"/>
            </p:cNvCxnSpPr>
            <p:nvPr/>
          </p:nvCxnSpPr>
          <p:spPr bwMode="auto">
            <a:xfrm rot="5400000">
              <a:off x="5722782" y="5812777"/>
              <a:ext cx="118543" cy="275442"/>
            </a:xfrm>
            <a:prstGeom prst="bent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32" name="모서리가 둥근 직사각형 131"/>
            <p:cNvSpPr/>
            <p:nvPr/>
          </p:nvSpPr>
          <p:spPr bwMode="auto">
            <a:xfrm>
              <a:off x="5929184" y="5403858"/>
              <a:ext cx="658179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 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500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5977395" y="6009770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cxnSp>
          <p:nvCxnSpPr>
            <p:cNvPr id="134" name="꺾인 연결선 133"/>
            <p:cNvCxnSpPr>
              <a:stCxn id="142" idx="2"/>
              <a:endCxn id="133" idx="0"/>
            </p:cNvCxnSpPr>
            <p:nvPr/>
          </p:nvCxnSpPr>
          <p:spPr bwMode="auto">
            <a:xfrm rot="16200000" flipH="1">
              <a:off x="5998224" y="5812777"/>
              <a:ext cx="118543" cy="27544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42" name="직사각형 141"/>
            <p:cNvSpPr/>
            <p:nvPr/>
          </p:nvSpPr>
          <p:spPr bwMode="auto">
            <a:xfrm>
              <a:off x="5701953" y="5663685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5151070" y="5663685"/>
              <a:ext cx="435642" cy="22754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cxnSp>
          <p:nvCxnSpPr>
            <p:cNvPr id="148" name="꺾인 연결선 147"/>
            <p:cNvCxnSpPr>
              <a:stCxn id="143" idx="2"/>
              <a:endCxn id="130" idx="0"/>
            </p:cNvCxnSpPr>
            <p:nvPr/>
          </p:nvCxnSpPr>
          <p:spPr bwMode="auto">
            <a:xfrm rot="16200000" flipH="1">
              <a:off x="5447340" y="5812777"/>
              <a:ext cx="118543" cy="27544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51" name="꺾인 연결선 150"/>
            <p:cNvCxnSpPr>
              <a:stCxn id="143" idx="2"/>
              <a:endCxn id="129" idx="0"/>
            </p:cNvCxnSpPr>
            <p:nvPr/>
          </p:nvCxnSpPr>
          <p:spPr bwMode="auto">
            <a:xfrm rot="5400000">
              <a:off x="5171899" y="5812777"/>
              <a:ext cx="118543" cy="27544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59" name="꺾인 연결선 158"/>
            <p:cNvCxnSpPr>
              <a:stCxn id="128" idx="2"/>
              <a:endCxn id="143" idx="0"/>
            </p:cNvCxnSpPr>
            <p:nvPr/>
          </p:nvCxnSpPr>
          <p:spPr bwMode="auto">
            <a:xfrm rot="5400000">
              <a:off x="5447341" y="5466694"/>
              <a:ext cx="118542" cy="27544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62" name="꺾인 연결선 161"/>
            <p:cNvCxnSpPr>
              <a:stCxn id="128" idx="2"/>
              <a:endCxn id="142" idx="0"/>
            </p:cNvCxnSpPr>
            <p:nvPr/>
          </p:nvCxnSpPr>
          <p:spPr bwMode="auto">
            <a:xfrm rot="16200000" flipH="1">
              <a:off x="5722782" y="5466693"/>
              <a:ext cx="118542" cy="27544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65" name="타원 164"/>
            <p:cNvSpPr/>
            <p:nvPr/>
          </p:nvSpPr>
          <p:spPr bwMode="auto">
            <a:xfrm>
              <a:off x="4789167" y="5945792"/>
              <a:ext cx="1701401" cy="343627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40000"/>
              </a:schemeClr>
            </a:solidFill>
            <a:ln w="12700" algn="ctr">
              <a:solidFill>
                <a:srgbClr val="FF0000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66" name="직사각형 165"/>
          <p:cNvSpPr/>
          <p:nvPr/>
        </p:nvSpPr>
        <p:spPr bwMode="auto">
          <a:xfrm>
            <a:off x="3647552" y="4460374"/>
            <a:ext cx="1206383" cy="2275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 통합한도 관리</a:t>
            </a:r>
          </a:p>
        </p:txBody>
      </p:sp>
      <p:grpSp>
        <p:nvGrpSpPr>
          <p:cNvPr id="182" name="그룹 181"/>
          <p:cNvGrpSpPr/>
          <p:nvPr/>
        </p:nvGrpSpPr>
        <p:grpSpPr>
          <a:xfrm>
            <a:off x="5841814" y="4755921"/>
            <a:ext cx="3637337" cy="1533498"/>
            <a:chOff x="5817096" y="4725144"/>
            <a:chExt cx="3938715" cy="1533498"/>
          </a:xfrm>
        </p:grpSpPr>
        <p:sp>
          <p:nvSpPr>
            <p:cNvPr id="169" name="오각형 168"/>
            <p:cNvSpPr/>
            <p:nvPr/>
          </p:nvSpPr>
          <p:spPr bwMode="auto">
            <a:xfrm>
              <a:off x="5817096" y="4727842"/>
              <a:ext cx="1159864" cy="1530800"/>
            </a:xfrm>
            <a:prstGeom prst="homePlate">
              <a:avLst>
                <a:gd name="adj" fmla="val 920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lnSpc>
                  <a:spcPct val="5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조정 대상</a:t>
              </a: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endParaRPr kumimoji="1" lang="en-US" altLang="ko-KR" sz="6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/S</a:t>
              </a:r>
            </a:p>
            <a:p>
              <a:pPr marL="88900" indent="-88900" latinLnBrk="0">
                <a:lnSpc>
                  <a:spcPct val="7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은행연합회 불량 정보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타사연체정보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회원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체 정보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타 금융정보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갱신만기도래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6971057" y="5375968"/>
              <a:ext cx="1654351" cy="88267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lnSpc>
                  <a:spcPct val="5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변경 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Factor</a:t>
              </a: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평점</a:t>
              </a:r>
              <a:endPara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VIP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코드승인유형</a:t>
              </a:r>
              <a:endPara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맹점 요주의 코드</a:t>
              </a:r>
              <a:endPara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맹점 제휴코드</a:t>
              </a:r>
              <a:endPara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8900" indent="-88900" latinLnBrk="0">
                <a:lnSpc>
                  <a:spcPct val="50000"/>
                </a:lnSpc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초과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한 </a:t>
              </a:r>
              <a:r>
                <a:rPr kumimoji="1" lang="ko-KR" altLang="en-US" sz="9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율</a:t>
              </a:r>
              <a:endPara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74" name="그룹 173"/>
            <p:cNvGrpSpPr/>
            <p:nvPr/>
          </p:nvGrpSpPr>
          <p:grpSpPr>
            <a:xfrm>
              <a:off x="6971057" y="4725144"/>
              <a:ext cx="1654351" cy="467103"/>
              <a:chOff x="7478520" y="4254361"/>
              <a:chExt cx="1503955" cy="565194"/>
            </a:xfrm>
          </p:grpSpPr>
          <p:sp>
            <p:nvSpPr>
              <p:cNvPr id="170" name="직사각형 169"/>
              <p:cNvSpPr/>
              <p:nvPr/>
            </p:nvSpPr>
            <p:spPr bwMode="auto">
              <a:xfrm>
                <a:off x="7478520" y="4254361"/>
                <a:ext cx="1503955" cy="56519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기본한도</a:t>
                </a:r>
              </a:p>
            </p:txBody>
          </p:sp>
          <p:sp>
            <p:nvSpPr>
              <p:cNvPr id="172" name="원통 171"/>
              <p:cNvSpPr/>
              <p:nvPr/>
            </p:nvSpPr>
            <p:spPr bwMode="auto">
              <a:xfrm>
                <a:off x="7557988" y="4439899"/>
                <a:ext cx="628930" cy="344553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등급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8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사용액</a:t>
                </a:r>
                <a:endPara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3" name="원통 172"/>
              <p:cNvSpPr/>
              <p:nvPr/>
            </p:nvSpPr>
            <p:spPr bwMode="auto">
              <a:xfrm>
                <a:off x="8271810" y="4439899"/>
                <a:ext cx="628930" cy="344553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등급테이블</a:t>
                </a:r>
              </a:p>
            </p:txBody>
          </p:sp>
        </p:grpSp>
        <p:sp>
          <p:nvSpPr>
            <p:cNvPr id="176" name="오각형 175"/>
            <p:cNvSpPr/>
            <p:nvPr/>
          </p:nvSpPr>
          <p:spPr bwMode="auto">
            <a:xfrm>
              <a:off x="8684716" y="4727842"/>
              <a:ext cx="335971" cy="1530800"/>
            </a:xfrm>
            <a:prstGeom prst="homePlate">
              <a:avLst>
                <a:gd name="adj" fmla="val 920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금액산출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7" name="오각형 176"/>
            <p:cNvSpPr/>
            <p:nvPr/>
          </p:nvSpPr>
          <p:spPr bwMode="auto">
            <a:xfrm>
              <a:off x="9052278" y="4727842"/>
              <a:ext cx="335971" cy="1530800"/>
            </a:xfrm>
            <a:prstGeom prst="homePlate">
              <a:avLst>
                <a:gd name="adj" fmla="val 920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검증 및 승인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8" name="오각형 177"/>
            <p:cNvSpPr/>
            <p:nvPr/>
          </p:nvSpPr>
          <p:spPr bwMode="auto">
            <a:xfrm>
              <a:off x="9419840" y="4727842"/>
              <a:ext cx="335971" cy="1530800"/>
            </a:xfrm>
            <a:prstGeom prst="homePlate">
              <a:avLst>
                <a:gd name="adj" fmla="val 920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반영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83" name="직사각형 182"/>
          <p:cNvSpPr/>
          <p:nvPr/>
        </p:nvSpPr>
        <p:spPr bwMode="auto">
          <a:xfrm>
            <a:off x="6930621" y="4460374"/>
            <a:ext cx="1459724" cy="2275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한도관리 </a:t>
            </a:r>
            <a:r>
              <a:rPr kumimoji="1" lang="en-US" altLang="ko-KR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rocess</a:t>
            </a:r>
            <a:endParaRPr kumimoji="1" lang="ko-KR" altLang="en-US" sz="105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Freeform 76"/>
          <p:cNvSpPr>
            <a:spLocks/>
          </p:cNvSpPr>
          <p:nvPr/>
        </p:nvSpPr>
        <p:spPr bwMode="gray">
          <a:xfrm rot="585584" flipH="1">
            <a:off x="5084254" y="3349936"/>
            <a:ext cx="1363948" cy="1060159"/>
          </a:xfrm>
          <a:custGeom>
            <a:avLst/>
            <a:gdLst>
              <a:gd name="T0" fmla="*/ 2147483647 w 1645"/>
              <a:gd name="T1" fmla="*/ 0 h 823"/>
              <a:gd name="T2" fmla="*/ 2147483647 w 1645"/>
              <a:gd name="T3" fmla="*/ 0 h 823"/>
              <a:gd name="T4" fmla="*/ 2147483647 w 1645"/>
              <a:gd name="T5" fmla="*/ 2147483647 h 823"/>
              <a:gd name="T6" fmla="*/ 2147483647 w 1645"/>
              <a:gd name="T7" fmla="*/ 2147483647 h 823"/>
              <a:gd name="T8" fmla="*/ 2147483647 w 1645"/>
              <a:gd name="T9" fmla="*/ 2147483647 h 823"/>
              <a:gd name="T10" fmla="*/ 2147483647 w 1645"/>
              <a:gd name="T11" fmla="*/ 2147483647 h 823"/>
              <a:gd name="T12" fmla="*/ 2147483647 w 1645"/>
              <a:gd name="T13" fmla="*/ 2147483647 h 823"/>
              <a:gd name="T14" fmla="*/ 2147483647 w 1645"/>
              <a:gd name="T15" fmla="*/ 2147483647 h 823"/>
              <a:gd name="T16" fmla="*/ 2147483647 w 1645"/>
              <a:gd name="T17" fmla="*/ 2147483647 h 823"/>
              <a:gd name="T18" fmla="*/ 2147483647 w 1645"/>
              <a:gd name="T19" fmla="*/ 2147483647 h 823"/>
              <a:gd name="T20" fmla="*/ 2147483647 w 1645"/>
              <a:gd name="T21" fmla="*/ 2147483647 h 823"/>
              <a:gd name="T22" fmla="*/ 2147483647 w 1645"/>
              <a:gd name="T23" fmla="*/ 2147483647 h 823"/>
              <a:gd name="T24" fmla="*/ 2147483647 w 1645"/>
              <a:gd name="T25" fmla="*/ 2147483647 h 823"/>
              <a:gd name="T26" fmla="*/ 2147483647 w 1645"/>
              <a:gd name="T27" fmla="*/ 2147483647 h 823"/>
              <a:gd name="T28" fmla="*/ 2147483647 w 1645"/>
              <a:gd name="T29" fmla="*/ 2147483647 h 823"/>
              <a:gd name="T30" fmla="*/ 2147483647 w 1645"/>
              <a:gd name="T31" fmla="*/ 2147483647 h 823"/>
              <a:gd name="T32" fmla="*/ 2147483647 w 1645"/>
              <a:gd name="T33" fmla="*/ 2147483647 h 823"/>
              <a:gd name="T34" fmla="*/ 2147483647 w 1645"/>
              <a:gd name="T35" fmla="*/ 2147483647 h 823"/>
              <a:gd name="T36" fmla="*/ 2147483647 w 1645"/>
              <a:gd name="T37" fmla="*/ 2147483647 h 823"/>
              <a:gd name="T38" fmla="*/ 2147483647 w 1645"/>
              <a:gd name="T39" fmla="*/ 2147483647 h 823"/>
              <a:gd name="T40" fmla="*/ 2147483647 w 1645"/>
              <a:gd name="T41" fmla="*/ 2147483647 h 823"/>
              <a:gd name="T42" fmla="*/ 2147483647 w 1645"/>
              <a:gd name="T43" fmla="*/ 2147483647 h 823"/>
              <a:gd name="T44" fmla="*/ 2147483647 w 1645"/>
              <a:gd name="T45" fmla="*/ 2147483647 h 823"/>
              <a:gd name="T46" fmla="*/ 2147483647 w 1645"/>
              <a:gd name="T47" fmla="*/ 2147483647 h 823"/>
              <a:gd name="T48" fmla="*/ 2147483647 w 1645"/>
              <a:gd name="T49" fmla="*/ 2147483647 h 823"/>
              <a:gd name="T50" fmla="*/ 2147483647 w 1645"/>
              <a:gd name="T51" fmla="*/ 2147483647 h 823"/>
              <a:gd name="T52" fmla="*/ 2147483647 w 1645"/>
              <a:gd name="T53" fmla="*/ 2147483647 h 823"/>
              <a:gd name="T54" fmla="*/ 2147483647 w 1645"/>
              <a:gd name="T55" fmla="*/ 2147483647 h 823"/>
              <a:gd name="T56" fmla="*/ 2147483647 w 1645"/>
              <a:gd name="T57" fmla="*/ 2147483647 h 823"/>
              <a:gd name="T58" fmla="*/ 2147483647 w 1645"/>
              <a:gd name="T59" fmla="*/ 2147483647 h 823"/>
              <a:gd name="T60" fmla="*/ 2147483647 w 1645"/>
              <a:gd name="T61" fmla="*/ 2147483647 h 823"/>
              <a:gd name="T62" fmla="*/ 2147483647 w 1645"/>
              <a:gd name="T63" fmla="*/ 2147483647 h 823"/>
              <a:gd name="T64" fmla="*/ 2147483647 w 1645"/>
              <a:gd name="T65" fmla="*/ 2147483647 h 823"/>
              <a:gd name="T66" fmla="*/ 2147483647 w 1645"/>
              <a:gd name="T67" fmla="*/ 2147483647 h 823"/>
              <a:gd name="T68" fmla="*/ 2147483647 w 1645"/>
              <a:gd name="T69" fmla="*/ 2147483647 h 823"/>
              <a:gd name="T70" fmla="*/ 2147483647 w 1645"/>
              <a:gd name="T71" fmla="*/ 2147483647 h 823"/>
              <a:gd name="T72" fmla="*/ 2147483647 w 1645"/>
              <a:gd name="T73" fmla="*/ 2147483647 h 823"/>
              <a:gd name="T74" fmla="*/ 2147483647 w 1645"/>
              <a:gd name="T75" fmla="*/ 2147483647 h 823"/>
              <a:gd name="T76" fmla="*/ 2147483647 w 1645"/>
              <a:gd name="T77" fmla="*/ 2147483647 h 823"/>
              <a:gd name="T78" fmla="*/ 2147483647 w 1645"/>
              <a:gd name="T79" fmla="*/ 2147483647 h 823"/>
              <a:gd name="T80" fmla="*/ 2147483647 w 1645"/>
              <a:gd name="T81" fmla="*/ 2147483647 h 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645"/>
              <a:gd name="T124" fmla="*/ 0 h 823"/>
              <a:gd name="T125" fmla="*/ 1645 w 1645"/>
              <a:gd name="T126" fmla="*/ 823 h 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645" h="823">
                <a:moveTo>
                  <a:pt x="0" y="6"/>
                </a:moveTo>
                <a:lnTo>
                  <a:pt x="90" y="0"/>
                </a:lnTo>
                <a:lnTo>
                  <a:pt x="135" y="0"/>
                </a:lnTo>
                <a:lnTo>
                  <a:pt x="189" y="0"/>
                </a:lnTo>
                <a:lnTo>
                  <a:pt x="240" y="3"/>
                </a:lnTo>
                <a:lnTo>
                  <a:pt x="291" y="6"/>
                </a:lnTo>
                <a:lnTo>
                  <a:pt x="341" y="12"/>
                </a:lnTo>
                <a:lnTo>
                  <a:pt x="386" y="21"/>
                </a:lnTo>
                <a:lnTo>
                  <a:pt x="436" y="30"/>
                </a:lnTo>
                <a:lnTo>
                  <a:pt x="496" y="45"/>
                </a:lnTo>
                <a:lnTo>
                  <a:pt x="550" y="63"/>
                </a:lnTo>
                <a:lnTo>
                  <a:pt x="601" y="78"/>
                </a:lnTo>
                <a:lnTo>
                  <a:pt x="658" y="99"/>
                </a:lnTo>
                <a:lnTo>
                  <a:pt x="712" y="123"/>
                </a:lnTo>
                <a:lnTo>
                  <a:pt x="766" y="147"/>
                </a:lnTo>
                <a:lnTo>
                  <a:pt x="811" y="170"/>
                </a:lnTo>
                <a:lnTo>
                  <a:pt x="862" y="194"/>
                </a:lnTo>
                <a:lnTo>
                  <a:pt x="905" y="217"/>
                </a:lnTo>
                <a:lnTo>
                  <a:pt x="953" y="244"/>
                </a:lnTo>
                <a:lnTo>
                  <a:pt x="1001" y="271"/>
                </a:lnTo>
                <a:lnTo>
                  <a:pt x="1049" y="304"/>
                </a:lnTo>
                <a:lnTo>
                  <a:pt x="1091" y="331"/>
                </a:lnTo>
                <a:lnTo>
                  <a:pt x="1136" y="367"/>
                </a:lnTo>
                <a:lnTo>
                  <a:pt x="1178" y="400"/>
                </a:lnTo>
                <a:lnTo>
                  <a:pt x="1217" y="433"/>
                </a:lnTo>
                <a:lnTo>
                  <a:pt x="1249" y="469"/>
                </a:lnTo>
                <a:lnTo>
                  <a:pt x="1276" y="500"/>
                </a:lnTo>
                <a:lnTo>
                  <a:pt x="1297" y="533"/>
                </a:lnTo>
                <a:lnTo>
                  <a:pt x="1645" y="489"/>
                </a:lnTo>
                <a:lnTo>
                  <a:pt x="1596" y="512"/>
                </a:lnTo>
                <a:lnTo>
                  <a:pt x="1539" y="536"/>
                </a:lnTo>
                <a:lnTo>
                  <a:pt x="1494" y="557"/>
                </a:lnTo>
                <a:lnTo>
                  <a:pt x="1460" y="573"/>
                </a:lnTo>
                <a:lnTo>
                  <a:pt x="1423" y="593"/>
                </a:lnTo>
                <a:lnTo>
                  <a:pt x="1393" y="611"/>
                </a:lnTo>
                <a:lnTo>
                  <a:pt x="1364" y="630"/>
                </a:lnTo>
                <a:lnTo>
                  <a:pt x="1335" y="653"/>
                </a:lnTo>
                <a:lnTo>
                  <a:pt x="1307" y="676"/>
                </a:lnTo>
                <a:lnTo>
                  <a:pt x="1273" y="705"/>
                </a:lnTo>
                <a:lnTo>
                  <a:pt x="1240" y="736"/>
                </a:lnTo>
                <a:lnTo>
                  <a:pt x="1211" y="762"/>
                </a:lnTo>
                <a:lnTo>
                  <a:pt x="1178" y="796"/>
                </a:lnTo>
                <a:lnTo>
                  <a:pt x="1151" y="823"/>
                </a:lnTo>
                <a:lnTo>
                  <a:pt x="1124" y="811"/>
                </a:lnTo>
                <a:lnTo>
                  <a:pt x="1097" y="796"/>
                </a:lnTo>
                <a:lnTo>
                  <a:pt x="1068" y="783"/>
                </a:lnTo>
                <a:lnTo>
                  <a:pt x="1034" y="769"/>
                </a:lnTo>
                <a:lnTo>
                  <a:pt x="999" y="755"/>
                </a:lnTo>
                <a:lnTo>
                  <a:pt x="967" y="744"/>
                </a:lnTo>
                <a:lnTo>
                  <a:pt x="936" y="735"/>
                </a:lnTo>
                <a:lnTo>
                  <a:pt x="901" y="724"/>
                </a:lnTo>
                <a:lnTo>
                  <a:pt x="864" y="715"/>
                </a:lnTo>
                <a:lnTo>
                  <a:pt x="826" y="705"/>
                </a:lnTo>
                <a:lnTo>
                  <a:pt x="791" y="696"/>
                </a:lnTo>
                <a:lnTo>
                  <a:pt x="757" y="687"/>
                </a:lnTo>
                <a:lnTo>
                  <a:pt x="720" y="681"/>
                </a:lnTo>
                <a:lnTo>
                  <a:pt x="685" y="673"/>
                </a:lnTo>
                <a:lnTo>
                  <a:pt x="652" y="666"/>
                </a:lnTo>
                <a:lnTo>
                  <a:pt x="613" y="658"/>
                </a:lnTo>
                <a:lnTo>
                  <a:pt x="560" y="652"/>
                </a:lnTo>
                <a:lnTo>
                  <a:pt x="920" y="590"/>
                </a:lnTo>
                <a:lnTo>
                  <a:pt x="896" y="542"/>
                </a:lnTo>
                <a:lnTo>
                  <a:pt x="868" y="506"/>
                </a:lnTo>
                <a:lnTo>
                  <a:pt x="817" y="439"/>
                </a:lnTo>
                <a:lnTo>
                  <a:pt x="787" y="409"/>
                </a:lnTo>
                <a:lnTo>
                  <a:pt x="757" y="379"/>
                </a:lnTo>
                <a:lnTo>
                  <a:pt x="703" y="328"/>
                </a:lnTo>
                <a:lnTo>
                  <a:pt x="670" y="298"/>
                </a:lnTo>
                <a:lnTo>
                  <a:pt x="631" y="262"/>
                </a:lnTo>
                <a:lnTo>
                  <a:pt x="595" y="235"/>
                </a:lnTo>
                <a:lnTo>
                  <a:pt x="565" y="211"/>
                </a:lnTo>
                <a:lnTo>
                  <a:pt x="535" y="188"/>
                </a:lnTo>
                <a:lnTo>
                  <a:pt x="499" y="164"/>
                </a:lnTo>
                <a:lnTo>
                  <a:pt x="460" y="141"/>
                </a:lnTo>
                <a:lnTo>
                  <a:pt x="421" y="123"/>
                </a:lnTo>
                <a:lnTo>
                  <a:pt x="383" y="102"/>
                </a:lnTo>
                <a:lnTo>
                  <a:pt x="335" y="84"/>
                </a:lnTo>
                <a:lnTo>
                  <a:pt x="291" y="69"/>
                </a:lnTo>
                <a:lnTo>
                  <a:pt x="240" y="57"/>
                </a:lnTo>
                <a:lnTo>
                  <a:pt x="192" y="45"/>
                </a:lnTo>
                <a:lnTo>
                  <a:pt x="141" y="33"/>
                </a:lnTo>
                <a:lnTo>
                  <a:pt x="87" y="2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타원 196"/>
          <p:cNvSpPr/>
          <p:nvPr/>
        </p:nvSpPr>
        <p:spPr bwMode="auto">
          <a:xfrm>
            <a:off x="6419139" y="3387231"/>
            <a:ext cx="106682" cy="1579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algn="ctr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0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91" name="TextBox 9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8" name="그룹 10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1" name="그룹 12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6636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관리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재정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사업자는 개인회원으로 통합하는 고객관리 체계로 변경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사업자의 한도는 개인회원 한도와 통합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출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사업자 한도관리 체계 요건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44" name="Rectangle 30"/>
          <p:cNvSpPr/>
          <p:nvPr/>
        </p:nvSpPr>
        <p:spPr bwMode="gray">
          <a:xfrm>
            <a:off x="291000" y="2132202"/>
            <a:ext cx="4723374" cy="367306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5" name="Rectangle 30"/>
          <p:cNvSpPr/>
          <p:nvPr/>
        </p:nvSpPr>
        <p:spPr bwMode="gray">
          <a:xfrm>
            <a:off x="291000" y="1916832"/>
            <a:ext cx="4723374" cy="30175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ko-KR" altLang="en-US" sz="14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회원단위 </a:t>
            </a:r>
            <a:r>
              <a:rPr lang="en-US" altLang="ko-KR" sz="14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4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 모델</a:t>
            </a:r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1745894" y="3178973"/>
            <a:ext cx="916364" cy="40310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 회원</a:t>
            </a:r>
          </a:p>
        </p:txBody>
      </p:sp>
      <p:cxnSp>
        <p:nvCxnSpPr>
          <p:cNvPr id="42" name="꺾인 연결선 41"/>
          <p:cNvCxnSpPr>
            <a:stCxn id="29" idx="2"/>
            <a:endCxn id="40" idx="0"/>
          </p:cNvCxnSpPr>
          <p:nvPr/>
        </p:nvCxnSpPr>
        <p:spPr bwMode="auto">
          <a:xfrm rot="5400000">
            <a:off x="1507477" y="3196516"/>
            <a:ext cx="311036" cy="1082163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45" name="꺾인 연결선 44"/>
          <p:cNvCxnSpPr>
            <a:stCxn id="29" idx="2"/>
            <a:endCxn id="44" idx="0"/>
          </p:cNvCxnSpPr>
          <p:nvPr/>
        </p:nvCxnSpPr>
        <p:spPr bwMode="auto">
          <a:xfrm rot="16200000" flipH="1">
            <a:off x="2589639" y="3196516"/>
            <a:ext cx="311036" cy="108216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2" name="직사각형 61"/>
          <p:cNvSpPr/>
          <p:nvPr/>
        </p:nvSpPr>
        <p:spPr bwMode="auto">
          <a:xfrm>
            <a:off x="1745894" y="2521838"/>
            <a:ext cx="916364" cy="40310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916153" y="4607257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916153" y="5114126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6" name="직선 연결선 45"/>
          <p:cNvCxnSpPr>
            <a:stCxn id="29" idx="2"/>
            <a:endCxn id="41" idx="0"/>
          </p:cNvCxnSpPr>
          <p:nvPr/>
        </p:nvCxnSpPr>
        <p:spPr bwMode="auto">
          <a:xfrm>
            <a:off x="2204076" y="3582079"/>
            <a:ext cx="0" cy="31103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5" name="직사각형 64"/>
          <p:cNvSpPr/>
          <p:nvPr/>
        </p:nvSpPr>
        <p:spPr bwMode="auto">
          <a:xfrm>
            <a:off x="1998317" y="4607257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1998317" y="5114126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663731" y="3893115"/>
            <a:ext cx="916364" cy="40310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카드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1745894" y="3893115"/>
            <a:ext cx="916364" cy="40310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카드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828056" y="3893115"/>
            <a:ext cx="916364" cy="40310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사업자카드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3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080479" y="4607257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080479" y="5114126"/>
            <a:ext cx="663941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좌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7" name="꺾인 연결선 76"/>
          <p:cNvCxnSpPr>
            <a:endCxn id="63" idx="1"/>
          </p:cNvCxnSpPr>
          <p:nvPr/>
        </p:nvCxnSpPr>
        <p:spPr bwMode="auto">
          <a:xfrm rot="16200000" flipH="1">
            <a:off x="607749" y="4500406"/>
            <a:ext cx="516786" cy="10002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8" name="꺾인 연결선 77"/>
          <p:cNvCxnSpPr>
            <a:endCxn id="64" idx="1"/>
          </p:cNvCxnSpPr>
          <p:nvPr/>
        </p:nvCxnSpPr>
        <p:spPr bwMode="auto">
          <a:xfrm rot="16200000" flipH="1">
            <a:off x="354315" y="4753840"/>
            <a:ext cx="1023655" cy="10002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9" name="꺾인 연결선 78"/>
          <p:cNvCxnSpPr>
            <a:endCxn id="66" idx="1"/>
          </p:cNvCxnSpPr>
          <p:nvPr/>
        </p:nvCxnSpPr>
        <p:spPr bwMode="auto">
          <a:xfrm rot="16200000" flipH="1">
            <a:off x="1444007" y="4761368"/>
            <a:ext cx="982409" cy="126211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0" name="꺾인 연결선 79"/>
          <p:cNvCxnSpPr>
            <a:endCxn id="65" idx="1"/>
          </p:cNvCxnSpPr>
          <p:nvPr/>
        </p:nvCxnSpPr>
        <p:spPr bwMode="auto">
          <a:xfrm rot="16200000" flipH="1">
            <a:off x="1676819" y="4487312"/>
            <a:ext cx="516786" cy="126210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8" name="꺾인 연결선 87"/>
          <p:cNvCxnSpPr>
            <a:endCxn id="68" idx="1"/>
          </p:cNvCxnSpPr>
          <p:nvPr/>
        </p:nvCxnSpPr>
        <p:spPr bwMode="auto">
          <a:xfrm rot="16200000" flipH="1">
            <a:off x="2526171" y="4761370"/>
            <a:ext cx="982409" cy="126208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9" name="꺾인 연결선 88"/>
          <p:cNvCxnSpPr>
            <a:endCxn id="67" idx="1"/>
          </p:cNvCxnSpPr>
          <p:nvPr/>
        </p:nvCxnSpPr>
        <p:spPr bwMode="auto">
          <a:xfrm rot="16200000" flipH="1">
            <a:off x="2767354" y="4495685"/>
            <a:ext cx="500042" cy="126207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5" name="직선 연결선 94"/>
          <p:cNvCxnSpPr>
            <a:stCxn id="62" idx="2"/>
            <a:endCxn id="29" idx="0"/>
          </p:cNvCxnSpPr>
          <p:nvPr/>
        </p:nvCxnSpPr>
        <p:spPr bwMode="auto">
          <a:xfrm>
            <a:off x="2204076" y="2924944"/>
            <a:ext cx="0" cy="25402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2" name="직사각형 101"/>
          <p:cNvSpPr/>
          <p:nvPr/>
        </p:nvSpPr>
        <p:spPr bwMode="auto">
          <a:xfrm>
            <a:off x="3953994" y="3178973"/>
            <a:ext cx="916364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</a:p>
        </p:txBody>
      </p:sp>
      <p:cxnSp>
        <p:nvCxnSpPr>
          <p:cNvPr id="103" name="꺾인 연결선 102"/>
          <p:cNvCxnSpPr>
            <a:stCxn id="62" idx="2"/>
            <a:endCxn id="102" idx="0"/>
          </p:cNvCxnSpPr>
          <p:nvPr/>
        </p:nvCxnSpPr>
        <p:spPr bwMode="auto">
          <a:xfrm rot="16200000" flipH="1">
            <a:off x="3181112" y="1947908"/>
            <a:ext cx="254029" cy="22081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9" name="직사각형 108"/>
          <p:cNvSpPr/>
          <p:nvPr/>
        </p:nvSpPr>
        <p:spPr bwMode="auto">
          <a:xfrm>
            <a:off x="3953994" y="3888917"/>
            <a:ext cx="916364" cy="4031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법인카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일반</a:t>
            </a:r>
          </a:p>
        </p:txBody>
      </p:sp>
      <p:cxnSp>
        <p:nvCxnSpPr>
          <p:cNvPr id="110" name="직선 연결선 109"/>
          <p:cNvCxnSpPr>
            <a:stCxn id="102" idx="2"/>
            <a:endCxn id="109" idx="0"/>
          </p:cNvCxnSpPr>
          <p:nvPr/>
        </p:nvCxnSpPr>
        <p:spPr bwMode="auto">
          <a:xfrm>
            <a:off x="4412176" y="3582079"/>
            <a:ext cx="0" cy="3068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14" name="AutoShape 3"/>
          <p:cNvSpPr>
            <a:spLocks noChangeAspect="1" noChangeArrowheads="1" noTextEdit="1"/>
          </p:cNvSpPr>
          <p:nvPr/>
        </p:nvSpPr>
        <p:spPr bwMode="auto">
          <a:xfrm>
            <a:off x="599339" y="3679275"/>
            <a:ext cx="360000" cy="323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15924" y="3693626"/>
            <a:ext cx="326829" cy="295215"/>
          </a:xfrm>
          <a:custGeom>
            <a:avLst/>
            <a:gdLst>
              <a:gd name="T0" fmla="*/ 211 w 5033"/>
              <a:gd name="T1" fmla="*/ 2036 h 3448"/>
              <a:gd name="T2" fmla="*/ 512 w 5033"/>
              <a:gd name="T3" fmla="*/ 2415 h 3448"/>
              <a:gd name="T4" fmla="*/ 876 w 5033"/>
              <a:gd name="T5" fmla="*/ 2969 h 3448"/>
              <a:gd name="T6" fmla="*/ 1038 w 5033"/>
              <a:gd name="T7" fmla="*/ 3128 h 3448"/>
              <a:gd name="T8" fmla="*/ 1213 w 5033"/>
              <a:gd name="T9" fmla="*/ 3204 h 3448"/>
              <a:gd name="T10" fmla="*/ 1395 w 5033"/>
              <a:gd name="T11" fmla="*/ 3275 h 3448"/>
              <a:gd name="T12" fmla="*/ 1732 w 5033"/>
              <a:gd name="T13" fmla="*/ 3392 h 3448"/>
              <a:gd name="T14" fmla="*/ 1879 w 5033"/>
              <a:gd name="T15" fmla="*/ 3434 h 3448"/>
              <a:gd name="T16" fmla="*/ 1922 w 5033"/>
              <a:gd name="T17" fmla="*/ 3323 h 3448"/>
              <a:gd name="T18" fmla="*/ 2083 w 5033"/>
              <a:gd name="T19" fmla="*/ 3085 h 3448"/>
              <a:gd name="T20" fmla="*/ 2225 w 5033"/>
              <a:gd name="T21" fmla="*/ 2695 h 3448"/>
              <a:gd name="T22" fmla="*/ 2422 w 5033"/>
              <a:gd name="T23" fmla="*/ 2378 h 3448"/>
              <a:gd name="T24" fmla="*/ 2552 w 5033"/>
              <a:gd name="T25" fmla="*/ 2199 h 3448"/>
              <a:gd name="T26" fmla="*/ 2687 w 5033"/>
              <a:gd name="T27" fmla="*/ 2110 h 3448"/>
              <a:gd name="T28" fmla="*/ 2780 w 5033"/>
              <a:gd name="T29" fmla="*/ 2006 h 3448"/>
              <a:gd name="T30" fmla="*/ 3045 w 5033"/>
              <a:gd name="T31" fmla="*/ 1730 h 3448"/>
              <a:gd name="T32" fmla="*/ 3418 w 5033"/>
              <a:gd name="T33" fmla="*/ 1374 h 3448"/>
              <a:gd name="T34" fmla="*/ 3840 w 5033"/>
              <a:gd name="T35" fmla="*/ 1068 h 3448"/>
              <a:gd name="T36" fmla="*/ 4056 w 5033"/>
              <a:gd name="T37" fmla="*/ 949 h 3448"/>
              <a:gd name="T38" fmla="*/ 4251 w 5033"/>
              <a:gd name="T39" fmla="*/ 795 h 3448"/>
              <a:gd name="T40" fmla="*/ 4363 w 5033"/>
              <a:gd name="T41" fmla="*/ 740 h 3448"/>
              <a:gd name="T42" fmla="*/ 4543 w 5033"/>
              <a:gd name="T43" fmla="*/ 585 h 3448"/>
              <a:gd name="T44" fmla="*/ 4690 w 5033"/>
              <a:gd name="T45" fmla="*/ 431 h 3448"/>
              <a:gd name="T46" fmla="*/ 4841 w 5033"/>
              <a:gd name="T47" fmla="*/ 339 h 3448"/>
              <a:gd name="T48" fmla="*/ 4972 w 5033"/>
              <a:gd name="T49" fmla="*/ 278 h 3448"/>
              <a:gd name="T50" fmla="*/ 4947 w 5033"/>
              <a:gd name="T51" fmla="*/ 244 h 3448"/>
              <a:gd name="T52" fmla="*/ 4858 w 5033"/>
              <a:gd name="T53" fmla="*/ 281 h 3448"/>
              <a:gd name="T54" fmla="*/ 4756 w 5033"/>
              <a:gd name="T55" fmla="*/ 360 h 3448"/>
              <a:gd name="T56" fmla="*/ 4531 w 5033"/>
              <a:gd name="T57" fmla="*/ 513 h 3448"/>
              <a:gd name="T58" fmla="*/ 4401 w 5033"/>
              <a:gd name="T59" fmla="*/ 542 h 3448"/>
              <a:gd name="T60" fmla="*/ 4018 w 5033"/>
              <a:gd name="T61" fmla="*/ 810 h 3448"/>
              <a:gd name="T62" fmla="*/ 4096 w 5033"/>
              <a:gd name="T63" fmla="*/ 702 h 3448"/>
              <a:gd name="T64" fmla="*/ 4196 w 5033"/>
              <a:gd name="T65" fmla="*/ 621 h 3448"/>
              <a:gd name="T66" fmla="*/ 4319 w 5033"/>
              <a:gd name="T67" fmla="*/ 501 h 3448"/>
              <a:gd name="T68" fmla="*/ 4342 w 5033"/>
              <a:gd name="T69" fmla="*/ 423 h 3448"/>
              <a:gd name="T70" fmla="*/ 4478 w 5033"/>
              <a:gd name="T71" fmla="*/ 286 h 3448"/>
              <a:gd name="T72" fmla="*/ 4289 w 5033"/>
              <a:gd name="T73" fmla="*/ 341 h 3448"/>
              <a:gd name="T74" fmla="*/ 4455 w 5033"/>
              <a:gd name="T75" fmla="*/ 198 h 3448"/>
              <a:gd name="T76" fmla="*/ 4410 w 5033"/>
              <a:gd name="T77" fmla="*/ 167 h 3448"/>
              <a:gd name="T78" fmla="*/ 4293 w 5033"/>
              <a:gd name="T79" fmla="*/ 277 h 3448"/>
              <a:gd name="T80" fmla="*/ 4288 w 5033"/>
              <a:gd name="T81" fmla="*/ 162 h 3448"/>
              <a:gd name="T82" fmla="*/ 4376 w 5033"/>
              <a:gd name="T83" fmla="*/ 48 h 3448"/>
              <a:gd name="T84" fmla="*/ 4276 w 5033"/>
              <a:gd name="T85" fmla="*/ 25 h 3448"/>
              <a:gd name="T86" fmla="*/ 4168 w 5033"/>
              <a:gd name="T87" fmla="*/ 135 h 3448"/>
              <a:gd name="T88" fmla="*/ 3906 w 5033"/>
              <a:gd name="T89" fmla="*/ 284 h 3448"/>
              <a:gd name="T90" fmla="*/ 3186 w 5033"/>
              <a:gd name="T91" fmla="*/ 777 h 3448"/>
              <a:gd name="T92" fmla="*/ 3188 w 5033"/>
              <a:gd name="T93" fmla="*/ 733 h 3448"/>
              <a:gd name="T94" fmla="*/ 3235 w 5033"/>
              <a:gd name="T95" fmla="*/ 671 h 3448"/>
              <a:gd name="T96" fmla="*/ 3941 w 5033"/>
              <a:gd name="T97" fmla="*/ 219 h 3448"/>
              <a:gd name="T98" fmla="*/ 3992 w 5033"/>
              <a:gd name="T99" fmla="*/ 140 h 3448"/>
              <a:gd name="T100" fmla="*/ 3743 w 5033"/>
              <a:gd name="T101" fmla="*/ 240 h 3448"/>
              <a:gd name="T102" fmla="*/ 3290 w 5033"/>
              <a:gd name="T103" fmla="*/ 525 h 3448"/>
              <a:gd name="T104" fmla="*/ 2837 w 5033"/>
              <a:gd name="T105" fmla="*/ 830 h 3448"/>
              <a:gd name="T106" fmla="*/ 2197 w 5033"/>
              <a:gd name="T107" fmla="*/ 1270 h 3448"/>
              <a:gd name="T108" fmla="*/ 1903 w 5033"/>
              <a:gd name="T109" fmla="*/ 1608 h 3448"/>
              <a:gd name="T110" fmla="*/ 1609 w 5033"/>
              <a:gd name="T111" fmla="*/ 1914 h 3448"/>
              <a:gd name="T112" fmla="*/ 1327 w 5033"/>
              <a:gd name="T113" fmla="*/ 1996 h 3448"/>
              <a:gd name="T114" fmla="*/ 1057 w 5033"/>
              <a:gd name="T115" fmla="*/ 1475 h 3448"/>
              <a:gd name="T116" fmla="*/ 755 w 5033"/>
              <a:gd name="T117" fmla="*/ 1501 h 3448"/>
              <a:gd name="T118" fmla="*/ 523 w 5033"/>
              <a:gd name="T119" fmla="*/ 1595 h 3448"/>
              <a:gd name="T120" fmla="*/ 242 w 5033"/>
              <a:gd name="T121" fmla="*/ 1683 h 3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33" h="3448">
                <a:moveTo>
                  <a:pt x="0" y="1824"/>
                </a:moveTo>
                <a:lnTo>
                  <a:pt x="12" y="1840"/>
                </a:lnTo>
                <a:lnTo>
                  <a:pt x="25" y="1855"/>
                </a:lnTo>
                <a:lnTo>
                  <a:pt x="39" y="1870"/>
                </a:lnTo>
                <a:lnTo>
                  <a:pt x="54" y="1886"/>
                </a:lnTo>
                <a:lnTo>
                  <a:pt x="69" y="1900"/>
                </a:lnTo>
                <a:lnTo>
                  <a:pt x="85" y="1917"/>
                </a:lnTo>
                <a:lnTo>
                  <a:pt x="102" y="1931"/>
                </a:lnTo>
                <a:lnTo>
                  <a:pt x="119" y="1945"/>
                </a:lnTo>
                <a:lnTo>
                  <a:pt x="134" y="1961"/>
                </a:lnTo>
                <a:lnTo>
                  <a:pt x="151" y="1975"/>
                </a:lnTo>
                <a:lnTo>
                  <a:pt x="166" y="1990"/>
                </a:lnTo>
                <a:lnTo>
                  <a:pt x="183" y="2006"/>
                </a:lnTo>
                <a:lnTo>
                  <a:pt x="197" y="2020"/>
                </a:lnTo>
                <a:lnTo>
                  <a:pt x="211" y="2036"/>
                </a:lnTo>
                <a:lnTo>
                  <a:pt x="224" y="2050"/>
                </a:lnTo>
                <a:lnTo>
                  <a:pt x="236" y="2067"/>
                </a:lnTo>
                <a:lnTo>
                  <a:pt x="250" y="2094"/>
                </a:lnTo>
                <a:lnTo>
                  <a:pt x="267" y="2117"/>
                </a:lnTo>
                <a:lnTo>
                  <a:pt x="287" y="2135"/>
                </a:lnTo>
                <a:lnTo>
                  <a:pt x="308" y="2152"/>
                </a:lnTo>
                <a:lnTo>
                  <a:pt x="329" y="2167"/>
                </a:lnTo>
                <a:lnTo>
                  <a:pt x="350" y="2186"/>
                </a:lnTo>
                <a:lnTo>
                  <a:pt x="368" y="2207"/>
                </a:lnTo>
                <a:lnTo>
                  <a:pt x="384" y="2234"/>
                </a:lnTo>
                <a:lnTo>
                  <a:pt x="400" y="2263"/>
                </a:lnTo>
                <a:lnTo>
                  <a:pt x="424" y="2297"/>
                </a:lnTo>
                <a:lnTo>
                  <a:pt x="452" y="2335"/>
                </a:lnTo>
                <a:lnTo>
                  <a:pt x="482" y="2375"/>
                </a:lnTo>
                <a:lnTo>
                  <a:pt x="512" y="2415"/>
                </a:lnTo>
                <a:lnTo>
                  <a:pt x="540" y="2452"/>
                </a:lnTo>
                <a:lnTo>
                  <a:pt x="564" y="2486"/>
                </a:lnTo>
                <a:lnTo>
                  <a:pt x="582" y="2514"/>
                </a:lnTo>
                <a:lnTo>
                  <a:pt x="594" y="2536"/>
                </a:lnTo>
                <a:lnTo>
                  <a:pt x="611" y="2564"/>
                </a:lnTo>
                <a:lnTo>
                  <a:pt x="631" y="2598"/>
                </a:lnTo>
                <a:lnTo>
                  <a:pt x="653" y="2633"/>
                </a:lnTo>
                <a:lnTo>
                  <a:pt x="679" y="2673"/>
                </a:lnTo>
                <a:lnTo>
                  <a:pt x="705" y="2714"/>
                </a:lnTo>
                <a:lnTo>
                  <a:pt x="734" y="2757"/>
                </a:lnTo>
                <a:lnTo>
                  <a:pt x="765" y="2801"/>
                </a:lnTo>
                <a:lnTo>
                  <a:pt x="793" y="2844"/>
                </a:lnTo>
                <a:lnTo>
                  <a:pt x="822" y="2889"/>
                </a:lnTo>
                <a:lnTo>
                  <a:pt x="850" y="2930"/>
                </a:lnTo>
                <a:lnTo>
                  <a:pt x="876" y="2969"/>
                </a:lnTo>
                <a:lnTo>
                  <a:pt x="899" y="3005"/>
                </a:lnTo>
                <a:lnTo>
                  <a:pt x="919" y="3036"/>
                </a:lnTo>
                <a:lnTo>
                  <a:pt x="935" y="3065"/>
                </a:lnTo>
                <a:lnTo>
                  <a:pt x="948" y="3087"/>
                </a:lnTo>
                <a:lnTo>
                  <a:pt x="959" y="3089"/>
                </a:lnTo>
                <a:lnTo>
                  <a:pt x="969" y="3090"/>
                </a:lnTo>
                <a:lnTo>
                  <a:pt x="979" y="3092"/>
                </a:lnTo>
                <a:lnTo>
                  <a:pt x="989" y="3094"/>
                </a:lnTo>
                <a:lnTo>
                  <a:pt x="1000" y="3094"/>
                </a:lnTo>
                <a:lnTo>
                  <a:pt x="1011" y="3097"/>
                </a:lnTo>
                <a:lnTo>
                  <a:pt x="1020" y="3098"/>
                </a:lnTo>
                <a:lnTo>
                  <a:pt x="1031" y="3100"/>
                </a:lnTo>
                <a:lnTo>
                  <a:pt x="1033" y="3109"/>
                </a:lnTo>
                <a:lnTo>
                  <a:pt x="1036" y="3119"/>
                </a:lnTo>
                <a:lnTo>
                  <a:pt x="1038" y="3128"/>
                </a:lnTo>
                <a:lnTo>
                  <a:pt x="1040" y="3138"/>
                </a:lnTo>
                <a:lnTo>
                  <a:pt x="1050" y="3138"/>
                </a:lnTo>
                <a:lnTo>
                  <a:pt x="1058" y="3140"/>
                </a:lnTo>
                <a:lnTo>
                  <a:pt x="1067" y="3141"/>
                </a:lnTo>
                <a:lnTo>
                  <a:pt x="1077" y="3142"/>
                </a:lnTo>
                <a:lnTo>
                  <a:pt x="1085" y="3145"/>
                </a:lnTo>
                <a:lnTo>
                  <a:pt x="1095" y="3146"/>
                </a:lnTo>
                <a:lnTo>
                  <a:pt x="1105" y="3147"/>
                </a:lnTo>
                <a:lnTo>
                  <a:pt x="1113" y="3148"/>
                </a:lnTo>
                <a:lnTo>
                  <a:pt x="1130" y="3159"/>
                </a:lnTo>
                <a:lnTo>
                  <a:pt x="1148" y="3169"/>
                </a:lnTo>
                <a:lnTo>
                  <a:pt x="1164" y="3177"/>
                </a:lnTo>
                <a:lnTo>
                  <a:pt x="1179" y="3186"/>
                </a:lnTo>
                <a:lnTo>
                  <a:pt x="1196" y="3196"/>
                </a:lnTo>
                <a:lnTo>
                  <a:pt x="1213" y="3204"/>
                </a:lnTo>
                <a:lnTo>
                  <a:pt x="1231" y="3213"/>
                </a:lnTo>
                <a:lnTo>
                  <a:pt x="1246" y="3221"/>
                </a:lnTo>
                <a:lnTo>
                  <a:pt x="1258" y="3222"/>
                </a:lnTo>
                <a:lnTo>
                  <a:pt x="1269" y="3223"/>
                </a:lnTo>
                <a:lnTo>
                  <a:pt x="1281" y="3225"/>
                </a:lnTo>
                <a:lnTo>
                  <a:pt x="1292" y="3227"/>
                </a:lnTo>
                <a:lnTo>
                  <a:pt x="1304" y="3227"/>
                </a:lnTo>
                <a:lnTo>
                  <a:pt x="1315" y="3228"/>
                </a:lnTo>
                <a:lnTo>
                  <a:pt x="1328" y="3229"/>
                </a:lnTo>
                <a:lnTo>
                  <a:pt x="1340" y="3229"/>
                </a:lnTo>
                <a:lnTo>
                  <a:pt x="1348" y="3240"/>
                </a:lnTo>
                <a:lnTo>
                  <a:pt x="1357" y="3252"/>
                </a:lnTo>
                <a:lnTo>
                  <a:pt x="1367" y="3264"/>
                </a:lnTo>
                <a:lnTo>
                  <a:pt x="1375" y="3273"/>
                </a:lnTo>
                <a:lnTo>
                  <a:pt x="1395" y="3275"/>
                </a:lnTo>
                <a:lnTo>
                  <a:pt x="1416" y="3277"/>
                </a:lnTo>
                <a:lnTo>
                  <a:pt x="1436" y="3279"/>
                </a:lnTo>
                <a:lnTo>
                  <a:pt x="1456" y="3279"/>
                </a:lnTo>
                <a:lnTo>
                  <a:pt x="1478" y="3281"/>
                </a:lnTo>
                <a:lnTo>
                  <a:pt x="1497" y="3281"/>
                </a:lnTo>
                <a:lnTo>
                  <a:pt x="1518" y="3282"/>
                </a:lnTo>
                <a:lnTo>
                  <a:pt x="1537" y="3283"/>
                </a:lnTo>
                <a:lnTo>
                  <a:pt x="1562" y="3296"/>
                </a:lnTo>
                <a:lnTo>
                  <a:pt x="1584" y="3310"/>
                </a:lnTo>
                <a:lnTo>
                  <a:pt x="1609" y="3323"/>
                </a:lnTo>
                <a:lnTo>
                  <a:pt x="1633" y="3336"/>
                </a:lnTo>
                <a:lnTo>
                  <a:pt x="1658" y="3352"/>
                </a:lnTo>
                <a:lnTo>
                  <a:pt x="1682" y="3365"/>
                </a:lnTo>
                <a:lnTo>
                  <a:pt x="1707" y="3379"/>
                </a:lnTo>
                <a:lnTo>
                  <a:pt x="1732" y="3392"/>
                </a:lnTo>
                <a:lnTo>
                  <a:pt x="1742" y="3392"/>
                </a:lnTo>
                <a:lnTo>
                  <a:pt x="1752" y="3392"/>
                </a:lnTo>
                <a:lnTo>
                  <a:pt x="1762" y="3392"/>
                </a:lnTo>
                <a:lnTo>
                  <a:pt x="1773" y="3392"/>
                </a:lnTo>
                <a:lnTo>
                  <a:pt x="1784" y="3392"/>
                </a:lnTo>
                <a:lnTo>
                  <a:pt x="1793" y="3392"/>
                </a:lnTo>
                <a:lnTo>
                  <a:pt x="1803" y="3392"/>
                </a:lnTo>
                <a:lnTo>
                  <a:pt x="1814" y="3392"/>
                </a:lnTo>
                <a:lnTo>
                  <a:pt x="1822" y="3400"/>
                </a:lnTo>
                <a:lnTo>
                  <a:pt x="1833" y="3406"/>
                </a:lnTo>
                <a:lnTo>
                  <a:pt x="1842" y="3412"/>
                </a:lnTo>
                <a:lnTo>
                  <a:pt x="1852" y="3419"/>
                </a:lnTo>
                <a:lnTo>
                  <a:pt x="1860" y="3425"/>
                </a:lnTo>
                <a:lnTo>
                  <a:pt x="1869" y="3429"/>
                </a:lnTo>
                <a:lnTo>
                  <a:pt x="1879" y="3434"/>
                </a:lnTo>
                <a:lnTo>
                  <a:pt x="1887" y="3439"/>
                </a:lnTo>
                <a:lnTo>
                  <a:pt x="1915" y="3446"/>
                </a:lnTo>
                <a:lnTo>
                  <a:pt x="1934" y="3448"/>
                </a:lnTo>
                <a:lnTo>
                  <a:pt x="1946" y="3445"/>
                </a:lnTo>
                <a:lnTo>
                  <a:pt x="1950" y="3438"/>
                </a:lnTo>
                <a:lnTo>
                  <a:pt x="1950" y="3429"/>
                </a:lnTo>
                <a:lnTo>
                  <a:pt x="1944" y="3416"/>
                </a:lnTo>
                <a:lnTo>
                  <a:pt x="1936" y="3401"/>
                </a:lnTo>
                <a:lnTo>
                  <a:pt x="1928" y="3387"/>
                </a:lnTo>
                <a:lnTo>
                  <a:pt x="1921" y="3371"/>
                </a:lnTo>
                <a:lnTo>
                  <a:pt x="1912" y="3357"/>
                </a:lnTo>
                <a:lnTo>
                  <a:pt x="1908" y="3345"/>
                </a:lnTo>
                <a:lnTo>
                  <a:pt x="1907" y="3333"/>
                </a:lnTo>
                <a:lnTo>
                  <a:pt x="1911" y="3327"/>
                </a:lnTo>
                <a:lnTo>
                  <a:pt x="1922" y="3323"/>
                </a:lnTo>
                <a:lnTo>
                  <a:pt x="1941" y="3325"/>
                </a:lnTo>
                <a:lnTo>
                  <a:pt x="1968" y="3332"/>
                </a:lnTo>
                <a:lnTo>
                  <a:pt x="1981" y="3310"/>
                </a:lnTo>
                <a:lnTo>
                  <a:pt x="1993" y="3289"/>
                </a:lnTo>
                <a:lnTo>
                  <a:pt x="2003" y="3271"/>
                </a:lnTo>
                <a:lnTo>
                  <a:pt x="2012" y="3251"/>
                </a:lnTo>
                <a:lnTo>
                  <a:pt x="2022" y="3233"/>
                </a:lnTo>
                <a:lnTo>
                  <a:pt x="2032" y="3211"/>
                </a:lnTo>
                <a:lnTo>
                  <a:pt x="2042" y="3191"/>
                </a:lnTo>
                <a:lnTo>
                  <a:pt x="2055" y="3167"/>
                </a:lnTo>
                <a:lnTo>
                  <a:pt x="2056" y="3154"/>
                </a:lnTo>
                <a:lnTo>
                  <a:pt x="2061" y="3138"/>
                </a:lnTo>
                <a:lnTo>
                  <a:pt x="2067" y="3122"/>
                </a:lnTo>
                <a:lnTo>
                  <a:pt x="2075" y="3103"/>
                </a:lnTo>
                <a:lnTo>
                  <a:pt x="2083" y="3085"/>
                </a:lnTo>
                <a:lnTo>
                  <a:pt x="2089" y="3067"/>
                </a:lnTo>
                <a:lnTo>
                  <a:pt x="2093" y="3052"/>
                </a:lnTo>
                <a:lnTo>
                  <a:pt x="2095" y="3039"/>
                </a:lnTo>
                <a:lnTo>
                  <a:pt x="2108" y="3019"/>
                </a:lnTo>
                <a:lnTo>
                  <a:pt x="2121" y="2998"/>
                </a:lnTo>
                <a:lnTo>
                  <a:pt x="2134" y="2980"/>
                </a:lnTo>
                <a:lnTo>
                  <a:pt x="2146" y="2960"/>
                </a:lnTo>
                <a:lnTo>
                  <a:pt x="2157" y="2942"/>
                </a:lnTo>
                <a:lnTo>
                  <a:pt x="2169" y="2923"/>
                </a:lnTo>
                <a:lnTo>
                  <a:pt x="2180" y="2905"/>
                </a:lnTo>
                <a:lnTo>
                  <a:pt x="2193" y="2885"/>
                </a:lnTo>
                <a:lnTo>
                  <a:pt x="2199" y="2832"/>
                </a:lnTo>
                <a:lnTo>
                  <a:pt x="2211" y="2790"/>
                </a:lnTo>
                <a:lnTo>
                  <a:pt x="2222" y="2749"/>
                </a:lnTo>
                <a:lnTo>
                  <a:pt x="2225" y="2695"/>
                </a:lnTo>
                <a:lnTo>
                  <a:pt x="2239" y="2687"/>
                </a:lnTo>
                <a:lnTo>
                  <a:pt x="2254" y="2675"/>
                </a:lnTo>
                <a:lnTo>
                  <a:pt x="2269" y="2662"/>
                </a:lnTo>
                <a:lnTo>
                  <a:pt x="2285" y="2649"/>
                </a:lnTo>
                <a:lnTo>
                  <a:pt x="2301" y="2636"/>
                </a:lnTo>
                <a:lnTo>
                  <a:pt x="2317" y="2622"/>
                </a:lnTo>
                <a:lnTo>
                  <a:pt x="2330" y="2611"/>
                </a:lnTo>
                <a:lnTo>
                  <a:pt x="2344" y="2602"/>
                </a:lnTo>
                <a:lnTo>
                  <a:pt x="2353" y="2549"/>
                </a:lnTo>
                <a:lnTo>
                  <a:pt x="2358" y="2508"/>
                </a:lnTo>
                <a:lnTo>
                  <a:pt x="2364" y="2467"/>
                </a:lnTo>
                <a:lnTo>
                  <a:pt x="2375" y="2413"/>
                </a:lnTo>
                <a:lnTo>
                  <a:pt x="2386" y="2403"/>
                </a:lnTo>
                <a:lnTo>
                  <a:pt x="2402" y="2391"/>
                </a:lnTo>
                <a:lnTo>
                  <a:pt x="2422" y="2378"/>
                </a:lnTo>
                <a:lnTo>
                  <a:pt x="2445" y="2364"/>
                </a:lnTo>
                <a:lnTo>
                  <a:pt x="2469" y="2348"/>
                </a:lnTo>
                <a:lnTo>
                  <a:pt x="2489" y="2335"/>
                </a:lnTo>
                <a:lnTo>
                  <a:pt x="2506" y="2324"/>
                </a:lnTo>
                <a:lnTo>
                  <a:pt x="2515" y="2314"/>
                </a:lnTo>
                <a:lnTo>
                  <a:pt x="2513" y="2300"/>
                </a:lnTo>
                <a:lnTo>
                  <a:pt x="2513" y="2286"/>
                </a:lnTo>
                <a:lnTo>
                  <a:pt x="2518" y="2274"/>
                </a:lnTo>
                <a:lnTo>
                  <a:pt x="2521" y="2261"/>
                </a:lnTo>
                <a:lnTo>
                  <a:pt x="2526" y="2247"/>
                </a:lnTo>
                <a:lnTo>
                  <a:pt x="2529" y="2234"/>
                </a:lnTo>
                <a:lnTo>
                  <a:pt x="2531" y="2219"/>
                </a:lnTo>
                <a:lnTo>
                  <a:pt x="2529" y="2205"/>
                </a:lnTo>
                <a:lnTo>
                  <a:pt x="2541" y="2203"/>
                </a:lnTo>
                <a:lnTo>
                  <a:pt x="2552" y="2199"/>
                </a:lnTo>
                <a:lnTo>
                  <a:pt x="2564" y="2196"/>
                </a:lnTo>
                <a:lnTo>
                  <a:pt x="2576" y="2192"/>
                </a:lnTo>
                <a:lnTo>
                  <a:pt x="2588" y="2188"/>
                </a:lnTo>
                <a:lnTo>
                  <a:pt x="2598" y="2185"/>
                </a:lnTo>
                <a:lnTo>
                  <a:pt x="2610" y="2180"/>
                </a:lnTo>
                <a:lnTo>
                  <a:pt x="2621" y="2177"/>
                </a:lnTo>
                <a:lnTo>
                  <a:pt x="2626" y="2156"/>
                </a:lnTo>
                <a:lnTo>
                  <a:pt x="2634" y="2136"/>
                </a:lnTo>
                <a:lnTo>
                  <a:pt x="2641" y="2117"/>
                </a:lnTo>
                <a:lnTo>
                  <a:pt x="2651" y="2095"/>
                </a:lnTo>
                <a:lnTo>
                  <a:pt x="2659" y="2100"/>
                </a:lnTo>
                <a:lnTo>
                  <a:pt x="2665" y="2102"/>
                </a:lnTo>
                <a:lnTo>
                  <a:pt x="2673" y="2105"/>
                </a:lnTo>
                <a:lnTo>
                  <a:pt x="2680" y="2107"/>
                </a:lnTo>
                <a:lnTo>
                  <a:pt x="2687" y="2110"/>
                </a:lnTo>
                <a:lnTo>
                  <a:pt x="2697" y="2112"/>
                </a:lnTo>
                <a:lnTo>
                  <a:pt x="2705" y="2115"/>
                </a:lnTo>
                <a:lnTo>
                  <a:pt x="2713" y="2117"/>
                </a:lnTo>
                <a:lnTo>
                  <a:pt x="2721" y="2100"/>
                </a:lnTo>
                <a:lnTo>
                  <a:pt x="2727" y="2082"/>
                </a:lnTo>
                <a:lnTo>
                  <a:pt x="2731" y="2065"/>
                </a:lnTo>
                <a:lnTo>
                  <a:pt x="2736" y="2048"/>
                </a:lnTo>
                <a:lnTo>
                  <a:pt x="2742" y="2043"/>
                </a:lnTo>
                <a:lnTo>
                  <a:pt x="2747" y="2038"/>
                </a:lnTo>
                <a:lnTo>
                  <a:pt x="2753" y="2034"/>
                </a:lnTo>
                <a:lnTo>
                  <a:pt x="2758" y="2027"/>
                </a:lnTo>
                <a:lnTo>
                  <a:pt x="2765" y="2022"/>
                </a:lnTo>
                <a:lnTo>
                  <a:pt x="2770" y="2017"/>
                </a:lnTo>
                <a:lnTo>
                  <a:pt x="2776" y="2011"/>
                </a:lnTo>
                <a:lnTo>
                  <a:pt x="2780" y="2006"/>
                </a:lnTo>
                <a:lnTo>
                  <a:pt x="2791" y="1990"/>
                </a:lnTo>
                <a:lnTo>
                  <a:pt x="2801" y="1974"/>
                </a:lnTo>
                <a:lnTo>
                  <a:pt x="2813" y="1958"/>
                </a:lnTo>
                <a:lnTo>
                  <a:pt x="2825" y="1942"/>
                </a:lnTo>
                <a:lnTo>
                  <a:pt x="2837" y="1926"/>
                </a:lnTo>
                <a:lnTo>
                  <a:pt x="2849" y="1910"/>
                </a:lnTo>
                <a:lnTo>
                  <a:pt x="2864" y="1893"/>
                </a:lnTo>
                <a:lnTo>
                  <a:pt x="2878" y="1877"/>
                </a:lnTo>
                <a:lnTo>
                  <a:pt x="2902" y="1857"/>
                </a:lnTo>
                <a:lnTo>
                  <a:pt x="2927" y="1836"/>
                </a:lnTo>
                <a:lnTo>
                  <a:pt x="2951" y="1815"/>
                </a:lnTo>
                <a:lnTo>
                  <a:pt x="2975" y="1795"/>
                </a:lnTo>
                <a:lnTo>
                  <a:pt x="2999" y="1774"/>
                </a:lnTo>
                <a:lnTo>
                  <a:pt x="3023" y="1752"/>
                </a:lnTo>
                <a:lnTo>
                  <a:pt x="3045" y="1730"/>
                </a:lnTo>
                <a:lnTo>
                  <a:pt x="3069" y="1708"/>
                </a:lnTo>
                <a:lnTo>
                  <a:pt x="3091" y="1685"/>
                </a:lnTo>
                <a:lnTo>
                  <a:pt x="3115" y="1664"/>
                </a:lnTo>
                <a:lnTo>
                  <a:pt x="3140" y="1640"/>
                </a:lnTo>
                <a:lnTo>
                  <a:pt x="3163" y="1617"/>
                </a:lnTo>
                <a:lnTo>
                  <a:pt x="3186" y="1593"/>
                </a:lnTo>
                <a:lnTo>
                  <a:pt x="3210" y="1569"/>
                </a:lnTo>
                <a:lnTo>
                  <a:pt x="3235" y="1547"/>
                </a:lnTo>
                <a:lnTo>
                  <a:pt x="3259" y="1522"/>
                </a:lnTo>
                <a:lnTo>
                  <a:pt x="3284" y="1496"/>
                </a:lnTo>
                <a:lnTo>
                  <a:pt x="3310" y="1474"/>
                </a:lnTo>
                <a:lnTo>
                  <a:pt x="3336" y="1449"/>
                </a:lnTo>
                <a:lnTo>
                  <a:pt x="3363" y="1425"/>
                </a:lnTo>
                <a:lnTo>
                  <a:pt x="3390" y="1399"/>
                </a:lnTo>
                <a:lnTo>
                  <a:pt x="3418" y="1374"/>
                </a:lnTo>
                <a:lnTo>
                  <a:pt x="3448" y="1350"/>
                </a:lnTo>
                <a:lnTo>
                  <a:pt x="3478" y="1325"/>
                </a:lnTo>
                <a:lnTo>
                  <a:pt x="3509" y="1299"/>
                </a:lnTo>
                <a:lnTo>
                  <a:pt x="3541" y="1274"/>
                </a:lnTo>
                <a:lnTo>
                  <a:pt x="3572" y="1249"/>
                </a:lnTo>
                <a:lnTo>
                  <a:pt x="3607" y="1222"/>
                </a:lnTo>
                <a:lnTo>
                  <a:pt x="3641" y="1199"/>
                </a:lnTo>
                <a:lnTo>
                  <a:pt x="3677" y="1172"/>
                </a:lnTo>
                <a:lnTo>
                  <a:pt x="3714" y="1147"/>
                </a:lnTo>
                <a:lnTo>
                  <a:pt x="3753" y="1121"/>
                </a:lnTo>
                <a:lnTo>
                  <a:pt x="3770" y="1110"/>
                </a:lnTo>
                <a:lnTo>
                  <a:pt x="3788" y="1099"/>
                </a:lnTo>
                <a:lnTo>
                  <a:pt x="3805" y="1089"/>
                </a:lnTo>
                <a:lnTo>
                  <a:pt x="3822" y="1077"/>
                </a:lnTo>
                <a:lnTo>
                  <a:pt x="3840" y="1068"/>
                </a:lnTo>
                <a:lnTo>
                  <a:pt x="3858" y="1057"/>
                </a:lnTo>
                <a:lnTo>
                  <a:pt x="3876" y="1046"/>
                </a:lnTo>
                <a:lnTo>
                  <a:pt x="3896" y="1037"/>
                </a:lnTo>
                <a:lnTo>
                  <a:pt x="3905" y="1031"/>
                </a:lnTo>
                <a:lnTo>
                  <a:pt x="3916" y="1027"/>
                </a:lnTo>
                <a:lnTo>
                  <a:pt x="3927" y="1022"/>
                </a:lnTo>
                <a:lnTo>
                  <a:pt x="3937" y="1018"/>
                </a:lnTo>
                <a:lnTo>
                  <a:pt x="3948" y="1012"/>
                </a:lnTo>
                <a:lnTo>
                  <a:pt x="3958" y="1007"/>
                </a:lnTo>
                <a:lnTo>
                  <a:pt x="3969" y="1000"/>
                </a:lnTo>
                <a:lnTo>
                  <a:pt x="3980" y="995"/>
                </a:lnTo>
                <a:lnTo>
                  <a:pt x="3999" y="984"/>
                </a:lnTo>
                <a:lnTo>
                  <a:pt x="4018" y="972"/>
                </a:lnTo>
                <a:lnTo>
                  <a:pt x="4037" y="962"/>
                </a:lnTo>
                <a:lnTo>
                  <a:pt x="4056" y="949"/>
                </a:lnTo>
                <a:lnTo>
                  <a:pt x="4075" y="939"/>
                </a:lnTo>
                <a:lnTo>
                  <a:pt x="4093" y="925"/>
                </a:lnTo>
                <a:lnTo>
                  <a:pt x="4112" y="915"/>
                </a:lnTo>
                <a:lnTo>
                  <a:pt x="4131" y="903"/>
                </a:lnTo>
                <a:lnTo>
                  <a:pt x="4144" y="894"/>
                </a:lnTo>
                <a:lnTo>
                  <a:pt x="4156" y="884"/>
                </a:lnTo>
                <a:lnTo>
                  <a:pt x="4168" y="875"/>
                </a:lnTo>
                <a:lnTo>
                  <a:pt x="4182" y="866"/>
                </a:lnTo>
                <a:lnTo>
                  <a:pt x="4195" y="856"/>
                </a:lnTo>
                <a:lnTo>
                  <a:pt x="4209" y="847"/>
                </a:lnTo>
                <a:lnTo>
                  <a:pt x="4221" y="839"/>
                </a:lnTo>
                <a:lnTo>
                  <a:pt x="4235" y="829"/>
                </a:lnTo>
                <a:lnTo>
                  <a:pt x="4240" y="816"/>
                </a:lnTo>
                <a:lnTo>
                  <a:pt x="4245" y="805"/>
                </a:lnTo>
                <a:lnTo>
                  <a:pt x="4251" y="795"/>
                </a:lnTo>
                <a:lnTo>
                  <a:pt x="4255" y="786"/>
                </a:lnTo>
                <a:lnTo>
                  <a:pt x="4264" y="777"/>
                </a:lnTo>
                <a:lnTo>
                  <a:pt x="4271" y="772"/>
                </a:lnTo>
                <a:lnTo>
                  <a:pt x="4280" y="764"/>
                </a:lnTo>
                <a:lnTo>
                  <a:pt x="4289" y="758"/>
                </a:lnTo>
                <a:lnTo>
                  <a:pt x="4298" y="751"/>
                </a:lnTo>
                <a:lnTo>
                  <a:pt x="4307" y="744"/>
                </a:lnTo>
                <a:lnTo>
                  <a:pt x="4315" y="737"/>
                </a:lnTo>
                <a:lnTo>
                  <a:pt x="4325" y="731"/>
                </a:lnTo>
                <a:lnTo>
                  <a:pt x="4328" y="737"/>
                </a:lnTo>
                <a:lnTo>
                  <a:pt x="4331" y="743"/>
                </a:lnTo>
                <a:lnTo>
                  <a:pt x="4334" y="750"/>
                </a:lnTo>
                <a:lnTo>
                  <a:pt x="4336" y="756"/>
                </a:lnTo>
                <a:lnTo>
                  <a:pt x="4350" y="746"/>
                </a:lnTo>
                <a:lnTo>
                  <a:pt x="4363" y="740"/>
                </a:lnTo>
                <a:lnTo>
                  <a:pt x="4377" y="731"/>
                </a:lnTo>
                <a:lnTo>
                  <a:pt x="4391" y="723"/>
                </a:lnTo>
                <a:lnTo>
                  <a:pt x="4404" y="716"/>
                </a:lnTo>
                <a:lnTo>
                  <a:pt x="4419" y="706"/>
                </a:lnTo>
                <a:lnTo>
                  <a:pt x="4433" y="699"/>
                </a:lnTo>
                <a:lnTo>
                  <a:pt x="4444" y="692"/>
                </a:lnTo>
                <a:lnTo>
                  <a:pt x="4455" y="678"/>
                </a:lnTo>
                <a:lnTo>
                  <a:pt x="4464" y="660"/>
                </a:lnTo>
                <a:lnTo>
                  <a:pt x="4474" y="644"/>
                </a:lnTo>
                <a:lnTo>
                  <a:pt x="4482" y="629"/>
                </a:lnTo>
                <a:lnTo>
                  <a:pt x="4493" y="619"/>
                </a:lnTo>
                <a:lnTo>
                  <a:pt x="4506" y="610"/>
                </a:lnTo>
                <a:lnTo>
                  <a:pt x="4519" y="602"/>
                </a:lnTo>
                <a:lnTo>
                  <a:pt x="4531" y="593"/>
                </a:lnTo>
                <a:lnTo>
                  <a:pt x="4543" y="585"/>
                </a:lnTo>
                <a:lnTo>
                  <a:pt x="4555" y="576"/>
                </a:lnTo>
                <a:lnTo>
                  <a:pt x="4566" y="566"/>
                </a:lnTo>
                <a:lnTo>
                  <a:pt x="4576" y="557"/>
                </a:lnTo>
                <a:lnTo>
                  <a:pt x="4581" y="543"/>
                </a:lnTo>
                <a:lnTo>
                  <a:pt x="4586" y="528"/>
                </a:lnTo>
                <a:lnTo>
                  <a:pt x="4590" y="513"/>
                </a:lnTo>
                <a:lnTo>
                  <a:pt x="4597" y="497"/>
                </a:lnTo>
                <a:lnTo>
                  <a:pt x="4608" y="489"/>
                </a:lnTo>
                <a:lnTo>
                  <a:pt x="4621" y="480"/>
                </a:lnTo>
                <a:lnTo>
                  <a:pt x="4633" y="473"/>
                </a:lnTo>
                <a:lnTo>
                  <a:pt x="4645" y="464"/>
                </a:lnTo>
                <a:lnTo>
                  <a:pt x="4657" y="456"/>
                </a:lnTo>
                <a:lnTo>
                  <a:pt x="4669" y="446"/>
                </a:lnTo>
                <a:lnTo>
                  <a:pt x="4680" y="439"/>
                </a:lnTo>
                <a:lnTo>
                  <a:pt x="4690" y="431"/>
                </a:lnTo>
                <a:lnTo>
                  <a:pt x="4705" y="427"/>
                </a:lnTo>
                <a:lnTo>
                  <a:pt x="4719" y="423"/>
                </a:lnTo>
                <a:lnTo>
                  <a:pt x="4732" y="419"/>
                </a:lnTo>
                <a:lnTo>
                  <a:pt x="4745" y="415"/>
                </a:lnTo>
                <a:lnTo>
                  <a:pt x="4758" y="409"/>
                </a:lnTo>
                <a:lnTo>
                  <a:pt x="4771" y="406"/>
                </a:lnTo>
                <a:lnTo>
                  <a:pt x="4783" y="401"/>
                </a:lnTo>
                <a:lnTo>
                  <a:pt x="4797" y="398"/>
                </a:lnTo>
                <a:lnTo>
                  <a:pt x="4803" y="390"/>
                </a:lnTo>
                <a:lnTo>
                  <a:pt x="4810" y="381"/>
                </a:lnTo>
                <a:lnTo>
                  <a:pt x="4816" y="374"/>
                </a:lnTo>
                <a:lnTo>
                  <a:pt x="4822" y="364"/>
                </a:lnTo>
                <a:lnTo>
                  <a:pt x="4829" y="356"/>
                </a:lnTo>
                <a:lnTo>
                  <a:pt x="4835" y="347"/>
                </a:lnTo>
                <a:lnTo>
                  <a:pt x="4841" y="339"/>
                </a:lnTo>
                <a:lnTo>
                  <a:pt x="4847" y="329"/>
                </a:lnTo>
                <a:lnTo>
                  <a:pt x="4858" y="323"/>
                </a:lnTo>
                <a:lnTo>
                  <a:pt x="4868" y="316"/>
                </a:lnTo>
                <a:lnTo>
                  <a:pt x="4878" y="310"/>
                </a:lnTo>
                <a:lnTo>
                  <a:pt x="4887" y="303"/>
                </a:lnTo>
                <a:lnTo>
                  <a:pt x="4898" y="295"/>
                </a:lnTo>
                <a:lnTo>
                  <a:pt x="4907" y="288"/>
                </a:lnTo>
                <a:lnTo>
                  <a:pt x="4916" y="281"/>
                </a:lnTo>
                <a:lnTo>
                  <a:pt x="4925" y="273"/>
                </a:lnTo>
                <a:lnTo>
                  <a:pt x="4931" y="278"/>
                </a:lnTo>
                <a:lnTo>
                  <a:pt x="4938" y="283"/>
                </a:lnTo>
                <a:lnTo>
                  <a:pt x="4946" y="289"/>
                </a:lnTo>
                <a:lnTo>
                  <a:pt x="4950" y="294"/>
                </a:lnTo>
                <a:lnTo>
                  <a:pt x="4960" y="286"/>
                </a:lnTo>
                <a:lnTo>
                  <a:pt x="4972" y="278"/>
                </a:lnTo>
                <a:lnTo>
                  <a:pt x="4981" y="270"/>
                </a:lnTo>
                <a:lnTo>
                  <a:pt x="4992" y="262"/>
                </a:lnTo>
                <a:lnTo>
                  <a:pt x="5001" y="251"/>
                </a:lnTo>
                <a:lnTo>
                  <a:pt x="5012" y="242"/>
                </a:lnTo>
                <a:lnTo>
                  <a:pt x="5023" y="234"/>
                </a:lnTo>
                <a:lnTo>
                  <a:pt x="5033" y="226"/>
                </a:lnTo>
                <a:lnTo>
                  <a:pt x="5021" y="231"/>
                </a:lnTo>
                <a:lnTo>
                  <a:pt x="5010" y="237"/>
                </a:lnTo>
                <a:lnTo>
                  <a:pt x="4997" y="244"/>
                </a:lnTo>
                <a:lnTo>
                  <a:pt x="4983" y="248"/>
                </a:lnTo>
                <a:lnTo>
                  <a:pt x="4972" y="254"/>
                </a:lnTo>
                <a:lnTo>
                  <a:pt x="4960" y="259"/>
                </a:lnTo>
                <a:lnTo>
                  <a:pt x="4948" y="265"/>
                </a:lnTo>
                <a:lnTo>
                  <a:pt x="4936" y="270"/>
                </a:lnTo>
                <a:lnTo>
                  <a:pt x="4947" y="244"/>
                </a:lnTo>
                <a:lnTo>
                  <a:pt x="4956" y="221"/>
                </a:lnTo>
                <a:lnTo>
                  <a:pt x="4963" y="197"/>
                </a:lnTo>
                <a:lnTo>
                  <a:pt x="4968" y="173"/>
                </a:lnTo>
                <a:lnTo>
                  <a:pt x="4959" y="180"/>
                </a:lnTo>
                <a:lnTo>
                  <a:pt x="4950" y="190"/>
                </a:lnTo>
                <a:lnTo>
                  <a:pt x="4941" y="198"/>
                </a:lnTo>
                <a:lnTo>
                  <a:pt x="4930" y="206"/>
                </a:lnTo>
                <a:lnTo>
                  <a:pt x="4921" y="214"/>
                </a:lnTo>
                <a:lnTo>
                  <a:pt x="4910" y="223"/>
                </a:lnTo>
                <a:lnTo>
                  <a:pt x="4899" y="231"/>
                </a:lnTo>
                <a:lnTo>
                  <a:pt x="4889" y="240"/>
                </a:lnTo>
                <a:lnTo>
                  <a:pt x="4882" y="250"/>
                </a:lnTo>
                <a:lnTo>
                  <a:pt x="4872" y="259"/>
                </a:lnTo>
                <a:lnTo>
                  <a:pt x="4865" y="270"/>
                </a:lnTo>
                <a:lnTo>
                  <a:pt x="4858" y="281"/>
                </a:lnTo>
                <a:lnTo>
                  <a:pt x="4850" y="292"/>
                </a:lnTo>
                <a:lnTo>
                  <a:pt x="4842" y="303"/>
                </a:lnTo>
                <a:lnTo>
                  <a:pt x="4835" y="314"/>
                </a:lnTo>
                <a:lnTo>
                  <a:pt x="4827" y="325"/>
                </a:lnTo>
                <a:lnTo>
                  <a:pt x="4820" y="329"/>
                </a:lnTo>
                <a:lnTo>
                  <a:pt x="4813" y="334"/>
                </a:lnTo>
                <a:lnTo>
                  <a:pt x="4805" y="341"/>
                </a:lnTo>
                <a:lnTo>
                  <a:pt x="4799" y="346"/>
                </a:lnTo>
                <a:lnTo>
                  <a:pt x="4791" y="351"/>
                </a:lnTo>
                <a:lnTo>
                  <a:pt x="4785" y="356"/>
                </a:lnTo>
                <a:lnTo>
                  <a:pt x="4778" y="360"/>
                </a:lnTo>
                <a:lnTo>
                  <a:pt x="4771" y="365"/>
                </a:lnTo>
                <a:lnTo>
                  <a:pt x="4766" y="364"/>
                </a:lnTo>
                <a:lnTo>
                  <a:pt x="4760" y="363"/>
                </a:lnTo>
                <a:lnTo>
                  <a:pt x="4756" y="360"/>
                </a:lnTo>
                <a:lnTo>
                  <a:pt x="4752" y="359"/>
                </a:lnTo>
                <a:lnTo>
                  <a:pt x="4747" y="358"/>
                </a:lnTo>
                <a:lnTo>
                  <a:pt x="4743" y="356"/>
                </a:lnTo>
                <a:lnTo>
                  <a:pt x="4736" y="354"/>
                </a:lnTo>
                <a:lnTo>
                  <a:pt x="4732" y="354"/>
                </a:lnTo>
                <a:lnTo>
                  <a:pt x="4709" y="371"/>
                </a:lnTo>
                <a:lnTo>
                  <a:pt x="4688" y="390"/>
                </a:lnTo>
                <a:lnTo>
                  <a:pt x="4666" y="408"/>
                </a:lnTo>
                <a:lnTo>
                  <a:pt x="4644" y="427"/>
                </a:lnTo>
                <a:lnTo>
                  <a:pt x="4621" y="445"/>
                </a:lnTo>
                <a:lnTo>
                  <a:pt x="4597" y="464"/>
                </a:lnTo>
                <a:lnTo>
                  <a:pt x="4575" y="483"/>
                </a:lnTo>
                <a:lnTo>
                  <a:pt x="4551" y="502"/>
                </a:lnTo>
                <a:lnTo>
                  <a:pt x="4541" y="507"/>
                </a:lnTo>
                <a:lnTo>
                  <a:pt x="4531" y="513"/>
                </a:lnTo>
                <a:lnTo>
                  <a:pt x="4521" y="517"/>
                </a:lnTo>
                <a:lnTo>
                  <a:pt x="4511" y="524"/>
                </a:lnTo>
                <a:lnTo>
                  <a:pt x="4501" y="528"/>
                </a:lnTo>
                <a:lnTo>
                  <a:pt x="4492" y="533"/>
                </a:lnTo>
                <a:lnTo>
                  <a:pt x="4482" y="539"/>
                </a:lnTo>
                <a:lnTo>
                  <a:pt x="4474" y="544"/>
                </a:lnTo>
                <a:lnTo>
                  <a:pt x="4467" y="542"/>
                </a:lnTo>
                <a:lnTo>
                  <a:pt x="4461" y="539"/>
                </a:lnTo>
                <a:lnTo>
                  <a:pt x="4455" y="537"/>
                </a:lnTo>
                <a:lnTo>
                  <a:pt x="4451" y="533"/>
                </a:lnTo>
                <a:lnTo>
                  <a:pt x="4443" y="531"/>
                </a:lnTo>
                <a:lnTo>
                  <a:pt x="4439" y="528"/>
                </a:lnTo>
                <a:lnTo>
                  <a:pt x="4433" y="526"/>
                </a:lnTo>
                <a:lnTo>
                  <a:pt x="4427" y="524"/>
                </a:lnTo>
                <a:lnTo>
                  <a:pt x="4401" y="542"/>
                </a:lnTo>
                <a:lnTo>
                  <a:pt x="4376" y="558"/>
                </a:lnTo>
                <a:lnTo>
                  <a:pt x="4350" y="577"/>
                </a:lnTo>
                <a:lnTo>
                  <a:pt x="4325" y="594"/>
                </a:lnTo>
                <a:lnTo>
                  <a:pt x="4301" y="612"/>
                </a:lnTo>
                <a:lnTo>
                  <a:pt x="4274" y="630"/>
                </a:lnTo>
                <a:lnTo>
                  <a:pt x="4248" y="648"/>
                </a:lnTo>
                <a:lnTo>
                  <a:pt x="4223" y="665"/>
                </a:lnTo>
                <a:lnTo>
                  <a:pt x="4197" y="683"/>
                </a:lnTo>
                <a:lnTo>
                  <a:pt x="4172" y="702"/>
                </a:lnTo>
                <a:lnTo>
                  <a:pt x="4147" y="719"/>
                </a:lnTo>
                <a:lnTo>
                  <a:pt x="4121" y="737"/>
                </a:lnTo>
                <a:lnTo>
                  <a:pt x="4096" y="755"/>
                </a:lnTo>
                <a:lnTo>
                  <a:pt x="4069" y="773"/>
                </a:lnTo>
                <a:lnTo>
                  <a:pt x="4044" y="792"/>
                </a:lnTo>
                <a:lnTo>
                  <a:pt x="4018" y="810"/>
                </a:lnTo>
                <a:lnTo>
                  <a:pt x="4012" y="802"/>
                </a:lnTo>
                <a:lnTo>
                  <a:pt x="4005" y="795"/>
                </a:lnTo>
                <a:lnTo>
                  <a:pt x="3999" y="784"/>
                </a:lnTo>
                <a:lnTo>
                  <a:pt x="3995" y="774"/>
                </a:lnTo>
                <a:lnTo>
                  <a:pt x="4005" y="767"/>
                </a:lnTo>
                <a:lnTo>
                  <a:pt x="4014" y="760"/>
                </a:lnTo>
                <a:lnTo>
                  <a:pt x="4024" y="751"/>
                </a:lnTo>
                <a:lnTo>
                  <a:pt x="4033" y="742"/>
                </a:lnTo>
                <a:lnTo>
                  <a:pt x="4043" y="733"/>
                </a:lnTo>
                <a:lnTo>
                  <a:pt x="4053" y="725"/>
                </a:lnTo>
                <a:lnTo>
                  <a:pt x="4063" y="716"/>
                </a:lnTo>
                <a:lnTo>
                  <a:pt x="4074" y="707"/>
                </a:lnTo>
                <a:lnTo>
                  <a:pt x="4081" y="705"/>
                </a:lnTo>
                <a:lnTo>
                  <a:pt x="4088" y="702"/>
                </a:lnTo>
                <a:lnTo>
                  <a:pt x="4096" y="702"/>
                </a:lnTo>
                <a:lnTo>
                  <a:pt x="4105" y="699"/>
                </a:lnTo>
                <a:lnTo>
                  <a:pt x="4112" y="696"/>
                </a:lnTo>
                <a:lnTo>
                  <a:pt x="4120" y="694"/>
                </a:lnTo>
                <a:lnTo>
                  <a:pt x="4129" y="691"/>
                </a:lnTo>
                <a:lnTo>
                  <a:pt x="4136" y="689"/>
                </a:lnTo>
                <a:lnTo>
                  <a:pt x="4141" y="682"/>
                </a:lnTo>
                <a:lnTo>
                  <a:pt x="4146" y="675"/>
                </a:lnTo>
                <a:lnTo>
                  <a:pt x="4151" y="668"/>
                </a:lnTo>
                <a:lnTo>
                  <a:pt x="4156" y="661"/>
                </a:lnTo>
                <a:lnTo>
                  <a:pt x="4160" y="654"/>
                </a:lnTo>
                <a:lnTo>
                  <a:pt x="4166" y="647"/>
                </a:lnTo>
                <a:lnTo>
                  <a:pt x="4172" y="639"/>
                </a:lnTo>
                <a:lnTo>
                  <a:pt x="4177" y="631"/>
                </a:lnTo>
                <a:lnTo>
                  <a:pt x="4188" y="627"/>
                </a:lnTo>
                <a:lnTo>
                  <a:pt x="4196" y="621"/>
                </a:lnTo>
                <a:lnTo>
                  <a:pt x="4207" y="616"/>
                </a:lnTo>
                <a:lnTo>
                  <a:pt x="4217" y="610"/>
                </a:lnTo>
                <a:lnTo>
                  <a:pt x="4225" y="605"/>
                </a:lnTo>
                <a:lnTo>
                  <a:pt x="4235" y="600"/>
                </a:lnTo>
                <a:lnTo>
                  <a:pt x="4245" y="593"/>
                </a:lnTo>
                <a:lnTo>
                  <a:pt x="4255" y="588"/>
                </a:lnTo>
                <a:lnTo>
                  <a:pt x="4262" y="575"/>
                </a:lnTo>
                <a:lnTo>
                  <a:pt x="4269" y="562"/>
                </a:lnTo>
                <a:lnTo>
                  <a:pt x="4276" y="548"/>
                </a:lnTo>
                <a:lnTo>
                  <a:pt x="4284" y="533"/>
                </a:lnTo>
                <a:lnTo>
                  <a:pt x="4290" y="526"/>
                </a:lnTo>
                <a:lnTo>
                  <a:pt x="4298" y="519"/>
                </a:lnTo>
                <a:lnTo>
                  <a:pt x="4305" y="513"/>
                </a:lnTo>
                <a:lnTo>
                  <a:pt x="4311" y="507"/>
                </a:lnTo>
                <a:lnTo>
                  <a:pt x="4319" y="501"/>
                </a:lnTo>
                <a:lnTo>
                  <a:pt x="4327" y="495"/>
                </a:lnTo>
                <a:lnTo>
                  <a:pt x="4335" y="489"/>
                </a:lnTo>
                <a:lnTo>
                  <a:pt x="4343" y="482"/>
                </a:lnTo>
                <a:lnTo>
                  <a:pt x="4336" y="480"/>
                </a:lnTo>
                <a:lnTo>
                  <a:pt x="4331" y="477"/>
                </a:lnTo>
                <a:lnTo>
                  <a:pt x="4325" y="475"/>
                </a:lnTo>
                <a:lnTo>
                  <a:pt x="4319" y="471"/>
                </a:lnTo>
                <a:lnTo>
                  <a:pt x="4313" y="469"/>
                </a:lnTo>
                <a:lnTo>
                  <a:pt x="4307" y="465"/>
                </a:lnTo>
                <a:lnTo>
                  <a:pt x="4302" y="462"/>
                </a:lnTo>
                <a:lnTo>
                  <a:pt x="4296" y="458"/>
                </a:lnTo>
                <a:lnTo>
                  <a:pt x="4307" y="450"/>
                </a:lnTo>
                <a:lnTo>
                  <a:pt x="4318" y="440"/>
                </a:lnTo>
                <a:lnTo>
                  <a:pt x="4329" y="432"/>
                </a:lnTo>
                <a:lnTo>
                  <a:pt x="4342" y="423"/>
                </a:lnTo>
                <a:lnTo>
                  <a:pt x="4353" y="415"/>
                </a:lnTo>
                <a:lnTo>
                  <a:pt x="4365" y="406"/>
                </a:lnTo>
                <a:lnTo>
                  <a:pt x="4376" y="398"/>
                </a:lnTo>
                <a:lnTo>
                  <a:pt x="4388" y="389"/>
                </a:lnTo>
                <a:lnTo>
                  <a:pt x="4393" y="383"/>
                </a:lnTo>
                <a:lnTo>
                  <a:pt x="4401" y="378"/>
                </a:lnTo>
                <a:lnTo>
                  <a:pt x="4410" y="371"/>
                </a:lnTo>
                <a:lnTo>
                  <a:pt x="4415" y="364"/>
                </a:lnTo>
                <a:lnTo>
                  <a:pt x="4424" y="354"/>
                </a:lnTo>
                <a:lnTo>
                  <a:pt x="4435" y="343"/>
                </a:lnTo>
                <a:lnTo>
                  <a:pt x="4442" y="331"/>
                </a:lnTo>
                <a:lnTo>
                  <a:pt x="4451" y="320"/>
                </a:lnTo>
                <a:lnTo>
                  <a:pt x="4460" y="309"/>
                </a:lnTo>
                <a:lnTo>
                  <a:pt x="4468" y="298"/>
                </a:lnTo>
                <a:lnTo>
                  <a:pt x="4478" y="286"/>
                </a:lnTo>
                <a:lnTo>
                  <a:pt x="4486" y="275"/>
                </a:lnTo>
                <a:lnTo>
                  <a:pt x="4464" y="285"/>
                </a:lnTo>
                <a:lnTo>
                  <a:pt x="4444" y="294"/>
                </a:lnTo>
                <a:lnTo>
                  <a:pt x="4423" y="304"/>
                </a:lnTo>
                <a:lnTo>
                  <a:pt x="4403" y="313"/>
                </a:lnTo>
                <a:lnTo>
                  <a:pt x="4381" y="323"/>
                </a:lnTo>
                <a:lnTo>
                  <a:pt x="4360" y="332"/>
                </a:lnTo>
                <a:lnTo>
                  <a:pt x="4338" y="344"/>
                </a:lnTo>
                <a:lnTo>
                  <a:pt x="4318" y="354"/>
                </a:lnTo>
                <a:lnTo>
                  <a:pt x="4313" y="351"/>
                </a:lnTo>
                <a:lnTo>
                  <a:pt x="4309" y="348"/>
                </a:lnTo>
                <a:lnTo>
                  <a:pt x="4304" y="347"/>
                </a:lnTo>
                <a:lnTo>
                  <a:pt x="4300" y="345"/>
                </a:lnTo>
                <a:lnTo>
                  <a:pt x="4293" y="344"/>
                </a:lnTo>
                <a:lnTo>
                  <a:pt x="4289" y="341"/>
                </a:lnTo>
                <a:lnTo>
                  <a:pt x="4285" y="341"/>
                </a:lnTo>
                <a:lnTo>
                  <a:pt x="4280" y="340"/>
                </a:lnTo>
                <a:lnTo>
                  <a:pt x="4286" y="333"/>
                </a:lnTo>
                <a:lnTo>
                  <a:pt x="4293" y="327"/>
                </a:lnTo>
                <a:lnTo>
                  <a:pt x="4300" y="321"/>
                </a:lnTo>
                <a:lnTo>
                  <a:pt x="4305" y="314"/>
                </a:lnTo>
                <a:lnTo>
                  <a:pt x="4311" y="308"/>
                </a:lnTo>
                <a:lnTo>
                  <a:pt x="4318" y="302"/>
                </a:lnTo>
                <a:lnTo>
                  <a:pt x="4325" y="295"/>
                </a:lnTo>
                <a:lnTo>
                  <a:pt x="4333" y="289"/>
                </a:lnTo>
                <a:lnTo>
                  <a:pt x="4352" y="275"/>
                </a:lnTo>
                <a:lnTo>
                  <a:pt x="4374" y="256"/>
                </a:lnTo>
                <a:lnTo>
                  <a:pt x="4399" y="237"/>
                </a:lnTo>
                <a:lnTo>
                  <a:pt x="4427" y="217"/>
                </a:lnTo>
                <a:lnTo>
                  <a:pt x="4455" y="198"/>
                </a:lnTo>
                <a:lnTo>
                  <a:pt x="4480" y="179"/>
                </a:lnTo>
                <a:lnTo>
                  <a:pt x="4503" y="164"/>
                </a:lnTo>
                <a:lnTo>
                  <a:pt x="4520" y="149"/>
                </a:lnTo>
                <a:lnTo>
                  <a:pt x="4524" y="125"/>
                </a:lnTo>
                <a:lnTo>
                  <a:pt x="4521" y="114"/>
                </a:lnTo>
                <a:lnTo>
                  <a:pt x="4513" y="114"/>
                </a:lnTo>
                <a:lnTo>
                  <a:pt x="4504" y="120"/>
                </a:lnTo>
                <a:lnTo>
                  <a:pt x="4491" y="128"/>
                </a:lnTo>
                <a:lnTo>
                  <a:pt x="4480" y="136"/>
                </a:lnTo>
                <a:lnTo>
                  <a:pt x="4471" y="141"/>
                </a:lnTo>
                <a:lnTo>
                  <a:pt x="4464" y="140"/>
                </a:lnTo>
                <a:lnTo>
                  <a:pt x="4455" y="148"/>
                </a:lnTo>
                <a:lnTo>
                  <a:pt x="4441" y="154"/>
                </a:lnTo>
                <a:lnTo>
                  <a:pt x="4425" y="162"/>
                </a:lnTo>
                <a:lnTo>
                  <a:pt x="4410" y="167"/>
                </a:lnTo>
                <a:lnTo>
                  <a:pt x="4393" y="175"/>
                </a:lnTo>
                <a:lnTo>
                  <a:pt x="4377" y="180"/>
                </a:lnTo>
                <a:lnTo>
                  <a:pt x="4363" y="190"/>
                </a:lnTo>
                <a:lnTo>
                  <a:pt x="4352" y="197"/>
                </a:lnTo>
                <a:lnTo>
                  <a:pt x="4348" y="206"/>
                </a:lnTo>
                <a:lnTo>
                  <a:pt x="4345" y="216"/>
                </a:lnTo>
                <a:lnTo>
                  <a:pt x="4342" y="227"/>
                </a:lnTo>
                <a:lnTo>
                  <a:pt x="4338" y="237"/>
                </a:lnTo>
                <a:lnTo>
                  <a:pt x="4333" y="242"/>
                </a:lnTo>
                <a:lnTo>
                  <a:pt x="4328" y="248"/>
                </a:lnTo>
                <a:lnTo>
                  <a:pt x="4322" y="254"/>
                </a:lnTo>
                <a:lnTo>
                  <a:pt x="4315" y="259"/>
                </a:lnTo>
                <a:lnTo>
                  <a:pt x="4307" y="266"/>
                </a:lnTo>
                <a:lnTo>
                  <a:pt x="4302" y="271"/>
                </a:lnTo>
                <a:lnTo>
                  <a:pt x="4293" y="277"/>
                </a:lnTo>
                <a:lnTo>
                  <a:pt x="4286" y="282"/>
                </a:lnTo>
                <a:lnTo>
                  <a:pt x="4280" y="275"/>
                </a:lnTo>
                <a:lnTo>
                  <a:pt x="4276" y="268"/>
                </a:lnTo>
                <a:lnTo>
                  <a:pt x="4269" y="262"/>
                </a:lnTo>
                <a:lnTo>
                  <a:pt x="4262" y="254"/>
                </a:lnTo>
                <a:lnTo>
                  <a:pt x="4257" y="247"/>
                </a:lnTo>
                <a:lnTo>
                  <a:pt x="4248" y="241"/>
                </a:lnTo>
                <a:lnTo>
                  <a:pt x="4242" y="235"/>
                </a:lnTo>
                <a:lnTo>
                  <a:pt x="4237" y="229"/>
                </a:lnTo>
                <a:lnTo>
                  <a:pt x="4245" y="215"/>
                </a:lnTo>
                <a:lnTo>
                  <a:pt x="4253" y="203"/>
                </a:lnTo>
                <a:lnTo>
                  <a:pt x="4260" y="190"/>
                </a:lnTo>
                <a:lnTo>
                  <a:pt x="4269" y="175"/>
                </a:lnTo>
                <a:lnTo>
                  <a:pt x="4280" y="169"/>
                </a:lnTo>
                <a:lnTo>
                  <a:pt x="4288" y="162"/>
                </a:lnTo>
                <a:lnTo>
                  <a:pt x="4297" y="154"/>
                </a:lnTo>
                <a:lnTo>
                  <a:pt x="4305" y="146"/>
                </a:lnTo>
                <a:lnTo>
                  <a:pt x="4314" y="138"/>
                </a:lnTo>
                <a:lnTo>
                  <a:pt x="4323" y="131"/>
                </a:lnTo>
                <a:lnTo>
                  <a:pt x="4331" y="124"/>
                </a:lnTo>
                <a:lnTo>
                  <a:pt x="4338" y="117"/>
                </a:lnTo>
                <a:lnTo>
                  <a:pt x="4346" y="107"/>
                </a:lnTo>
                <a:lnTo>
                  <a:pt x="4350" y="100"/>
                </a:lnTo>
                <a:lnTo>
                  <a:pt x="4356" y="91"/>
                </a:lnTo>
                <a:lnTo>
                  <a:pt x="4362" y="83"/>
                </a:lnTo>
                <a:lnTo>
                  <a:pt x="4368" y="74"/>
                </a:lnTo>
                <a:lnTo>
                  <a:pt x="4373" y="65"/>
                </a:lnTo>
                <a:lnTo>
                  <a:pt x="4379" y="55"/>
                </a:lnTo>
                <a:lnTo>
                  <a:pt x="4386" y="47"/>
                </a:lnTo>
                <a:lnTo>
                  <a:pt x="4376" y="48"/>
                </a:lnTo>
                <a:lnTo>
                  <a:pt x="4366" y="50"/>
                </a:lnTo>
                <a:lnTo>
                  <a:pt x="4356" y="52"/>
                </a:lnTo>
                <a:lnTo>
                  <a:pt x="4346" y="52"/>
                </a:lnTo>
                <a:lnTo>
                  <a:pt x="4335" y="55"/>
                </a:lnTo>
                <a:lnTo>
                  <a:pt x="4325" y="56"/>
                </a:lnTo>
                <a:lnTo>
                  <a:pt x="4314" y="59"/>
                </a:lnTo>
                <a:lnTo>
                  <a:pt x="4304" y="60"/>
                </a:lnTo>
                <a:lnTo>
                  <a:pt x="4307" y="44"/>
                </a:lnTo>
                <a:lnTo>
                  <a:pt x="4311" y="29"/>
                </a:lnTo>
                <a:lnTo>
                  <a:pt x="4313" y="15"/>
                </a:lnTo>
                <a:lnTo>
                  <a:pt x="4315" y="0"/>
                </a:lnTo>
                <a:lnTo>
                  <a:pt x="4305" y="6"/>
                </a:lnTo>
                <a:lnTo>
                  <a:pt x="4296" y="12"/>
                </a:lnTo>
                <a:lnTo>
                  <a:pt x="4285" y="18"/>
                </a:lnTo>
                <a:lnTo>
                  <a:pt x="4276" y="25"/>
                </a:lnTo>
                <a:lnTo>
                  <a:pt x="4266" y="32"/>
                </a:lnTo>
                <a:lnTo>
                  <a:pt x="4257" y="41"/>
                </a:lnTo>
                <a:lnTo>
                  <a:pt x="4248" y="48"/>
                </a:lnTo>
                <a:lnTo>
                  <a:pt x="4238" y="55"/>
                </a:lnTo>
                <a:lnTo>
                  <a:pt x="4233" y="63"/>
                </a:lnTo>
                <a:lnTo>
                  <a:pt x="4227" y="74"/>
                </a:lnTo>
                <a:lnTo>
                  <a:pt x="4221" y="83"/>
                </a:lnTo>
                <a:lnTo>
                  <a:pt x="4217" y="93"/>
                </a:lnTo>
                <a:lnTo>
                  <a:pt x="4211" y="103"/>
                </a:lnTo>
                <a:lnTo>
                  <a:pt x="4205" y="114"/>
                </a:lnTo>
                <a:lnTo>
                  <a:pt x="4199" y="124"/>
                </a:lnTo>
                <a:lnTo>
                  <a:pt x="4195" y="135"/>
                </a:lnTo>
                <a:lnTo>
                  <a:pt x="4186" y="135"/>
                </a:lnTo>
                <a:lnTo>
                  <a:pt x="4177" y="135"/>
                </a:lnTo>
                <a:lnTo>
                  <a:pt x="4168" y="135"/>
                </a:lnTo>
                <a:lnTo>
                  <a:pt x="4160" y="135"/>
                </a:lnTo>
                <a:lnTo>
                  <a:pt x="4151" y="135"/>
                </a:lnTo>
                <a:lnTo>
                  <a:pt x="4144" y="135"/>
                </a:lnTo>
                <a:lnTo>
                  <a:pt x="4134" y="135"/>
                </a:lnTo>
                <a:lnTo>
                  <a:pt x="4126" y="134"/>
                </a:lnTo>
                <a:lnTo>
                  <a:pt x="4111" y="144"/>
                </a:lnTo>
                <a:lnTo>
                  <a:pt x="4096" y="156"/>
                </a:lnTo>
                <a:lnTo>
                  <a:pt x="4081" y="167"/>
                </a:lnTo>
                <a:lnTo>
                  <a:pt x="4066" y="177"/>
                </a:lnTo>
                <a:lnTo>
                  <a:pt x="4051" y="189"/>
                </a:lnTo>
                <a:lnTo>
                  <a:pt x="4035" y="200"/>
                </a:lnTo>
                <a:lnTo>
                  <a:pt x="4021" y="210"/>
                </a:lnTo>
                <a:lnTo>
                  <a:pt x="4003" y="221"/>
                </a:lnTo>
                <a:lnTo>
                  <a:pt x="3955" y="254"/>
                </a:lnTo>
                <a:lnTo>
                  <a:pt x="3906" y="284"/>
                </a:lnTo>
                <a:lnTo>
                  <a:pt x="3858" y="312"/>
                </a:lnTo>
                <a:lnTo>
                  <a:pt x="3809" y="337"/>
                </a:lnTo>
                <a:lnTo>
                  <a:pt x="3759" y="362"/>
                </a:lnTo>
                <a:lnTo>
                  <a:pt x="3711" y="387"/>
                </a:lnTo>
                <a:lnTo>
                  <a:pt x="3662" y="412"/>
                </a:lnTo>
                <a:lnTo>
                  <a:pt x="3614" y="435"/>
                </a:lnTo>
                <a:lnTo>
                  <a:pt x="3566" y="463"/>
                </a:lnTo>
                <a:lnTo>
                  <a:pt x="3518" y="493"/>
                </a:lnTo>
                <a:lnTo>
                  <a:pt x="3469" y="525"/>
                </a:lnTo>
                <a:lnTo>
                  <a:pt x="3421" y="558"/>
                </a:lnTo>
                <a:lnTo>
                  <a:pt x="3374" y="600"/>
                </a:lnTo>
                <a:lnTo>
                  <a:pt x="3327" y="644"/>
                </a:lnTo>
                <a:lnTo>
                  <a:pt x="3279" y="693"/>
                </a:lnTo>
                <a:lnTo>
                  <a:pt x="3231" y="749"/>
                </a:lnTo>
                <a:lnTo>
                  <a:pt x="3186" y="777"/>
                </a:lnTo>
                <a:lnTo>
                  <a:pt x="3151" y="800"/>
                </a:lnTo>
                <a:lnTo>
                  <a:pt x="3125" y="816"/>
                </a:lnTo>
                <a:lnTo>
                  <a:pt x="3108" y="826"/>
                </a:lnTo>
                <a:lnTo>
                  <a:pt x="3100" y="829"/>
                </a:lnTo>
                <a:lnTo>
                  <a:pt x="3098" y="828"/>
                </a:lnTo>
                <a:lnTo>
                  <a:pt x="3100" y="822"/>
                </a:lnTo>
                <a:lnTo>
                  <a:pt x="3107" y="813"/>
                </a:lnTo>
                <a:lnTo>
                  <a:pt x="3116" y="804"/>
                </a:lnTo>
                <a:lnTo>
                  <a:pt x="3128" y="792"/>
                </a:lnTo>
                <a:lnTo>
                  <a:pt x="3143" y="779"/>
                </a:lnTo>
                <a:lnTo>
                  <a:pt x="3156" y="767"/>
                </a:lnTo>
                <a:lnTo>
                  <a:pt x="3168" y="756"/>
                </a:lnTo>
                <a:lnTo>
                  <a:pt x="3178" y="744"/>
                </a:lnTo>
                <a:lnTo>
                  <a:pt x="3186" y="737"/>
                </a:lnTo>
                <a:lnTo>
                  <a:pt x="3188" y="733"/>
                </a:lnTo>
                <a:lnTo>
                  <a:pt x="3211" y="722"/>
                </a:lnTo>
                <a:lnTo>
                  <a:pt x="3230" y="712"/>
                </a:lnTo>
                <a:lnTo>
                  <a:pt x="3242" y="702"/>
                </a:lnTo>
                <a:lnTo>
                  <a:pt x="3251" y="696"/>
                </a:lnTo>
                <a:lnTo>
                  <a:pt x="3256" y="693"/>
                </a:lnTo>
                <a:lnTo>
                  <a:pt x="3259" y="689"/>
                </a:lnTo>
                <a:lnTo>
                  <a:pt x="3256" y="687"/>
                </a:lnTo>
                <a:lnTo>
                  <a:pt x="3253" y="686"/>
                </a:lnTo>
                <a:lnTo>
                  <a:pt x="3248" y="686"/>
                </a:lnTo>
                <a:lnTo>
                  <a:pt x="3244" y="686"/>
                </a:lnTo>
                <a:lnTo>
                  <a:pt x="3239" y="685"/>
                </a:lnTo>
                <a:lnTo>
                  <a:pt x="3235" y="683"/>
                </a:lnTo>
                <a:lnTo>
                  <a:pt x="3233" y="681"/>
                </a:lnTo>
                <a:lnTo>
                  <a:pt x="3233" y="678"/>
                </a:lnTo>
                <a:lnTo>
                  <a:pt x="3235" y="671"/>
                </a:lnTo>
                <a:lnTo>
                  <a:pt x="3240" y="665"/>
                </a:lnTo>
                <a:lnTo>
                  <a:pt x="3248" y="656"/>
                </a:lnTo>
                <a:lnTo>
                  <a:pt x="3261" y="644"/>
                </a:lnTo>
                <a:lnTo>
                  <a:pt x="3279" y="630"/>
                </a:lnTo>
                <a:lnTo>
                  <a:pt x="3302" y="613"/>
                </a:lnTo>
                <a:lnTo>
                  <a:pt x="3330" y="593"/>
                </a:lnTo>
                <a:lnTo>
                  <a:pt x="3366" y="570"/>
                </a:lnTo>
                <a:lnTo>
                  <a:pt x="3407" y="542"/>
                </a:lnTo>
                <a:lnTo>
                  <a:pt x="3456" y="511"/>
                </a:lnTo>
                <a:lnTo>
                  <a:pt x="3513" y="473"/>
                </a:lnTo>
                <a:lnTo>
                  <a:pt x="3578" y="433"/>
                </a:lnTo>
                <a:lnTo>
                  <a:pt x="3654" y="389"/>
                </a:lnTo>
                <a:lnTo>
                  <a:pt x="3738" y="337"/>
                </a:lnTo>
                <a:lnTo>
                  <a:pt x="3833" y="282"/>
                </a:lnTo>
                <a:lnTo>
                  <a:pt x="3941" y="219"/>
                </a:lnTo>
                <a:lnTo>
                  <a:pt x="4057" y="152"/>
                </a:lnTo>
                <a:lnTo>
                  <a:pt x="4084" y="134"/>
                </a:lnTo>
                <a:lnTo>
                  <a:pt x="4107" y="117"/>
                </a:lnTo>
                <a:lnTo>
                  <a:pt x="4125" y="100"/>
                </a:lnTo>
                <a:lnTo>
                  <a:pt x="4138" y="85"/>
                </a:lnTo>
                <a:lnTo>
                  <a:pt x="4147" y="71"/>
                </a:lnTo>
                <a:lnTo>
                  <a:pt x="4151" y="61"/>
                </a:lnTo>
                <a:lnTo>
                  <a:pt x="4151" y="54"/>
                </a:lnTo>
                <a:lnTo>
                  <a:pt x="4147" y="52"/>
                </a:lnTo>
                <a:lnTo>
                  <a:pt x="4121" y="56"/>
                </a:lnTo>
                <a:lnTo>
                  <a:pt x="4093" y="69"/>
                </a:lnTo>
                <a:lnTo>
                  <a:pt x="4066" y="89"/>
                </a:lnTo>
                <a:lnTo>
                  <a:pt x="4038" y="107"/>
                </a:lnTo>
                <a:lnTo>
                  <a:pt x="4014" y="127"/>
                </a:lnTo>
                <a:lnTo>
                  <a:pt x="3992" y="140"/>
                </a:lnTo>
                <a:lnTo>
                  <a:pt x="3975" y="144"/>
                </a:lnTo>
                <a:lnTo>
                  <a:pt x="3963" y="134"/>
                </a:lnTo>
                <a:lnTo>
                  <a:pt x="3949" y="156"/>
                </a:lnTo>
                <a:lnTo>
                  <a:pt x="3947" y="164"/>
                </a:lnTo>
                <a:lnTo>
                  <a:pt x="3949" y="162"/>
                </a:lnTo>
                <a:lnTo>
                  <a:pt x="3952" y="153"/>
                </a:lnTo>
                <a:lnTo>
                  <a:pt x="3950" y="144"/>
                </a:lnTo>
                <a:lnTo>
                  <a:pt x="3936" y="144"/>
                </a:lnTo>
                <a:lnTo>
                  <a:pt x="3904" y="154"/>
                </a:lnTo>
                <a:lnTo>
                  <a:pt x="3848" y="179"/>
                </a:lnTo>
                <a:lnTo>
                  <a:pt x="3831" y="190"/>
                </a:lnTo>
                <a:lnTo>
                  <a:pt x="3811" y="200"/>
                </a:lnTo>
                <a:lnTo>
                  <a:pt x="3790" y="211"/>
                </a:lnTo>
                <a:lnTo>
                  <a:pt x="3766" y="226"/>
                </a:lnTo>
                <a:lnTo>
                  <a:pt x="3743" y="240"/>
                </a:lnTo>
                <a:lnTo>
                  <a:pt x="3716" y="254"/>
                </a:lnTo>
                <a:lnTo>
                  <a:pt x="3689" y="271"/>
                </a:lnTo>
                <a:lnTo>
                  <a:pt x="3662" y="288"/>
                </a:lnTo>
                <a:lnTo>
                  <a:pt x="3633" y="306"/>
                </a:lnTo>
                <a:lnTo>
                  <a:pt x="3603" y="323"/>
                </a:lnTo>
                <a:lnTo>
                  <a:pt x="3574" y="343"/>
                </a:lnTo>
                <a:lnTo>
                  <a:pt x="3543" y="362"/>
                </a:lnTo>
                <a:lnTo>
                  <a:pt x="3512" y="381"/>
                </a:lnTo>
                <a:lnTo>
                  <a:pt x="3481" y="401"/>
                </a:lnTo>
                <a:lnTo>
                  <a:pt x="3448" y="422"/>
                </a:lnTo>
                <a:lnTo>
                  <a:pt x="3417" y="442"/>
                </a:lnTo>
                <a:lnTo>
                  <a:pt x="3386" y="463"/>
                </a:lnTo>
                <a:lnTo>
                  <a:pt x="3352" y="483"/>
                </a:lnTo>
                <a:lnTo>
                  <a:pt x="3322" y="504"/>
                </a:lnTo>
                <a:lnTo>
                  <a:pt x="3290" y="525"/>
                </a:lnTo>
                <a:lnTo>
                  <a:pt x="3260" y="544"/>
                </a:lnTo>
                <a:lnTo>
                  <a:pt x="3230" y="566"/>
                </a:lnTo>
                <a:lnTo>
                  <a:pt x="3201" y="583"/>
                </a:lnTo>
                <a:lnTo>
                  <a:pt x="3172" y="604"/>
                </a:lnTo>
                <a:lnTo>
                  <a:pt x="3145" y="621"/>
                </a:lnTo>
                <a:lnTo>
                  <a:pt x="3119" y="639"/>
                </a:lnTo>
                <a:lnTo>
                  <a:pt x="3093" y="656"/>
                </a:lnTo>
                <a:lnTo>
                  <a:pt x="3069" y="671"/>
                </a:lnTo>
                <a:lnTo>
                  <a:pt x="3045" y="689"/>
                </a:lnTo>
                <a:lnTo>
                  <a:pt x="3025" y="702"/>
                </a:lnTo>
                <a:lnTo>
                  <a:pt x="3005" y="716"/>
                </a:lnTo>
                <a:lnTo>
                  <a:pt x="2988" y="727"/>
                </a:lnTo>
                <a:lnTo>
                  <a:pt x="2937" y="762"/>
                </a:lnTo>
                <a:lnTo>
                  <a:pt x="2886" y="797"/>
                </a:lnTo>
                <a:lnTo>
                  <a:pt x="2837" y="830"/>
                </a:lnTo>
                <a:lnTo>
                  <a:pt x="2788" y="862"/>
                </a:lnTo>
                <a:lnTo>
                  <a:pt x="2738" y="894"/>
                </a:lnTo>
                <a:lnTo>
                  <a:pt x="2690" y="925"/>
                </a:lnTo>
                <a:lnTo>
                  <a:pt x="2642" y="956"/>
                </a:lnTo>
                <a:lnTo>
                  <a:pt x="2596" y="987"/>
                </a:lnTo>
                <a:lnTo>
                  <a:pt x="2550" y="1018"/>
                </a:lnTo>
                <a:lnTo>
                  <a:pt x="2505" y="1049"/>
                </a:lnTo>
                <a:lnTo>
                  <a:pt x="2459" y="1078"/>
                </a:lnTo>
                <a:lnTo>
                  <a:pt x="2415" y="1108"/>
                </a:lnTo>
                <a:lnTo>
                  <a:pt x="2371" y="1137"/>
                </a:lnTo>
                <a:lnTo>
                  <a:pt x="2327" y="1168"/>
                </a:lnTo>
                <a:lnTo>
                  <a:pt x="2285" y="1199"/>
                </a:lnTo>
                <a:lnTo>
                  <a:pt x="2243" y="1227"/>
                </a:lnTo>
                <a:lnTo>
                  <a:pt x="2219" y="1249"/>
                </a:lnTo>
                <a:lnTo>
                  <a:pt x="2197" y="1270"/>
                </a:lnTo>
                <a:lnTo>
                  <a:pt x="2175" y="1293"/>
                </a:lnTo>
                <a:lnTo>
                  <a:pt x="2154" y="1316"/>
                </a:lnTo>
                <a:lnTo>
                  <a:pt x="2134" y="1339"/>
                </a:lnTo>
                <a:lnTo>
                  <a:pt x="2114" y="1362"/>
                </a:lnTo>
                <a:lnTo>
                  <a:pt x="2097" y="1385"/>
                </a:lnTo>
                <a:lnTo>
                  <a:pt x="2078" y="1408"/>
                </a:lnTo>
                <a:lnTo>
                  <a:pt x="2058" y="1432"/>
                </a:lnTo>
                <a:lnTo>
                  <a:pt x="2041" y="1455"/>
                </a:lnTo>
                <a:lnTo>
                  <a:pt x="2022" y="1479"/>
                </a:lnTo>
                <a:lnTo>
                  <a:pt x="2003" y="1501"/>
                </a:lnTo>
                <a:lnTo>
                  <a:pt x="1985" y="1524"/>
                </a:lnTo>
                <a:lnTo>
                  <a:pt x="1966" y="1545"/>
                </a:lnTo>
                <a:lnTo>
                  <a:pt x="1946" y="1566"/>
                </a:lnTo>
                <a:lnTo>
                  <a:pt x="1926" y="1587"/>
                </a:lnTo>
                <a:lnTo>
                  <a:pt x="1903" y="1608"/>
                </a:lnTo>
                <a:lnTo>
                  <a:pt x="1879" y="1635"/>
                </a:lnTo>
                <a:lnTo>
                  <a:pt x="1854" y="1666"/>
                </a:lnTo>
                <a:lnTo>
                  <a:pt x="1829" y="1701"/>
                </a:lnTo>
                <a:lnTo>
                  <a:pt x="1803" y="1734"/>
                </a:lnTo>
                <a:lnTo>
                  <a:pt x="1779" y="1765"/>
                </a:lnTo>
                <a:lnTo>
                  <a:pt x="1757" y="1791"/>
                </a:lnTo>
                <a:lnTo>
                  <a:pt x="1737" y="1811"/>
                </a:lnTo>
                <a:lnTo>
                  <a:pt x="1709" y="1831"/>
                </a:lnTo>
                <a:lnTo>
                  <a:pt x="1690" y="1846"/>
                </a:lnTo>
                <a:lnTo>
                  <a:pt x="1677" y="1855"/>
                </a:lnTo>
                <a:lnTo>
                  <a:pt x="1667" y="1862"/>
                </a:lnTo>
                <a:lnTo>
                  <a:pt x="1657" y="1868"/>
                </a:lnTo>
                <a:lnTo>
                  <a:pt x="1645" y="1879"/>
                </a:lnTo>
                <a:lnTo>
                  <a:pt x="1631" y="1892"/>
                </a:lnTo>
                <a:lnTo>
                  <a:pt x="1609" y="1914"/>
                </a:lnTo>
                <a:lnTo>
                  <a:pt x="1587" y="1947"/>
                </a:lnTo>
                <a:lnTo>
                  <a:pt x="1568" y="1981"/>
                </a:lnTo>
                <a:lnTo>
                  <a:pt x="1550" y="2018"/>
                </a:lnTo>
                <a:lnTo>
                  <a:pt x="1534" y="2057"/>
                </a:lnTo>
                <a:lnTo>
                  <a:pt x="1518" y="2093"/>
                </a:lnTo>
                <a:lnTo>
                  <a:pt x="1501" y="2130"/>
                </a:lnTo>
                <a:lnTo>
                  <a:pt x="1486" y="2166"/>
                </a:lnTo>
                <a:lnTo>
                  <a:pt x="1469" y="2199"/>
                </a:lnTo>
                <a:lnTo>
                  <a:pt x="1454" y="2170"/>
                </a:lnTo>
                <a:lnTo>
                  <a:pt x="1435" y="2142"/>
                </a:lnTo>
                <a:lnTo>
                  <a:pt x="1416" y="2112"/>
                </a:lnTo>
                <a:lnTo>
                  <a:pt x="1395" y="2082"/>
                </a:lnTo>
                <a:lnTo>
                  <a:pt x="1372" y="2054"/>
                </a:lnTo>
                <a:lnTo>
                  <a:pt x="1350" y="2025"/>
                </a:lnTo>
                <a:lnTo>
                  <a:pt x="1327" y="1996"/>
                </a:lnTo>
                <a:lnTo>
                  <a:pt x="1304" y="1967"/>
                </a:lnTo>
                <a:lnTo>
                  <a:pt x="1281" y="1937"/>
                </a:lnTo>
                <a:lnTo>
                  <a:pt x="1259" y="1907"/>
                </a:lnTo>
                <a:lnTo>
                  <a:pt x="1239" y="1880"/>
                </a:lnTo>
                <a:lnTo>
                  <a:pt x="1220" y="1850"/>
                </a:lnTo>
                <a:lnTo>
                  <a:pt x="1202" y="1821"/>
                </a:lnTo>
                <a:lnTo>
                  <a:pt x="1187" y="1792"/>
                </a:lnTo>
                <a:lnTo>
                  <a:pt x="1173" y="1763"/>
                </a:lnTo>
                <a:lnTo>
                  <a:pt x="1164" y="1735"/>
                </a:lnTo>
                <a:lnTo>
                  <a:pt x="1148" y="1695"/>
                </a:lnTo>
                <a:lnTo>
                  <a:pt x="1131" y="1653"/>
                </a:lnTo>
                <a:lnTo>
                  <a:pt x="1112" y="1608"/>
                </a:lnTo>
                <a:lnTo>
                  <a:pt x="1093" y="1564"/>
                </a:lnTo>
                <a:lnTo>
                  <a:pt x="1075" y="1519"/>
                </a:lnTo>
                <a:lnTo>
                  <a:pt x="1057" y="1475"/>
                </a:lnTo>
                <a:lnTo>
                  <a:pt x="1040" y="1432"/>
                </a:lnTo>
                <a:lnTo>
                  <a:pt x="1026" y="1391"/>
                </a:lnTo>
                <a:lnTo>
                  <a:pt x="1002" y="1400"/>
                </a:lnTo>
                <a:lnTo>
                  <a:pt x="980" y="1410"/>
                </a:lnTo>
                <a:lnTo>
                  <a:pt x="957" y="1418"/>
                </a:lnTo>
                <a:lnTo>
                  <a:pt x="935" y="1428"/>
                </a:lnTo>
                <a:lnTo>
                  <a:pt x="912" y="1436"/>
                </a:lnTo>
                <a:lnTo>
                  <a:pt x="890" y="1443"/>
                </a:lnTo>
                <a:lnTo>
                  <a:pt x="867" y="1451"/>
                </a:lnTo>
                <a:lnTo>
                  <a:pt x="844" y="1460"/>
                </a:lnTo>
                <a:lnTo>
                  <a:pt x="828" y="1469"/>
                </a:lnTo>
                <a:lnTo>
                  <a:pt x="809" y="1476"/>
                </a:lnTo>
                <a:lnTo>
                  <a:pt x="791" y="1485"/>
                </a:lnTo>
                <a:lnTo>
                  <a:pt x="773" y="1493"/>
                </a:lnTo>
                <a:lnTo>
                  <a:pt x="755" y="1501"/>
                </a:lnTo>
                <a:lnTo>
                  <a:pt x="739" y="1510"/>
                </a:lnTo>
                <a:lnTo>
                  <a:pt x="721" y="1517"/>
                </a:lnTo>
                <a:lnTo>
                  <a:pt x="703" y="1525"/>
                </a:lnTo>
                <a:lnTo>
                  <a:pt x="685" y="1533"/>
                </a:lnTo>
                <a:lnTo>
                  <a:pt x="667" y="1542"/>
                </a:lnTo>
                <a:lnTo>
                  <a:pt x="651" y="1549"/>
                </a:lnTo>
                <a:lnTo>
                  <a:pt x="634" y="1558"/>
                </a:lnTo>
                <a:lnTo>
                  <a:pt x="616" y="1564"/>
                </a:lnTo>
                <a:lnTo>
                  <a:pt x="600" y="1573"/>
                </a:lnTo>
                <a:lnTo>
                  <a:pt x="582" y="1581"/>
                </a:lnTo>
                <a:lnTo>
                  <a:pt x="566" y="1589"/>
                </a:lnTo>
                <a:lnTo>
                  <a:pt x="563" y="1589"/>
                </a:lnTo>
                <a:lnTo>
                  <a:pt x="554" y="1589"/>
                </a:lnTo>
                <a:lnTo>
                  <a:pt x="540" y="1591"/>
                </a:lnTo>
                <a:lnTo>
                  <a:pt x="523" y="1595"/>
                </a:lnTo>
                <a:lnTo>
                  <a:pt x="503" y="1599"/>
                </a:lnTo>
                <a:lnTo>
                  <a:pt x="480" y="1605"/>
                </a:lnTo>
                <a:lnTo>
                  <a:pt x="456" y="1613"/>
                </a:lnTo>
                <a:lnTo>
                  <a:pt x="431" y="1620"/>
                </a:lnTo>
                <a:lnTo>
                  <a:pt x="406" y="1626"/>
                </a:lnTo>
                <a:lnTo>
                  <a:pt x="381" y="1633"/>
                </a:lnTo>
                <a:lnTo>
                  <a:pt x="359" y="1640"/>
                </a:lnTo>
                <a:lnTo>
                  <a:pt x="341" y="1644"/>
                </a:lnTo>
                <a:lnTo>
                  <a:pt x="323" y="1648"/>
                </a:lnTo>
                <a:lnTo>
                  <a:pt x="311" y="1653"/>
                </a:lnTo>
                <a:lnTo>
                  <a:pt x="304" y="1653"/>
                </a:lnTo>
                <a:lnTo>
                  <a:pt x="301" y="1651"/>
                </a:lnTo>
                <a:lnTo>
                  <a:pt x="281" y="1662"/>
                </a:lnTo>
                <a:lnTo>
                  <a:pt x="262" y="1672"/>
                </a:lnTo>
                <a:lnTo>
                  <a:pt x="242" y="1683"/>
                </a:lnTo>
                <a:lnTo>
                  <a:pt x="224" y="1695"/>
                </a:lnTo>
                <a:lnTo>
                  <a:pt x="203" y="1705"/>
                </a:lnTo>
                <a:lnTo>
                  <a:pt x="185" y="1715"/>
                </a:lnTo>
                <a:lnTo>
                  <a:pt x="165" y="1726"/>
                </a:lnTo>
                <a:lnTo>
                  <a:pt x="146" y="1737"/>
                </a:lnTo>
                <a:lnTo>
                  <a:pt x="127" y="1748"/>
                </a:lnTo>
                <a:lnTo>
                  <a:pt x="108" y="1759"/>
                </a:lnTo>
                <a:lnTo>
                  <a:pt x="89" y="1770"/>
                </a:lnTo>
                <a:lnTo>
                  <a:pt x="72" y="1781"/>
                </a:lnTo>
                <a:lnTo>
                  <a:pt x="54" y="1791"/>
                </a:lnTo>
                <a:lnTo>
                  <a:pt x="36" y="1803"/>
                </a:lnTo>
                <a:lnTo>
                  <a:pt x="18" y="1813"/>
                </a:lnTo>
                <a:lnTo>
                  <a:pt x="0" y="182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Freeform 6"/>
          <p:cNvSpPr>
            <a:spLocks/>
          </p:cNvSpPr>
          <p:nvPr/>
        </p:nvSpPr>
        <p:spPr bwMode="auto">
          <a:xfrm>
            <a:off x="859827" y="3761279"/>
            <a:ext cx="15610" cy="16401"/>
          </a:xfrm>
          <a:custGeom>
            <a:avLst/>
            <a:gdLst>
              <a:gd name="T0" fmla="*/ 242 w 242"/>
              <a:gd name="T1" fmla="*/ 0 h 195"/>
              <a:gd name="T2" fmla="*/ 213 w 242"/>
              <a:gd name="T3" fmla="*/ 19 h 195"/>
              <a:gd name="T4" fmla="*/ 190 w 242"/>
              <a:gd name="T5" fmla="*/ 37 h 195"/>
              <a:gd name="T6" fmla="*/ 170 w 242"/>
              <a:gd name="T7" fmla="*/ 52 h 195"/>
              <a:gd name="T8" fmla="*/ 152 w 242"/>
              <a:gd name="T9" fmla="*/ 66 h 195"/>
              <a:gd name="T10" fmla="*/ 134 w 242"/>
              <a:gd name="T11" fmla="*/ 83 h 195"/>
              <a:gd name="T12" fmla="*/ 115 w 242"/>
              <a:gd name="T13" fmla="*/ 98 h 195"/>
              <a:gd name="T14" fmla="*/ 92 w 242"/>
              <a:gd name="T15" fmla="*/ 116 h 195"/>
              <a:gd name="T16" fmla="*/ 62 w 242"/>
              <a:gd name="T17" fmla="*/ 133 h 195"/>
              <a:gd name="T18" fmla="*/ 60 w 242"/>
              <a:gd name="T19" fmla="*/ 139 h 195"/>
              <a:gd name="T20" fmla="*/ 52 w 242"/>
              <a:gd name="T21" fmla="*/ 142 h 195"/>
              <a:gd name="T22" fmla="*/ 39 w 242"/>
              <a:gd name="T23" fmla="*/ 146 h 195"/>
              <a:gd name="T24" fmla="*/ 26 w 242"/>
              <a:gd name="T25" fmla="*/ 150 h 195"/>
              <a:gd name="T26" fmla="*/ 11 w 242"/>
              <a:gd name="T27" fmla="*/ 157 h 195"/>
              <a:gd name="T28" fmla="*/ 4 w 242"/>
              <a:gd name="T29" fmla="*/ 165 h 195"/>
              <a:gd name="T30" fmla="*/ 0 w 242"/>
              <a:gd name="T31" fmla="*/ 177 h 195"/>
              <a:gd name="T32" fmla="*/ 7 w 242"/>
              <a:gd name="T33" fmla="*/ 195 h 195"/>
              <a:gd name="T34" fmla="*/ 21 w 242"/>
              <a:gd name="T35" fmla="*/ 185 h 195"/>
              <a:gd name="T36" fmla="*/ 36 w 242"/>
              <a:gd name="T37" fmla="*/ 175 h 195"/>
              <a:gd name="T38" fmla="*/ 51 w 242"/>
              <a:gd name="T39" fmla="*/ 165 h 195"/>
              <a:gd name="T40" fmla="*/ 64 w 242"/>
              <a:gd name="T41" fmla="*/ 154 h 195"/>
              <a:gd name="T42" fmla="*/ 80 w 242"/>
              <a:gd name="T43" fmla="*/ 144 h 195"/>
              <a:gd name="T44" fmla="*/ 95 w 242"/>
              <a:gd name="T45" fmla="*/ 134 h 195"/>
              <a:gd name="T46" fmla="*/ 108 w 242"/>
              <a:gd name="T47" fmla="*/ 125 h 195"/>
              <a:gd name="T48" fmla="*/ 123 w 242"/>
              <a:gd name="T49" fmla="*/ 115 h 195"/>
              <a:gd name="T50" fmla="*/ 139 w 242"/>
              <a:gd name="T51" fmla="*/ 105 h 195"/>
              <a:gd name="T52" fmla="*/ 152 w 242"/>
              <a:gd name="T53" fmla="*/ 95 h 195"/>
              <a:gd name="T54" fmla="*/ 168 w 242"/>
              <a:gd name="T55" fmla="*/ 85 h 195"/>
              <a:gd name="T56" fmla="*/ 183 w 242"/>
              <a:gd name="T57" fmla="*/ 75 h 195"/>
              <a:gd name="T58" fmla="*/ 197 w 242"/>
              <a:gd name="T59" fmla="*/ 65 h 195"/>
              <a:gd name="T60" fmla="*/ 213 w 242"/>
              <a:gd name="T61" fmla="*/ 55 h 195"/>
              <a:gd name="T62" fmla="*/ 228 w 242"/>
              <a:gd name="T63" fmla="*/ 44 h 195"/>
              <a:gd name="T64" fmla="*/ 242 w 242"/>
              <a:gd name="T65" fmla="*/ 35 h 195"/>
              <a:gd name="T66" fmla="*/ 242 w 242"/>
              <a:gd name="T67" fmla="*/ 26 h 195"/>
              <a:gd name="T68" fmla="*/ 242 w 242"/>
              <a:gd name="T69" fmla="*/ 17 h 195"/>
              <a:gd name="T70" fmla="*/ 242 w 242"/>
              <a:gd name="T71" fmla="*/ 9 h 195"/>
              <a:gd name="T72" fmla="*/ 242 w 242"/>
              <a:gd name="T73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2" h="195">
                <a:moveTo>
                  <a:pt x="242" y="0"/>
                </a:moveTo>
                <a:lnTo>
                  <a:pt x="213" y="19"/>
                </a:lnTo>
                <a:lnTo>
                  <a:pt x="190" y="37"/>
                </a:lnTo>
                <a:lnTo>
                  <a:pt x="170" y="52"/>
                </a:lnTo>
                <a:lnTo>
                  <a:pt x="152" y="66"/>
                </a:lnTo>
                <a:lnTo>
                  <a:pt x="134" y="83"/>
                </a:lnTo>
                <a:lnTo>
                  <a:pt x="115" y="98"/>
                </a:lnTo>
                <a:lnTo>
                  <a:pt x="92" y="116"/>
                </a:lnTo>
                <a:lnTo>
                  <a:pt x="62" y="133"/>
                </a:lnTo>
                <a:lnTo>
                  <a:pt x="60" y="139"/>
                </a:lnTo>
                <a:lnTo>
                  <a:pt x="52" y="142"/>
                </a:lnTo>
                <a:lnTo>
                  <a:pt x="39" y="146"/>
                </a:lnTo>
                <a:lnTo>
                  <a:pt x="26" y="150"/>
                </a:lnTo>
                <a:lnTo>
                  <a:pt x="11" y="157"/>
                </a:lnTo>
                <a:lnTo>
                  <a:pt x="4" y="165"/>
                </a:lnTo>
                <a:lnTo>
                  <a:pt x="0" y="177"/>
                </a:lnTo>
                <a:lnTo>
                  <a:pt x="7" y="195"/>
                </a:lnTo>
                <a:lnTo>
                  <a:pt x="21" y="185"/>
                </a:lnTo>
                <a:lnTo>
                  <a:pt x="36" y="175"/>
                </a:lnTo>
                <a:lnTo>
                  <a:pt x="51" y="165"/>
                </a:lnTo>
                <a:lnTo>
                  <a:pt x="64" y="154"/>
                </a:lnTo>
                <a:lnTo>
                  <a:pt x="80" y="144"/>
                </a:lnTo>
                <a:lnTo>
                  <a:pt x="95" y="134"/>
                </a:lnTo>
                <a:lnTo>
                  <a:pt x="108" y="125"/>
                </a:lnTo>
                <a:lnTo>
                  <a:pt x="123" y="115"/>
                </a:lnTo>
                <a:lnTo>
                  <a:pt x="139" y="105"/>
                </a:lnTo>
                <a:lnTo>
                  <a:pt x="152" y="95"/>
                </a:lnTo>
                <a:lnTo>
                  <a:pt x="168" y="85"/>
                </a:lnTo>
                <a:lnTo>
                  <a:pt x="183" y="75"/>
                </a:lnTo>
                <a:lnTo>
                  <a:pt x="197" y="65"/>
                </a:lnTo>
                <a:lnTo>
                  <a:pt x="213" y="55"/>
                </a:lnTo>
                <a:lnTo>
                  <a:pt x="228" y="44"/>
                </a:lnTo>
                <a:lnTo>
                  <a:pt x="242" y="35"/>
                </a:lnTo>
                <a:lnTo>
                  <a:pt x="242" y="26"/>
                </a:lnTo>
                <a:lnTo>
                  <a:pt x="242" y="17"/>
                </a:lnTo>
                <a:lnTo>
                  <a:pt x="242" y="9"/>
                </a:lnTo>
                <a:lnTo>
                  <a:pt x="24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7" name="Freeform 7"/>
          <p:cNvSpPr>
            <a:spLocks/>
          </p:cNvSpPr>
          <p:nvPr/>
        </p:nvSpPr>
        <p:spPr bwMode="auto">
          <a:xfrm>
            <a:off x="919339" y="3729503"/>
            <a:ext cx="8780" cy="10251"/>
          </a:xfrm>
          <a:custGeom>
            <a:avLst/>
            <a:gdLst>
              <a:gd name="T0" fmla="*/ 137 w 141"/>
              <a:gd name="T1" fmla="*/ 0 h 109"/>
              <a:gd name="T2" fmla="*/ 128 w 141"/>
              <a:gd name="T3" fmla="*/ 5 h 109"/>
              <a:gd name="T4" fmla="*/ 120 w 141"/>
              <a:gd name="T5" fmla="*/ 11 h 109"/>
              <a:gd name="T6" fmla="*/ 112 w 141"/>
              <a:gd name="T7" fmla="*/ 16 h 109"/>
              <a:gd name="T8" fmla="*/ 106 w 141"/>
              <a:gd name="T9" fmla="*/ 22 h 109"/>
              <a:gd name="T10" fmla="*/ 98 w 141"/>
              <a:gd name="T11" fmla="*/ 28 h 109"/>
              <a:gd name="T12" fmla="*/ 90 w 141"/>
              <a:gd name="T13" fmla="*/ 32 h 109"/>
              <a:gd name="T14" fmla="*/ 83 w 141"/>
              <a:gd name="T15" fmla="*/ 38 h 109"/>
              <a:gd name="T16" fmla="*/ 76 w 141"/>
              <a:gd name="T17" fmla="*/ 42 h 109"/>
              <a:gd name="T18" fmla="*/ 67 w 141"/>
              <a:gd name="T19" fmla="*/ 51 h 109"/>
              <a:gd name="T20" fmla="*/ 57 w 141"/>
              <a:gd name="T21" fmla="*/ 59 h 109"/>
              <a:gd name="T22" fmla="*/ 46 w 141"/>
              <a:gd name="T23" fmla="*/ 69 h 109"/>
              <a:gd name="T24" fmla="*/ 36 w 141"/>
              <a:gd name="T25" fmla="*/ 77 h 109"/>
              <a:gd name="T26" fmla="*/ 27 w 141"/>
              <a:gd name="T27" fmla="*/ 85 h 109"/>
              <a:gd name="T28" fmla="*/ 18 w 141"/>
              <a:gd name="T29" fmla="*/ 92 h 109"/>
              <a:gd name="T30" fmla="*/ 8 w 141"/>
              <a:gd name="T31" fmla="*/ 102 h 109"/>
              <a:gd name="T32" fmla="*/ 0 w 141"/>
              <a:gd name="T33" fmla="*/ 109 h 109"/>
              <a:gd name="T34" fmla="*/ 18 w 141"/>
              <a:gd name="T35" fmla="*/ 97 h 109"/>
              <a:gd name="T36" fmla="*/ 36 w 141"/>
              <a:gd name="T37" fmla="*/ 88 h 109"/>
              <a:gd name="T38" fmla="*/ 52 w 141"/>
              <a:gd name="T39" fmla="*/ 77 h 109"/>
              <a:gd name="T40" fmla="*/ 70 w 141"/>
              <a:gd name="T41" fmla="*/ 67 h 109"/>
              <a:gd name="T42" fmla="*/ 88 w 141"/>
              <a:gd name="T43" fmla="*/ 57 h 109"/>
              <a:gd name="T44" fmla="*/ 106 w 141"/>
              <a:gd name="T45" fmla="*/ 47 h 109"/>
              <a:gd name="T46" fmla="*/ 124 w 141"/>
              <a:gd name="T47" fmla="*/ 36 h 109"/>
              <a:gd name="T48" fmla="*/ 141 w 141"/>
              <a:gd name="T49" fmla="*/ 27 h 109"/>
              <a:gd name="T50" fmla="*/ 141 w 141"/>
              <a:gd name="T51" fmla="*/ 20 h 109"/>
              <a:gd name="T52" fmla="*/ 140 w 141"/>
              <a:gd name="T53" fmla="*/ 12 h 109"/>
              <a:gd name="T54" fmla="*/ 139 w 141"/>
              <a:gd name="T55" fmla="*/ 7 h 109"/>
              <a:gd name="T56" fmla="*/ 137 w 141"/>
              <a:gd name="T57" fmla="*/ 0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41" h="109">
                <a:moveTo>
                  <a:pt x="137" y="0"/>
                </a:moveTo>
                <a:lnTo>
                  <a:pt x="128" y="5"/>
                </a:lnTo>
                <a:lnTo>
                  <a:pt x="120" y="11"/>
                </a:lnTo>
                <a:lnTo>
                  <a:pt x="112" y="16"/>
                </a:lnTo>
                <a:lnTo>
                  <a:pt x="106" y="22"/>
                </a:lnTo>
                <a:lnTo>
                  <a:pt x="98" y="28"/>
                </a:lnTo>
                <a:lnTo>
                  <a:pt x="90" y="32"/>
                </a:lnTo>
                <a:lnTo>
                  <a:pt x="83" y="38"/>
                </a:lnTo>
                <a:lnTo>
                  <a:pt x="76" y="42"/>
                </a:lnTo>
                <a:lnTo>
                  <a:pt x="67" y="51"/>
                </a:lnTo>
                <a:lnTo>
                  <a:pt x="57" y="59"/>
                </a:lnTo>
                <a:lnTo>
                  <a:pt x="46" y="69"/>
                </a:lnTo>
                <a:lnTo>
                  <a:pt x="36" y="77"/>
                </a:lnTo>
                <a:lnTo>
                  <a:pt x="27" y="85"/>
                </a:lnTo>
                <a:lnTo>
                  <a:pt x="18" y="92"/>
                </a:lnTo>
                <a:lnTo>
                  <a:pt x="8" y="102"/>
                </a:lnTo>
                <a:lnTo>
                  <a:pt x="0" y="109"/>
                </a:lnTo>
                <a:lnTo>
                  <a:pt x="18" y="97"/>
                </a:lnTo>
                <a:lnTo>
                  <a:pt x="36" y="88"/>
                </a:lnTo>
                <a:lnTo>
                  <a:pt x="52" y="77"/>
                </a:lnTo>
                <a:lnTo>
                  <a:pt x="70" y="67"/>
                </a:lnTo>
                <a:lnTo>
                  <a:pt x="88" y="57"/>
                </a:lnTo>
                <a:lnTo>
                  <a:pt x="106" y="47"/>
                </a:lnTo>
                <a:lnTo>
                  <a:pt x="124" y="36"/>
                </a:lnTo>
                <a:lnTo>
                  <a:pt x="141" y="27"/>
                </a:lnTo>
                <a:lnTo>
                  <a:pt x="141" y="20"/>
                </a:lnTo>
                <a:lnTo>
                  <a:pt x="140" y="12"/>
                </a:lnTo>
                <a:lnTo>
                  <a:pt x="139" y="7"/>
                </a:lnTo>
                <a:lnTo>
                  <a:pt x="13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Freeform 8"/>
          <p:cNvSpPr>
            <a:spLocks/>
          </p:cNvSpPr>
          <p:nvPr/>
        </p:nvSpPr>
        <p:spPr bwMode="auto">
          <a:xfrm>
            <a:off x="876412" y="3726427"/>
            <a:ext cx="17561" cy="17426"/>
          </a:xfrm>
          <a:custGeom>
            <a:avLst/>
            <a:gdLst>
              <a:gd name="T0" fmla="*/ 238 w 269"/>
              <a:gd name="T1" fmla="*/ 0 h 205"/>
              <a:gd name="T2" fmla="*/ 226 w 269"/>
              <a:gd name="T3" fmla="*/ 9 h 205"/>
              <a:gd name="T4" fmla="*/ 206 w 269"/>
              <a:gd name="T5" fmla="*/ 22 h 205"/>
              <a:gd name="T6" fmla="*/ 182 w 269"/>
              <a:gd name="T7" fmla="*/ 40 h 205"/>
              <a:gd name="T8" fmla="*/ 155 w 269"/>
              <a:gd name="T9" fmla="*/ 59 h 205"/>
              <a:gd name="T10" fmla="*/ 128 w 269"/>
              <a:gd name="T11" fmla="*/ 78 h 205"/>
              <a:gd name="T12" fmla="*/ 103 w 269"/>
              <a:gd name="T13" fmla="*/ 95 h 205"/>
              <a:gd name="T14" fmla="*/ 83 w 269"/>
              <a:gd name="T15" fmla="*/ 110 h 205"/>
              <a:gd name="T16" fmla="*/ 69 w 269"/>
              <a:gd name="T17" fmla="*/ 118 h 205"/>
              <a:gd name="T18" fmla="*/ 69 w 269"/>
              <a:gd name="T19" fmla="*/ 122 h 205"/>
              <a:gd name="T20" fmla="*/ 65 w 269"/>
              <a:gd name="T21" fmla="*/ 129 h 205"/>
              <a:gd name="T22" fmla="*/ 56 w 269"/>
              <a:gd name="T23" fmla="*/ 136 h 205"/>
              <a:gd name="T24" fmla="*/ 48 w 269"/>
              <a:gd name="T25" fmla="*/ 147 h 205"/>
              <a:gd name="T26" fmla="*/ 41 w 269"/>
              <a:gd name="T27" fmla="*/ 155 h 205"/>
              <a:gd name="T28" fmla="*/ 33 w 269"/>
              <a:gd name="T29" fmla="*/ 164 h 205"/>
              <a:gd name="T30" fmla="*/ 29 w 269"/>
              <a:gd name="T31" fmla="*/ 170 h 205"/>
              <a:gd name="T32" fmla="*/ 30 w 269"/>
              <a:gd name="T33" fmla="*/ 174 h 205"/>
              <a:gd name="T34" fmla="*/ 10 w 269"/>
              <a:gd name="T35" fmla="*/ 192 h 205"/>
              <a:gd name="T36" fmla="*/ 2 w 269"/>
              <a:gd name="T37" fmla="*/ 201 h 205"/>
              <a:gd name="T38" fmla="*/ 0 w 269"/>
              <a:gd name="T39" fmla="*/ 205 h 205"/>
              <a:gd name="T40" fmla="*/ 8 w 269"/>
              <a:gd name="T41" fmla="*/ 201 h 205"/>
              <a:gd name="T42" fmla="*/ 22 w 269"/>
              <a:gd name="T43" fmla="*/ 193 h 205"/>
              <a:gd name="T44" fmla="*/ 41 w 269"/>
              <a:gd name="T45" fmla="*/ 180 h 205"/>
              <a:gd name="T46" fmla="*/ 65 w 269"/>
              <a:gd name="T47" fmla="*/ 165 h 205"/>
              <a:gd name="T48" fmla="*/ 91 w 269"/>
              <a:gd name="T49" fmla="*/ 146 h 205"/>
              <a:gd name="T50" fmla="*/ 118 w 269"/>
              <a:gd name="T51" fmla="*/ 126 h 205"/>
              <a:gd name="T52" fmla="*/ 148 w 269"/>
              <a:gd name="T53" fmla="*/ 104 h 205"/>
              <a:gd name="T54" fmla="*/ 177 w 269"/>
              <a:gd name="T55" fmla="*/ 84 h 205"/>
              <a:gd name="T56" fmla="*/ 202 w 269"/>
              <a:gd name="T57" fmla="*/ 64 h 205"/>
              <a:gd name="T58" fmla="*/ 226 w 269"/>
              <a:gd name="T59" fmla="*/ 45 h 205"/>
              <a:gd name="T60" fmla="*/ 247 w 269"/>
              <a:gd name="T61" fmla="*/ 30 h 205"/>
              <a:gd name="T62" fmla="*/ 261 w 269"/>
              <a:gd name="T63" fmla="*/ 20 h 205"/>
              <a:gd name="T64" fmla="*/ 269 w 269"/>
              <a:gd name="T65" fmla="*/ 13 h 205"/>
              <a:gd name="T66" fmla="*/ 261 w 269"/>
              <a:gd name="T67" fmla="*/ 11 h 205"/>
              <a:gd name="T68" fmla="*/ 251 w 269"/>
              <a:gd name="T69" fmla="*/ 9 h 205"/>
              <a:gd name="T70" fmla="*/ 244 w 269"/>
              <a:gd name="T71" fmla="*/ 5 h 205"/>
              <a:gd name="T72" fmla="*/ 238 w 269"/>
              <a:gd name="T73" fmla="*/ 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69" h="205">
                <a:moveTo>
                  <a:pt x="238" y="0"/>
                </a:moveTo>
                <a:lnTo>
                  <a:pt x="226" y="9"/>
                </a:lnTo>
                <a:lnTo>
                  <a:pt x="206" y="22"/>
                </a:lnTo>
                <a:lnTo>
                  <a:pt x="182" y="40"/>
                </a:lnTo>
                <a:lnTo>
                  <a:pt x="155" y="59"/>
                </a:lnTo>
                <a:lnTo>
                  <a:pt x="128" y="78"/>
                </a:lnTo>
                <a:lnTo>
                  <a:pt x="103" y="95"/>
                </a:lnTo>
                <a:lnTo>
                  <a:pt x="83" y="110"/>
                </a:lnTo>
                <a:lnTo>
                  <a:pt x="69" y="118"/>
                </a:lnTo>
                <a:lnTo>
                  <a:pt x="69" y="122"/>
                </a:lnTo>
                <a:lnTo>
                  <a:pt x="65" y="129"/>
                </a:lnTo>
                <a:lnTo>
                  <a:pt x="56" y="136"/>
                </a:lnTo>
                <a:lnTo>
                  <a:pt x="48" y="147"/>
                </a:lnTo>
                <a:lnTo>
                  <a:pt x="41" y="155"/>
                </a:lnTo>
                <a:lnTo>
                  <a:pt x="33" y="164"/>
                </a:lnTo>
                <a:lnTo>
                  <a:pt x="29" y="170"/>
                </a:lnTo>
                <a:lnTo>
                  <a:pt x="30" y="174"/>
                </a:lnTo>
                <a:lnTo>
                  <a:pt x="10" y="192"/>
                </a:lnTo>
                <a:lnTo>
                  <a:pt x="2" y="201"/>
                </a:lnTo>
                <a:lnTo>
                  <a:pt x="0" y="205"/>
                </a:lnTo>
                <a:lnTo>
                  <a:pt x="8" y="201"/>
                </a:lnTo>
                <a:lnTo>
                  <a:pt x="22" y="193"/>
                </a:lnTo>
                <a:lnTo>
                  <a:pt x="41" y="180"/>
                </a:lnTo>
                <a:lnTo>
                  <a:pt x="65" y="165"/>
                </a:lnTo>
                <a:lnTo>
                  <a:pt x="91" y="146"/>
                </a:lnTo>
                <a:lnTo>
                  <a:pt x="118" y="126"/>
                </a:lnTo>
                <a:lnTo>
                  <a:pt x="148" y="104"/>
                </a:lnTo>
                <a:lnTo>
                  <a:pt x="177" y="84"/>
                </a:lnTo>
                <a:lnTo>
                  <a:pt x="202" y="64"/>
                </a:lnTo>
                <a:lnTo>
                  <a:pt x="226" y="45"/>
                </a:lnTo>
                <a:lnTo>
                  <a:pt x="247" y="30"/>
                </a:lnTo>
                <a:lnTo>
                  <a:pt x="261" y="20"/>
                </a:lnTo>
                <a:lnTo>
                  <a:pt x="269" y="13"/>
                </a:lnTo>
                <a:lnTo>
                  <a:pt x="261" y="11"/>
                </a:lnTo>
                <a:lnTo>
                  <a:pt x="251" y="9"/>
                </a:lnTo>
                <a:lnTo>
                  <a:pt x="244" y="5"/>
                </a:lnTo>
                <a:lnTo>
                  <a:pt x="23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9" name="Freeform 9"/>
          <p:cNvSpPr>
            <a:spLocks/>
          </p:cNvSpPr>
          <p:nvPr/>
        </p:nvSpPr>
        <p:spPr bwMode="auto">
          <a:xfrm>
            <a:off x="857876" y="3717202"/>
            <a:ext cx="31220" cy="28702"/>
          </a:xfrm>
          <a:custGeom>
            <a:avLst/>
            <a:gdLst>
              <a:gd name="T0" fmla="*/ 480 w 481"/>
              <a:gd name="T1" fmla="*/ 0 h 333"/>
              <a:gd name="T2" fmla="*/ 471 w 481"/>
              <a:gd name="T3" fmla="*/ 6 h 333"/>
              <a:gd name="T4" fmla="*/ 464 w 481"/>
              <a:gd name="T5" fmla="*/ 12 h 333"/>
              <a:gd name="T6" fmla="*/ 458 w 481"/>
              <a:gd name="T7" fmla="*/ 17 h 333"/>
              <a:gd name="T8" fmla="*/ 450 w 481"/>
              <a:gd name="T9" fmla="*/ 23 h 333"/>
              <a:gd name="T10" fmla="*/ 443 w 481"/>
              <a:gd name="T11" fmla="*/ 29 h 333"/>
              <a:gd name="T12" fmla="*/ 437 w 481"/>
              <a:gd name="T13" fmla="*/ 33 h 333"/>
              <a:gd name="T14" fmla="*/ 429 w 481"/>
              <a:gd name="T15" fmla="*/ 39 h 333"/>
              <a:gd name="T16" fmla="*/ 422 w 481"/>
              <a:gd name="T17" fmla="*/ 43 h 333"/>
              <a:gd name="T18" fmla="*/ 409 w 481"/>
              <a:gd name="T19" fmla="*/ 54 h 333"/>
              <a:gd name="T20" fmla="*/ 395 w 481"/>
              <a:gd name="T21" fmla="*/ 66 h 333"/>
              <a:gd name="T22" fmla="*/ 383 w 481"/>
              <a:gd name="T23" fmla="*/ 77 h 333"/>
              <a:gd name="T24" fmla="*/ 370 w 481"/>
              <a:gd name="T25" fmla="*/ 89 h 333"/>
              <a:gd name="T26" fmla="*/ 356 w 481"/>
              <a:gd name="T27" fmla="*/ 101 h 333"/>
              <a:gd name="T28" fmla="*/ 343 w 481"/>
              <a:gd name="T29" fmla="*/ 112 h 333"/>
              <a:gd name="T30" fmla="*/ 332 w 481"/>
              <a:gd name="T31" fmla="*/ 123 h 333"/>
              <a:gd name="T32" fmla="*/ 318 w 481"/>
              <a:gd name="T33" fmla="*/ 135 h 333"/>
              <a:gd name="T34" fmla="*/ 301 w 481"/>
              <a:gd name="T35" fmla="*/ 153 h 333"/>
              <a:gd name="T36" fmla="*/ 277 w 481"/>
              <a:gd name="T37" fmla="*/ 172 h 333"/>
              <a:gd name="T38" fmla="*/ 247 w 481"/>
              <a:gd name="T39" fmla="*/ 193 h 333"/>
              <a:gd name="T40" fmla="*/ 213 w 481"/>
              <a:gd name="T41" fmla="*/ 215 h 333"/>
              <a:gd name="T42" fmla="*/ 176 w 481"/>
              <a:gd name="T43" fmla="*/ 235 h 333"/>
              <a:gd name="T44" fmla="*/ 138 w 481"/>
              <a:gd name="T45" fmla="*/ 255 h 333"/>
              <a:gd name="T46" fmla="*/ 102 w 481"/>
              <a:gd name="T47" fmla="*/ 275 h 333"/>
              <a:gd name="T48" fmla="*/ 69 w 481"/>
              <a:gd name="T49" fmla="*/ 293 h 333"/>
              <a:gd name="T50" fmla="*/ 40 w 481"/>
              <a:gd name="T51" fmla="*/ 306 h 333"/>
              <a:gd name="T52" fmla="*/ 18 w 481"/>
              <a:gd name="T53" fmla="*/ 319 h 333"/>
              <a:gd name="T54" fmla="*/ 4 w 481"/>
              <a:gd name="T55" fmla="*/ 328 h 333"/>
              <a:gd name="T56" fmla="*/ 0 w 481"/>
              <a:gd name="T57" fmla="*/ 333 h 333"/>
              <a:gd name="T58" fmla="*/ 7 w 481"/>
              <a:gd name="T59" fmla="*/ 333 h 333"/>
              <a:gd name="T60" fmla="*/ 28 w 481"/>
              <a:gd name="T61" fmla="*/ 327 h 333"/>
              <a:gd name="T62" fmla="*/ 64 w 481"/>
              <a:gd name="T63" fmla="*/ 315 h 333"/>
              <a:gd name="T64" fmla="*/ 116 w 481"/>
              <a:gd name="T65" fmla="*/ 298 h 333"/>
              <a:gd name="T66" fmla="*/ 127 w 481"/>
              <a:gd name="T67" fmla="*/ 291 h 333"/>
              <a:gd name="T68" fmla="*/ 143 w 481"/>
              <a:gd name="T69" fmla="*/ 279 h 333"/>
              <a:gd name="T70" fmla="*/ 161 w 481"/>
              <a:gd name="T71" fmla="*/ 268 h 333"/>
              <a:gd name="T72" fmla="*/ 185 w 481"/>
              <a:gd name="T73" fmla="*/ 252 h 333"/>
              <a:gd name="T74" fmla="*/ 210 w 481"/>
              <a:gd name="T75" fmla="*/ 234 h 333"/>
              <a:gd name="T76" fmla="*/ 239 w 481"/>
              <a:gd name="T77" fmla="*/ 218 h 333"/>
              <a:gd name="T78" fmla="*/ 269 w 481"/>
              <a:gd name="T79" fmla="*/ 197 h 333"/>
              <a:gd name="T80" fmla="*/ 298 w 481"/>
              <a:gd name="T81" fmla="*/ 178 h 333"/>
              <a:gd name="T82" fmla="*/ 329 w 481"/>
              <a:gd name="T83" fmla="*/ 158 h 333"/>
              <a:gd name="T84" fmla="*/ 358 w 481"/>
              <a:gd name="T85" fmla="*/ 139 h 333"/>
              <a:gd name="T86" fmla="*/ 385 w 481"/>
              <a:gd name="T87" fmla="*/ 120 h 333"/>
              <a:gd name="T88" fmla="*/ 412 w 481"/>
              <a:gd name="T89" fmla="*/ 103 h 333"/>
              <a:gd name="T90" fmla="*/ 435 w 481"/>
              <a:gd name="T91" fmla="*/ 87 h 333"/>
              <a:gd name="T92" fmla="*/ 454 w 481"/>
              <a:gd name="T93" fmla="*/ 74 h 333"/>
              <a:gd name="T94" fmla="*/ 471 w 481"/>
              <a:gd name="T95" fmla="*/ 64 h 333"/>
              <a:gd name="T96" fmla="*/ 481 w 481"/>
              <a:gd name="T97" fmla="*/ 55 h 333"/>
              <a:gd name="T98" fmla="*/ 480 w 481"/>
              <a:gd name="T99" fmla="*/ 42 h 333"/>
              <a:gd name="T100" fmla="*/ 479 w 481"/>
              <a:gd name="T101" fmla="*/ 28 h 333"/>
              <a:gd name="T102" fmla="*/ 479 w 481"/>
              <a:gd name="T103" fmla="*/ 13 h 333"/>
              <a:gd name="T104" fmla="*/ 480 w 481"/>
              <a:gd name="T105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1" h="333">
                <a:moveTo>
                  <a:pt x="480" y="0"/>
                </a:moveTo>
                <a:lnTo>
                  <a:pt x="471" y="6"/>
                </a:lnTo>
                <a:lnTo>
                  <a:pt x="464" y="12"/>
                </a:lnTo>
                <a:lnTo>
                  <a:pt x="458" y="17"/>
                </a:lnTo>
                <a:lnTo>
                  <a:pt x="450" y="23"/>
                </a:lnTo>
                <a:lnTo>
                  <a:pt x="443" y="29"/>
                </a:lnTo>
                <a:lnTo>
                  <a:pt x="437" y="33"/>
                </a:lnTo>
                <a:lnTo>
                  <a:pt x="429" y="39"/>
                </a:lnTo>
                <a:lnTo>
                  <a:pt x="422" y="43"/>
                </a:lnTo>
                <a:lnTo>
                  <a:pt x="409" y="54"/>
                </a:lnTo>
                <a:lnTo>
                  <a:pt x="395" y="66"/>
                </a:lnTo>
                <a:lnTo>
                  <a:pt x="383" y="77"/>
                </a:lnTo>
                <a:lnTo>
                  <a:pt x="370" y="89"/>
                </a:lnTo>
                <a:lnTo>
                  <a:pt x="356" y="101"/>
                </a:lnTo>
                <a:lnTo>
                  <a:pt x="343" y="112"/>
                </a:lnTo>
                <a:lnTo>
                  <a:pt x="332" y="123"/>
                </a:lnTo>
                <a:lnTo>
                  <a:pt x="318" y="135"/>
                </a:lnTo>
                <a:lnTo>
                  <a:pt x="301" y="153"/>
                </a:lnTo>
                <a:lnTo>
                  <a:pt x="277" y="172"/>
                </a:lnTo>
                <a:lnTo>
                  <a:pt x="247" y="193"/>
                </a:lnTo>
                <a:lnTo>
                  <a:pt x="213" y="215"/>
                </a:lnTo>
                <a:lnTo>
                  <a:pt x="176" y="235"/>
                </a:lnTo>
                <a:lnTo>
                  <a:pt x="138" y="255"/>
                </a:lnTo>
                <a:lnTo>
                  <a:pt x="102" y="275"/>
                </a:lnTo>
                <a:lnTo>
                  <a:pt x="69" y="293"/>
                </a:lnTo>
                <a:lnTo>
                  <a:pt x="40" y="306"/>
                </a:lnTo>
                <a:lnTo>
                  <a:pt x="18" y="319"/>
                </a:lnTo>
                <a:lnTo>
                  <a:pt x="4" y="328"/>
                </a:lnTo>
                <a:lnTo>
                  <a:pt x="0" y="333"/>
                </a:lnTo>
                <a:lnTo>
                  <a:pt x="7" y="333"/>
                </a:lnTo>
                <a:lnTo>
                  <a:pt x="28" y="327"/>
                </a:lnTo>
                <a:lnTo>
                  <a:pt x="64" y="315"/>
                </a:lnTo>
                <a:lnTo>
                  <a:pt x="116" y="298"/>
                </a:lnTo>
                <a:lnTo>
                  <a:pt x="127" y="291"/>
                </a:lnTo>
                <a:lnTo>
                  <a:pt x="143" y="279"/>
                </a:lnTo>
                <a:lnTo>
                  <a:pt x="161" y="268"/>
                </a:lnTo>
                <a:lnTo>
                  <a:pt x="185" y="252"/>
                </a:lnTo>
                <a:lnTo>
                  <a:pt x="210" y="234"/>
                </a:lnTo>
                <a:lnTo>
                  <a:pt x="239" y="218"/>
                </a:lnTo>
                <a:lnTo>
                  <a:pt x="269" y="197"/>
                </a:lnTo>
                <a:lnTo>
                  <a:pt x="298" y="178"/>
                </a:lnTo>
                <a:lnTo>
                  <a:pt x="329" y="158"/>
                </a:lnTo>
                <a:lnTo>
                  <a:pt x="358" y="139"/>
                </a:lnTo>
                <a:lnTo>
                  <a:pt x="385" y="120"/>
                </a:lnTo>
                <a:lnTo>
                  <a:pt x="412" y="103"/>
                </a:lnTo>
                <a:lnTo>
                  <a:pt x="435" y="87"/>
                </a:lnTo>
                <a:lnTo>
                  <a:pt x="454" y="74"/>
                </a:lnTo>
                <a:lnTo>
                  <a:pt x="471" y="64"/>
                </a:lnTo>
                <a:lnTo>
                  <a:pt x="481" y="55"/>
                </a:lnTo>
                <a:lnTo>
                  <a:pt x="480" y="42"/>
                </a:lnTo>
                <a:lnTo>
                  <a:pt x="479" y="28"/>
                </a:lnTo>
                <a:lnTo>
                  <a:pt x="479" y="13"/>
                </a:lnTo>
                <a:lnTo>
                  <a:pt x="48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0" name="AutoShape 3"/>
          <p:cNvSpPr>
            <a:spLocks noChangeAspect="1" noChangeArrowheads="1" noTextEdit="1"/>
          </p:cNvSpPr>
          <p:nvPr/>
        </p:nvSpPr>
        <p:spPr bwMode="auto">
          <a:xfrm>
            <a:off x="2743272" y="3679275"/>
            <a:ext cx="360000" cy="323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Freeform 5"/>
          <p:cNvSpPr>
            <a:spLocks/>
          </p:cNvSpPr>
          <p:nvPr/>
        </p:nvSpPr>
        <p:spPr bwMode="auto">
          <a:xfrm>
            <a:off x="2759857" y="3693626"/>
            <a:ext cx="326829" cy="295215"/>
          </a:xfrm>
          <a:custGeom>
            <a:avLst/>
            <a:gdLst>
              <a:gd name="T0" fmla="*/ 211 w 5033"/>
              <a:gd name="T1" fmla="*/ 2036 h 3448"/>
              <a:gd name="T2" fmla="*/ 512 w 5033"/>
              <a:gd name="T3" fmla="*/ 2415 h 3448"/>
              <a:gd name="T4" fmla="*/ 876 w 5033"/>
              <a:gd name="T5" fmla="*/ 2969 h 3448"/>
              <a:gd name="T6" fmla="*/ 1038 w 5033"/>
              <a:gd name="T7" fmla="*/ 3128 h 3448"/>
              <a:gd name="T8" fmla="*/ 1213 w 5033"/>
              <a:gd name="T9" fmla="*/ 3204 h 3448"/>
              <a:gd name="T10" fmla="*/ 1395 w 5033"/>
              <a:gd name="T11" fmla="*/ 3275 h 3448"/>
              <a:gd name="T12" fmla="*/ 1732 w 5033"/>
              <a:gd name="T13" fmla="*/ 3392 h 3448"/>
              <a:gd name="T14" fmla="*/ 1879 w 5033"/>
              <a:gd name="T15" fmla="*/ 3434 h 3448"/>
              <a:gd name="T16" fmla="*/ 1922 w 5033"/>
              <a:gd name="T17" fmla="*/ 3323 h 3448"/>
              <a:gd name="T18" fmla="*/ 2083 w 5033"/>
              <a:gd name="T19" fmla="*/ 3085 h 3448"/>
              <a:gd name="T20" fmla="*/ 2225 w 5033"/>
              <a:gd name="T21" fmla="*/ 2695 h 3448"/>
              <a:gd name="T22" fmla="*/ 2422 w 5033"/>
              <a:gd name="T23" fmla="*/ 2378 h 3448"/>
              <a:gd name="T24" fmla="*/ 2552 w 5033"/>
              <a:gd name="T25" fmla="*/ 2199 h 3448"/>
              <a:gd name="T26" fmla="*/ 2687 w 5033"/>
              <a:gd name="T27" fmla="*/ 2110 h 3448"/>
              <a:gd name="T28" fmla="*/ 2780 w 5033"/>
              <a:gd name="T29" fmla="*/ 2006 h 3448"/>
              <a:gd name="T30" fmla="*/ 3045 w 5033"/>
              <a:gd name="T31" fmla="*/ 1730 h 3448"/>
              <a:gd name="T32" fmla="*/ 3418 w 5033"/>
              <a:gd name="T33" fmla="*/ 1374 h 3448"/>
              <a:gd name="T34" fmla="*/ 3840 w 5033"/>
              <a:gd name="T35" fmla="*/ 1068 h 3448"/>
              <a:gd name="T36" fmla="*/ 4056 w 5033"/>
              <a:gd name="T37" fmla="*/ 949 h 3448"/>
              <a:gd name="T38" fmla="*/ 4251 w 5033"/>
              <a:gd name="T39" fmla="*/ 795 h 3448"/>
              <a:gd name="T40" fmla="*/ 4363 w 5033"/>
              <a:gd name="T41" fmla="*/ 740 h 3448"/>
              <a:gd name="T42" fmla="*/ 4543 w 5033"/>
              <a:gd name="T43" fmla="*/ 585 h 3448"/>
              <a:gd name="T44" fmla="*/ 4690 w 5033"/>
              <a:gd name="T45" fmla="*/ 431 h 3448"/>
              <a:gd name="T46" fmla="*/ 4841 w 5033"/>
              <a:gd name="T47" fmla="*/ 339 h 3448"/>
              <a:gd name="T48" fmla="*/ 4972 w 5033"/>
              <a:gd name="T49" fmla="*/ 278 h 3448"/>
              <a:gd name="T50" fmla="*/ 4947 w 5033"/>
              <a:gd name="T51" fmla="*/ 244 h 3448"/>
              <a:gd name="T52" fmla="*/ 4858 w 5033"/>
              <a:gd name="T53" fmla="*/ 281 h 3448"/>
              <a:gd name="T54" fmla="*/ 4756 w 5033"/>
              <a:gd name="T55" fmla="*/ 360 h 3448"/>
              <a:gd name="T56" fmla="*/ 4531 w 5033"/>
              <a:gd name="T57" fmla="*/ 513 h 3448"/>
              <a:gd name="T58" fmla="*/ 4401 w 5033"/>
              <a:gd name="T59" fmla="*/ 542 h 3448"/>
              <a:gd name="T60" fmla="*/ 4018 w 5033"/>
              <a:gd name="T61" fmla="*/ 810 h 3448"/>
              <a:gd name="T62" fmla="*/ 4096 w 5033"/>
              <a:gd name="T63" fmla="*/ 702 h 3448"/>
              <a:gd name="T64" fmla="*/ 4196 w 5033"/>
              <a:gd name="T65" fmla="*/ 621 h 3448"/>
              <a:gd name="T66" fmla="*/ 4319 w 5033"/>
              <a:gd name="T67" fmla="*/ 501 h 3448"/>
              <a:gd name="T68" fmla="*/ 4342 w 5033"/>
              <a:gd name="T69" fmla="*/ 423 h 3448"/>
              <a:gd name="T70" fmla="*/ 4478 w 5033"/>
              <a:gd name="T71" fmla="*/ 286 h 3448"/>
              <a:gd name="T72" fmla="*/ 4289 w 5033"/>
              <a:gd name="T73" fmla="*/ 341 h 3448"/>
              <a:gd name="T74" fmla="*/ 4455 w 5033"/>
              <a:gd name="T75" fmla="*/ 198 h 3448"/>
              <a:gd name="T76" fmla="*/ 4410 w 5033"/>
              <a:gd name="T77" fmla="*/ 167 h 3448"/>
              <a:gd name="T78" fmla="*/ 4293 w 5033"/>
              <a:gd name="T79" fmla="*/ 277 h 3448"/>
              <a:gd name="T80" fmla="*/ 4288 w 5033"/>
              <a:gd name="T81" fmla="*/ 162 h 3448"/>
              <a:gd name="T82" fmla="*/ 4376 w 5033"/>
              <a:gd name="T83" fmla="*/ 48 h 3448"/>
              <a:gd name="T84" fmla="*/ 4276 w 5033"/>
              <a:gd name="T85" fmla="*/ 25 h 3448"/>
              <a:gd name="T86" fmla="*/ 4168 w 5033"/>
              <a:gd name="T87" fmla="*/ 135 h 3448"/>
              <a:gd name="T88" fmla="*/ 3906 w 5033"/>
              <a:gd name="T89" fmla="*/ 284 h 3448"/>
              <a:gd name="T90" fmla="*/ 3186 w 5033"/>
              <a:gd name="T91" fmla="*/ 777 h 3448"/>
              <a:gd name="T92" fmla="*/ 3188 w 5033"/>
              <a:gd name="T93" fmla="*/ 733 h 3448"/>
              <a:gd name="T94" fmla="*/ 3235 w 5033"/>
              <a:gd name="T95" fmla="*/ 671 h 3448"/>
              <a:gd name="T96" fmla="*/ 3941 w 5033"/>
              <a:gd name="T97" fmla="*/ 219 h 3448"/>
              <a:gd name="T98" fmla="*/ 3992 w 5033"/>
              <a:gd name="T99" fmla="*/ 140 h 3448"/>
              <a:gd name="T100" fmla="*/ 3743 w 5033"/>
              <a:gd name="T101" fmla="*/ 240 h 3448"/>
              <a:gd name="T102" fmla="*/ 3290 w 5033"/>
              <a:gd name="T103" fmla="*/ 525 h 3448"/>
              <a:gd name="T104" fmla="*/ 2837 w 5033"/>
              <a:gd name="T105" fmla="*/ 830 h 3448"/>
              <a:gd name="T106" fmla="*/ 2197 w 5033"/>
              <a:gd name="T107" fmla="*/ 1270 h 3448"/>
              <a:gd name="T108" fmla="*/ 1903 w 5033"/>
              <a:gd name="T109" fmla="*/ 1608 h 3448"/>
              <a:gd name="T110" fmla="*/ 1609 w 5033"/>
              <a:gd name="T111" fmla="*/ 1914 h 3448"/>
              <a:gd name="T112" fmla="*/ 1327 w 5033"/>
              <a:gd name="T113" fmla="*/ 1996 h 3448"/>
              <a:gd name="T114" fmla="*/ 1057 w 5033"/>
              <a:gd name="T115" fmla="*/ 1475 h 3448"/>
              <a:gd name="T116" fmla="*/ 755 w 5033"/>
              <a:gd name="T117" fmla="*/ 1501 h 3448"/>
              <a:gd name="T118" fmla="*/ 523 w 5033"/>
              <a:gd name="T119" fmla="*/ 1595 h 3448"/>
              <a:gd name="T120" fmla="*/ 242 w 5033"/>
              <a:gd name="T121" fmla="*/ 1683 h 3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33" h="3448">
                <a:moveTo>
                  <a:pt x="0" y="1824"/>
                </a:moveTo>
                <a:lnTo>
                  <a:pt x="12" y="1840"/>
                </a:lnTo>
                <a:lnTo>
                  <a:pt x="25" y="1855"/>
                </a:lnTo>
                <a:lnTo>
                  <a:pt x="39" y="1870"/>
                </a:lnTo>
                <a:lnTo>
                  <a:pt x="54" y="1886"/>
                </a:lnTo>
                <a:lnTo>
                  <a:pt x="69" y="1900"/>
                </a:lnTo>
                <a:lnTo>
                  <a:pt x="85" y="1917"/>
                </a:lnTo>
                <a:lnTo>
                  <a:pt x="102" y="1931"/>
                </a:lnTo>
                <a:lnTo>
                  <a:pt x="119" y="1945"/>
                </a:lnTo>
                <a:lnTo>
                  <a:pt x="134" y="1961"/>
                </a:lnTo>
                <a:lnTo>
                  <a:pt x="151" y="1975"/>
                </a:lnTo>
                <a:lnTo>
                  <a:pt x="166" y="1990"/>
                </a:lnTo>
                <a:lnTo>
                  <a:pt x="183" y="2006"/>
                </a:lnTo>
                <a:lnTo>
                  <a:pt x="197" y="2020"/>
                </a:lnTo>
                <a:lnTo>
                  <a:pt x="211" y="2036"/>
                </a:lnTo>
                <a:lnTo>
                  <a:pt x="224" y="2050"/>
                </a:lnTo>
                <a:lnTo>
                  <a:pt x="236" y="2067"/>
                </a:lnTo>
                <a:lnTo>
                  <a:pt x="250" y="2094"/>
                </a:lnTo>
                <a:lnTo>
                  <a:pt x="267" y="2117"/>
                </a:lnTo>
                <a:lnTo>
                  <a:pt x="287" y="2135"/>
                </a:lnTo>
                <a:lnTo>
                  <a:pt x="308" y="2152"/>
                </a:lnTo>
                <a:lnTo>
                  <a:pt x="329" y="2167"/>
                </a:lnTo>
                <a:lnTo>
                  <a:pt x="350" y="2186"/>
                </a:lnTo>
                <a:lnTo>
                  <a:pt x="368" y="2207"/>
                </a:lnTo>
                <a:lnTo>
                  <a:pt x="384" y="2234"/>
                </a:lnTo>
                <a:lnTo>
                  <a:pt x="400" y="2263"/>
                </a:lnTo>
                <a:lnTo>
                  <a:pt x="424" y="2297"/>
                </a:lnTo>
                <a:lnTo>
                  <a:pt x="452" y="2335"/>
                </a:lnTo>
                <a:lnTo>
                  <a:pt x="482" y="2375"/>
                </a:lnTo>
                <a:lnTo>
                  <a:pt x="512" y="2415"/>
                </a:lnTo>
                <a:lnTo>
                  <a:pt x="540" y="2452"/>
                </a:lnTo>
                <a:lnTo>
                  <a:pt x="564" y="2486"/>
                </a:lnTo>
                <a:lnTo>
                  <a:pt x="582" y="2514"/>
                </a:lnTo>
                <a:lnTo>
                  <a:pt x="594" y="2536"/>
                </a:lnTo>
                <a:lnTo>
                  <a:pt x="611" y="2564"/>
                </a:lnTo>
                <a:lnTo>
                  <a:pt x="631" y="2598"/>
                </a:lnTo>
                <a:lnTo>
                  <a:pt x="653" y="2633"/>
                </a:lnTo>
                <a:lnTo>
                  <a:pt x="679" y="2673"/>
                </a:lnTo>
                <a:lnTo>
                  <a:pt x="705" y="2714"/>
                </a:lnTo>
                <a:lnTo>
                  <a:pt x="734" y="2757"/>
                </a:lnTo>
                <a:lnTo>
                  <a:pt x="765" y="2801"/>
                </a:lnTo>
                <a:lnTo>
                  <a:pt x="793" y="2844"/>
                </a:lnTo>
                <a:lnTo>
                  <a:pt x="822" y="2889"/>
                </a:lnTo>
                <a:lnTo>
                  <a:pt x="850" y="2930"/>
                </a:lnTo>
                <a:lnTo>
                  <a:pt x="876" y="2969"/>
                </a:lnTo>
                <a:lnTo>
                  <a:pt x="899" y="3005"/>
                </a:lnTo>
                <a:lnTo>
                  <a:pt x="919" y="3036"/>
                </a:lnTo>
                <a:lnTo>
                  <a:pt x="935" y="3065"/>
                </a:lnTo>
                <a:lnTo>
                  <a:pt x="948" y="3087"/>
                </a:lnTo>
                <a:lnTo>
                  <a:pt x="959" y="3089"/>
                </a:lnTo>
                <a:lnTo>
                  <a:pt x="969" y="3090"/>
                </a:lnTo>
                <a:lnTo>
                  <a:pt x="979" y="3092"/>
                </a:lnTo>
                <a:lnTo>
                  <a:pt x="989" y="3094"/>
                </a:lnTo>
                <a:lnTo>
                  <a:pt x="1000" y="3094"/>
                </a:lnTo>
                <a:lnTo>
                  <a:pt x="1011" y="3097"/>
                </a:lnTo>
                <a:lnTo>
                  <a:pt x="1020" y="3098"/>
                </a:lnTo>
                <a:lnTo>
                  <a:pt x="1031" y="3100"/>
                </a:lnTo>
                <a:lnTo>
                  <a:pt x="1033" y="3109"/>
                </a:lnTo>
                <a:lnTo>
                  <a:pt x="1036" y="3119"/>
                </a:lnTo>
                <a:lnTo>
                  <a:pt x="1038" y="3128"/>
                </a:lnTo>
                <a:lnTo>
                  <a:pt x="1040" y="3138"/>
                </a:lnTo>
                <a:lnTo>
                  <a:pt x="1050" y="3138"/>
                </a:lnTo>
                <a:lnTo>
                  <a:pt x="1058" y="3140"/>
                </a:lnTo>
                <a:lnTo>
                  <a:pt x="1067" y="3141"/>
                </a:lnTo>
                <a:lnTo>
                  <a:pt x="1077" y="3142"/>
                </a:lnTo>
                <a:lnTo>
                  <a:pt x="1085" y="3145"/>
                </a:lnTo>
                <a:lnTo>
                  <a:pt x="1095" y="3146"/>
                </a:lnTo>
                <a:lnTo>
                  <a:pt x="1105" y="3147"/>
                </a:lnTo>
                <a:lnTo>
                  <a:pt x="1113" y="3148"/>
                </a:lnTo>
                <a:lnTo>
                  <a:pt x="1130" y="3159"/>
                </a:lnTo>
                <a:lnTo>
                  <a:pt x="1148" y="3169"/>
                </a:lnTo>
                <a:lnTo>
                  <a:pt x="1164" y="3177"/>
                </a:lnTo>
                <a:lnTo>
                  <a:pt x="1179" y="3186"/>
                </a:lnTo>
                <a:lnTo>
                  <a:pt x="1196" y="3196"/>
                </a:lnTo>
                <a:lnTo>
                  <a:pt x="1213" y="3204"/>
                </a:lnTo>
                <a:lnTo>
                  <a:pt x="1231" y="3213"/>
                </a:lnTo>
                <a:lnTo>
                  <a:pt x="1246" y="3221"/>
                </a:lnTo>
                <a:lnTo>
                  <a:pt x="1258" y="3222"/>
                </a:lnTo>
                <a:lnTo>
                  <a:pt x="1269" y="3223"/>
                </a:lnTo>
                <a:lnTo>
                  <a:pt x="1281" y="3225"/>
                </a:lnTo>
                <a:lnTo>
                  <a:pt x="1292" y="3227"/>
                </a:lnTo>
                <a:lnTo>
                  <a:pt x="1304" y="3227"/>
                </a:lnTo>
                <a:lnTo>
                  <a:pt x="1315" y="3228"/>
                </a:lnTo>
                <a:lnTo>
                  <a:pt x="1328" y="3229"/>
                </a:lnTo>
                <a:lnTo>
                  <a:pt x="1340" y="3229"/>
                </a:lnTo>
                <a:lnTo>
                  <a:pt x="1348" y="3240"/>
                </a:lnTo>
                <a:lnTo>
                  <a:pt x="1357" y="3252"/>
                </a:lnTo>
                <a:lnTo>
                  <a:pt x="1367" y="3264"/>
                </a:lnTo>
                <a:lnTo>
                  <a:pt x="1375" y="3273"/>
                </a:lnTo>
                <a:lnTo>
                  <a:pt x="1395" y="3275"/>
                </a:lnTo>
                <a:lnTo>
                  <a:pt x="1416" y="3277"/>
                </a:lnTo>
                <a:lnTo>
                  <a:pt x="1436" y="3279"/>
                </a:lnTo>
                <a:lnTo>
                  <a:pt x="1456" y="3279"/>
                </a:lnTo>
                <a:lnTo>
                  <a:pt x="1478" y="3281"/>
                </a:lnTo>
                <a:lnTo>
                  <a:pt x="1497" y="3281"/>
                </a:lnTo>
                <a:lnTo>
                  <a:pt x="1518" y="3282"/>
                </a:lnTo>
                <a:lnTo>
                  <a:pt x="1537" y="3283"/>
                </a:lnTo>
                <a:lnTo>
                  <a:pt x="1562" y="3296"/>
                </a:lnTo>
                <a:lnTo>
                  <a:pt x="1584" y="3310"/>
                </a:lnTo>
                <a:lnTo>
                  <a:pt x="1609" y="3323"/>
                </a:lnTo>
                <a:lnTo>
                  <a:pt x="1633" y="3336"/>
                </a:lnTo>
                <a:lnTo>
                  <a:pt x="1658" y="3352"/>
                </a:lnTo>
                <a:lnTo>
                  <a:pt x="1682" y="3365"/>
                </a:lnTo>
                <a:lnTo>
                  <a:pt x="1707" y="3379"/>
                </a:lnTo>
                <a:lnTo>
                  <a:pt x="1732" y="3392"/>
                </a:lnTo>
                <a:lnTo>
                  <a:pt x="1742" y="3392"/>
                </a:lnTo>
                <a:lnTo>
                  <a:pt x="1752" y="3392"/>
                </a:lnTo>
                <a:lnTo>
                  <a:pt x="1762" y="3392"/>
                </a:lnTo>
                <a:lnTo>
                  <a:pt x="1773" y="3392"/>
                </a:lnTo>
                <a:lnTo>
                  <a:pt x="1784" y="3392"/>
                </a:lnTo>
                <a:lnTo>
                  <a:pt x="1793" y="3392"/>
                </a:lnTo>
                <a:lnTo>
                  <a:pt x="1803" y="3392"/>
                </a:lnTo>
                <a:lnTo>
                  <a:pt x="1814" y="3392"/>
                </a:lnTo>
                <a:lnTo>
                  <a:pt x="1822" y="3400"/>
                </a:lnTo>
                <a:lnTo>
                  <a:pt x="1833" y="3406"/>
                </a:lnTo>
                <a:lnTo>
                  <a:pt x="1842" y="3412"/>
                </a:lnTo>
                <a:lnTo>
                  <a:pt x="1852" y="3419"/>
                </a:lnTo>
                <a:lnTo>
                  <a:pt x="1860" y="3425"/>
                </a:lnTo>
                <a:lnTo>
                  <a:pt x="1869" y="3429"/>
                </a:lnTo>
                <a:lnTo>
                  <a:pt x="1879" y="3434"/>
                </a:lnTo>
                <a:lnTo>
                  <a:pt x="1887" y="3439"/>
                </a:lnTo>
                <a:lnTo>
                  <a:pt x="1915" y="3446"/>
                </a:lnTo>
                <a:lnTo>
                  <a:pt x="1934" y="3448"/>
                </a:lnTo>
                <a:lnTo>
                  <a:pt x="1946" y="3445"/>
                </a:lnTo>
                <a:lnTo>
                  <a:pt x="1950" y="3438"/>
                </a:lnTo>
                <a:lnTo>
                  <a:pt x="1950" y="3429"/>
                </a:lnTo>
                <a:lnTo>
                  <a:pt x="1944" y="3416"/>
                </a:lnTo>
                <a:lnTo>
                  <a:pt x="1936" y="3401"/>
                </a:lnTo>
                <a:lnTo>
                  <a:pt x="1928" y="3387"/>
                </a:lnTo>
                <a:lnTo>
                  <a:pt x="1921" y="3371"/>
                </a:lnTo>
                <a:lnTo>
                  <a:pt x="1912" y="3357"/>
                </a:lnTo>
                <a:lnTo>
                  <a:pt x="1908" y="3345"/>
                </a:lnTo>
                <a:lnTo>
                  <a:pt x="1907" y="3333"/>
                </a:lnTo>
                <a:lnTo>
                  <a:pt x="1911" y="3327"/>
                </a:lnTo>
                <a:lnTo>
                  <a:pt x="1922" y="3323"/>
                </a:lnTo>
                <a:lnTo>
                  <a:pt x="1941" y="3325"/>
                </a:lnTo>
                <a:lnTo>
                  <a:pt x="1968" y="3332"/>
                </a:lnTo>
                <a:lnTo>
                  <a:pt x="1981" y="3310"/>
                </a:lnTo>
                <a:lnTo>
                  <a:pt x="1993" y="3289"/>
                </a:lnTo>
                <a:lnTo>
                  <a:pt x="2003" y="3271"/>
                </a:lnTo>
                <a:lnTo>
                  <a:pt x="2012" y="3251"/>
                </a:lnTo>
                <a:lnTo>
                  <a:pt x="2022" y="3233"/>
                </a:lnTo>
                <a:lnTo>
                  <a:pt x="2032" y="3211"/>
                </a:lnTo>
                <a:lnTo>
                  <a:pt x="2042" y="3191"/>
                </a:lnTo>
                <a:lnTo>
                  <a:pt x="2055" y="3167"/>
                </a:lnTo>
                <a:lnTo>
                  <a:pt x="2056" y="3154"/>
                </a:lnTo>
                <a:lnTo>
                  <a:pt x="2061" y="3138"/>
                </a:lnTo>
                <a:lnTo>
                  <a:pt x="2067" y="3122"/>
                </a:lnTo>
                <a:lnTo>
                  <a:pt x="2075" y="3103"/>
                </a:lnTo>
                <a:lnTo>
                  <a:pt x="2083" y="3085"/>
                </a:lnTo>
                <a:lnTo>
                  <a:pt x="2089" y="3067"/>
                </a:lnTo>
                <a:lnTo>
                  <a:pt x="2093" y="3052"/>
                </a:lnTo>
                <a:lnTo>
                  <a:pt x="2095" y="3039"/>
                </a:lnTo>
                <a:lnTo>
                  <a:pt x="2108" y="3019"/>
                </a:lnTo>
                <a:lnTo>
                  <a:pt x="2121" y="2998"/>
                </a:lnTo>
                <a:lnTo>
                  <a:pt x="2134" y="2980"/>
                </a:lnTo>
                <a:lnTo>
                  <a:pt x="2146" y="2960"/>
                </a:lnTo>
                <a:lnTo>
                  <a:pt x="2157" y="2942"/>
                </a:lnTo>
                <a:lnTo>
                  <a:pt x="2169" y="2923"/>
                </a:lnTo>
                <a:lnTo>
                  <a:pt x="2180" y="2905"/>
                </a:lnTo>
                <a:lnTo>
                  <a:pt x="2193" y="2885"/>
                </a:lnTo>
                <a:lnTo>
                  <a:pt x="2199" y="2832"/>
                </a:lnTo>
                <a:lnTo>
                  <a:pt x="2211" y="2790"/>
                </a:lnTo>
                <a:lnTo>
                  <a:pt x="2222" y="2749"/>
                </a:lnTo>
                <a:lnTo>
                  <a:pt x="2225" y="2695"/>
                </a:lnTo>
                <a:lnTo>
                  <a:pt x="2239" y="2687"/>
                </a:lnTo>
                <a:lnTo>
                  <a:pt x="2254" y="2675"/>
                </a:lnTo>
                <a:lnTo>
                  <a:pt x="2269" y="2662"/>
                </a:lnTo>
                <a:lnTo>
                  <a:pt x="2285" y="2649"/>
                </a:lnTo>
                <a:lnTo>
                  <a:pt x="2301" y="2636"/>
                </a:lnTo>
                <a:lnTo>
                  <a:pt x="2317" y="2622"/>
                </a:lnTo>
                <a:lnTo>
                  <a:pt x="2330" y="2611"/>
                </a:lnTo>
                <a:lnTo>
                  <a:pt x="2344" y="2602"/>
                </a:lnTo>
                <a:lnTo>
                  <a:pt x="2353" y="2549"/>
                </a:lnTo>
                <a:lnTo>
                  <a:pt x="2358" y="2508"/>
                </a:lnTo>
                <a:lnTo>
                  <a:pt x="2364" y="2467"/>
                </a:lnTo>
                <a:lnTo>
                  <a:pt x="2375" y="2413"/>
                </a:lnTo>
                <a:lnTo>
                  <a:pt x="2386" y="2403"/>
                </a:lnTo>
                <a:lnTo>
                  <a:pt x="2402" y="2391"/>
                </a:lnTo>
                <a:lnTo>
                  <a:pt x="2422" y="2378"/>
                </a:lnTo>
                <a:lnTo>
                  <a:pt x="2445" y="2364"/>
                </a:lnTo>
                <a:lnTo>
                  <a:pt x="2469" y="2348"/>
                </a:lnTo>
                <a:lnTo>
                  <a:pt x="2489" y="2335"/>
                </a:lnTo>
                <a:lnTo>
                  <a:pt x="2506" y="2324"/>
                </a:lnTo>
                <a:lnTo>
                  <a:pt x="2515" y="2314"/>
                </a:lnTo>
                <a:lnTo>
                  <a:pt x="2513" y="2300"/>
                </a:lnTo>
                <a:lnTo>
                  <a:pt x="2513" y="2286"/>
                </a:lnTo>
                <a:lnTo>
                  <a:pt x="2518" y="2274"/>
                </a:lnTo>
                <a:lnTo>
                  <a:pt x="2521" y="2261"/>
                </a:lnTo>
                <a:lnTo>
                  <a:pt x="2526" y="2247"/>
                </a:lnTo>
                <a:lnTo>
                  <a:pt x="2529" y="2234"/>
                </a:lnTo>
                <a:lnTo>
                  <a:pt x="2531" y="2219"/>
                </a:lnTo>
                <a:lnTo>
                  <a:pt x="2529" y="2205"/>
                </a:lnTo>
                <a:lnTo>
                  <a:pt x="2541" y="2203"/>
                </a:lnTo>
                <a:lnTo>
                  <a:pt x="2552" y="2199"/>
                </a:lnTo>
                <a:lnTo>
                  <a:pt x="2564" y="2196"/>
                </a:lnTo>
                <a:lnTo>
                  <a:pt x="2576" y="2192"/>
                </a:lnTo>
                <a:lnTo>
                  <a:pt x="2588" y="2188"/>
                </a:lnTo>
                <a:lnTo>
                  <a:pt x="2598" y="2185"/>
                </a:lnTo>
                <a:lnTo>
                  <a:pt x="2610" y="2180"/>
                </a:lnTo>
                <a:lnTo>
                  <a:pt x="2621" y="2177"/>
                </a:lnTo>
                <a:lnTo>
                  <a:pt x="2626" y="2156"/>
                </a:lnTo>
                <a:lnTo>
                  <a:pt x="2634" y="2136"/>
                </a:lnTo>
                <a:lnTo>
                  <a:pt x="2641" y="2117"/>
                </a:lnTo>
                <a:lnTo>
                  <a:pt x="2651" y="2095"/>
                </a:lnTo>
                <a:lnTo>
                  <a:pt x="2659" y="2100"/>
                </a:lnTo>
                <a:lnTo>
                  <a:pt x="2665" y="2102"/>
                </a:lnTo>
                <a:lnTo>
                  <a:pt x="2673" y="2105"/>
                </a:lnTo>
                <a:lnTo>
                  <a:pt x="2680" y="2107"/>
                </a:lnTo>
                <a:lnTo>
                  <a:pt x="2687" y="2110"/>
                </a:lnTo>
                <a:lnTo>
                  <a:pt x="2697" y="2112"/>
                </a:lnTo>
                <a:lnTo>
                  <a:pt x="2705" y="2115"/>
                </a:lnTo>
                <a:lnTo>
                  <a:pt x="2713" y="2117"/>
                </a:lnTo>
                <a:lnTo>
                  <a:pt x="2721" y="2100"/>
                </a:lnTo>
                <a:lnTo>
                  <a:pt x="2727" y="2082"/>
                </a:lnTo>
                <a:lnTo>
                  <a:pt x="2731" y="2065"/>
                </a:lnTo>
                <a:lnTo>
                  <a:pt x="2736" y="2048"/>
                </a:lnTo>
                <a:lnTo>
                  <a:pt x="2742" y="2043"/>
                </a:lnTo>
                <a:lnTo>
                  <a:pt x="2747" y="2038"/>
                </a:lnTo>
                <a:lnTo>
                  <a:pt x="2753" y="2034"/>
                </a:lnTo>
                <a:lnTo>
                  <a:pt x="2758" y="2027"/>
                </a:lnTo>
                <a:lnTo>
                  <a:pt x="2765" y="2022"/>
                </a:lnTo>
                <a:lnTo>
                  <a:pt x="2770" y="2017"/>
                </a:lnTo>
                <a:lnTo>
                  <a:pt x="2776" y="2011"/>
                </a:lnTo>
                <a:lnTo>
                  <a:pt x="2780" y="2006"/>
                </a:lnTo>
                <a:lnTo>
                  <a:pt x="2791" y="1990"/>
                </a:lnTo>
                <a:lnTo>
                  <a:pt x="2801" y="1974"/>
                </a:lnTo>
                <a:lnTo>
                  <a:pt x="2813" y="1958"/>
                </a:lnTo>
                <a:lnTo>
                  <a:pt x="2825" y="1942"/>
                </a:lnTo>
                <a:lnTo>
                  <a:pt x="2837" y="1926"/>
                </a:lnTo>
                <a:lnTo>
                  <a:pt x="2849" y="1910"/>
                </a:lnTo>
                <a:lnTo>
                  <a:pt x="2864" y="1893"/>
                </a:lnTo>
                <a:lnTo>
                  <a:pt x="2878" y="1877"/>
                </a:lnTo>
                <a:lnTo>
                  <a:pt x="2902" y="1857"/>
                </a:lnTo>
                <a:lnTo>
                  <a:pt x="2927" y="1836"/>
                </a:lnTo>
                <a:lnTo>
                  <a:pt x="2951" y="1815"/>
                </a:lnTo>
                <a:lnTo>
                  <a:pt x="2975" y="1795"/>
                </a:lnTo>
                <a:lnTo>
                  <a:pt x="2999" y="1774"/>
                </a:lnTo>
                <a:lnTo>
                  <a:pt x="3023" y="1752"/>
                </a:lnTo>
                <a:lnTo>
                  <a:pt x="3045" y="1730"/>
                </a:lnTo>
                <a:lnTo>
                  <a:pt x="3069" y="1708"/>
                </a:lnTo>
                <a:lnTo>
                  <a:pt x="3091" y="1685"/>
                </a:lnTo>
                <a:lnTo>
                  <a:pt x="3115" y="1664"/>
                </a:lnTo>
                <a:lnTo>
                  <a:pt x="3140" y="1640"/>
                </a:lnTo>
                <a:lnTo>
                  <a:pt x="3163" y="1617"/>
                </a:lnTo>
                <a:lnTo>
                  <a:pt x="3186" y="1593"/>
                </a:lnTo>
                <a:lnTo>
                  <a:pt x="3210" y="1569"/>
                </a:lnTo>
                <a:lnTo>
                  <a:pt x="3235" y="1547"/>
                </a:lnTo>
                <a:lnTo>
                  <a:pt x="3259" y="1522"/>
                </a:lnTo>
                <a:lnTo>
                  <a:pt x="3284" y="1496"/>
                </a:lnTo>
                <a:lnTo>
                  <a:pt x="3310" y="1474"/>
                </a:lnTo>
                <a:lnTo>
                  <a:pt x="3336" y="1449"/>
                </a:lnTo>
                <a:lnTo>
                  <a:pt x="3363" y="1425"/>
                </a:lnTo>
                <a:lnTo>
                  <a:pt x="3390" y="1399"/>
                </a:lnTo>
                <a:lnTo>
                  <a:pt x="3418" y="1374"/>
                </a:lnTo>
                <a:lnTo>
                  <a:pt x="3448" y="1350"/>
                </a:lnTo>
                <a:lnTo>
                  <a:pt x="3478" y="1325"/>
                </a:lnTo>
                <a:lnTo>
                  <a:pt x="3509" y="1299"/>
                </a:lnTo>
                <a:lnTo>
                  <a:pt x="3541" y="1274"/>
                </a:lnTo>
                <a:lnTo>
                  <a:pt x="3572" y="1249"/>
                </a:lnTo>
                <a:lnTo>
                  <a:pt x="3607" y="1222"/>
                </a:lnTo>
                <a:lnTo>
                  <a:pt x="3641" y="1199"/>
                </a:lnTo>
                <a:lnTo>
                  <a:pt x="3677" y="1172"/>
                </a:lnTo>
                <a:lnTo>
                  <a:pt x="3714" y="1147"/>
                </a:lnTo>
                <a:lnTo>
                  <a:pt x="3753" y="1121"/>
                </a:lnTo>
                <a:lnTo>
                  <a:pt x="3770" y="1110"/>
                </a:lnTo>
                <a:lnTo>
                  <a:pt x="3788" y="1099"/>
                </a:lnTo>
                <a:lnTo>
                  <a:pt x="3805" y="1089"/>
                </a:lnTo>
                <a:lnTo>
                  <a:pt x="3822" y="1077"/>
                </a:lnTo>
                <a:lnTo>
                  <a:pt x="3840" y="1068"/>
                </a:lnTo>
                <a:lnTo>
                  <a:pt x="3858" y="1057"/>
                </a:lnTo>
                <a:lnTo>
                  <a:pt x="3876" y="1046"/>
                </a:lnTo>
                <a:lnTo>
                  <a:pt x="3896" y="1037"/>
                </a:lnTo>
                <a:lnTo>
                  <a:pt x="3905" y="1031"/>
                </a:lnTo>
                <a:lnTo>
                  <a:pt x="3916" y="1027"/>
                </a:lnTo>
                <a:lnTo>
                  <a:pt x="3927" y="1022"/>
                </a:lnTo>
                <a:lnTo>
                  <a:pt x="3937" y="1018"/>
                </a:lnTo>
                <a:lnTo>
                  <a:pt x="3948" y="1012"/>
                </a:lnTo>
                <a:lnTo>
                  <a:pt x="3958" y="1007"/>
                </a:lnTo>
                <a:lnTo>
                  <a:pt x="3969" y="1000"/>
                </a:lnTo>
                <a:lnTo>
                  <a:pt x="3980" y="995"/>
                </a:lnTo>
                <a:lnTo>
                  <a:pt x="3999" y="984"/>
                </a:lnTo>
                <a:lnTo>
                  <a:pt x="4018" y="972"/>
                </a:lnTo>
                <a:lnTo>
                  <a:pt x="4037" y="962"/>
                </a:lnTo>
                <a:lnTo>
                  <a:pt x="4056" y="949"/>
                </a:lnTo>
                <a:lnTo>
                  <a:pt x="4075" y="939"/>
                </a:lnTo>
                <a:lnTo>
                  <a:pt x="4093" y="925"/>
                </a:lnTo>
                <a:lnTo>
                  <a:pt x="4112" y="915"/>
                </a:lnTo>
                <a:lnTo>
                  <a:pt x="4131" y="903"/>
                </a:lnTo>
                <a:lnTo>
                  <a:pt x="4144" y="894"/>
                </a:lnTo>
                <a:lnTo>
                  <a:pt x="4156" y="884"/>
                </a:lnTo>
                <a:lnTo>
                  <a:pt x="4168" y="875"/>
                </a:lnTo>
                <a:lnTo>
                  <a:pt x="4182" y="866"/>
                </a:lnTo>
                <a:lnTo>
                  <a:pt x="4195" y="856"/>
                </a:lnTo>
                <a:lnTo>
                  <a:pt x="4209" y="847"/>
                </a:lnTo>
                <a:lnTo>
                  <a:pt x="4221" y="839"/>
                </a:lnTo>
                <a:lnTo>
                  <a:pt x="4235" y="829"/>
                </a:lnTo>
                <a:lnTo>
                  <a:pt x="4240" y="816"/>
                </a:lnTo>
                <a:lnTo>
                  <a:pt x="4245" y="805"/>
                </a:lnTo>
                <a:lnTo>
                  <a:pt x="4251" y="795"/>
                </a:lnTo>
                <a:lnTo>
                  <a:pt x="4255" y="786"/>
                </a:lnTo>
                <a:lnTo>
                  <a:pt x="4264" y="777"/>
                </a:lnTo>
                <a:lnTo>
                  <a:pt x="4271" y="772"/>
                </a:lnTo>
                <a:lnTo>
                  <a:pt x="4280" y="764"/>
                </a:lnTo>
                <a:lnTo>
                  <a:pt x="4289" y="758"/>
                </a:lnTo>
                <a:lnTo>
                  <a:pt x="4298" y="751"/>
                </a:lnTo>
                <a:lnTo>
                  <a:pt x="4307" y="744"/>
                </a:lnTo>
                <a:lnTo>
                  <a:pt x="4315" y="737"/>
                </a:lnTo>
                <a:lnTo>
                  <a:pt x="4325" y="731"/>
                </a:lnTo>
                <a:lnTo>
                  <a:pt x="4328" y="737"/>
                </a:lnTo>
                <a:lnTo>
                  <a:pt x="4331" y="743"/>
                </a:lnTo>
                <a:lnTo>
                  <a:pt x="4334" y="750"/>
                </a:lnTo>
                <a:lnTo>
                  <a:pt x="4336" y="756"/>
                </a:lnTo>
                <a:lnTo>
                  <a:pt x="4350" y="746"/>
                </a:lnTo>
                <a:lnTo>
                  <a:pt x="4363" y="740"/>
                </a:lnTo>
                <a:lnTo>
                  <a:pt x="4377" y="731"/>
                </a:lnTo>
                <a:lnTo>
                  <a:pt x="4391" y="723"/>
                </a:lnTo>
                <a:lnTo>
                  <a:pt x="4404" y="716"/>
                </a:lnTo>
                <a:lnTo>
                  <a:pt x="4419" y="706"/>
                </a:lnTo>
                <a:lnTo>
                  <a:pt x="4433" y="699"/>
                </a:lnTo>
                <a:lnTo>
                  <a:pt x="4444" y="692"/>
                </a:lnTo>
                <a:lnTo>
                  <a:pt x="4455" y="678"/>
                </a:lnTo>
                <a:lnTo>
                  <a:pt x="4464" y="660"/>
                </a:lnTo>
                <a:lnTo>
                  <a:pt x="4474" y="644"/>
                </a:lnTo>
                <a:lnTo>
                  <a:pt x="4482" y="629"/>
                </a:lnTo>
                <a:lnTo>
                  <a:pt x="4493" y="619"/>
                </a:lnTo>
                <a:lnTo>
                  <a:pt x="4506" y="610"/>
                </a:lnTo>
                <a:lnTo>
                  <a:pt x="4519" y="602"/>
                </a:lnTo>
                <a:lnTo>
                  <a:pt x="4531" y="593"/>
                </a:lnTo>
                <a:lnTo>
                  <a:pt x="4543" y="585"/>
                </a:lnTo>
                <a:lnTo>
                  <a:pt x="4555" y="576"/>
                </a:lnTo>
                <a:lnTo>
                  <a:pt x="4566" y="566"/>
                </a:lnTo>
                <a:lnTo>
                  <a:pt x="4576" y="557"/>
                </a:lnTo>
                <a:lnTo>
                  <a:pt x="4581" y="543"/>
                </a:lnTo>
                <a:lnTo>
                  <a:pt x="4586" y="528"/>
                </a:lnTo>
                <a:lnTo>
                  <a:pt x="4590" y="513"/>
                </a:lnTo>
                <a:lnTo>
                  <a:pt x="4597" y="497"/>
                </a:lnTo>
                <a:lnTo>
                  <a:pt x="4608" y="489"/>
                </a:lnTo>
                <a:lnTo>
                  <a:pt x="4621" y="480"/>
                </a:lnTo>
                <a:lnTo>
                  <a:pt x="4633" y="473"/>
                </a:lnTo>
                <a:lnTo>
                  <a:pt x="4645" y="464"/>
                </a:lnTo>
                <a:lnTo>
                  <a:pt x="4657" y="456"/>
                </a:lnTo>
                <a:lnTo>
                  <a:pt x="4669" y="446"/>
                </a:lnTo>
                <a:lnTo>
                  <a:pt x="4680" y="439"/>
                </a:lnTo>
                <a:lnTo>
                  <a:pt x="4690" y="431"/>
                </a:lnTo>
                <a:lnTo>
                  <a:pt x="4705" y="427"/>
                </a:lnTo>
                <a:lnTo>
                  <a:pt x="4719" y="423"/>
                </a:lnTo>
                <a:lnTo>
                  <a:pt x="4732" y="419"/>
                </a:lnTo>
                <a:lnTo>
                  <a:pt x="4745" y="415"/>
                </a:lnTo>
                <a:lnTo>
                  <a:pt x="4758" y="409"/>
                </a:lnTo>
                <a:lnTo>
                  <a:pt x="4771" y="406"/>
                </a:lnTo>
                <a:lnTo>
                  <a:pt x="4783" y="401"/>
                </a:lnTo>
                <a:lnTo>
                  <a:pt x="4797" y="398"/>
                </a:lnTo>
                <a:lnTo>
                  <a:pt x="4803" y="390"/>
                </a:lnTo>
                <a:lnTo>
                  <a:pt x="4810" y="381"/>
                </a:lnTo>
                <a:lnTo>
                  <a:pt x="4816" y="374"/>
                </a:lnTo>
                <a:lnTo>
                  <a:pt x="4822" y="364"/>
                </a:lnTo>
                <a:lnTo>
                  <a:pt x="4829" y="356"/>
                </a:lnTo>
                <a:lnTo>
                  <a:pt x="4835" y="347"/>
                </a:lnTo>
                <a:lnTo>
                  <a:pt x="4841" y="339"/>
                </a:lnTo>
                <a:lnTo>
                  <a:pt x="4847" y="329"/>
                </a:lnTo>
                <a:lnTo>
                  <a:pt x="4858" y="323"/>
                </a:lnTo>
                <a:lnTo>
                  <a:pt x="4868" y="316"/>
                </a:lnTo>
                <a:lnTo>
                  <a:pt x="4878" y="310"/>
                </a:lnTo>
                <a:lnTo>
                  <a:pt x="4887" y="303"/>
                </a:lnTo>
                <a:lnTo>
                  <a:pt x="4898" y="295"/>
                </a:lnTo>
                <a:lnTo>
                  <a:pt x="4907" y="288"/>
                </a:lnTo>
                <a:lnTo>
                  <a:pt x="4916" y="281"/>
                </a:lnTo>
                <a:lnTo>
                  <a:pt x="4925" y="273"/>
                </a:lnTo>
                <a:lnTo>
                  <a:pt x="4931" y="278"/>
                </a:lnTo>
                <a:lnTo>
                  <a:pt x="4938" y="283"/>
                </a:lnTo>
                <a:lnTo>
                  <a:pt x="4946" y="289"/>
                </a:lnTo>
                <a:lnTo>
                  <a:pt x="4950" y="294"/>
                </a:lnTo>
                <a:lnTo>
                  <a:pt x="4960" y="286"/>
                </a:lnTo>
                <a:lnTo>
                  <a:pt x="4972" y="278"/>
                </a:lnTo>
                <a:lnTo>
                  <a:pt x="4981" y="270"/>
                </a:lnTo>
                <a:lnTo>
                  <a:pt x="4992" y="262"/>
                </a:lnTo>
                <a:lnTo>
                  <a:pt x="5001" y="251"/>
                </a:lnTo>
                <a:lnTo>
                  <a:pt x="5012" y="242"/>
                </a:lnTo>
                <a:lnTo>
                  <a:pt x="5023" y="234"/>
                </a:lnTo>
                <a:lnTo>
                  <a:pt x="5033" y="226"/>
                </a:lnTo>
                <a:lnTo>
                  <a:pt x="5021" y="231"/>
                </a:lnTo>
                <a:lnTo>
                  <a:pt x="5010" y="237"/>
                </a:lnTo>
                <a:lnTo>
                  <a:pt x="4997" y="244"/>
                </a:lnTo>
                <a:lnTo>
                  <a:pt x="4983" y="248"/>
                </a:lnTo>
                <a:lnTo>
                  <a:pt x="4972" y="254"/>
                </a:lnTo>
                <a:lnTo>
                  <a:pt x="4960" y="259"/>
                </a:lnTo>
                <a:lnTo>
                  <a:pt x="4948" y="265"/>
                </a:lnTo>
                <a:lnTo>
                  <a:pt x="4936" y="270"/>
                </a:lnTo>
                <a:lnTo>
                  <a:pt x="4947" y="244"/>
                </a:lnTo>
                <a:lnTo>
                  <a:pt x="4956" y="221"/>
                </a:lnTo>
                <a:lnTo>
                  <a:pt x="4963" y="197"/>
                </a:lnTo>
                <a:lnTo>
                  <a:pt x="4968" y="173"/>
                </a:lnTo>
                <a:lnTo>
                  <a:pt x="4959" y="180"/>
                </a:lnTo>
                <a:lnTo>
                  <a:pt x="4950" y="190"/>
                </a:lnTo>
                <a:lnTo>
                  <a:pt x="4941" y="198"/>
                </a:lnTo>
                <a:lnTo>
                  <a:pt x="4930" y="206"/>
                </a:lnTo>
                <a:lnTo>
                  <a:pt x="4921" y="214"/>
                </a:lnTo>
                <a:lnTo>
                  <a:pt x="4910" y="223"/>
                </a:lnTo>
                <a:lnTo>
                  <a:pt x="4899" y="231"/>
                </a:lnTo>
                <a:lnTo>
                  <a:pt x="4889" y="240"/>
                </a:lnTo>
                <a:lnTo>
                  <a:pt x="4882" y="250"/>
                </a:lnTo>
                <a:lnTo>
                  <a:pt x="4872" y="259"/>
                </a:lnTo>
                <a:lnTo>
                  <a:pt x="4865" y="270"/>
                </a:lnTo>
                <a:lnTo>
                  <a:pt x="4858" y="281"/>
                </a:lnTo>
                <a:lnTo>
                  <a:pt x="4850" y="292"/>
                </a:lnTo>
                <a:lnTo>
                  <a:pt x="4842" y="303"/>
                </a:lnTo>
                <a:lnTo>
                  <a:pt x="4835" y="314"/>
                </a:lnTo>
                <a:lnTo>
                  <a:pt x="4827" y="325"/>
                </a:lnTo>
                <a:lnTo>
                  <a:pt x="4820" y="329"/>
                </a:lnTo>
                <a:lnTo>
                  <a:pt x="4813" y="334"/>
                </a:lnTo>
                <a:lnTo>
                  <a:pt x="4805" y="341"/>
                </a:lnTo>
                <a:lnTo>
                  <a:pt x="4799" y="346"/>
                </a:lnTo>
                <a:lnTo>
                  <a:pt x="4791" y="351"/>
                </a:lnTo>
                <a:lnTo>
                  <a:pt x="4785" y="356"/>
                </a:lnTo>
                <a:lnTo>
                  <a:pt x="4778" y="360"/>
                </a:lnTo>
                <a:lnTo>
                  <a:pt x="4771" y="365"/>
                </a:lnTo>
                <a:lnTo>
                  <a:pt x="4766" y="364"/>
                </a:lnTo>
                <a:lnTo>
                  <a:pt x="4760" y="363"/>
                </a:lnTo>
                <a:lnTo>
                  <a:pt x="4756" y="360"/>
                </a:lnTo>
                <a:lnTo>
                  <a:pt x="4752" y="359"/>
                </a:lnTo>
                <a:lnTo>
                  <a:pt x="4747" y="358"/>
                </a:lnTo>
                <a:lnTo>
                  <a:pt x="4743" y="356"/>
                </a:lnTo>
                <a:lnTo>
                  <a:pt x="4736" y="354"/>
                </a:lnTo>
                <a:lnTo>
                  <a:pt x="4732" y="354"/>
                </a:lnTo>
                <a:lnTo>
                  <a:pt x="4709" y="371"/>
                </a:lnTo>
                <a:lnTo>
                  <a:pt x="4688" y="390"/>
                </a:lnTo>
                <a:lnTo>
                  <a:pt x="4666" y="408"/>
                </a:lnTo>
                <a:lnTo>
                  <a:pt x="4644" y="427"/>
                </a:lnTo>
                <a:lnTo>
                  <a:pt x="4621" y="445"/>
                </a:lnTo>
                <a:lnTo>
                  <a:pt x="4597" y="464"/>
                </a:lnTo>
                <a:lnTo>
                  <a:pt x="4575" y="483"/>
                </a:lnTo>
                <a:lnTo>
                  <a:pt x="4551" y="502"/>
                </a:lnTo>
                <a:lnTo>
                  <a:pt x="4541" y="507"/>
                </a:lnTo>
                <a:lnTo>
                  <a:pt x="4531" y="513"/>
                </a:lnTo>
                <a:lnTo>
                  <a:pt x="4521" y="517"/>
                </a:lnTo>
                <a:lnTo>
                  <a:pt x="4511" y="524"/>
                </a:lnTo>
                <a:lnTo>
                  <a:pt x="4501" y="528"/>
                </a:lnTo>
                <a:lnTo>
                  <a:pt x="4492" y="533"/>
                </a:lnTo>
                <a:lnTo>
                  <a:pt x="4482" y="539"/>
                </a:lnTo>
                <a:lnTo>
                  <a:pt x="4474" y="544"/>
                </a:lnTo>
                <a:lnTo>
                  <a:pt x="4467" y="542"/>
                </a:lnTo>
                <a:lnTo>
                  <a:pt x="4461" y="539"/>
                </a:lnTo>
                <a:lnTo>
                  <a:pt x="4455" y="537"/>
                </a:lnTo>
                <a:lnTo>
                  <a:pt x="4451" y="533"/>
                </a:lnTo>
                <a:lnTo>
                  <a:pt x="4443" y="531"/>
                </a:lnTo>
                <a:lnTo>
                  <a:pt x="4439" y="528"/>
                </a:lnTo>
                <a:lnTo>
                  <a:pt x="4433" y="526"/>
                </a:lnTo>
                <a:lnTo>
                  <a:pt x="4427" y="524"/>
                </a:lnTo>
                <a:lnTo>
                  <a:pt x="4401" y="542"/>
                </a:lnTo>
                <a:lnTo>
                  <a:pt x="4376" y="558"/>
                </a:lnTo>
                <a:lnTo>
                  <a:pt x="4350" y="577"/>
                </a:lnTo>
                <a:lnTo>
                  <a:pt x="4325" y="594"/>
                </a:lnTo>
                <a:lnTo>
                  <a:pt x="4301" y="612"/>
                </a:lnTo>
                <a:lnTo>
                  <a:pt x="4274" y="630"/>
                </a:lnTo>
                <a:lnTo>
                  <a:pt x="4248" y="648"/>
                </a:lnTo>
                <a:lnTo>
                  <a:pt x="4223" y="665"/>
                </a:lnTo>
                <a:lnTo>
                  <a:pt x="4197" y="683"/>
                </a:lnTo>
                <a:lnTo>
                  <a:pt x="4172" y="702"/>
                </a:lnTo>
                <a:lnTo>
                  <a:pt x="4147" y="719"/>
                </a:lnTo>
                <a:lnTo>
                  <a:pt x="4121" y="737"/>
                </a:lnTo>
                <a:lnTo>
                  <a:pt x="4096" y="755"/>
                </a:lnTo>
                <a:lnTo>
                  <a:pt x="4069" y="773"/>
                </a:lnTo>
                <a:lnTo>
                  <a:pt x="4044" y="792"/>
                </a:lnTo>
                <a:lnTo>
                  <a:pt x="4018" y="810"/>
                </a:lnTo>
                <a:lnTo>
                  <a:pt x="4012" y="802"/>
                </a:lnTo>
                <a:lnTo>
                  <a:pt x="4005" y="795"/>
                </a:lnTo>
                <a:lnTo>
                  <a:pt x="3999" y="784"/>
                </a:lnTo>
                <a:lnTo>
                  <a:pt x="3995" y="774"/>
                </a:lnTo>
                <a:lnTo>
                  <a:pt x="4005" y="767"/>
                </a:lnTo>
                <a:lnTo>
                  <a:pt x="4014" y="760"/>
                </a:lnTo>
                <a:lnTo>
                  <a:pt x="4024" y="751"/>
                </a:lnTo>
                <a:lnTo>
                  <a:pt x="4033" y="742"/>
                </a:lnTo>
                <a:lnTo>
                  <a:pt x="4043" y="733"/>
                </a:lnTo>
                <a:lnTo>
                  <a:pt x="4053" y="725"/>
                </a:lnTo>
                <a:lnTo>
                  <a:pt x="4063" y="716"/>
                </a:lnTo>
                <a:lnTo>
                  <a:pt x="4074" y="707"/>
                </a:lnTo>
                <a:lnTo>
                  <a:pt x="4081" y="705"/>
                </a:lnTo>
                <a:lnTo>
                  <a:pt x="4088" y="702"/>
                </a:lnTo>
                <a:lnTo>
                  <a:pt x="4096" y="702"/>
                </a:lnTo>
                <a:lnTo>
                  <a:pt x="4105" y="699"/>
                </a:lnTo>
                <a:lnTo>
                  <a:pt x="4112" y="696"/>
                </a:lnTo>
                <a:lnTo>
                  <a:pt x="4120" y="694"/>
                </a:lnTo>
                <a:lnTo>
                  <a:pt x="4129" y="691"/>
                </a:lnTo>
                <a:lnTo>
                  <a:pt x="4136" y="689"/>
                </a:lnTo>
                <a:lnTo>
                  <a:pt x="4141" y="682"/>
                </a:lnTo>
                <a:lnTo>
                  <a:pt x="4146" y="675"/>
                </a:lnTo>
                <a:lnTo>
                  <a:pt x="4151" y="668"/>
                </a:lnTo>
                <a:lnTo>
                  <a:pt x="4156" y="661"/>
                </a:lnTo>
                <a:lnTo>
                  <a:pt x="4160" y="654"/>
                </a:lnTo>
                <a:lnTo>
                  <a:pt x="4166" y="647"/>
                </a:lnTo>
                <a:lnTo>
                  <a:pt x="4172" y="639"/>
                </a:lnTo>
                <a:lnTo>
                  <a:pt x="4177" y="631"/>
                </a:lnTo>
                <a:lnTo>
                  <a:pt x="4188" y="627"/>
                </a:lnTo>
                <a:lnTo>
                  <a:pt x="4196" y="621"/>
                </a:lnTo>
                <a:lnTo>
                  <a:pt x="4207" y="616"/>
                </a:lnTo>
                <a:lnTo>
                  <a:pt x="4217" y="610"/>
                </a:lnTo>
                <a:lnTo>
                  <a:pt x="4225" y="605"/>
                </a:lnTo>
                <a:lnTo>
                  <a:pt x="4235" y="600"/>
                </a:lnTo>
                <a:lnTo>
                  <a:pt x="4245" y="593"/>
                </a:lnTo>
                <a:lnTo>
                  <a:pt x="4255" y="588"/>
                </a:lnTo>
                <a:lnTo>
                  <a:pt x="4262" y="575"/>
                </a:lnTo>
                <a:lnTo>
                  <a:pt x="4269" y="562"/>
                </a:lnTo>
                <a:lnTo>
                  <a:pt x="4276" y="548"/>
                </a:lnTo>
                <a:lnTo>
                  <a:pt x="4284" y="533"/>
                </a:lnTo>
                <a:lnTo>
                  <a:pt x="4290" y="526"/>
                </a:lnTo>
                <a:lnTo>
                  <a:pt x="4298" y="519"/>
                </a:lnTo>
                <a:lnTo>
                  <a:pt x="4305" y="513"/>
                </a:lnTo>
                <a:lnTo>
                  <a:pt x="4311" y="507"/>
                </a:lnTo>
                <a:lnTo>
                  <a:pt x="4319" y="501"/>
                </a:lnTo>
                <a:lnTo>
                  <a:pt x="4327" y="495"/>
                </a:lnTo>
                <a:lnTo>
                  <a:pt x="4335" y="489"/>
                </a:lnTo>
                <a:lnTo>
                  <a:pt x="4343" y="482"/>
                </a:lnTo>
                <a:lnTo>
                  <a:pt x="4336" y="480"/>
                </a:lnTo>
                <a:lnTo>
                  <a:pt x="4331" y="477"/>
                </a:lnTo>
                <a:lnTo>
                  <a:pt x="4325" y="475"/>
                </a:lnTo>
                <a:lnTo>
                  <a:pt x="4319" y="471"/>
                </a:lnTo>
                <a:lnTo>
                  <a:pt x="4313" y="469"/>
                </a:lnTo>
                <a:lnTo>
                  <a:pt x="4307" y="465"/>
                </a:lnTo>
                <a:lnTo>
                  <a:pt x="4302" y="462"/>
                </a:lnTo>
                <a:lnTo>
                  <a:pt x="4296" y="458"/>
                </a:lnTo>
                <a:lnTo>
                  <a:pt x="4307" y="450"/>
                </a:lnTo>
                <a:lnTo>
                  <a:pt x="4318" y="440"/>
                </a:lnTo>
                <a:lnTo>
                  <a:pt x="4329" y="432"/>
                </a:lnTo>
                <a:lnTo>
                  <a:pt x="4342" y="423"/>
                </a:lnTo>
                <a:lnTo>
                  <a:pt x="4353" y="415"/>
                </a:lnTo>
                <a:lnTo>
                  <a:pt x="4365" y="406"/>
                </a:lnTo>
                <a:lnTo>
                  <a:pt x="4376" y="398"/>
                </a:lnTo>
                <a:lnTo>
                  <a:pt x="4388" y="389"/>
                </a:lnTo>
                <a:lnTo>
                  <a:pt x="4393" y="383"/>
                </a:lnTo>
                <a:lnTo>
                  <a:pt x="4401" y="378"/>
                </a:lnTo>
                <a:lnTo>
                  <a:pt x="4410" y="371"/>
                </a:lnTo>
                <a:lnTo>
                  <a:pt x="4415" y="364"/>
                </a:lnTo>
                <a:lnTo>
                  <a:pt x="4424" y="354"/>
                </a:lnTo>
                <a:lnTo>
                  <a:pt x="4435" y="343"/>
                </a:lnTo>
                <a:lnTo>
                  <a:pt x="4442" y="331"/>
                </a:lnTo>
                <a:lnTo>
                  <a:pt x="4451" y="320"/>
                </a:lnTo>
                <a:lnTo>
                  <a:pt x="4460" y="309"/>
                </a:lnTo>
                <a:lnTo>
                  <a:pt x="4468" y="298"/>
                </a:lnTo>
                <a:lnTo>
                  <a:pt x="4478" y="286"/>
                </a:lnTo>
                <a:lnTo>
                  <a:pt x="4486" y="275"/>
                </a:lnTo>
                <a:lnTo>
                  <a:pt x="4464" y="285"/>
                </a:lnTo>
                <a:lnTo>
                  <a:pt x="4444" y="294"/>
                </a:lnTo>
                <a:lnTo>
                  <a:pt x="4423" y="304"/>
                </a:lnTo>
                <a:lnTo>
                  <a:pt x="4403" y="313"/>
                </a:lnTo>
                <a:lnTo>
                  <a:pt x="4381" y="323"/>
                </a:lnTo>
                <a:lnTo>
                  <a:pt x="4360" y="332"/>
                </a:lnTo>
                <a:lnTo>
                  <a:pt x="4338" y="344"/>
                </a:lnTo>
                <a:lnTo>
                  <a:pt x="4318" y="354"/>
                </a:lnTo>
                <a:lnTo>
                  <a:pt x="4313" y="351"/>
                </a:lnTo>
                <a:lnTo>
                  <a:pt x="4309" y="348"/>
                </a:lnTo>
                <a:lnTo>
                  <a:pt x="4304" y="347"/>
                </a:lnTo>
                <a:lnTo>
                  <a:pt x="4300" y="345"/>
                </a:lnTo>
                <a:lnTo>
                  <a:pt x="4293" y="344"/>
                </a:lnTo>
                <a:lnTo>
                  <a:pt x="4289" y="341"/>
                </a:lnTo>
                <a:lnTo>
                  <a:pt x="4285" y="341"/>
                </a:lnTo>
                <a:lnTo>
                  <a:pt x="4280" y="340"/>
                </a:lnTo>
                <a:lnTo>
                  <a:pt x="4286" y="333"/>
                </a:lnTo>
                <a:lnTo>
                  <a:pt x="4293" y="327"/>
                </a:lnTo>
                <a:lnTo>
                  <a:pt x="4300" y="321"/>
                </a:lnTo>
                <a:lnTo>
                  <a:pt x="4305" y="314"/>
                </a:lnTo>
                <a:lnTo>
                  <a:pt x="4311" y="308"/>
                </a:lnTo>
                <a:lnTo>
                  <a:pt x="4318" y="302"/>
                </a:lnTo>
                <a:lnTo>
                  <a:pt x="4325" y="295"/>
                </a:lnTo>
                <a:lnTo>
                  <a:pt x="4333" y="289"/>
                </a:lnTo>
                <a:lnTo>
                  <a:pt x="4352" y="275"/>
                </a:lnTo>
                <a:lnTo>
                  <a:pt x="4374" y="256"/>
                </a:lnTo>
                <a:lnTo>
                  <a:pt x="4399" y="237"/>
                </a:lnTo>
                <a:lnTo>
                  <a:pt x="4427" y="217"/>
                </a:lnTo>
                <a:lnTo>
                  <a:pt x="4455" y="198"/>
                </a:lnTo>
                <a:lnTo>
                  <a:pt x="4480" y="179"/>
                </a:lnTo>
                <a:lnTo>
                  <a:pt x="4503" y="164"/>
                </a:lnTo>
                <a:lnTo>
                  <a:pt x="4520" y="149"/>
                </a:lnTo>
                <a:lnTo>
                  <a:pt x="4524" y="125"/>
                </a:lnTo>
                <a:lnTo>
                  <a:pt x="4521" y="114"/>
                </a:lnTo>
                <a:lnTo>
                  <a:pt x="4513" y="114"/>
                </a:lnTo>
                <a:lnTo>
                  <a:pt x="4504" y="120"/>
                </a:lnTo>
                <a:lnTo>
                  <a:pt x="4491" y="128"/>
                </a:lnTo>
                <a:lnTo>
                  <a:pt x="4480" y="136"/>
                </a:lnTo>
                <a:lnTo>
                  <a:pt x="4471" y="141"/>
                </a:lnTo>
                <a:lnTo>
                  <a:pt x="4464" y="140"/>
                </a:lnTo>
                <a:lnTo>
                  <a:pt x="4455" y="148"/>
                </a:lnTo>
                <a:lnTo>
                  <a:pt x="4441" y="154"/>
                </a:lnTo>
                <a:lnTo>
                  <a:pt x="4425" y="162"/>
                </a:lnTo>
                <a:lnTo>
                  <a:pt x="4410" y="167"/>
                </a:lnTo>
                <a:lnTo>
                  <a:pt x="4393" y="175"/>
                </a:lnTo>
                <a:lnTo>
                  <a:pt x="4377" y="180"/>
                </a:lnTo>
                <a:lnTo>
                  <a:pt x="4363" y="190"/>
                </a:lnTo>
                <a:lnTo>
                  <a:pt x="4352" y="197"/>
                </a:lnTo>
                <a:lnTo>
                  <a:pt x="4348" y="206"/>
                </a:lnTo>
                <a:lnTo>
                  <a:pt x="4345" y="216"/>
                </a:lnTo>
                <a:lnTo>
                  <a:pt x="4342" y="227"/>
                </a:lnTo>
                <a:lnTo>
                  <a:pt x="4338" y="237"/>
                </a:lnTo>
                <a:lnTo>
                  <a:pt x="4333" y="242"/>
                </a:lnTo>
                <a:lnTo>
                  <a:pt x="4328" y="248"/>
                </a:lnTo>
                <a:lnTo>
                  <a:pt x="4322" y="254"/>
                </a:lnTo>
                <a:lnTo>
                  <a:pt x="4315" y="259"/>
                </a:lnTo>
                <a:lnTo>
                  <a:pt x="4307" y="266"/>
                </a:lnTo>
                <a:lnTo>
                  <a:pt x="4302" y="271"/>
                </a:lnTo>
                <a:lnTo>
                  <a:pt x="4293" y="277"/>
                </a:lnTo>
                <a:lnTo>
                  <a:pt x="4286" y="282"/>
                </a:lnTo>
                <a:lnTo>
                  <a:pt x="4280" y="275"/>
                </a:lnTo>
                <a:lnTo>
                  <a:pt x="4276" y="268"/>
                </a:lnTo>
                <a:lnTo>
                  <a:pt x="4269" y="262"/>
                </a:lnTo>
                <a:lnTo>
                  <a:pt x="4262" y="254"/>
                </a:lnTo>
                <a:lnTo>
                  <a:pt x="4257" y="247"/>
                </a:lnTo>
                <a:lnTo>
                  <a:pt x="4248" y="241"/>
                </a:lnTo>
                <a:lnTo>
                  <a:pt x="4242" y="235"/>
                </a:lnTo>
                <a:lnTo>
                  <a:pt x="4237" y="229"/>
                </a:lnTo>
                <a:lnTo>
                  <a:pt x="4245" y="215"/>
                </a:lnTo>
                <a:lnTo>
                  <a:pt x="4253" y="203"/>
                </a:lnTo>
                <a:lnTo>
                  <a:pt x="4260" y="190"/>
                </a:lnTo>
                <a:lnTo>
                  <a:pt x="4269" y="175"/>
                </a:lnTo>
                <a:lnTo>
                  <a:pt x="4280" y="169"/>
                </a:lnTo>
                <a:lnTo>
                  <a:pt x="4288" y="162"/>
                </a:lnTo>
                <a:lnTo>
                  <a:pt x="4297" y="154"/>
                </a:lnTo>
                <a:lnTo>
                  <a:pt x="4305" y="146"/>
                </a:lnTo>
                <a:lnTo>
                  <a:pt x="4314" y="138"/>
                </a:lnTo>
                <a:lnTo>
                  <a:pt x="4323" y="131"/>
                </a:lnTo>
                <a:lnTo>
                  <a:pt x="4331" y="124"/>
                </a:lnTo>
                <a:lnTo>
                  <a:pt x="4338" y="117"/>
                </a:lnTo>
                <a:lnTo>
                  <a:pt x="4346" y="107"/>
                </a:lnTo>
                <a:lnTo>
                  <a:pt x="4350" y="100"/>
                </a:lnTo>
                <a:lnTo>
                  <a:pt x="4356" y="91"/>
                </a:lnTo>
                <a:lnTo>
                  <a:pt x="4362" y="83"/>
                </a:lnTo>
                <a:lnTo>
                  <a:pt x="4368" y="74"/>
                </a:lnTo>
                <a:lnTo>
                  <a:pt x="4373" y="65"/>
                </a:lnTo>
                <a:lnTo>
                  <a:pt x="4379" y="55"/>
                </a:lnTo>
                <a:lnTo>
                  <a:pt x="4386" y="47"/>
                </a:lnTo>
                <a:lnTo>
                  <a:pt x="4376" y="48"/>
                </a:lnTo>
                <a:lnTo>
                  <a:pt x="4366" y="50"/>
                </a:lnTo>
                <a:lnTo>
                  <a:pt x="4356" y="52"/>
                </a:lnTo>
                <a:lnTo>
                  <a:pt x="4346" y="52"/>
                </a:lnTo>
                <a:lnTo>
                  <a:pt x="4335" y="55"/>
                </a:lnTo>
                <a:lnTo>
                  <a:pt x="4325" y="56"/>
                </a:lnTo>
                <a:lnTo>
                  <a:pt x="4314" y="59"/>
                </a:lnTo>
                <a:lnTo>
                  <a:pt x="4304" y="60"/>
                </a:lnTo>
                <a:lnTo>
                  <a:pt x="4307" y="44"/>
                </a:lnTo>
                <a:lnTo>
                  <a:pt x="4311" y="29"/>
                </a:lnTo>
                <a:lnTo>
                  <a:pt x="4313" y="15"/>
                </a:lnTo>
                <a:lnTo>
                  <a:pt x="4315" y="0"/>
                </a:lnTo>
                <a:lnTo>
                  <a:pt x="4305" y="6"/>
                </a:lnTo>
                <a:lnTo>
                  <a:pt x="4296" y="12"/>
                </a:lnTo>
                <a:lnTo>
                  <a:pt x="4285" y="18"/>
                </a:lnTo>
                <a:lnTo>
                  <a:pt x="4276" y="25"/>
                </a:lnTo>
                <a:lnTo>
                  <a:pt x="4266" y="32"/>
                </a:lnTo>
                <a:lnTo>
                  <a:pt x="4257" y="41"/>
                </a:lnTo>
                <a:lnTo>
                  <a:pt x="4248" y="48"/>
                </a:lnTo>
                <a:lnTo>
                  <a:pt x="4238" y="55"/>
                </a:lnTo>
                <a:lnTo>
                  <a:pt x="4233" y="63"/>
                </a:lnTo>
                <a:lnTo>
                  <a:pt x="4227" y="74"/>
                </a:lnTo>
                <a:lnTo>
                  <a:pt x="4221" y="83"/>
                </a:lnTo>
                <a:lnTo>
                  <a:pt x="4217" y="93"/>
                </a:lnTo>
                <a:lnTo>
                  <a:pt x="4211" y="103"/>
                </a:lnTo>
                <a:lnTo>
                  <a:pt x="4205" y="114"/>
                </a:lnTo>
                <a:lnTo>
                  <a:pt x="4199" y="124"/>
                </a:lnTo>
                <a:lnTo>
                  <a:pt x="4195" y="135"/>
                </a:lnTo>
                <a:lnTo>
                  <a:pt x="4186" y="135"/>
                </a:lnTo>
                <a:lnTo>
                  <a:pt x="4177" y="135"/>
                </a:lnTo>
                <a:lnTo>
                  <a:pt x="4168" y="135"/>
                </a:lnTo>
                <a:lnTo>
                  <a:pt x="4160" y="135"/>
                </a:lnTo>
                <a:lnTo>
                  <a:pt x="4151" y="135"/>
                </a:lnTo>
                <a:lnTo>
                  <a:pt x="4144" y="135"/>
                </a:lnTo>
                <a:lnTo>
                  <a:pt x="4134" y="135"/>
                </a:lnTo>
                <a:lnTo>
                  <a:pt x="4126" y="134"/>
                </a:lnTo>
                <a:lnTo>
                  <a:pt x="4111" y="144"/>
                </a:lnTo>
                <a:lnTo>
                  <a:pt x="4096" y="156"/>
                </a:lnTo>
                <a:lnTo>
                  <a:pt x="4081" y="167"/>
                </a:lnTo>
                <a:lnTo>
                  <a:pt x="4066" y="177"/>
                </a:lnTo>
                <a:lnTo>
                  <a:pt x="4051" y="189"/>
                </a:lnTo>
                <a:lnTo>
                  <a:pt x="4035" y="200"/>
                </a:lnTo>
                <a:lnTo>
                  <a:pt x="4021" y="210"/>
                </a:lnTo>
                <a:lnTo>
                  <a:pt x="4003" y="221"/>
                </a:lnTo>
                <a:lnTo>
                  <a:pt x="3955" y="254"/>
                </a:lnTo>
                <a:lnTo>
                  <a:pt x="3906" y="284"/>
                </a:lnTo>
                <a:lnTo>
                  <a:pt x="3858" y="312"/>
                </a:lnTo>
                <a:lnTo>
                  <a:pt x="3809" y="337"/>
                </a:lnTo>
                <a:lnTo>
                  <a:pt x="3759" y="362"/>
                </a:lnTo>
                <a:lnTo>
                  <a:pt x="3711" y="387"/>
                </a:lnTo>
                <a:lnTo>
                  <a:pt x="3662" y="412"/>
                </a:lnTo>
                <a:lnTo>
                  <a:pt x="3614" y="435"/>
                </a:lnTo>
                <a:lnTo>
                  <a:pt x="3566" y="463"/>
                </a:lnTo>
                <a:lnTo>
                  <a:pt x="3518" y="493"/>
                </a:lnTo>
                <a:lnTo>
                  <a:pt x="3469" y="525"/>
                </a:lnTo>
                <a:lnTo>
                  <a:pt x="3421" y="558"/>
                </a:lnTo>
                <a:lnTo>
                  <a:pt x="3374" y="600"/>
                </a:lnTo>
                <a:lnTo>
                  <a:pt x="3327" y="644"/>
                </a:lnTo>
                <a:lnTo>
                  <a:pt x="3279" y="693"/>
                </a:lnTo>
                <a:lnTo>
                  <a:pt x="3231" y="749"/>
                </a:lnTo>
                <a:lnTo>
                  <a:pt x="3186" y="777"/>
                </a:lnTo>
                <a:lnTo>
                  <a:pt x="3151" y="800"/>
                </a:lnTo>
                <a:lnTo>
                  <a:pt x="3125" y="816"/>
                </a:lnTo>
                <a:lnTo>
                  <a:pt x="3108" y="826"/>
                </a:lnTo>
                <a:lnTo>
                  <a:pt x="3100" y="829"/>
                </a:lnTo>
                <a:lnTo>
                  <a:pt x="3098" y="828"/>
                </a:lnTo>
                <a:lnTo>
                  <a:pt x="3100" y="822"/>
                </a:lnTo>
                <a:lnTo>
                  <a:pt x="3107" y="813"/>
                </a:lnTo>
                <a:lnTo>
                  <a:pt x="3116" y="804"/>
                </a:lnTo>
                <a:lnTo>
                  <a:pt x="3128" y="792"/>
                </a:lnTo>
                <a:lnTo>
                  <a:pt x="3143" y="779"/>
                </a:lnTo>
                <a:lnTo>
                  <a:pt x="3156" y="767"/>
                </a:lnTo>
                <a:lnTo>
                  <a:pt x="3168" y="756"/>
                </a:lnTo>
                <a:lnTo>
                  <a:pt x="3178" y="744"/>
                </a:lnTo>
                <a:lnTo>
                  <a:pt x="3186" y="737"/>
                </a:lnTo>
                <a:lnTo>
                  <a:pt x="3188" y="733"/>
                </a:lnTo>
                <a:lnTo>
                  <a:pt x="3211" y="722"/>
                </a:lnTo>
                <a:lnTo>
                  <a:pt x="3230" y="712"/>
                </a:lnTo>
                <a:lnTo>
                  <a:pt x="3242" y="702"/>
                </a:lnTo>
                <a:lnTo>
                  <a:pt x="3251" y="696"/>
                </a:lnTo>
                <a:lnTo>
                  <a:pt x="3256" y="693"/>
                </a:lnTo>
                <a:lnTo>
                  <a:pt x="3259" y="689"/>
                </a:lnTo>
                <a:lnTo>
                  <a:pt x="3256" y="687"/>
                </a:lnTo>
                <a:lnTo>
                  <a:pt x="3253" y="686"/>
                </a:lnTo>
                <a:lnTo>
                  <a:pt x="3248" y="686"/>
                </a:lnTo>
                <a:lnTo>
                  <a:pt x="3244" y="686"/>
                </a:lnTo>
                <a:lnTo>
                  <a:pt x="3239" y="685"/>
                </a:lnTo>
                <a:lnTo>
                  <a:pt x="3235" y="683"/>
                </a:lnTo>
                <a:lnTo>
                  <a:pt x="3233" y="681"/>
                </a:lnTo>
                <a:lnTo>
                  <a:pt x="3233" y="678"/>
                </a:lnTo>
                <a:lnTo>
                  <a:pt x="3235" y="671"/>
                </a:lnTo>
                <a:lnTo>
                  <a:pt x="3240" y="665"/>
                </a:lnTo>
                <a:lnTo>
                  <a:pt x="3248" y="656"/>
                </a:lnTo>
                <a:lnTo>
                  <a:pt x="3261" y="644"/>
                </a:lnTo>
                <a:lnTo>
                  <a:pt x="3279" y="630"/>
                </a:lnTo>
                <a:lnTo>
                  <a:pt x="3302" y="613"/>
                </a:lnTo>
                <a:lnTo>
                  <a:pt x="3330" y="593"/>
                </a:lnTo>
                <a:lnTo>
                  <a:pt x="3366" y="570"/>
                </a:lnTo>
                <a:lnTo>
                  <a:pt x="3407" y="542"/>
                </a:lnTo>
                <a:lnTo>
                  <a:pt x="3456" y="511"/>
                </a:lnTo>
                <a:lnTo>
                  <a:pt x="3513" y="473"/>
                </a:lnTo>
                <a:lnTo>
                  <a:pt x="3578" y="433"/>
                </a:lnTo>
                <a:lnTo>
                  <a:pt x="3654" y="389"/>
                </a:lnTo>
                <a:lnTo>
                  <a:pt x="3738" y="337"/>
                </a:lnTo>
                <a:lnTo>
                  <a:pt x="3833" y="282"/>
                </a:lnTo>
                <a:lnTo>
                  <a:pt x="3941" y="219"/>
                </a:lnTo>
                <a:lnTo>
                  <a:pt x="4057" y="152"/>
                </a:lnTo>
                <a:lnTo>
                  <a:pt x="4084" y="134"/>
                </a:lnTo>
                <a:lnTo>
                  <a:pt x="4107" y="117"/>
                </a:lnTo>
                <a:lnTo>
                  <a:pt x="4125" y="100"/>
                </a:lnTo>
                <a:lnTo>
                  <a:pt x="4138" y="85"/>
                </a:lnTo>
                <a:lnTo>
                  <a:pt x="4147" y="71"/>
                </a:lnTo>
                <a:lnTo>
                  <a:pt x="4151" y="61"/>
                </a:lnTo>
                <a:lnTo>
                  <a:pt x="4151" y="54"/>
                </a:lnTo>
                <a:lnTo>
                  <a:pt x="4147" y="52"/>
                </a:lnTo>
                <a:lnTo>
                  <a:pt x="4121" y="56"/>
                </a:lnTo>
                <a:lnTo>
                  <a:pt x="4093" y="69"/>
                </a:lnTo>
                <a:lnTo>
                  <a:pt x="4066" y="89"/>
                </a:lnTo>
                <a:lnTo>
                  <a:pt x="4038" y="107"/>
                </a:lnTo>
                <a:lnTo>
                  <a:pt x="4014" y="127"/>
                </a:lnTo>
                <a:lnTo>
                  <a:pt x="3992" y="140"/>
                </a:lnTo>
                <a:lnTo>
                  <a:pt x="3975" y="144"/>
                </a:lnTo>
                <a:lnTo>
                  <a:pt x="3963" y="134"/>
                </a:lnTo>
                <a:lnTo>
                  <a:pt x="3949" y="156"/>
                </a:lnTo>
                <a:lnTo>
                  <a:pt x="3947" y="164"/>
                </a:lnTo>
                <a:lnTo>
                  <a:pt x="3949" y="162"/>
                </a:lnTo>
                <a:lnTo>
                  <a:pt x="3952" y="153"/>
                </a:lnTo>
                <a:lnTo>
                  <a:pt x="3950" y="144"/>
                </a:lnTo>
                <a:lnTo>
                  <a:pt x="3936" y="144"/>
                </a:lnTo>
                <a:lnTo>
                  <a:pt x="3904" y="154"/>
                </a:lnTo>
                <a:lnTo>
                  <a:pt x="3848" y="179"/>
                </a:lnTo>
                <a:lnTo>
                  <a:pt x="3831" y="190"/>
                </a:lnTo>
                <a:lnTo>
                  <a:pt x="3811" y="200"/>
                </a:lnTo>
                <a:lnTo>
                  <a:pt x="3790" y="211"/>
                </a:lnTo>
                <a:lnTo>
                  <a:pt x="3766" y="226"/>
                </a:lnTo>
                <a:lnTo>
                  <a:pt x="3743" y="240"/>
                </a:lnTo>
                <a:lnTo>
                  <a:pt x="3716" y="254"/>
                </a:lnTo>
                <a:lnTo>
                  <a:pt x="3689" y="271"/>
                </a:lnTo>
                <a:lnTo>
                  <a:pt x="3662" y="288"/>
                </a:lnTo>
                <a:lnTo>
                  <a:pt x="3633" y="306"/>
                </a:lnTo>
                <a:lnTo>
                  <a:pt x="3603" y="323"/>
                </a:lnTo>
                <a:lnTo>
                  <a:pt x="3574" y="343"/>
                </a:lnTo>
                <a:lnTo>
                  <a:pt x="3543" y="362"/>
                </a:lnTo>
                <a:lnTo>
                  <a:pt x="3512" y="381"/>
                </a:lnTo>
                <a:lnTo>
                  <a:pt x="3481" y="401"/>
                </a:lnTo>
                <a:lnTo>
                  <a:pt x="3448" y="422"/>
                </a:lnTo>
                <a:lnTo>
                  <a:pt x="3417" y="442"/>
                </a:lnTo>
                <a:lnTo>
                  <a:pt x="3386" y="463"/>
                </a:lnTo>
                <a:lnTo>
                  <a:pt x="3352" y="483"/>
                </a:lnTo>
                <a:lnTo>
                  <a:pt x="3322" y="504"/>
                </a:lnTo>
                <a:lnTo>
                  <a:pt x="3290" y="525"/>
                </a:lnTo>
                <a:lnTo>
                  <a:pt x="3260" y="544"/>
                </a:lnTo>
                <a:lnTo>
                  <a:pt x="3230" y="566"/>
                </a:lnTo>
                <a:lnTo>
                  <a:pt x="3201" y="583"/>
                </a:lnTo>
                <a:lnTo>
                  <a:pt x="3172" y="604"/>
                </a:lnTo>
                <a:lnTo>
                  <a:pt x="3145" y="621"/>
                </a:lnTo>
                <a:lnTo>
                  <a:pt x="3119" y="639"/>
                </a:lnTo>
                <a:lnTo>
                  <a:pt x="3093" y="656"/>
                </a:lnTo>
                <a:lnTo>
                  <a:pt x="3069" y="671"/>
                </a:lnTo>
                <a:lnTo>
                  <a:pt x="3045" y="689"/>
                </a:lnTo>
                <a:lnTo>
                  <a:pt x="3025" y="702"/>
                </a:lnTo>
                <a:lnTo>
                  <a:pt x="3005" y="716"/>
                </a:lnTo>
                <a:lnTo>
                  <a:pt x="2988" y="727"/>
                </a:lnTo>
                <a:lnTo>
                  <a:pt x="2937" y="762"/>
                </a:lnTo>
                <a:lnTo>
                  <a:pt x="2886" y="797"/>
                </a:lnTo>
                <a:lnTo>
                  <a:pt x="2837" y="830"/>
                </a:lnTo>
                <a:lnTo>
                  <a:pt x="2788" y="862"/>
                </a:lnTo>
                <a:lnTo>
                  <a:pt x="2738" y="894"/>
                </a:lnTo>
                <a:lnTo>
                  <a:pt x="2690" y="925"/>
                </a:lnTo>
                <a:lnTo>
                  <a:pt x="2642" y="956"/>
                </a:lnTo>
                <a:lnTo>
                  <a:pt x="2596" y="987"/>
                </a:lnTo>
                <a:lnTo>
                  <a:pt x="2550" y="1018"/>
                </a:lnTo>
                <a:lnTo>
                  <a:pt x="2505" y="1049"/>
                </a:lnTo>
                <a:lnTo>
                  <a:pt x="2459" y="1078"/>
                </a:lnTo>
                <a:lnTo>
                  <a:pt x="2415" y="1108"/>
                </a:lnTo>
                <a:lnTo>
                  <a:pt x="2371" y="1137"/>
                </a:lnTo>
                <a:lnTo>
                  <a:pt x="2327" y="1168"/>
                </a:lnTo>
                <a:lnTo>
                  <a:pt x="2285" y="1199"/>
                </a:lnTo>
                <a:lnTo>
                  <a:pt x="2243" y="1227"/>
                </a:lnTo>
                <a:lnTo>
                  <a:pt x="2219" y="1249"/>
                </a:lnTo>
                <a:lnTo>
                  <a:pt x="2197" y="1270"/>
                </a:lnTo>
                <a:lnTo>
                  <a:pt x="2175" y="1293"/>
                </a:lnTo>
                <a:lnTo>
                  <a:pt x="2154" y="1316"/>
                </a:lnTo>
                <a:lnTo>
                  <a:pt x="2134" y="1339"/>
                </a:lnTo>
                <a:lnTo>
                  <a:pt x="2114" y="1362"/>
                </a:lnTo>
                <a:lnTo>
                  <a:pt x="2097" y="1385"/>
                </a:lnTo>
                <a:lnTo>
                  <a:pt x="2078" y="1408"/>
                </a:lnTo>
                <a:lnTo>
                  <a:pt x="2058" y="1432"/>
                </a:lnTo>
                <a:lnTo>
                  <a:pt x="2041" y="1455"/>
                </a:lnTo>
                <a:lnTo>
                  <a:pt x="2022" y="1479"/>
                </a:lnTo>
                <a:lnTo>
                  <a:pt x="2003" y="1501"/>
                </a:lnTo>
                <a:lnTo>
                  <a:pt x="1985" y="1524"/>
                </a:lnTo>
                <a:lnTo>
                  <a:pt x="1966" y="1545"/>
                </a:lnTo>
                <a:lnTo>
                  <a:pt x="1946" y="1566"/>
                </a:lnTo>
                <a:lnTo>
                  <a:pt x="1926" y="1587"/>
                </a:lnTo>
                <a:lnTo>
                  <a:pt x="1903" y="1608"/>
                </a:lnTo>
                <a:lnTo>
                  <a:pt x="1879" y="1635"/>
                </a:lnTo>
                <a:lnTo>
                  <a:pt x="1854" y="1666"/>
                </a:lnTo>
                <a:lnTo>
                  <a:pt x="1829" y="1701"/>
                </a:lnTo>
                <a:lnTo>
                  <a:pt x="1803" y="1734"/>
                </a:lnTo>
                <a:lnTo>
                  <a:pt x="1779" y="1765"/>
                </a:lnTo>
                <a:lnTo>
                  <a:pt x="1757" y="1791"/>
                </a:lnTo>
                <a:lnTo>
                  <a:pt x="1737" y="1811"/>
                </a:lnTo>
                <a:lnTo>
                  <a:pt x="1709" y="1831"/>
                </a:lnTo>
                <a:lnTo>
                  <a:pt x="1690" y="1846"/>
                </a:lnTo>
                <a:lnTo>
                  <a:pt x="1677" y="1855"/>
                </a:lnTo>
                <a:lnTo>
                  <a:pt x="1667" y="1862"/>
                </a:lnTo>
                <a:lnTo>
                  <a:pt x="1657" y="1868"/>
                </a:lnTo>
                <a:lnTo>
                  <a:pt x="1645" y="1879"/>
                </a:lnTo>
                <a:lnTo>
                  <a:pt x="1631" y="1892"/>
                </a:lnTo>
                <a:lnTo>
                  <a:pt x="1609" y="1914"/>
                </a:lnTo>
                <a:lnTo>
                  <a:pt x="1587" y="1947"/>
                </a:lnTo>
                <a:lnTo>
                  <a:pt x="1568" y="1981"/>
                </a:lnTo>
                <a:lnTo>
                  <a:pt x="1550" y="2018"/>
                </a:lnTo>
                <a:lnTo>
                  <a:pt x="1534" y="2057"/>
                </a:lnTo>
                <a:lnTo>
                  <a:pt x="1518" y="2093"/>
                </a:lnTo>
                <a:lnTo>
                  <a:pt x="1501" y="2130"/>
                </a:lnTo>
                <a:lnTo>
                  <a:pt x="1486" y="2166"/>
                </a:lnTo>
                <a:lnTo>
                  <a:pt x="1469" y="2199"/>
                </a:lnTo>
                <a:lnTo>
                  <a:pt x="1454" y="2170"/>
                </a:lnTo>
                <a:lnTo>
                  <a:pt x="1435" y="2142"/>
                </a:lnTo>
                <a:lnTo>
                  <a:pt x="1416" y="2112"/>
                </a:lnTo>
                <a:lnTo>
                  <a:pt x="1395" y="2082"/>
                </a:lnTo>
                <a:lnTo>
                  <a:pt x="1372" y="2054"/>
                </a:lnTo>
                <a:lnTo>
                  <a:pt x="1350" y="2025"/>
                </a:lnTo>
                <a:lnTo>
                  <a:pt x="1327" y="1996"/>
                </a:lnTo>
                <a:lnTo>
                  <a:pt x="1304" y="1967"/>
                </a:lnTo>
                <a:lnTo>
                  <a:pt x="1281" y="1937"/>
                </a:lnTo>
                <a:lnTo>
                  <a:pt x="1259" y="1907"/>
                </a:lnTo>
                <a:lnTo>
                  <a:pt x="1239" y="1880"/>
                </a:lnTo>
                <a:lnTo>
                  <a:pt x="1220" y="1850"/>
                </a:lnTo>
                <a:lnTo>
                  <a:pt x="1202" y="1821"/>
                </a:lnTo>
                <a:lnTo>
                  <a:pt x="1187" y="1792"/>
                </a:lnTo>
                <a:lnTo>
                  <a:pt x="1173" y="1763"/>
                </a:lnTo>
                <a:lnTo>
                  <a:pt x="1164" y="1735"/>
                </a:lnTo>
                <a:lnTo>
                  <a:pt x="1148" y="1695"/>
                </a:lnTo>
                <a:lnTo>
                  <a:pt x="1131" y="1653"/>
                </a:lnTo>
                <a:lnTo>
                  <a:pt x="1112" y="1608"/>
                </a:lnTo>
                <a:lnTo>
                  <a:pt x="1093" y="1564"/>
                </a:lnTo>
                <a:lnTo>
                  <a:pt x="1075" y="1519"/>
                </a:lnTo>
                <a:lnTo>
                  <a:pt x="1057" y="1475"/>
                </a:lnTo>
                <a:lnTo>
                  <a:pt x="1040" y="1432"/>
                </a:lnTo>
                <a:lnTo>
                  <a:pt x="1026" y="1391"/>
                </a:lnTo>
                <a:lnTo>
                  <a:pt x="1002" y="1400"/>
                </a:lnTo>
                <a:lnTo>
                  <a:pt x="980" y="1410"/>
                </a:lnTo>
                <a:lnTo>
                  <a:pt x="957" y="1418"/>
                </a:lnTo>
                <a:lnTo>
                  <a:pt x="935" y="1428"/>
                </a:lnTo>
                <a:lnTo>
                  <a:pt x="912" y="1436"/>
                </a:lnTo>
                <a:lnTo>
                  <a:pt x="890" y="1443"/>
                </a:lnTo>
                <a:lnTo>
                  <a:pt x="867" y="1451"/>
                </a:lnTo>
                <a:lnTo>
                  <a:pt x="844" y="1460"/>
                </a:lnTo>
                <a:lnTo>
                  <a:pt x="828" y="1469"/>
                </a:lnTo>
                <a:lnTo>
                  <a:pt x="809" y="1476"/>
                </a:lnTo>
                <a:lnTo>
                  <a:pt x="791" y="1485"/>
                </a:lnTo>
                <a:lnTo>
                  <a:pt x="773" y="1493"/>
                </a:lnTo>
                <a:lnTo>
                  <a:pt x="755" y="1501"/>
                </a:lnTo>
                <a:lnTo>
                  <a:pt x="739" y="1510"/>
                </a:lnTo>
                <a:lnTo>
                  <a:pt x="721" y="1517"/>
                </a:lnTo>
                <a:lnTo>
                  <a:pt x="703" y="1525"/>
                </a:lnTo>
                <a:lnTo>
                  <a:pt x="685" y="1533"/>
                </a:lnTo>
                <a:lnTo>
                  <a:pt x="667" y="1542"/>
                </a:lnTo>
                <a:lnTo>
                  <a:pt x="651" y="1549"/>
                </a:lnTo>
                <a:lnTo>
                  <a:pt x="634" y="1558"/>
                </a:lnTo>
                <a:lnTo>
                  <a:pt x="616" y="1564"/>
                </a:lnTo>
                <a:lnTo>
                  <a:pt x="600" y="1573"/>
                </a:lnTo>
                <a:lnTo>
                  <a:pt x="582" y="1581"/>
                </a:lnTo>
                <a:lnTo>
                  <a:pt x="566" y="1589"/>
                </a:lnTo>
                <a:lnTo>
                  <a:pt x="563" y="1589"/>
                </a:lnTo>
                <a:lnTo>
                  <a:pt x="554" y="1589"/>
                </a:lnTo>
                <a:lnTo>
                  <a:pt x="540" y="1591"/>
                </a:lnTo>
                <a:lnTo>
                  <a:pt x="523" y="1595"/>
                </a:lnTo>
                <a:lnTo>
                  <a:pt x="503" y="1599"/>
                </a:lnTo>
                <a:lnTo>
                  <a:pt x="480" y="1605"/>
                </a:lnTo>
                <a:lnTo>
                  <a:pt x="456" y="1613"/>
                </a:lnTo>
                <a:lnTo>
                  <a:pt x="431" y="1620"/>
                </a:lnTo>
                <a:lnTo>
                  <a:pt x="406" y="1626"/>
                </a:lnTo>
                <a:lnTo>
                  <a:pt x="381" y="1633"/>
                </a:lnTo>
                <a:lnTo>
                  <a:pt x="359" y="1640"/>
                </a:lnTo>
                <a:lnTo>
                  <a:pt x="341" y="1644"/>
                </a:lnTo>
                <a:lnTo>
                  <a:pt x="323" y="1648"/>
                </a:lnTo>
                <a:lnTo>
                  <a:pt x="311" y="1653"/>
                </a:lnTo>
                <a:lnTo>
                  <a:pt x="304" y="1653"/>
                </a:lnTo>
                <a:lnTo>
                  <a:pt x="301" y="1651"/>
                </a:lnTo>
                <a:lnTo>
                  <a:pt x="281" y="1662"/>
                </a:lnTo>
                <a:lnTo>
                  <a:pt x="262" y="1672"/>
                </a:lnTo>
                <a:lnTo>
                  <a:pt x="242" y="1683"/>
                </a:lnTo>
                <a:lnTo>
                  <a:pt x="224" y="1695"/>
                </a:lnTo>
                <a:lnTo>
                  <a:pt x="203" y="1705"/>
                </a:lnTo>
                <a:lnTo>
                  <a:pt x="185" y="1715"/>
                </a:lnTo>
                <a:lnTo>
                  <a:pt x="165" y="1726"/>
                </a:lnTo>
                <a:lnTo>
                  <a:pt x="146" y="1737"/>
                </a:lnTo>
                <a:lnTo>
                  <a:pt x="127" y="1748"/>
                </a:lnTo>
                <a:lnTo>
                  <a:pt x="108" y="1759"/>
                </a:lnTo>
                <a:lnTo>
                  <a:pt x="89" y="1770"/>
                </a:lnTo>
                <a:lnTo>
                  <a:pt x="72" y="1781"/>
                </a:lnTo>
                <a:lnTo>
                  <a:pt x="54" y="1791"/>
                </a:lnTo>
                <a:lnTo>
                  <a:pt x="36" y="1803"/>
                </a:lnTo>
                <a:lnTo>
                  <a:pt x="18" y="1813"/>
                </a:lnTo>
                <a:lnTo>
                  <a:pt x="0" y="182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Freeform 6"/>
          <p:cNvSpPr>
            <a:spLocks/>
          </p:cNvSpPr>
          <p:nvPr/>
        </p:nvSpPr>
        <p:spPr bwMode="auto">
          <a:xfrm>
            <a:off x="3003760" y="3761279"/>
            <a:ext cx="15610" cy="16401"/>
          </a:xfrm>
          <a:custGeom>
            <a:avLst/>
            <a:gdLst>
              <a:gd name="T0" fmla="*/ 242 w 242"/>
              <a:gd name="T1" fmla="*/ 0 h 195"/>
              <a:gd name="T2" fmla="*/ 213 w 242"/>
              <a:gd name="T3" fmla="*/ 19 h 195"/>
              <a:gd name="T4" fmla="*/ 190 w 242"/>
              <a:gd name="T5" fmla="*/ 37 h 195"/>
              <a:gd name="T6" fmla="*/ 170 w 242"/>
              <a:gd name="T7" fmla="*/ 52 h 195"/>
              <a:gd name="T8" fmla="*/ 152 w 242"/>
              <a:gd name="T9" fmla="*/ 66 h 195"/>
              <a:gd name="T10" fmla="*/ 134 w 242"/>
              <a:gd name="T11" fmla="*/ 83 h 195"/>
              <a:gd name="T12" fmla="*/ 115 w 242"/>
              <a:gd name="T13" fmla="*/ 98 h 195"/>
              <a:gd name="T14" fmla="*/ 92 w 242"/>
              <a:gd name="T15" fmla="*/ 116 h 195"/>
              <a:gd name="T16" fmla="*/ 62 w 242"/>
              <a:gd name="T17" fmla="*/ 133 h 195"/>
              <a:gd name="T18" fmla="*/ 60 w 242"/>
              <a:gd name="T19" fmla="*/ 139 h 195"/>
              <a:gd name="T20" fmla="*/ 52 w 242"/>
              <a:gd name="T21" fmla="*/ 142 h 195"/>
              <a:gd name="T22" fmla="*/ 39 w 242"/>
              <a:gd name="T23" fmla="*/ 146 h 195"/>
              <a:gd name="T24" fmla="*/ 26 w 242"/>
              <a:gd name="T25" fmla="*/ 150 h 195"/>
              <a:gd name="T26" fmla="*/ 11 w 242"/>
              <a:gd name="T27" fmla="*/ 157 h 195"/>
              <a:gd name="T28" fmla="*/ 4 w 242"/>
              <a:gd name="T29" fmla="*/ 165 h 195"/>
              <a:gd name="T30" fmla="*/ 0 w 242"/>
              <a:gd name="T31" fmla="*/ 177 h 195"/>
              <a:gd name="T32" fmla="*/ 7 w 242"/>
              <a:gd name="T33" fmla="*/ 195 h 195"/>
              <a:gd name="T34" fmla="*/ 21 w 242"/>
              <a:gd name="T35" fmla="*/ 185 h 195"/>
              <a:gd name="T36" fmla="*/ 36 w 242"/>
              <a:gd name="T37" fmla="*/ 175 h 195"/>
              <a:gd name="T38" fmla="*/ 51 w 242"/>
              <a:gd name="T39" fmla="*/ 165 h 195"/>
              <a:gd name="T40" fmla="*/ 64 w 242"/>
              <a:gd name="T41" fmla="*/ 154 h 195"/>
              <a:gd name="T42" fmla="*/ 80 w 242"/>
              <a:gd name="T43" fmla="*/ 144 h 195"/>
              <a:gd name="T44" fmla="*/ 95 w 242"/>
              <a:gd name="T45" fmla="*/ 134 h 195"/>
              <a:gd name="T46" fmla="*/ 108 w 242"/>
              <a:gd name="T47" fmla="*/ 125 h 195"/>
              <a:gd name="T48" fmla="*/ 123 w 242"/>
              <a:gd name="T49" fmla="*/ 115 h 195"/>
              <a:gd name="T50" fmla="*/ 139 w 242"/>
              <a:gd name="T51" fmla="*/ 105 h 195"/>
              <a:gd name="T52" fmla="*/ 152 w 242"/>
              <a:gd name="T53" fmla="*/ 95 h 195"/>
              <a:gd name="T54" fmla="*/ 168 w 242"/>
              <a:gd name="T55" fmla="*/ 85 h 195"/>
              <a:gd name="T56" fmla="*/ 183 w 242"/>
              <a:gd name="T57" fmla="*/ 75 h 195"/>
              <a:gd name="T58" fmla="*/ 197 w 242"/>
              <a:gd name="T59" fmla="*/ 65 h 195"/>
              <a:gd name="T60" fmla="*/ 213 w 242"/>
              <a:gd name="T61" fmla="*/ 55 h 195"/>
              <a:gd name="T62" fmla="*/ 228 w 242"/>
              <a:gd name="T63" fmla="*/ 44 h 195"/>
              <a:gd name="T64" fmla="*/ 242 w 242"/>
              <a:gd name="T65" fmla="*/ 35 h 195"/>
              <a:gd name="T66" fmla="*/ 242 w 242"/>
              <a:gd name="T67" fmla="*/ 26 h 195"/>
              <a:gd name="T68" fmla="*/ 242 w 242"/>
              <a:gd name="T69" fmla="*/ 17 h 195"/>
              <a:gd name="T70" fmla="*/ 242 w 242"/>
              <a:gd name="T71" fmla="*/ 9 h 195"/>
              <a:gd name="T72" fmla="*/ 242 w 242"/>
              <a:gd name="T73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2" h="195">
                <a:moveTo>
                  <a:pt x="242" y="0"/>
                </a:moveTo>
                <a:lnTo>
                  <a:pt x="213" y="19"/>
                </a:lnTo>
                <a:lnTo>
                  <a:pt x="190" y="37"/>
                </a:lnTo>
                <a:lnTo>
                  <a:pt x="170" y="52"/>
                </a:lnTo>
                <a:lnTo>
                  <a:pt x="152" y="66"/>
                </a:lnTo>
                <a:lnTo>
                  <a:pt x="134" y="83"/>
                </a:lnTo>
                <a:lnTo>
                  <a:pt x="115" y="98"/>
                </a:lnTo>
                <a:lnTo>
                  <a:pt x="92" y="116"/>
                </a:lnTo>
                <a:lnTo>
                  <a:pt x="62" y="133"/>
                </a:lnTo>
                <a:lnTo>
                  <a:pt x="60" y="139"/>
                </a:lnTo>
                <a:lnTo>
                  <a:pt x="52" y="142"/>
                </a:lnTo>
                <a:lnTo>
                  <a:pt x="39" y="146"/>
                </a:lnTo>
                <a:lnTo>
                  <a:pt x="26" y="150"/>
                </a:lnTo>
                <a:lnTo>
                  <a:pt x="11" y="157"/>
                </a:lnTo>
                <a:lnTo>
                  <a:pt x="4" y="165"/>
                </a:lnTo>
                <a:lnTo>
                  <a:pt x="0" y="177"/>
                </a:lnTo>
                <a:lnTo>
                  <a:pt x="7" y="195"/>
                </a:lnTo>
                <a:lnTo>
                  <a:pt x="21" y="185"/>
                </a:lnTo>
                <a:lnTo>
                  <a:pt x="36" y="175"/>
                </a:lnTo>
                <a:lnTo>
                  <a:pt x="51" y="165"/>
                </a:lnTo>
                <a:lnTo>
                  <a:pt x="64" y="154"/>
                </a:lnTo>
                <a:lnTo>
                  <a:pt x="80" y="144"/>
                </a:lnTo>
                <a:lnTo>
                  <a:pt x="95" y="134"/>
                </a:lnTo>
                <a:lnTo>
                  <a:pt x="108" y="125"/>
                </a:lnTo>
                <a:lnTo>
                  <a:pt x="123" y="115"/>
                </a:lnTo>
                <a:lnTo>
                  <a:pt x="139" y="105"/>
                </a:lnTo>
                <a:lnTo>
                  <a:pt x="152" y="95"/>
                </a:lnTo>
                <a:lnTo>
                  <a:pt x="168" y="85"/>
                </a:lnTo>
                <a:lnTo>
                  <a:pt x="183" y="75"/>
                </a:lnTo>
                <a:lnTo>
                  <a:pt x="197" y="65"/>
                </a:lnTo>
                <a:lnTo>
                  <a:pt x="213" y="55"/>
                </a:lnTo>
                <a:lnTo>
                  <a:pt x="228" y="44"/>
                </a:lnTo>
                <a:lnTo>
                  <a:pt x="242" y="35"/>
                </a:lnTo>
                <a:lnTo>
                  <a:pt x="242" y="26"/>
                </a:lnTo>
                <a:lnTo>
                  <a:pt x="242" y="17"/>
                </a:lnTo>
                <a:lnTo>
                  <a:pt x="242" y="9"/>
                </a:lnTo>
                <a:lnTo>
                  <a:pt x="24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3" name="Freeform 7"/>
          <p:cNvSpPr>
            <a:spLocks/>
          </p:cNvSpPr>
          <p:nvPr/>
        </p:nvSpPr>
        <p:spPr bwMode="auto">
          <a:xfrm>
            <a:off x="3063272" y="3729503"/>
            <a:ext cx="8780" cy="10251"/>
          </a:xfrm>
          <a:custGeom>
            <a:avLst/>
            <a:gdLst>
              <a:gd name="T0" fmla="*/ 137 w 141"/>
              <a:gd name="T1" fmla="*/ 0 h 109"/>
              <a:gd name="T2" fmla="*/ 128 w 141"/>
              <a:gd name="T3" fmla="*/ 5 h 109"/>
              <a:gd name="T4" fmla="*/ 120 w 141"/>
              <a:gd name="T5" fmla="*/ 11 h 109"/>
              <a:gd name="T6" fmla="*/ 112 w 141"/>
              <a:gd name="T7" fmla="*/ 16 h 109"/>
              <a:gd name="T8" fmla="*/ 106 w 141"/>
              <a:gd name="T9" fmla="*/ 22 h 109"/>
              <a:gd name="T10" fmla="*/ 98 w 141"/>
              <a:gd name="T11" fmla="*/ 28 h 109"/>
              <a:gd name="T12" fmla="*/ 90 w 141"/>
              <a:gd name="T13" fmla="*/ 32 h 109"/>
              <a:gd name="T14" fmla="*/ 83 w 141"/>
              <a:gd name="T15" fmla="*/ 38 h 109"/>
              <a:gd name="T16" fmla="*/ 76 w 141"/>
              <a:gd name="T17" fmla="*/ 42 h 109"/>
              <a:gd name="T18" fmla="*/ 67 w 141"/>
              <a:gd name="T19" fmla="*/ 51 h 109"/>
              <a:gd name="T20" fmla="*/ 57 w 141"/>
              <a:gd name="T21" fmla="*/ 59 h 109"/>
              <a:gd name="T22" fmla="*/ 46 w 141"/>
              <a:gd name="T23" fmla="*/ 69 h 109"/>
              <a:gd name="T24" fmla="*/ 36 w 141"/>
              <a:gd name="T25" fmla="*/ 77 h 109"/>
              <a:gd name="T26" fmla="*/ 27 w 141"/>
              <a:gd name="T27" fmla="*/ 85 h 109"/>
              <a:gd name="T28" fmla="*/ 18 w 141"/>
              <a:gd name="T29" fmla="*/ 92 h 109"/>
              <a:gd name="T30" fmla="*/ 8 w 141"/>
              <a:gd name="T31" fmla="*/ 102 h 109"/>
              <a:gd name="T32" fmla="*/ 0 w 141"/>
              <a:gd name="T33" fmla="*/ 109 h 109"/>
              <a:gd name="T34" fmla="*/ 18 w 141"/>
              <a:gd name="T35" fmla="*/ 97 h 109"/>
              <a:gd name="T36" fmla="*/ 36 w 141"/>
              <a:gd name="T37" fmla="*/ 88 h 109"/>
              <a:gd name="T38" fmla="*/ 52 w 141"/>
              <a:gd name="T39" fmla="*/ 77 h 109"/>
              <a:gd name="T40" fmla="*/ 70 w 141"/>
              <a:gd name="T41" fmla="*/ 67 h 109"/>
              <a:gd name="T42" fmla="*/ 88 w 141"/>
              <a:gd name="T43" fmla="*/ 57 h 109"/>
              <a:gd name="T44" fmla="*/ 106 w 141"/>
              <a:gd name="T45" fmla="*/ 47 h 109"/>
              <a:gd name="T46" fmla="*/ 124 w 141"/>
              <a:gd name="T47" fmla="*/ 36 h 109"/>
              <a:gd name="T48" fmla="*/ 141 w 141"/>
              <a:gd name="T49" fmla="*/ 27 h 109"/>
              <a:gd name="T50" fmla="*/ 141 w 141"/>
              <a:gd name="T51" fmla="*/ 20 h 109"/>
              <a:gd name="T52" fmla="*/ 140 w 141"/>
              <a:gd name="T53" fmla="*/ 12 h 109"/>
              <a:gd name="T54" fmla="*/ 139 w 141"/>
              <a:gd name="T55" fmla="*/ 7 h 109"/>
              <a:gd name="T56" fmla="*/ 137 w 141"/>
              <a:gd name="T57" fmla="*/ 0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41" h="109">
                <a:moveTo>
                  <a:pt x="137" y="0"/>
                </a:moveTo>
                <a:lnTo>
                  <a:pt x="128" y="5"/>
                </a:lnTo>
                <a:lnTo>
                  <a:pt x="120" y="11"/>
                </a:lnTo>
                <a:lnTo>
                  <a:pt x="112" y="16"/>
                </a:lnTo>
                <a:lnTo>
                  <a:pt x="106" y="22"/>
                </a:lnTo>
                <a:lnTo>
                  <a:pt x="98" y="28"/>
                </a:lnTo>
                <a:lnTo>
                  <a:pt x="90" y="32"/>
                </a:lnTo>
                <a:lnTo>
                  <a:pt x="83" y="38"/>
                </a:lnTo>
                <a:lnTo>
                  <a:pt x="76" y="42"/>
                </a:lnTo>
                <a:lnTo>
                  <a:pt x="67" y="51"/>
                </a:lnTo>
                <a:lnTo>
                  <a:pt x="57" y="59"/>
                </a:lnTo>
                <a:lnTo>
                  <a:pt x="46" y="69"/>
                </a:lnTo>
                <a:lnTo>
                  <a:pt x="36" y="77"/>
                </a:lnTo>
                <a:lnTo>
                  <a:pt x="27" y="85"/>
                </a:lnTo>
                <a:lnTo>
                  <a:pt x="18" y="92"/>
                </a:lnTo>
                <a:lnTo>
                  <a:pt x="8" y="102"/>
                </a:lnTo>
                <a:lnTo>
                  <a:pt x="0" y="109"/>
                </a:lnTo>
                <a:lnTo>
                  <a:pt x="18" y="97"/>
                </a:lnTo>
                <a:lnTo>
                  <a:pt x="36" y="88"/>
                </a:lnTo>
                <a:lnTo>
                  <a:pt x="52" y="77"/>
                </a:lnTo>
                <a:lnTo>
                  <a:pt x="70" y="67"/>
                </a:lnTo>
                <a:lnTo>
                  <a:pt x="88" y="57"/>
                </a:lnTo>
                <a:lnTo>
                  <a:pt x="106" y="47"/>
                </a:lnTo>
                <a:lnTo>
                  <a:pt x="124" y="36"/>
                </a:lnTo>
                <a:lnTo>
                  <a:pt x="141" y="27"/>
                </a:lnTo>
                <a:lnTo>
                  <a:pt x="141" y="20"/>
                </a:lnTo>
                <a:lnTo>
                  <a:pt x="140" y="12"/>
                </a:lnTo>
                <a:lnTo>
                  <a:pt x="139" y="7"/>
                </a:lnTo>
                <a:lnTo>
                  <a:pt x="13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Freeform 8"/>
          <p:cNvSpPr>
            <a:spLocks/>
          </p:cNvSpPr>
          <p:nvPr/>
        </p:nvSpPr>
        <p:spPr bwMode="auto">
          <a:xfrm>
            <a:off x="3020345" y="3726427"/>
            <a:ext cx="17561" cy="17426"/>
          </a:xfrm>
          <a:custGeom>
            <a:avLst/>
            <a:gdLst>
              <a:gd name="T0" fmla="*/ 238 w 269"/>
              <a:gd name="T1" fmla="*/ 0 h 205"/>
              <a:gd name="T2" fmla="*/ 226 w 269"/>
              <a:gd name="T3" fmla="*/ 9 h 205"/>
              <a:gd name="T4" fmla="*/ 206 w 269"/>
              <a:gd name="T5" fmla="*/ 22 h 205"/>
              <a:gd name="T6" fmla="*/ 182 w 269"/>
              <a:gd name="T7" fmla="*/ 40 h 205"/>
              <a:gd name="T8" fmla="*/ 155 w 269"/>
              <a:gd name="T9" fmla="*/ 59 h 205"/>
              <a:gd name="T10" fmla="*/ 128 w 269"/>
              <a:gd name="T11" fmla="*/ 78 h 205"/>
              <a:gd name="T12" fmla="*/ 103 w 269"/>
              <a:gd name="T13" fmla="*/ 95 h 205"/>
              <a:gd name="T14" fmla="*/ 83 w 269"/>
              <a:gd name="T15" fmla="*/ 110 h 205"/>
              <a:gd name="T16" fmla="*/ 69 w 269"/>
              <a:gd name="T17" fmla="*/ 118 h 205"/>
              <a:gd name="T18" fmla="*/ 69 w 269"/>
              <a:gd name="T19" fmla="*/ 122 h 205"/>
              <a:gd name="T20" fmla="*/ 65 w 269"/>
              <a:gd name="T21" fmla="*/ 129 h 205"/>
              <a:gd name="T22" fmla="*/ 56 w 269"/>
              <a:gd name="T23" fmla="*/ 136 h 205"/>
              <a:gd name="T24" fmla="*/ 48 w 269"/>
              <a:gd name="T25" fmla="*/ 147 h 205"/>
              <a:gd name="T26" fmla="*/ 41 w 269"/>
              <a:gd name="T27" fmla="*/ 155 h 205"/>
              <a:gd name="T28" fmla="*/ 33 w 269"/>
              <a:gd name="T29" fmla="*/ 164 h 205"/>
              <a:gd name="T30" fmla="*/ 29 w 269"/>
              <a:gd name="T31" fmla="*/ 170 h 205"/>
              <a:gd name="T32" fmla="*/ 30 w 269"/>
              <a:gd name="T33" fmla="*/ 174 h 205"/>
              <a:gd name="T34" fmla="*/ 10 w 269"/>
              <a:gd name="T35" fmla="*/ 192 h 205"/>
              <a:gd name="T36" fmla="*/ 2 w 269"/>
              <a:gd name="T37" fmla="*/ 201 h 205"/>
              <a:gd name="T38" fmla="*/ 0 w 269"/>
              <a:gd name="T39" fmla="*/ 205 h 205"/>
              <a:gd name="T40" fmla="*/ 8 w 269"/>
              <a:gd name="T41" fmla="*/ 201 h 205"/>
              <a:gd name="T42" fmla="*/ 22 w 269"/>
              <a:gd name="T43" fmla="*/ 193 h 205"/>
              <a:gd name="T44" fmla="*/ 41 w 269"/>
              <a:gd name="T45" fmla="*/ 180 h 205"/>
              <a:gd name="T46" fmla="*/ 65 w 269"/>
              <a:gd name="T47" fmla="*/ 165 h 205"/>
              <a:gd name="T48" fmla="*/ 91 w 269"/>
              <a:gd name="T49" fmla="*/ 146 h 205"/>
              <a:gd name="T50" fmla="*/ 118 w 269"/>
              <a:gd name="T51" fmla="*/ 126 h 205"/>
              <a:gd name="T52" fmla="*/ 148 w 269"/>
              <a:gd name="T53" fmla="*/ 104 h 205"/>
              <a:gd name="T54" fmla="*/ 177 w 269"/>
              <a:gd name="T55" fmla="*/ 84 h 205"/>
              <a:gd name="T56" fmla="*/ 202 w 269"/>
              <a:gd name="T57" fmla="*/ 64 h 205"/>
              <a:gd name="T58" fmla="*/ 226 w 269"/>
              <a:gd name="T59" fmla="*/ 45 h 205"/>
              <a:gd name="T60" fmla="*/ 247 w 269"/>
              <a:gd name="T61" fmla="*/ 30 h 205"/>
              <a:gd name="T62" fmla="*/ 261 w 269"/>
              <a:gd name="T63" fmla="*/ 20 h 205"/>
              <a:gd name="T64" fmla="*/ 269 w 269"/>
              <a:gd name="T65" fmla="*/ 13 h 205"/>
              <a:gd name="T66" fmla="*/ 261 w 269"/>
              <a:gd name="T67" fmla="*/ 11 h 205"/>
              <a:gd name="T68" fmla="*/ 251 w 269"/>
              <a:gd name="T69" fmla="*/ 9 h 205"/>
              <a:gd name="T70" fmla="*/ 244 w 269"/>
              <a:gd name="T71" fmla="*/ 5 h 205"/>
              <a:gd name="T72" fmla="*/ 238 w 269"/>
              <a:gd name="T73" fmla="*/ 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69" h="205">
                <a:moveTo>
                  <a:pt x="238" y="0"/>
                </a:moveTo>
                <a:lnTo>
                  <a:pt x="226" y="9"/>
                </a:lnTo>
                <a:lnTo>
                  <a:pt x="206" y="22"/>
                </a:lnTo>
                <a:lnTo>
                  <a:pt x="182" y="40"/>
                </a:lnTo>
                <a:lnTo>
                  <a:pt x="155" y="59"/>
                </a:lnTo>
                <a:lnTo>
                  <a:pt x="128" y="78"/>
                </a:lnTo>
                <a:lnTo>
                  <a:pt x="103" y="95"/>
                </a:lnTo>
                <a:lnTo>
                  <a:pt x="83" y="110"/>
                </a:lnTo>
                <a:lnTo>
                  <a:pt x="69" y="118"/>
                </a:lnTo>
                <a:lnTo>
                  <a:pt x="69" y="122"/>
                </a:lnTo>
                <a:lnTo>
                  <a:pt x="65" y="129"/>
                </a:lnTo>
                <a:lnTo>
                  <a:pt x="56" y="136"/>
                </a:lnTo>
                <a:lnTo>
                  <a:pt x="48" y="147"/>
                </a:lnTo>
                <a:lnTo>
                  <a:pt x="41" y="155"/>
                </a:lnTo>
                <a:lnTo>
                  <a:pt x="33" y="164"/>
                </a:lnTo>
                <a:lnTo>
                  <a:pt x="29" y="170"/>
                </a:lnTo>
                <a:lnTo>
                  <a:pt x="30" y="174"/>
                </a:lnTo>
                <a:lnTo>
                  <a:pt x="10" y="192"/>
                </a:lnTo>
                <a:lnTo>
                  <a:pt x="2" y="201"/>
                </a:lnTo>
                <a:lnTo>
                  <a:pt x="0" y="205"/>
                </a:lnTo>
                <a:lnTo>
                  <a:pt x="8" y="201"/>
                </a:lnTo>
                <a:lnTo>
                  <a:pt x="22" y="193"/>
                </a:lnTo>
                <a:lnTo>
                  <a:pt x="41" y="180"/>
                </a:lnTo>
                <a:lnTo>
                  <a:pt x="65" y="165"/>
                </a:lnTo>
                <a:lnTo>
                  <a:pt x="91" y="146"/>
                </a:lnTo>
                <a:lnTo>
                  <a:pt x="118" y="126"/>
                </a:lnTo>
                <a:lnTo>
                  <a:pt x="148" y="104"/>
                </a:lnTo>
                <a:lnTo>
                  <a:pt x="177" y="84"/>
                </a:lnTo>
                <a:lnTo>
                  <a:pt x="202" y="64"/>
                </a:lnTo>
                <a:lnTo>
                  <a:pt x="226" y="45"/>
                </a:lnTo>
                <a:lnTo>
                  <a:pt x="247" y="30"/>
                </a:lnTo>
                <a:lnTo>
                  <a:pt x="261" y="20"/>
                </a:lnTo>
                <a:lnTo>
                  <a:pt x="269" y="13"/>
                </a:lnTo>
                <a:lnTo>
                  <a:pt x="261" y="11"/>
                </a:lnTo>
                <a:lnTo>
                  <a:pt x="251" y="9"/>
                </a:lnTo>
                <a:lnTo>
                  <a:pt x="244" y="5"/>
                </a:lnTo>
                <a:lnTo>
                  <a:pt x="23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Freeform 9"/>
          <p:cNvSpPr>
            <a:spLocks/>
          </p:cNvSpPr>
          <p:nvPr/>
        </p:nvSpPr>
        <p:spPr bwMode="auto">
          <a:xfrm>
            <a:off x="3001809" y="3717202"/>
            <a:ext cx="31220" cy="28702"/>
          </a:xfrm>
          <a:custGeom>
            <a:avLst/>
            <a:gdLst>
              <a:gd name="T0" fmla="*/ 480 w 481"/>
              <a:gd name="T1" fmla="*/ 0 h 333"/>
              <a:gd name="T2" fmla="*/ 471 w 481"/>
              <a:gd name="T3" fmla="*/ 6 h 333"/>
              <a:gd name="T4" fmla="*/ 464 w 481"/>
              <a:gd name="T5" fmla="*/ 12 h 333"/>
              <a:gd name="T6" fmla="*/ 458 w 481"/>
              <a:gd name="T7" fmla="*/ 17 h 333"/>
              <a:gd name="T8" fmla="*/ 450 w 481"/>
              <a:gd name="T9" fmla="*/ 23 h 333"/>
              <a:gd name="T10" fmla="*/ 443 w 481"/>
              <a:gd name="T11" fmla="*/ 29 h 333"/>
              <a:gd name="T12" fmla="*/ 437 w 481"/>
              <a:gd name="T13" fmla="*/ 33 h 333"/>
              <a:gd name="T14" fmla="*/ 429 w 481"/>
              <a:gd name="T15" fmla="*/ 39 h 333"/>
              <a:gd name="T16" fmla="*/ 422 w 481"/>
              <a:gd name="T17" fmla="*/ 43 h 333"/>
              <a:gd name="T18" fmla="*/ 409 w 481"/>
              <a:gd name="T19" fmla="*/ 54 h 333"/>
              <a:gd name="T20" fmla="*/ 395 w 481"/>
              <a:gd name="T21" fmla="*/ 66 h 333"/>
              <a:gd name="T22" fmla="*/ 383 w 481"/>
              <a:gd name="T23" fmla="*/ 77 h 333"/>
              <a:gd name="T24" fmla="*/ 370 w 481"/>
              <a:gd name="T25" fmla="*/ 89 h 333"/>
              <a:gd name="T26" fmla="*/ 356 w 481"/>
              <a:gd name="T27" fmla="*/ 101 h 333"/>
              <a:gd name="T28" fmla="*/ 343 w 481"/>
              <a:gd name="T29" fmla="*/ 112 h 333"/>
              <a:gd name="T30" fmla="*/ 332 w 481"/>
              <a:gd name="T31" fmla="*/ 123 h 333"/>
              <a:gd name="T32" fmla="*/ 318 w 481"/>
              <a:gd name="T33" fmla="*/ 135 h 333"/>
              <a:gd name="T34" fmla="*/ 301 w 481"/>
              <a:gd name="T35" fmla="*/ 153 h 333"/>
              <a:gd name="T36" fmla="*/ 277 w 481"/>
              <a:gd name="T37" fmla="*/ 172 h 333"/>
              <a:gd name="T38" fmla="*/ 247 w 481"/>
              <a:gd name="T39" fmla="*/ 193 h 333"/>
              <a:gd name="T40" fmla="*/ 213 w 481"/>
              <a:gd name="T41" fmla="*/ 215 h 333"/>
              <a:gd name="T42" fmla="*/ 176 w 481"/>
              <a:gd name="T43" fmla="*/ 235 h 333"/>
              <a:gd name="T44" fmla="*/ 138 w 481"/>
              <a:gd name="T45" fmla="*/ 255 h 333"/>
              <a:gd name="T46" fmla="*/ 102 w 481"/>
              <a:gd name="T47" fmla="*/ 275 h 333"/>
              <a:gd name="T48" fmla="*/ 69 w 481"/>
              <a:gd name="T49" fmla="*/ 293 h 333"/>
              <a:gd name="T50" fmla="*/ 40 w 481"/>
              <a:gd name="T51" fmla="*/ 306 h 333"/>
              <a:gd name="T52" fmla="*/ 18 w 481"/>
              <a:gd name="T53" fmla="*/ 319 h 333"/>
              <a:gd name="T54" fmla="*/ 4 w 481"/>
              <a:gd name="T55" fmla="*/ 328 h 333"/>
              <a:gd name="T56" fmla="*/ 0 w 481"/>
              <a:gd name="T57" fmla="*/ 333 h 333"/>
              <a:gd name="T58" fmla="*/ 7 w 481"/>
              <a:gd name="T59" fmla="*/ 333 h 333"/>
              <a:gd name="T60" fmla="*/ 28 w 481"/>
              <a:gd name="T61" fmla="*/ 327 h 333"/>
              <a:gd name="T62" fmla="*/ 64 w 481"/>
              <a:gd name="T63" fmla="*/ 315 h 333"/>
              <a:gd name="T64" fmla="*/ 116 w 481"/>
              <a:gd name="T65" fmla="*/ 298 h 333"/>
              <a:gd name="T66" fmla="*/ 127 w 481"/>
              <a:gd name="T67" fmla="*/ 291 h 333"/>
              <a:gd name="T68" fmla="*/ 143 w 481"/>
              <a:gd name="T69" fmla="*/ 279 h 333"/>
              <a:gd name="T70" fmla="*/ 161 w 481"/>
              <a:gd name="T71" fmla="*/ 268 h 333"/>
              <a:gd name="T72" fmla="*/ 185 w 481"/>
              <a:gd name="T73" fmla="*/ 252 h 333"/>
              <a:gd name="T74" fmla="*/ 210 w 481"/>
              <a:gd name="T75" fmla="*/ 234 h 333"/>
              <a:gd name="T76" fmla="*/ 239 w 481"/>
              <a:gd name="T77" fmla="*/ 218 h 333"/>
              <a:gd name="T78" fmla="*/ 269 w 481"/>
              <a:gd name="T79" fmla="*/ 197 h 333"/>
              <a:gd name="T80" fmla="*/ 298 w 481"/>
              <a:gd name="T81" fmla="*/ 178 h 333"/>
              <a:gd name="T82" fmla="*/ 329 w 481"/>
              <a:gd name="T83" fmla="*/ 158 h 333"/>
              <a:gd name="T84" fmla="*/ 358 w 481"/>
              <a:gd name="T85" fmla="*/ 139 h 333"/>
              <a:gd name="T86" fmla="*/ 385 w 481"/>
              <a:gd name="T87" fmla="*/ 120 h 333"/>
              <a:gd name="T88" fmla="*/ 412 w 481"/>
              <a:gd name="T89" fmla="*/ 103 h 333"/>
              <a:gd name="T90" fmla="*/ 435 w 481"/>
              <a:gd name="T91" fmla="*/ 87 h 333"/>
              <a:gd name="T92" fmla="*/ 454 w 481"/>
              <a:gd name="T93" fmla="*/ 74 h 333"/>
              <a:gd name="T94" fmla="*/ 471 w 481"/>
              <a:gd name="T95" fmla="*/ 64 h 333"/>
              <a:gd name="T96" fmla="*/ 481 w 481"/>
              <a:gd name="T97" fmla="*/ 55 h 333"/>
              <a:gd name="T98" fmla="*/ 480 w 481"/>
              <a:gd name="T99" fmla="*/ 42 h 333"/>
              <a:gd name="T100" fmla="*/ 479 w 481"/>
              <a:gd name="T101" fmla="*/ 28 h 333"/>
              <a:gd name="T102" fmla="*/ 479 w 481"/>
              <a:gd name="T103" fmla="*/ 13 h 333"/>
              <a:gd name="T104" fmla="*/ 480 w 481"/>
              <a:gd name="T105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1" h="333">
                <a:moveTo>
                  <a:pt x="480" y="0"/>
                </a:moveTo>
                <a:lnTo>
                  <a:pt x="471" y="6"/>
                </a:lnTo>
                <a:lnTo>
                  <a:pt x="464" y="12"/>
                </a:lnTo>
                <a:lnTo>
                  <a:pt x="458" y="17"/>
                </a:lnTo>
                <a:lnTo>
                  <a:pt x="450" y="23"/>
                </a:lnTo>
                <a:lnTo>
                  <a:pt x="443" y="29"/>
                </a:lnTo>
                <a:lnTo>
                  <a:pt x="437" y="33"/>
                </a:lnTo>
                <a:lnTo>
                  <a:pt x="429" y="39"/>
                </a:lnTo>
                <a:lnTo>
                  <a:pt x="422" y="43"/>
                </a:lnTo>
                <a:lnTo>
                  <a:pt x="409" y="54"/>
                </a:lnTo>
                <a:lnTo>
                  <a:pt x="395" y="66"/>
                </a:lnTo>
                <a:lnTo>
                  <a:pt x="383" y="77"/>
                </a:lnTo>
                <a:lnTo>
                  <a:pt x="370" y="89"/>
                </a:lnTo>
                <a:lnTo>
                  <a:pt x="356" y="101"/>
                </a:lnTo>
                <a:lnTo>
                  <a:pt x="343" y="112"/>
                </a:lnTo>
                <a:lnTo>
                  <a:pt x="332" y="123"/>
                </a:lnTo>
                <a:lnTo>
                  <a:pt x="318" y="135"/>
                </a:lnTo>
                <a:lnTo>
                  <a:pt x="301" y="153"/>
                </a:lnTo>
                <a:lnTo>
                  <a:pt x="277" y="172"/>
                </a:lnTo>
                <a:lnTo>
                  <a:pt x="247" y="193"/>
                </a:lnTo>
                <a:lnTo>
                  <a:pt x="213" y="215"/>
                </a:lnTo>
                <a:lnTo>
                  <a:pt x="176" y="235"/>
                </a:lnTo>
                <a:lnTo>
                  <a:pt x="138" y="255"/>
                </a:lnTo>
                <a:lnTo>
                  <a:pt x="102" y="275"/>
                </a:lnTo>
                <a:lnTo>
                  <a:pt x="69" y="293"/>
                </a:lnTo>
                <a:lnTo>
                  <a:pt x="40" y="306"/>
                </a:lnTo>
                <a:lnTo>
                  <a:pt x="18" y="319"/>
                </a:lnTo>
                <a:lnTo>
                  <a:pt x="4" y="328"/>
                </a:lnTo>
                <a:lnTo>
                  <a:pt x="0" y="333"/>
                </a:lnTo>
                <a:lnTo>
                  <a:pt x="7" y="333"/>
                </a:lnTo>
                <a:lnTo>
                  <a:pt x="28" y="327"/>
                </a:lnTo>
                <a:lnTo>
                  <a:pt x="64" y="315"/>
                </a:lnTo>
                <a:lnTo>
                  <a:pt x="116" y="298"/>
                </a:lnTo>
                <a:lnTo>
                  <a:pt x="127" y="291"/>
                </a:lnTo>
                <a:lnTo>
                  <a:pt x="143" y="279"/>
                </a:lnTo>
                <a:lnTo>
                  <a:pt x="161" y="268"/>
                </a:lnTo>
                <a:lnTo>
                  <a:pt x="185" y="252"/>
                </a:lnTo>
                <a:lnTo>
                  <a:pt x="210" y="234"/>
                </a:lnTo>
                <a:lnTo>
                  <a:pt x="239" y="218"/>
                </a:lnTo>
                <a:lnTo>
                  <a:pt x="269" y="197"/>
                </a:lnTo>
                <a:lnTo>
                  <a:pt x="298" y="178"/>
                </a:lnTo>
                <a:lnTo>
                  <a:pt x="329" y="158"/>
                </a:lnTo>
                <a:lnTo>
                  <a:pt x="358" y="139"/>
                </a:lnTo>
                <a:lnTo>
                  <a:pt x="385" y="120"/>
                </a:lnTo>
                <a:lnTo>
                  <a:pt x="412" y="103"/>
                </a:lnTo>
                <a:lnTo>
                  <a:pt x="435" y="87"/>
                </a:lnTo>
                <a:lnTo>
                  <a:pt x="454" y="74"/>
                </a:lnTo>
                <a:lnTo>
                  <a:pt x="471" y="64"/>
                </a:lnTo>
                <a:lnTo>
                  <a:pt x="481" y="55"/>
                </a:lnTo>
                <a:lnTo>
                  <a:pt x="480" y="42"/>
                </a:lnTo>
                <a:lnTo>
                  <a:pt x="479" y="28"/>
                </a:lnTo>
                <a:lnTo>
                  <a:pt x="479" y="13"/>
                </a:lnTo>
                <a:lnTo>
                  <a:pt x="48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5313040" y="2636912"/>
            <a:ext cx="288000" cy="28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5674475" y="2636912"/>
            <a:ext cx="3914024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eaLnBrk="0" hangingPunct="0"/>
            <a:r>
              <a:rPr lang="ko-KR" altLang="en-US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 </a:t>
            </a:r>
            <a:r>
              <a:rPr lang="en-US" altLang="ko-KR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아래에 종속적인 복수개의 가상 </a:t>
            </a:r>
            <a:r>
              <a:rPr lang="en-US" altLang="ko-KR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생성</a:t>
            </a:r>
            <a:endParaRPr lang="ko-KR" altLang="en-US" sz="14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5674475" y="3092509"/>
            <a:ext cx="3914024" cy="13707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사업자 카드를 개인회원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하위의 종속적인 카드레벨로 변경함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사업자는 개인카드 형태로 발급함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복수개의 개인카드 및 개인사업자카드의 개별적인 정보관리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소지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결제일자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결제계좌 등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지원을 위해 개인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하위에 가상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원장 생성구조로 변경함 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5313040" y="4520794"/>
            <a:ext cx="288000" cy="28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5674475" y="4520794"/>
            <a:ext cx="3914024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eaLnBrk="0" hangingPunct="0"/>
            <a:r>
              <a:rPr lang="ko-KR" altLang="en-US" sz="14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회원 단위 통합 한도 산출</a:t>
            </a:r>
            <a:endParaRPr lang="ko-KR" altLang="en-US" sz="14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5674475" y="4970110"/>
            <a:ext cx="3914024" cy="13707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인회원 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ccount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단위의 통합 한도를 산출함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족카드 한도 부여 방식과 동일하게 개인회원 통합 한도 범위 내에서 개인사업자 카드를 포함한 개별 카드의 한도를 지정함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5405153" y="1916190"/>
            <a:ext cx="4084351" cy="302400"/>
            <a:chOff x="5405153" y="1916190"/>
            <a:chExt cx="4084351" cy="302400"/>
          </a:xfrm>
        </p:grpSpPr>
        <p:sp>
          <p:nvSpPr>
            <p:cNvPr id="7" name="직사각형 6"/>
            <p:cNvSpPr/>
            <p:nvPr/>
          </p:nvSpPr>
          <p:spPr bwMode="auto">
            <a:xfrm>
              <a:off x="6079176" y="1916190"/>
              <a:ext cx="2736304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 사업자 한도관리 기본 요건</a:t>
              </a:r>
            </a:p>
          </p:txBody>
        </p:sp>
        <p:cxnSp>
          <p:nvCxnSpPr>
            <p:cNvPr id="149" name="직선 연결선 148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86" name="그룹 8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4688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관리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재정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회원 단위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도 운영 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타 프로세스에 변경 영향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생함으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대한 프로세스 변경 요인을 사전에 파악하여 설계에 반영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사업자 한도관리 체계 변경으로 인한 </a:t>
              </a:r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업무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영향도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297749" y="1979113"/>
          <a:ext cx="9317250" cy="4298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867"/>
                <a:gridCol w="1800200"/>
                <a:gridCol w="6318183"/>
              </a:tblGrid>
              <a:tr h="289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역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향업무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용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62260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식 체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4138" indent="-84138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의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에 따른 각 시스템 별 관련 인식 </a:t>
                      </a:r>
                      <a:r>
                        <a:rPr lang="ko-KR" altLang="en-US" sz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4138" indent="-84138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법인사업자로 등록된 개인사업자 원장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grati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4138" indent="-84138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 및 개인사업자의 결제일은 동일하게 적용되도록 관리정책 합의 필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90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관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ad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도 산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카드 신청 시 개인카드 레벨로 인식하기 위한 내부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90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배정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카드 심사 배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심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법인심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 재검토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는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법인심사팀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귀속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배분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 시 심사화면 구성 변경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 법인심사 화면 사용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90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배정시스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에 따른 내부 처리 </a:t>
                      </a:r>
                      <a:r>
                        <a:rPr lang="ko-KR" altLang="en-US" sz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0049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수정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 미수원장 별도 생성 필요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 대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대한 통합 미수원장 생성 필요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서 별도 발송을 위한 시스템 기능 개선 필요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oun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리에 따른 별도의 서비스 화면 구현 필요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90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도승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승인내역 및 한도참조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 복수카드 한도 체크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과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동일하게 변경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90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귀속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카드 사용실적 귀속처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영업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법인영업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대한 기준 수립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사업자 카드 실적 구분을 위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lag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필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31" name="그룹 3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3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3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3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377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72480" y="1771652"/>
            <a:ext cx="4780800" cy="4392000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범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전체 업무는 차세대 시스템 개발을 위한 현황 분석</a:t>
            </a:r>
            <a:r>
              <a:rPr lang="en-US" altLang="ko-KR" dirty="0"/>
              <a:t>, </a:t>
            </a:r>
            <a:r>
              <a:rPr lang="ko-KR" altLang="en-US" dirty="0"/>
              <a:t>개선과제 확정 및 상세화</a:t>
            </a:r>
            <a:r>
              <a:rPr lang="en-US" altLang="ko-KR" dirty="0"/>
              <a:t>, To-Be </a:t>
            </a:r>
            <a:r>
              <a:rPr lang="ko-KR" altLang="en-US" dirty="0"/>
              <a:t>비즈니스 프로세스 및 </a:t>
            </a:r>
            <a:r>
              <a:rPr lang="en-US" altLang="ko-KR" dirty="0"/>
              <a:t>IT </a:t>
            </a:r>
            <a:r>
              <a:rPr lang="ko-KR" altLang="en-US" dirty="0"/>
              <a:t>아키텍처 설계</a:t>
            </a:r>
            <a:r>
              <a:rPr lang="en-US" altLang="ko-KR" dirty="0"/>
              <a:t>, </a:t>
            </a:r>
            <a:r>
              <a:rPr lang="ko-KR" altLang="en-US" dirty="0"/>
              <a:t>개발계획 수립임</a:t>
            </a:r>
          </a:p>
        </p:txBody>
      </p:sp>
      <p:sp>
        <p:nvSpPr>
          <p:cNvPr id="4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4997712" y="1835438"/>
            <a:ext cx="1971512" cy="754342"/>
            <a:chOff x="4997712" y="1835438"/>
            <a:chExt cx="1971512" cy="754342"/>
          </a:xfrm>
        </p:grpSpPr>
        <p:sp>
          <p:nvSpPr>
            <p:cNvPr id="238" name="직사각형 237"/>
            <p:cNvSpPr/>
            <p:nvPr/>
          </p:nvSpPr>
          <p:spPr bwMode="auto">
            <a:xfrm>
              <a:off x="5082120" y="1905780"/>
              <a:ext cx="1887104" cy="684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73050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400" dirty="0">
                  <a:latin typeface="맑은 고딕"/>
                  <a:ea typeface="맑은 고딕"/>
                </a:rPr>
                <a:t>현행 분석 </a:t>
              </a:r>
              <a:r>
                <a:rPr lang="ko-KR" altLang="en-US" sz="1400" dirty="0" smtClean="0">
                  <a:latin typeface="맑은 고딕"/>
                  <a:ea typeface="맑은 고딕"/>
                </a:rPr>
                <a:t>및</a:t>
              </a:r>
              <a:r>
                <a:rPr lang="en-US" altLang="ko-KR" sz="1400" dirty="0" smtClean="0">
                  <a:latin typeface="맑은 고딕"/>
                  <a:ea typeface="맑은 고딕"/>
                </a:rPr>
                <a:t/>
              </a:r>
              <a:br>
                <a:rPr lang="en-US" altLang="ko-KR" sz="1400" dirty="0" smtClean="0">
                  <a:latin typeface="맑은 고딕"/>
                  <a:ea typeface="맑은 고딕"/>
                </a:rPr>
              </a:br>
              <a:r>
                <a:rPr lang="ko-KR" altLang="en-US" sz="1400" dirty="0" smtClean="0">
                  <a:latin typeface="맑은 고딕"/>
                  <a:ea typeface="맑은 고딕"/>
                </a:rPr>
                <a:t>개선과제 </a:t>
              </a:r>
              <a:r>
                <a:rPr lang="ko-KR" altLang="en-US" sz="1400" dirty="0">
                  <a:latin typeface="맑은 고딕"/>
                  <a:ea typeface="맑은 고딕"/>
                </a:rPr>
                <a:t>확정</a:t>
              </a:r>
            </a:p>
          </p:txBody>
        </p:sp>
        <p:sp>
          <p:nvSpPr>
            <p:cNvPr id="243" name="TextBox 242"/>
            <p:cNvSpPr txBox="1"/>
            <p:nvPr/>
          </p:nvSpPr>
          <p:spPr bwMode="auto">
            <a:xfrm>
              <a:off x="4997712" y="1835438"/>
              <a:ext cx="36004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2000" i="1" dirty="0">
                  <a:latin typeface="맑은 고딕"/>
                  <a:ea typeface="맑은 고딕"/>
                </a:rPr>
                <a:t>1</a:t>
              </a:r>
              <a:endParaRPr lang="ko-KR" altLang="en-US" sz="2000" i="1" dirty="0">
                <a:latin typeface="맑은 고딕"/>
                <a:ea typeface="맑은 고딕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4997712" y="2743806"/>
            <a:ext cx="1971512" cy="754340"/>
            <a:chOff x="4997712" y="2743806"/>
            <a:chExt cx="1971512" cy="754340"/>
          </a:xfrm>
        </p:grpSpPr>
        <p:sp>
          <p:nvSpPr>
            <p:cNvPr id="239" name="직사각형 238"/>
            <p:cNvSpPr/>
            <p:nvPr/>
          </p:nvSpPr>
          <p:spPr bwMode="auto">
            <a:xfrm>
              <a:off x="5082120" y="2814146"/>
              <a:ext cx="1887104" cy="684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73050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400" dirty="0">
                  <a:latin typeface="맑은 고딕"/>
                  <a:ea typeface="맑은 고딕"/>
                </a:rPr>
                <a:t>단위 업무별</a:t>
              </a:r>
              <a:r>
                <a:rPr lang="en-US" altLang="ko-KR" sz="1400" dirty="0">
                  <a:latin typeface="맑은 고딕"/>
                  <a:ea typeface="맑은 고딕"/>
                </a:rPr>
                <a:t/>
              </a:r>
              <a:br>
                <a:rPr lang="en-US" altLang="ko-KR" sz="1400" dirty="0">
                  <a:latin typeface="맑은 고딕"/>
                  <a:ea typeface="맑은 고딕"/>
                </a:rPr>
              </a:br>
              <a:r>
                <a:rPr lang="ko-KR" altLang="en-US" sz="1400" dirty="0">
                  <a:latin typeface="맑은 고딕"/>
                  <a:ea typeface="맑은 고딕"/>
                </a:rPr>
                <a:t>프로세스 설계</a:t>
              </a:r>
            </a:p>
          </p:txBody>
        </p:sp>
        <p:sp>
          <p:nvSpPr>
            <p:cNvPr id="244" name="TextBox 243"/>
            <p:cNvSpPr txBox="1"/>
            <p:nvPr/>
          </p:nvSpPr>
          <p:spPr bwMode="auto">
            <a:xfrm>
              <a:off x="4997712" y="2743806"/>
              <a:ext cx="36004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2000" i="1" dirty="0">
                  <a:latin typeface="맑은 고딕"/>
                  <a:ea typeface="맑은 고딕"/>
                </a:rPr>
                <a:t>2</a:t>
              </a:r>
              <a:endParaRPr lang="ko-KR" altLang="en-US" sz="2000" i="1" dirty="0">
                <a:latin typeface="맑은 고딕"/>
                <a:ea typeface="맑은 고딕"/>
              </a:endParaRP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997712" y="3652172"/>
            <a:ext cx="1971512" cy="754340"/>
            <a:chOff x="4997712" y="3652172"/>
            <a:chExt cx="1971512" cy="754340"/>
          </a:xfrm>
        </p:grpSpPr>
        <p:sp>
          <p:nvSpPr>
            <p:cNvPr id="240" name="직사각형 239"/>
            <p:cNvSpPr/>
            <p:nvPr/>
          </p:nvSpPr>
          <p:spPr bwMode="auto">
            <a:xfrm>
              <a:off x="5082120" y="3722512"/>
              <a:ext cx="1887104" cy="684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73050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en-US" altLang="ko-KR" sz="1400" dirty="0">
                  <a:latin typeface="맑은 고딕"/>
                  <a:ea typeface="맑은 고딕"/>
                </a:rPr>
                <a:t>IT</a:t>
              </a:r>
              <a:r>
                <a:rPr lang="ko-KR" altLang="en-US" sz="1400" dirty="0">
                  <a:latin typeface="맑은 고딕"/>
                  <a:ea typeface="맑은 고딕"/>
                </a:rPr>
                <a:t>시스템</a:t>
              </a:r>
              <a:r>
                <a:rPr lang="en-US" altLang="ko-KR" sz="1400" dirty="0">
                  <a:latin typeface="맑은 고딕"/>
                  <a:ea typeface="맑은 고딕"/>
                </a:rPr>
                <a:t> </a:t>
              </a:r>
              <a:r>
                <a:rPr lang="ko-KR" altLang="en-US" sz="1400" dirty="0">
                  <a:latin typeface="맑은 고딕"/>
                  <a:ea typeface="맑은 고딕"/>
                </a:rPr>
                <a:t>아키텍처 구조 설계</a:t>
              </a:r>
            </a:p>
          </p:txBody>
        </p:sp>
        <p:sp>
          <p:nvSpPr>
            <p:cNvPr id="245" name="TextBox 244"/>
            <p:cNvSpPr txBox="1"/>
            <p:nvPr/>
          </p:nvSpPr>
          <p:spPr bwMode="auto">
            <a:xfrm>
              <a:off x="4997712" y="3652172"/>
              <a:ext cx="36004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2000" i="1" dirty="0">
                  <a:latin typeface="맑은 고딕"/>
                  <a:ea typeface="맑은 고딕"/>
                </a:rPr>
                <a:t>3</a:t>
              </a:r>
              <a:endParaRPr lang="ko-KR" altLang="en-US" sz="2000" i="1" dirty="0">
                <a:latin typeface="맑은 고딕"/>
                <a:ea typeface="맑은 고딕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4997712" y="4560538"/>
            <a:ext cx="1971512" cy="754340"/>
            <a:chOff x="4997712" y="4560538"/>
            <a:chExt cx="1971512" cy="754340"/>
          </a:xfrm>
        </p:grpSpPr>
        <p:sp>
          <p:nvSpPr>
            <p:cNvPr id="241" name="직사각형 240"/>
            <p:cNvSpPr/>
            <p:nvPr/>
          </p:nvSpPr>
          <p:spPr bwMode="auto">
            <a:xfrm>
              <a:off x="5082120" y="4630878"/>
              <a:ext cx="1887104" cy="684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73050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400" dirty="0">
                  <a:latin typeface="맑은 고딕"/>
                  <a:ea typeface="맑은 고딕"/>
                </a:rPr>
                <a:t>차세대 시스템</a:t>
              </a:r>
              <a:r>
                <a:rPr lang="en-US" altLang="ko-KR" sz="1400" dirty="0">
                  <a:latin typeface="맑은 고딕"/>
                  <a:ea typeface="맑은 고딕"/>
                </a:rPr>
                <a:t/>
              </a:r>
              <a:br>
                <a:rPr lang="en-US" altLang="ko-KR" sz="1400" dirty="0">
                  <a:latin typeface="맑은 고딕"/>
                  <a:ea typeface="맑은 고딕"/>
                </a:rPr>
              </a:br>
              <a:r>
                <a:rPr lang="ko-KR" altLang="en-US" sz="1400" dirty="0">
                  <a:latin typeface="맑은 고딕"/>
                  <a:ea typeface="맑은 고딕"/>
                </a:rPr>
                <a:t>개발 요건 정의</a:t>
              </a:r>
            </a:p>
          </p:txBody>
        </p:sp>
        <p:sp>
          <p:nvSpPr>
            <p:cNvPr id="246" name="TextBox 245"/>
            <p:cNvSpPr txBox="1"/>
            <p:nvPr/>
          </p:nvSpPr>
          <p:spPr bwMode="auto">
            <a:xfrm>
              <a:off x="4997712" y="4560538"/>
              <a:ext cx="36004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2000" i="1" dirty="0">
                  <a:latin typeface="맑은 고딕"/>
                  <a:ea typeface="맑은 고딕"/>
                </a:rPr>
                <a:t>4</a:t>
              </a:r>
              <a:endParaRPr lang="ko-KR" altLang="en-US" sz="2000" i="1" dirty="0">
                <a:latin typeface="맑은 고딕"/>
                <a:ea typeface="맑은 고딕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997712" y="5409312"/>
            <a:ext cx="1971512" cy="754340"/>
            <a:chOff x="4997712" y="5468904"/>
            <a:chExt cx="1971512" cy="754340"/>
          </a:xfrm>
        </p:grpSpPr>
        <p:sp>
          <p:nvSpPr>
            <p:cNvPr id="242" name="직사각형 241"/>
            <p:cNvSpPr/>
            <p:nvPr/>
          </p:nvSpPr>
          <p:spPr bwMode="auto">
            <a:xfrm>
              <a:off x="5082120" y="5539244"/>
              <a:ext cx="1887104" cy="684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73050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400" dirty="0">
                  <a:latin typeface="맑은 고딕"/>
                  <a:ea typeface="맑은 고딕"/>
                </a:rPr>
                <a:t>차세대 시스템</a:t>
              </a:r>
              <a:r>
                <a:rPr lang="en-US" altLang="ko-KR" sz="1400" dirty="0">
                  <a:latin typeface="맑은 고딕"/>
                  <a:ea typeface="맑은 고딕"/>
                </a:rPr>
                <a:t/>
              </a:r>
              <a:br>
                <a:rPr lang="en-US" altLang="ko-KR" sz="1400" dirty="0">
                  <a:latin typeface="맑은 고딕"/>
                  <a:ea typeface="맑은 고딕"/>
                </a:rPr>
              </a:br>
              <a:r>
                <a:rPr lang="ko-KR" altLang="en-US" sz="1400" dirty="0" smtClean="0">
                  <a:latin typeface="맑은 고딕"/>
                  <a:ea typeface="맑은 고딕"/>
                </a:rPr>
                <a:t>개발계획 </a:t>
              </a:r>
              <a:r>
                <a:rPr lang="ko-KR" altLang="en-US" sz="1400" dirty="0">
                  <a:latin typeface="맑은 고딕"/>
                  <a:ea typeface="맑은 고딕"/>
                </a:rPr>
                <a:t>수립</a:t>
              </a:r>
            </a:p>
          </p:txBody>
        </p:sp>
        <p:sp>
          <p:nvSpPr>
            <p:cNvPr id="247" name="TextBox 246"/>
            <p:cNvSpPr txBox="1"/>
            <p:nvPr/>
          </p:nvSpPr>
          <p:spPr bwMode="auto">
            <a:xfrm>
              <a:off x="4997712" y="5468904"/>
              <a:ext cx="360040" cy="3804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2000" i="1" dirty="0">
                  <a:latin typeface="맑은 고딕"/>
                  <a:ea typeface="맑은 고딕"/>
                </a:rPr>
                <a:t>5</a:t>
              </a:r>
              <a:endParaRPr lang="ko-KR" altLang="en-US" sz="2000" i="1" dirty="0">
                <a:latin typeface="맑은 고딕"/>
                <a:ea typeface="맑은 고딕"/>
              </a:endParaRPr>
            </a:p>
          </p:txBody>
        </p:sp>
      </p:grpSp>
      <p:grpSp>
        <p:nvGrpSpPr>
          <p:cNvPr id="209" name="그룹 208"/>
          <p:cNvGrpSpPr/>
          <p:nvPr/>
        </p:nvGrpSpPr>
        <p:grpSpPr>
          <a:xfrm>
            <a:off x="272480" y="1382624"/>
            <a:ext cx="6696744" cy="315803"/>
            <a:chOff x="525530" y="1601029"/>
            <a:chExt cx="4068000" cy="315803"/>
          </a:xfrm>
        </p:grpSpPr>
        <p:sp>
          <p:nvSpPr>
            <p:cNvPr id="210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185738" indent="-185738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dirty="0">
                  <a:solidFill>
                    <a:srgbClr val="000000"/>
                  </a:solidFill>
                </a:rPr>
                <a:t>PI </a:t>
              </a:r>
              <a:r>
                <a:rPr lang="ko-KR" altLang="en-US" dirty="0">
                  <a:solidFill>
                    <a:srgbClr val="000000"/>
                  </a:solidFill>
                </a:rPr>
                <a:t>프로젝트 수행 범위</a:t>
              </a:r>
            </a:p>
          </p:txBody>
        </p:sp>
        <p:cxnSp>
          <p:nvCxnSpPr>
            <p:cNvPr id="211" name="직선 연결선 210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212" name="그룹 211"/>
          <p:cNvGrpSpPr/>
          <p:nvPr/>
        </p:nvGrpSpPr>
        <p:grpSpPr>
          <a:xfrm>
            <a:off x="7613752" y="1877878"/>
            <a:ext cx="2015654" cy="4287972"/>
            <a:chOff x="270770" y="1646117"/>
            <a:chExt cx="2015654" cy="5095187"/>
          </a:xfrm>
        </p:grpSpPr>
        <p:sp>
          <p:nvSpPr>
            <p:cNvPr id="213" name="직사각형 212"/>
            <p:cNvSpPr/>
            <p:nvPr/>
          </p:nvSpPr>
          <p:spPr bwMode="auto">
            <a:xfrm>
              <a:off x="270770" y="1646117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범농협 네트워크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기반</a:t>
              </a:r>
              <a:r>
                <a:rPr lang="en-US" altLang="ko-KR" sz="1200" dirty="0" smtClean="0">
                  <a:latin typeface="맑은 고딕"/>
                  <a:ea typeface="맑은 고딕"/>
                </a:rPr>
                <a:t/>
              </a:r>
              <a:br>
                <a:rPr lang="en-US" altLang="ko-KR" sz="1200" dirty="0" smtClean="0">
                  <a:latin typeface="맑은 고딕"/>
                  <a:ea typeface="맑은 고딕"/>
                </a:rPr>
              </a:br>
              <a:r>
                <a:rPr lang="en-US" altLang="ko-KR" sz="1200" dirty="0" smtClean="0">
                  <a:latin typeface="맑은 고딕"/>
                  <a:ea typeface="맑은 고딕"/>
                </a:rPr>
                <a:t>CLO </a:t>
              </a:r>
              <a:r>
                <a:rPr lang="ko-KR" altLang="en-US" sz="1200" dirty="0">
                  <a:latin typeface="맑은 고딕"/>
                  <a:ea typeface="맑은 고딕"/>
                </a:rPr>
                <a:t>플랫폼 구축</a:t>
              </a:r>
            </a:p>
          </p:txBody>
        </p:sp>
        <p:sp>
          <p:nvSpPr>
            <p:cNvPr id="214" name="직사각형 213"/>
            <p:cNvSpPr/>
            <p:nvPr/>
          </p:nvSpPr>
          <p:spPr bwMode="auto">
            <a:xfrm>
              <a:off x="270770" y="2291715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빅데이터를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활용한</a:t>
              </a:r>
              <a:r>
                <a:rPr lang="en-US" altLang="ko-KR" sz="1200" dirty="0" smtClean="0">
                  <a:latin typeface="맑은 고딕"/>
                  <a:ea typeface="맑은 고딕"/>
                </a:rPr>
                <a:t/>
              </a:r>
              <a:br>
                <a:rPr lang="en-US" altLang="ko-KR" sz="1200" dirty="0" smtClean="0">
                  <a:latin typeface="맑은 고딕"/>
                  <a:ea typeface="맑은 고딕"/>
                </a:rPr>
              </a:br>
              <a:r>
                <a:rPr lang="ko-KR" altLang="en-US" sz="1200" dirty="0" smtClean="0">
                  <a:latin typeface="맑은 고딕"/>
                  <a:ea typeface="맑은 고딕"/>
                </a:rPr>
                <a:t>정보 </a:t>
              </a:r>
              <a:r>
                <a:rPr lang="ko-KR" altLang="en-US" sz="1200" dirty="0">
                  <a:latin typeface="맑은 고딕"/>
                  <a:ea typeface="맑은 고딕"/>
                </a:rPr>
                <a:t>경쟁력 강화</a:t>
              </a:r>
            </a:p>
          </p:txBody>
        </p:sp>
        <p:sp>
          <p:nvSpPr>
            <p:cNvPr id="215" name="직사각형 214"/>
            <p:cNvSpPr/>
            <p:nvPr/>
          </p:nvSpPr>
          <p:spPr bwMode="auto">
            <a:xfrm>
              <a:off x="270770" y="2937313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유연한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상품</a:t>
              </a:r>
              <a:r>
                <a:rPr lang="en-US" altLang="ko-KR" sz="1200" dirty="0" smtClean="0">
                  <a:latin typeface="맑은 고딕"/>
                  <a:ea typeface="맑은 고딕"/>
                </a:rPr>
                <a:t>/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서비스 관리 체계 구축으로</a:t>
              </a:r>
              <a:r>
                <a:rPr lang="en-US" altLang="ko-KR" sz="1200" dirty="0" smtClean="0">
                  <a:latin typeface="맑은 고딕"/>
                  <a:ea typeface="맑은 고딕"/>
                </a:rPr>
                <a:t/>
              </a:r>
              <a:br>
                <a:rPr lang="en-US" altLang="ko-KR" sz="1200" dirty="0" smtClean="0">
                  <a:latin typeface="맑은 고딕"/>
                  <a:ea typeface="맑은 고딕"/>
                </a:rPr>
              </a:br>
              <a:r>
                <a:rPr lang="ko-KR" altLang="en-US" sz="1200" dirty="0" smtClean="0">
                  <a:latin typeface="맑은 고딕"/>
                  <a:ea typeface="맑은 고딕"/>
                </a:rPr>
                <a:t>비즈니스 </a:t>
              </a:r>
              <a:r>
                <a:rPr lang="ko-KR" altLang="en-US" sz="1200" dirty="0">
                  <a:latin typeface="맑은 고딕"/>
                  <a:ea typeface="맑은 고딕"/>
                </a:rPr>
                <a:t>확장성 제고</a:t>
              </a:r>
            </a:p>
          </p:txBody>
        </p:sp>
        <p:sp>
          <p:nvSpPr>
            <p:cNvPr id="216" name="직사각형 215"/>
            <p:cNvSpPr/>
            <p:nvPr/>
          </p:nvSpPr>
          <p:spPr bwMode="auto">
            <a:xfrm>
              <a:off x="270770" y="3582911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고객 데이터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통합 관리를 </a:t>
              </a:r>
              <a:r>
                <a:rPr lang="ko-KR" altLang="en-US" sz="1200" dirty="0">
                  <a:latin typeface="맑은 고딕"/>
                  <a:ea typeface="맑은 고딕"/>
                </a:rPr>
                <a:t>통한 서비스 역량 강화</a:t>
              </a:r>
            </a:p>
          </p:txBody>
        </p:sp>
        <p:sp>
          <p:nvSpPr>
            <p:cNvPr id="217" name="직사각형 216"/>
            <p:cNvSpPr/>
            <p:nvPr/>
          </p:nvSpPr>
          <p:spPr bwMode="auto">
            <a:xfrm>
              <a:off x="270770" y="4228509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프로세스 자동</a:t>
              </a:r>
              <a:r>
                <a:rPr lang="en-US" altLang="ko-KR" sz="1200" dirty="0">
                  <a:latin typeface="맑은 고딕"/>
                  <a:ea typeface="맑은 고딕"/>
                </a:rPr>
                <a:t>/</a:t>
              </a:r>
              <a:r>
                <a:rPr lang="ko-KR" altLang="en-US" sz="1200" dirty="0">
                  <a:latin typeface="맑은 고딕"/>
                  <a:ea typeface="맑은 고딕"/>
                </a:rPr>
                <a:t>효율화 기반 고객 서비스 혁신</a:t>
              </a:r>
            </a:p>
          </p:txBody>
        </p:sp>
        <p:sp>
          <p:nvSpPr>
            <p:cNvPr id="218" name="직사각형 217"/>
            <p:cNvSpPr/>
            <p:nvPr/>
          </p:nvSpPr>
          <p:spPr bwMode="auto">
            <a:xfrm>
              <a:off x="270770" y="4874107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비즈니스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구성요소 별 </a:t>
              </a:r>
              <a:r>
                <a:rPr lang="ko-KR" altLang="en-US" sz="1200" dirty="0">
                  <a:latin typeface="맑은 고딕"/>
                  <a:ea typeface="맑은 고딕"/>
                </a:rPr>
                <a:t>미세경영 관리체계 구축</a:t>
              </a:r>
            </a:p>
          </p:txBody>
        </p:sp>
        <p:sp>
          <p:nvSpPr>
            <p:cNvPr id="219" name="직사각형 218"/>
            <p:cNvSpPr/>
            <p:nvPr/>
          </p:nvSpPr>
          <p:spPr bwMode="auto">
            <a:xfrm>
              <a:off x="270770" y="5519705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미래 성장 </a:t>
              </a:r>
              <a:r>
                <a:rPr lang="ko-KR" altLang="en-US" sz="1200" dirty="0" smtClean="0">
                  <a:latin typeface="맑은 고딕"/>
                  <a:ea typeface="맑은 고딕"/>
                </a:rPr>
                <a:t>예측 기반의 </a:t>
              </a:r>
              <a:r>
                <a:rPr lang="en-US" altLang="ko-KR" sz="1200" dirty="0">
                  <a:latin typeface="맑은 고딕"/>
                  <a:ea typeface="맑은 고딕"/>
                </a:rPr>
                <a:t>IT</a:t>
              </a:r>
              <a:r>
                <a:rPr lang="ko-KR" altLang="en-US" sz="1200" dirty="0">
                  <a:latin typeface="맑은 고딕"/>
                  <a:ea typeface="맑은 고딕"/>
                </a:rPr>
                <a:t>확장성 및 안정성 확보</a:t>
              </a:r>
            </a:p>
          </p:txBody>
        </p:sp>
        <p:sp>
          <p:nvSpPr>
            <p:cNvPr id="220" name="직사각형 219"/>
            <p:cNvSpPr/>
            <p:nvPr/>
          </p:nvSpPr>
          <p:spPr bwMode="auto">
            <a:xfrm>
              <a:off x="270770" y="6165304"/>
              <a:ext cx="2015654" cy="57600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>
                  <a:latin typeface="맑은 고딕"/>
                  <a:ea typeface="맑은 고딕"/>
                </a:rPr>
                <a:t>비즈니스 변화에 대비한 </a:t>
              </a:r>
              <a:r>
                <a:rPr lang="en-US" altLang="ko-KR" sz="1200" dirty="0">
                  <a:latin typeface="맑은 고딕"/>
                  <a:ea typeface="맑은 고딕"/>
                </a:rPr>
                <a:t>IT</a:t>
              </a:r>
              <a:r>
                <a:rPr lang="ko-KR" altLang="en-US" sz="1200" dirty="0">
                  <a:latin typeface="맑은 고딕"/>
                  <a:ea typeface="맑은 고딕"/>
                </a:rPr>
                <a:t>서비스 유연성 강화</a:t>
              </a:r>
            </a:p>
          </p:txBody>
        </p:sp>
      </p:grpSp>
      <p:grpSp>
        <p:nvGrpSpPr>
          <p:cNvPr id="221" name="그룹 220"/>
          <p:cNvGrpSpPr/>
          <p:nvPr/>
        </p:nvGrpSpPr>
        <p:grpSpPr>
          <a:xfrm>
            <a:off x="7613752" y="1382624"/>
            <a:ext cx="2016000" cy="315803"/>
            <a:chOff x="525530" y="1601029"/>
            <a:chExt cx="4068000" cy="315803"/>
          </a:xfrm>
        </p:grpSpPr>
        <p:sp>
          <p:nvSpPr>
            <p:cNvPr id="222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ko-KR" altLang="en-US" dirty="0" smtClean="0"/>
                <a:t>프로젝트 </a:t>
              </a:r>
              <a:r>
                <a:rPr lang="en-US" altLang="ko-KR" dirty="0" smtClean="0"/>
                <a:t>8</a:t>
              </a:r>
              <a:r>
                <a:rPr lang="ko-KR" altLang="en-US" dirty="0" smtClean="0"/>
                <a:t>대 추진 과제</a:t>
              </a:r>
              <a:endParaRPr lang="en-US" altLang="ko-KR" dirty="0"/>
            </a:p>
          </p:txBody>
        </p:sp>
        <p:cxnSp>
          <p:nvCxnSpPr>
            <p:cNvPr id="223" name="직선 연결선 222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224" name="Isosceles Triangle 16"/>
          <p:cNvSpPr/>
          <p:nvPr/>
        </p:nvSpPr>
        <p:spPr>
          <a:xfrm rot="5400000">
            <a:off x="5794920" y="3897232"/>
            <a:ext cx="2988000" cy="252000"/>
          </a:xfrm>
          <a:prstGeom prst="triangle">
            <a:avLst/>
          </a:prstGeom>
          <a:solidFill>
            <a:sysClr val="window" lastClr="FFFFFF">
              <a:lumMod val="7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9" name="모서리가 둥근 직사각형 248"/>
          <p:cNvSpPr/>
          <p:nvPr/>
        </p:nvSpPr>
        <p:spPr bwMode="auto">
          <a:xfrm>
            <a:off x="704671" y="3108838"/>
            <a:ext cx="1399295" cy="453052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L 도형 5"/>
          <p:cNvSpPr/>
          <p:nvPr/>
        </p:nvSpPr>
        <p:spPr bwMode="auto">
          <a:xfrm rot="10800000">
            <a:off x="704671" y="2474574"/>
            <a:ext cx="2487872" cy="1746513"/>
          </a:xfrm>
          <a:prstGeom prst="corner">
            <a:avLst>
              <a:gd name="adj1" fmla="val 31508"/>
              <a:gd name="adj2" fmla="val 52301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</a:pPr>
            <a:endParaRPr lang="ko-KR" altLang="en-US" sz="18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1" name="모서리가 둥근 직사각형 250"/>
          <p:cNvSpPr/>
          <p:nvPr/>
        </p:nvSpPr>
        <p:spPr bwMode="auto">
          <a:xfrm>
            <a:off x="1758138" y="4979118"/>
            <a:ext cx="911711" cy="591661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8" name="Rectangle 124"/>
          <p:cNvSpPr/>
          <p:nvPr/>
        </p:nvSpPr>
        <p:spPr bwMode="auto">
          <a:xfrm>
            <a:off x="704673" y="2474576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256" name="Rectangle 124"/>
          <p:cNvSpPr/>
          <p:nvPr/>
        </p:nvSpPr>
        <p:spPr bwMode="auto">
          <a:xfrm>
            <a:off x="704671" y="3086186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257" name="Rectangle 124"/>
          <p:cNvSpPr/>
          <p:nvPr/>
        </p:nvSpPr>
        <p:spPr bwMode="auto">
          <a:xfrm>
            <a:off x="1758138" y="4979118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2699826" y="4979117"/>
            <a:ext cx="443901" cy="591661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Rectangle 124"/>
          <p:cNvSpPr/>
          <p:nvPr/>
        </p:nvSpPr>
        <p:spPr bwMode="auto">
          <a:xfrm>
            <a:off x="2699826" y="4979117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57" name="모서리가 둥근 직사각형 56"/>
          <p:cNvSpPr/>
          <p:nvPr/>
        </p:nvSpPr>
        <p:spPr bwMode="auto">
          <a:xfrm>
            <a:off x="3294565" y="5286843"/>
            <a:ext cx="721297" cy="281491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Rectangle 124"/>
          <p:cNvSpPr/>
          <p:nvPr/>
        </p:nvSpPr>
        <p:spPr bwMode="auto">
          <a:xfrm>
            <a:off x="3294565" y="5286843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4102572" y="3068129"/>
            <a:ext cx="872770" cy="1008000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Rectangle 124"/>
          <p:cNvSpPr/>
          <p:nvPr/>
        </p:nvSpPr>
        <p:spPr bwMode="auto">
          <a:xfrm>
            <a:off x="4049232" y="3068129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4102572" y="4149352"/>
            <a:ext cx="872770" cy="1421427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Rectangle 124"/>
          <p:cNvSpPr/>
          <p:nvPr/>
        </p:nvSpPr>
        <p:spPr bwMode="auto">
          <a:xfrm>
            <a:off x="4102572" y="4149353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63" name="모서리가 둥근 직사각형 62"/>
          <p:cNvSpPr/>
          <p:nvPr/>
        </p:nvSpPr>
        <p:spPr bwMode="auto">
          <a:xfrm>
            <a:off x="3294565" y="4955860"/>
            <a:ext cx="721297" cy="281491"/>
          </a:xfrm>
          <a:prstGeom prst="roundRect">
            <a:avLst>
              <a:gd name="adj" fmla="val 7423"/>
            </a:avLst>
          </a:prstGeom>
          <a:solidFill>
            <a:srgbClr val="FFC000">
              <a:alpha val="20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endParaRPr lang="en-US" sz="18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124"/>
          <p:cNvSpPr/>
          <p:nvPr/>
        </p:nvSpPr>
        <p:spPr bwMode="auto">
          <a:xfrm>
            <a:off x="3294565" y="4955860"/>
            <a:ext cx="252000" cy="248750"/>
          </a:xfrm>
          <a:prstGeom prst="rect">
            <a:avLst/>
          </a:prstGeom>
          <a:solidFill>
            <a:srgbClr val="73A2B9">
              <a:lumMod val="50000"/>
            </a:srgb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None/>
              <a:defRPr/>
            </a:pPr>
            <a:r>
              <a:rPr lang="en-US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37803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 30"/>
          <p:cNvSpPr/>
          <p:nvPr/>
        </p:nvSpPr>
        <p:spPr bwMode="gray">
          <a:xfrm>
            <a:off x="291000" y="2132202"/>
            <a:ext cx="6030152" cy="417711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관리 프로세스 재정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 통합 한도관리 방식으로 변경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라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한도 및 채권 운영에 대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처리 요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가 필요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농축협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한도운영 및 채권관리 절차 및 요건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26" name="그룹 125"/>
          <p:cNvGrpSpPr/>
          <p:nvPr/>
        </p:nvGrpSpPr>
        <p:grpSpPr>
          <a:xfrm>
            <a:off x="320311" y="2321949"/>
            <a:ext cx="5862091" cy="3908031"/>
            <a:chOff x="320311" y="2321949"/>
            <a:chExt cx="5862091" cy="3908031"/>
          </a:xfrm>
        </p:grpSpPr>
        <p:sp>
          <p:nvSpPr>
            <p:cNvPr id="100" name="직사각형 99"/>
            <p:cNvSpPr/>
            <p:nvPr/>
          </p:nvSpPr>
          <p:spPr bwMode="auto">
            <a:xfrm>
              <a:off x="5205753" y="3345054"/>
              <a:ext cx="370337" cy="21483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9" name="직선 화살표 연결선 78"/>
            <p:cNvCxnSpPr>
              <a:stCxn id="48" idx="2"/>
              <a:endCxn id="78" idx="0"/>
            </p:cNvCxnSpPr>
            <p:nvPr/>
          </p:nvCxnSpPr>
          <p:spPr bwMode="auto">
            <a:xfrm>
              <a:off x="5716033" y="2957081"/>
              <a:ext cx="1" cy="97220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4" name="직선 화살표 연결선 13"/>
            <p:cNvCxnSpPr>
              <a:stCxn id="45" idx="2"/>
              <a:endCxn id="49" idx="0"/>
            </p:cNvCxnSpPr>
            <p:nvPr/>
          </p:nvCxnSpPr>
          <p:spPr bwMode="auto">
            <a:xfrm>
              <a:off x="1342961" y="2957081"/>
              <a:ext cx="0" cy="192064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pic>
          <p:nvPicPr>
            <p:cNvPr id="41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886" y="3929287"/>
              <a:ext cx="420151" cy="390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그룹 6"/>
            <p:cNvGrpSpPr/>
            <p:nvPr/>
          </p:nvGrpSpPr>
          <p:grpSpPr>
            <a:xfrm>
              <a:off x="1126403" y="3311124"/>
              <a:ext cx="433118" cy="264121"/>
              <a:chOff x="4353568" y="2924944"/>
              <a:chExt cx="1031480" cy="648072"/>
            </a:xfrm>
          </p:grpSpPr>
          <p:sp>
            <p:nvSpPr>
              <p:cNvPr id="5" name="직사각형 4"/>
              <p:cNvSpPr/>
              <p:nvPr/>
            </p:nvSpPr>
            <p:spPr bwMode="auto">
              <a:xfrm>
                <a:off x="4353568" y="2924944"/>
                <a:ext cx="1031480" cy="64807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2" name="직사각형 41"/>
              <p:cNvSpPr/>
              <p:nvPr/>
            </p:nvSpPr>
            <p:spPr bwMode="auto">
              <a:xfrm>
                <a:off x="4353568" y="3023567"/>
                <a:ext cx="1031480" cy="45393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3" name="직사각형 42"/>
              <p:cNvSpPr/>
              <p:nvPr/>
            </p:nvSpPr>
            <p:spPr bwMode="auto">
              <a:xfrm>
                <a:off x="4353568" y="3142770"/>
                <a:ext cx="1031480" cy="129514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2" name="그룹 11"/>
            <p:cNvGrpSpPr/>
            <p:nvPr/>
          </p:nvGrpSpPr>
          <p:grpSpPr>
            <a:xfrm>
              <a:off x="320311" y="2493273"/>
              <a:ext cx="589603" cy="613079"/>
              <a:chOff x="512849" y="2784009"/>
              <a:chExt cx="595499" cy="637972"/>
            </a:xfrm>
          </p:grpSpPr>
          <p:pic>
            <p:nvPicPr>
              <p:cNvPr id="40" name="Picture 7" descr="036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0505" y="2784009"/>
                <a:ext cx="500187" cy="4619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직사각형 43"/>
              <p:cNvSpPr/>
              <p:nvPr/>
            </p:nvSpPr>
            <p:spPr bwMode="auto">
              <a:xfrm>
                <a:off x="512849" y="3198424"/>
                <a:ext cx="595499" cy="22355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0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</a:t>
                </a:r>
                <a:r>
                  <a:rPr kumimoji="1" lang="ko-KR" altLang="en-US" sz="10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endPara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45" name="직사각형 44"/>
            <p:cNvSpPr/>
            <p:nvPr/>
          </p:nvSpPr>
          <p:spPr bwMode="auto">
            <a:xfrm>
              <a:off x="1014925" y="2642544"/>
              <a:ext cx="656073" cy="31453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카드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신청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3400464" y="2642544"/>
              <a:ext cx="656073" cy="31453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신청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4461160" y="2642544"/>
              <a:ext cx="656073" cy="31453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상향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5387996" y="2642544"/>
              <a:ext cx="656073" cy="31453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체발생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1014925" y="4877722"/>
              <a:ext cx="656073" cy="31453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 </a:t>
              </a: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: 5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 bwMode="auto">
            <a:xfrm>
              <a:off x="3400464" y="4877721"/>
              <a:ext cx="656073" cy="3145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 : </a:t>
              </a:r>
              <a:b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6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4461160" y="4877721"/>
              <a:ext cx="656073" cy="3145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 : 1,0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2179719" y="5361856"/>
              <a:ext cx="656073" cy="3145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한도</a:t>
              </a: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6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3917328" y="5361855"/>
              <a:ext cx="656073" cy="3145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한도</a:t>
              </a:r>
              <a:r>
                <a:rPr kumimoji="1" lang="en-US" altLang="ko-KR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,0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5387996" y="5846245"/>
              <a:ext cx="656073" cy="3145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체채권</a:t>
              </a: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,000</a:t>
              </a:r>
              <a:r>
                <a:rPr kumimoji="1" lang="ko-KR" altLang="en-US" sz="10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만원</a:t>
              </a:r>
              <a:endPara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" name="꺾인 연결선 15"/>
            <p:cNvCxnSpPr>
              <a:stCxn id="49" idx="3"/>
              <a:endCxn id="52" idx="0"/>
            </p:cNvCxnSpPr>
            <p:nvPr/>
          </p:nvCxnSpPr>
          <p:spPr bwMode="auto">
            <a:xfrm>
              <a:off x="1670998" y="5034991"/>
              <a:ext cx="836757" cy="326865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5" name="직선 화살표 연결선 54"/>
            <p:cNvCxnSpPr>
              <a:stCxn id="52" idx="3"/>
              <a:endCxn id="53" idx="1"/>
            </p:cNvCxnSpPr>
            <p:nvPr/>
          </p:nvCxnSpPr>
          <p:spPr bwMode="auto">
            <a:xfrm flipV="1">
              <a:off x="2835792" y="5519123"/>
              <a:ext cx="1081536" cy="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3" name="직선 연결선 22"/>
            <p:cNvCxnSpPr>
              <a:stCxn id="49" idx="3"/>
              <a:endCxn id="50" idx="1"/>
            </p:cNvCxnSpPr>
            <p:nvPr/>
          </p:nvCxnSpPr>
          <p:spPr bwMode="auto">
            <a:xfrm flipV="1">
              <a:off x="1670998" y="5034989"/>
              <a:ext cx="1729466" cy="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58" name="꺾인 연결선 57"/>
            <p:cNvCxnSpPr>
              <a:stCxn id="51" idx="1"/>
              <a:endCxn id="53" idx="0"/>
            </p:cNvCxnSpPr>
            <p:nvPr/>
          </p:nvCxnSpPr>
          <p:spPr bwMode="auto">
            <a:xfrm rot="10800000" flipV="1">
              <a:off x="4245364" y="5034989"/>
              <a:ext cx="215796" cy="326866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61" name="직선 화살표 연결선 60"/>
            <p:cNvCxnSpPr>
              <a:stCxn id="46" idx="2"/>
              <a:endCxn id="50" idx="0"/>
            </p:cNvCxnSpPr>
            <p:nvPr/>
          </p:nvCxnSpPr>
          <p:spPr bwMode="auto">
            <a:xfrm>
              <a:off x="3728501" y="2957081"/>
              <a:ext cx="0" cy="192064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grpSp>
          <p:nvGrpSpPr>
            <p:cNvPr id="64" name="그룹 63"/>
            <p:cNvGrpSpPr/>
            <p:nvPr/>
          </p:nvGrpSpPr>
          <p:grpSpPr>
            <a:xfrm>
              <a:off x="3510471" y="3311124"/>
              <a:ext cx="433118" cy="264121"/>
              <a:chOff x="4353568" y="2924944"/>
              <a:chExt cx="1031480" cy="648072"/>
            </a:xfrm>
          </p:grpSpPr>
          <p:sp>
            <p:nvSpPr>
              <p:cNvPr id="65" name="직사각형 64"/>
              <p:cNvSpPr/>
              <p:nvPr/>
            </p:nvSpPr>
            <p:spPr bwMode="auto">
              <a:xfrm>
                <a:off x="4353568" y="2924944"/>
                <a:ext cx="1031480" cy="64807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6" name="직사각형 65"/>
              <p:cNvSpPr/>
              <p:nvPr/>
            </p:nvSpPr>
            <p:spPr bwMode="auto">
              <a:xfrm>
                <a:off x="4353568" y="3023567"/>
                <a:ext cx="1031480" cy="45393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7" name="직사각형 66"/>
              <p:cNvSpPr/>
              <p:nvPr/>
            </p:nvSpPr>
            <p:spPr bwMode="auto">
              <a:xfrm>
                <a:off x="4353568" y="3142770"/>
                <a:ext cx="1031480" cy="129514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pic>
          <p:nvPicPr>
            <p:cNvPr id="68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5693" y="3929287"/>
              <a:ext cx="420151" cy="390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9" name="꺾인 연결선 68"/>
            <p:cNvCxnSpPr>
              <a:stCxn id="68" idx="3"/>
              <a:endCxn id="47" idx="1"/>
            </p:cNvCxnSpPr>
            <p:nvPr/>
          </p:nvCxnSpPr>
          <p:spPr bwMode="auto">
            <a:xfrm flipV="1">
              <a:off x="3965845" y="2799813"/>
              <a:ext cx="495316" cy="1324475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grpSp>
          <p:nvGrpSpPr>
            <p:cNvPr id="74" name="그룹 73"/>
            <p:cNvGrpSpPr/>
            <p:nvPr/>
          </p:nvGrpSpPr>
          <p:grpSpPr>
            <a:xfrm>
              <a:off x="5499474" y="3311124"/>
              <a:ext cx="433118" cy="264121"/>
              <a:chOff x="4353568" y="2924944"/>
              <a:chExt cx="1031480" cy="648072"/>
            </a:xfrm>
          </p:grpSpPr>
          <p:sp>
            <p:nvSpPr>
              <p:cNvPr id="75" name="직사각형 74"/>
              <p:cNvSpPr/>
              <p:nvPr/>
            </p:nvSpPr>
            <p:spPr bwMode="auto">
              <a:xfrm>
                <a:off x="4353568" y="2924944"/>
                <a:ext cx="1031480" cy="64807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6" name="직사각형 75"/>
              <p:cNvSpPr/>
              <p:nvPr/>
            </p:nvSpPr>
            <p:spPr bwMode="auto">
              <a:xfrm>
                <a:off x="4353568" y="3023567"/>
                <a:ext cx="1031480" cy="45393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7" name="직사각형 76"/>
              <p:cNvSpPr/>
              <p:nvPr/>
            </p:nvSpPr>
            <p:spPr bwMode="auto">
              <a:xfrm>
                <a:off x="4353568" y="3142770"/>
                <a:ext cx="1031480" cy="129514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pic>
          <p:nvPicPr>
            <p:cNvPr id="78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5957" y="3929287"/>
              <a:ext cx="420151" cy="390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2" name="직선 화살표 연결선 81"/>
            <p:cNvCxnSpPr>
              <a:stCxn id="78" idx="2"/>
              <a:endCxn id="54" idx="0"/>
            </p:cNvCxnSpPr>
            <p:nvPr/>
          </p:nvCxnSpPr>
          <p:spPr bwMode="auto">
            <a:xfrm flipH="1">
              <a:off x="5716033" y="4319289"/>
              <a:ext cx="1" cy="152695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5" name="직선 화살표 연결선 84"/>
            <p:cNvCxnSpPr>
              <a:stCxn id="47" idx="2"/>
              <a:endCxn id="51" idx="0"/>
            </p:cNvCxnSpPr>
            <p:nvPr/>
          </p:nvCxnSpPr>
          <p:spPr bwMode="auto">
            <a:xfrm>
              <a:off x="4789197" y="2957081"/>
              <a:ext cx="0" cy="192064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8" name="직선 화살표 연결선 87"/>
            <p:cNvCxnSpPr/>
            <p:nvPr/>
          </p:nvCxnSpPr>
          <p:spPr bwMode="auto">
            <a:xfrm rot="5400000">
              <a:off x="2507245" y="3175717"/>
              <a:ext cx="1" cy="181017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9" name="직선 화살표 연결선 88"/>
            <p:cNvCxnSpPr/>
            <p:nvPr/>
          </p:nvCxnSpPr>
          <p:spPr bwMode="auto">
            <a:xfrm rot="16200000">
              <a:off x="2507245" y="3261148"/>
              <a:ext cx="1" cy="181017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91" name="직사각형 90"/>
            <p:cNvSpPr/>
            <p:nvPr/>
          </p:nvSpPr>
          <p:spPr bwMode="auto">
            <a:xfrm>
              <a:off x="2070628" y="3880758"/>
              <a:ext cx="873234" cy="17754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대행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1844821" y="4192296"/>
              <a:ext cx="1324848" cy="19530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대행 수수료 지급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타원 92"/>
            <p:cNvSpPr/>
            <p:nvPr/>
          </p:nvSpPr>
          <p:spPr bwMode="auto">
            <a:xfrm>
              <a:off x="4009317" y="3504289"/>
              <a:ext cx="492918" cy="506566"/>
            </a:xfrm>
            <a:prstGeom prst="ellipse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36000" rIns="18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</a:t>
              </a: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향 신청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1575078" y="4470154"/>
              <a:ext cx="770502" cy="19530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점</a:t>
              </a: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귀속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1585285" y="3345054"/>
              <a:ext cx="370337" cy="21483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2997537" y="3345054"/>
              <a:ext cx="483206" cy="21483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987942" y="4317025"/>
              <a:ext cx="728897" cy="16140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일산농축협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3365841" y="4317025"/>
              <a:ext cx="728897" cy="16140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파주농축협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5351584" y="4317025"/>
              <a:ext cx="728897" cy="16140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일산농축협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타원 103"/>
            <p:cNvSpPr/>
            <p:nvPr/>
          </p:nvSpPr>
          <p:spPr bwMode="auto">
            <a:xfrm>
              <a:off x="5469572" y="5108572"/>
              <a:ext cx="492918" cy="506566"/>
            </a:xfrm>
            <a:prstGeom prst="ellipse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36000" rIns="18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</a:t>
              </a: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921467" y="2486664"/>
              <a:ext cx="4256453" cy="2233788"/>
            </a:xfrm>
            <a:prstGeom prst="rect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6" name="직사각형 105"/>
            <p:cNvSpPr/>
            <p:nvPr/>
          </p:nvSpPr>
          <p:spPr bwMode="auto">
            <a:xfrm>
              <a:off x="921467" y="4791021"/>
              <a:ext cx="4256453" cy="974013"/>
            </a:xfrm>
            <a:prstGeom prst="rect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5256074" y="2493273"/>
              <a:ext cx="926328" cy="3736707"/>
            </a:xfrm>
            <a:prstGeom prst="rect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778893" y="2321949"/>
              <a:ext cx="249505" cy="24216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18000" rIns="18000" anchor="ctr"/>
            <a:lstStyle/>
            <a:p>
              <a:pPr algn="ctr" eaLnBrk="0" hangingPunct="0"/>
              <a:r>
                <a:rPr lang="en-US" altLang="ko-KR" sz="14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5117234" y="2321949"/>
              <a:ext cx="249505" cy="24216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18000" rIns="18000" anchor="ctr"/>
            <a:lstStyle/>
            <a:p>
              <a:pPr algn="ctr" eaLnBrk="0" hangingPunct="0"/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778893" y="4635359"/>
              <a:ext cx="249505" cy="24216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18000" rIns="18000" anchor="ctr"/>
            <a:lstStyle/>
            <a:p>
              <a:pPr algn="ctr" eaLnBrk="0" hangingPunct="0"/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1" name="직사각형 110"/>
          <p:cNvSpPr/>
          <p:nvPr/>
        </p:nvSpPr>
        <p:spPr bwMode="auto">
          <a:xfrm>
            <a:off x="6623252" y="2438888"/>
            <a:ext cx="252000" cy="25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6938822" y="2420888"/>
            <a:ext cx="267617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eaLnBrk="0" hangingPunct="0"/>
            <a:r>
              <a:rPr lang="ko-KR" altLang="en-US" sz="120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</a:t>
            </a:r>
            <a:r>
              <a:rPr lang="ko-KR" altLang="en-US" sz="12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20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점</a:t>
            </a:r>
            <a:r>
              <a:rPr lang="ko-KR" altLang="en-US" sz="12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귀속</a:t>
            </a:r>
            <a:endParaRPr lang="ko-KR" altLang="en-US" sz="12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6938822" y="2708920"/>
            <a:ext cx="2676178" cy="15530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 브랜드 상관 없이 최초 </a:t>
            </a:r>
            <a:r>
              <a:rPr lang="ko-KR" altLang="en-US" sz="12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발행점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2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점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귀속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타 지점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이용 시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(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신청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처리 등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대행에 따른 수수료 지급 체계 수립</a:t>
            </a:r>
            <a:endParaRPr lang="en-US" altLang="ko-KR" sz="1200" b="0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단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한도상향 신청은 타 지점에서 신청은 가능하나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점에서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업무 처리하게 관리프로세스 개선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6623252" y="4395914"/>
            <a:ext cx="252000" cy="25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6938822" y="4377914"/>
            <a:ext cx="267617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eaLnBrk="0" hangingPunct="0"/>
            <a:r>
              <a:rPr lang="ko-KR" altLang="en-US" sz="12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한도관리 방안</a:t>
            </a:r>
            <a:endParaRPr lang="ko-KR" altLang="en-US" sz="12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938822" y="4665946"/>
            <a:ext cx="2676178" cy="3676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통합한도 적용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6623252" y="5167539"/>
            <a:ext cx="252000" cy="252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6938822" y="5149539"/>
            <a:ext cx="267617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eaLnBrk="0" hangingPunct="0"/>
            <a:r>
              <a:rPr lang="ko-KR" altLang="en-US" sz="120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권관리 방안</a:t>
            </a:r>
            <a:endParaRPr lang="ko-KR" altLang="en-US" sz="12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6938822" y="5437571"/>
            <a:ext cx="2676178" cy="3676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8000" rIns="18000" anchor="t"/>
          <a:lstStyle/>
          <a:p>
            <a:pPr marL="88900" indent="-88900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귀속점</a:t>
            </a:r>
            <a:r>
              <a:rPr lang="ko-KR" altLang="en-US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관리체계 변경 및 일원화에 따른 이슈 해결</a:t>
            </a:r>
            <a:endParaRPr lang="ko-KR" altLang="en-US" sz="12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Rectangle 30"/>
          <p:cNvSpPr/>
          <p:nvPr/>
        </p:nvSpPr>
        <p:spPr bwMode="gray">
          <a:xfrm>
            <a:off x="291000" y="1916832"/>
            <a:ext cx="6030152" cy="30175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latinLnBrk="0" hangingPunct="0"/>
            <a:r>
              <a:rPr lang="ko-KR" altLang="en-US" sz="1400" kern="0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한도</a:t>
            </a: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권관리 절차</a:t>
            </a:r>
          </a:p>
        </p:txBody>
      </p:sp>
      <p:grpSp>
        <p:nvGrpSpPr>
          <p:cNvPr id="129" name="그룹 128"/>
          <p:cNvGrpSpPr/>
          <p:nvPr/>
        </p:nvGrpSpPr>
        <p:grpSpPr>
          <a:xfrm>
            <a:off x="6549544" y="1916190"/>
            <a:ext cx="3099319" cy="302400"/>
            <a:chOff x="5405153" y="1916190"/>
            <a:chExt cx="4084351" cy="302400"/>
          </a:xfrm>
        </p:grpSpPr>
        <p:sp>
          <p:nvSpPr>
            <p:cNvPr id="130" name="직사각형 129"/>
            <p:cNvSpPr/>
            <p:nvPr/>
          </p:nvSpPr>
          <p:spPr bwMode="auto">
            <a:xfrm>
              <a:off x="5791864" y="1916190"/>
              <a:ext cx="3310926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축협</a:t>
              </a: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한도</a:t>
              </a:r>
              <a:r>
                <a:rPr kumimoji="1" lang="en-US" altLang="ko-KR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 요건</a:t>
              </a:r>
            </a:p>
          </p:txBody>
        </p:sp>
        <p:cxnSp>
          <p:nvCxnSpPr>
            <p:cNvPr id="131" name="직선 연결선 130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35" name="그룹 13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9973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심사 </a:t>
            </a:r>
            <a:r>
              <a:rPr lang="ko-KR" altLang="en-US" dirty="0"/>
              <a:t>및 신용정보 활용 </a:t>
            </a:r>
            <a:r>
              <a:rPr lang="ko-KR" altLang="en-US" dirty="0" smtClean="0"/>
              <a:t>자동화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본부 심사업무를 </a:t>
            </a:r>
            <a:r>
              <a:rPr lang="ko-KR" altLang="en-US" dirty="0" smtClean="0"/>
              <a:t>자동화하고 </a:t>
            </a:r>
            <a:r>
              <a:rPr lang="ko-KR" altLang="en-US" dirty="0"/>
              <a:t>대내외 신용정보의 즉시 활용을 강화함으로써 심사업무 </a:t>
            </a:r>
            <a:r>
              <a:rPr lang="ko-KR" altLang="en-US" dirty="0" smtClean="0"/>
              <a:t>효율성을 </a:t>
            </a:r>
            <a:r>
              <a:rPr lang="ko-KR" altLang="en-US" dirty="0"/>
              <a:t>제고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본부 심사 업무 전산화를 통한 자동화 구현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심사서류 이미지 전산화 처리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내외 신용정보 적시 연계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 여신관리 시스템과 카드 신용정보 연계방안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BPR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미도입점에 대한 별도 프로세스 검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420688" y="5726222"/>
            <a:ext cx="4244280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심사서류를 통한 엑셀 수작업 심사로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Lead Tim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발생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및 심사이력관리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내외 신용정보 즉시 활용 미흡</a:t>
            </a:r>
          </a:p>
        </p:txBody>
      </p:sp>
      <p:sp>
        <p:nvSpPr>
          <p:cNvPr id="269" name="TextBox 268"/>
          <p:cNvSpPr txBox="1"/>
          <p:nvPr/>
        </p:nvSpPr>
        <p:spPr bwMode="auto">
          <a:xfrm>
            <a:off x="5365588" y="5813212"/>
            <a:ext cx="4195924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전산 심사와 이미지 처리로 업무 효율성 제고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전산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심사 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내외 신용정보 즉시 활용 가능</a:t>
            </a:r>
          </a:p>
        </p:txBody>
      </p:sp>
      <p:grpSp>
        <p:nvGrpSpPr>
          <p:cNvPr id="342" name="그룹 341"/>
          <p:cNvGrpSpPr/>
          <p:nvPr/>
        </p:nvGrpSpPr>
        <p:grpSpPr>
          <a:xfrm>
            <a:off x="430564" y="3301549"/>
            <a:ext cx="4192745" cy="2448272"/>
            <a:chOff x="602796" y="3308583"/>
            <a:chExt cx="4192745" cy="2448272"/>
          </a:xfrm>
        </p:grpSpPr>
        <p:sp>
          <p:nvSpPr>
            <p:cNvPr id="343" name="TextBox 342"/>
            <p:cNvSpPr txBox="1"/>
            <p:nvPr/>
          </p:nvSpPr>
          <p:spPr bwMode="auto">
            <a:xfrm>
              <a:off x="602796" y="3308583"/>
              <a:ext cx="65099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</a:p>
          </p:txBody>
        </p:sp>
        <p:sp>
          <p:nvSpPr>
            <p:cNvPr id="344" name="TextBox 343"/>
            <p:cNvSpPr txBox="1"/>
            <p:nvPr/>
          </p:nvSpPr>
          <p:spPr bwMode="auto">
            <a:xfrm>
              <a:off x="1420228" y="3766444"/>
              <a:ext cx="625028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자동심사</a:t>
              </a:r>
            </a:p>
          </p:txBody>
        </p:sp>
        <p:cxnSp>
          <p:nvCxnSpPr>
            <p:cNvPr id="345" name="직선 화살표 연결선 344"/>
            <p:cNvCxnSpPr>
              <a:stCxn id="344" idx="3"/>
              <a:endCxn id="360" idx="1"/>
            </p:cNvCxnSpPr>
            <p:nvPr/>
          </p:nvCxnSpPr>
          <p:spPr bwMode="auto">
            <a:xfrm flipV="1">
              <a:off x="2045256" y="3862331"/>
              <a:ext cx="256886" cy="202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46" name="TextBox 345"/>
            <p:cNvSpPr txBox="1"/>
            <p:nvPr/>
          </p:nvSpPr>
          <p:spPr bwMode="auto">
            <a:xfrm>
              <a:off x="628767" y="3766444"/>
              <a:ext cx="518181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카드신청</a:t>
              </a:r>
            </a:p>
          </p:txBody>
        </p:sp>
        <p:sp>
          <p:nvSpPr>
            <p:cNvPr id="347" name="TextBox 346"/>
            <p:cNvSpPr txBox="1"/>
            <p:nvPr/>
          </p:nvSpPr>
          <p:spPr bwMode="auto">
            <a:xfrm>
              <a:off x="1410052" y="3308583"/>
              <a:ext cx="65099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영업점</a:t>
              </a:r>
            </a:p>
          </p:txBody>
        </p:sp>
        <p:sp>
          <p:nvSpPr>
            <p:cNvPr id="348" name="TextBox 347"/>
            <p:cNvSpPr txBox="1"/>
            <p:nvPr/>
          </p:nvSpPr>
          <p:spPr bwMode="auto">
            <a:xfrm>
              <a:off x="2275157" y="3308583"/>
              <a:ext cx="72911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심사실</a:t>
              </a:r>
              <a:endPara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49" name="TextBox 348"/>
            <p:cNvSpPr txBox="1"/>
            <p:nvPr/>
          </p:nvSpPr>
          <p:spPr bwMode="auto">
            <a:xfrm>
              <a:off x="3160154" y="3308583"/>
              <a:ext cx="72911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시스템</a:t>
              </a:r>
            </a:p>
          </p:txBody>
        </p:sp>
        <p:sp>
          <p:nvSpPr>
            <p:cNvPr id="350" name="TextBox 349"/>
            <p:cNvSpPr txBox="1"/>
            <p:nvPr/>
          </p:nvSpPr>
          <p:spPr bwMode="auto">
            <a:xfrm>
              <a:off x="4066422" y="3308583"/>
              <a:ext cx="729119" cy="1958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내외</a:t>
              </a: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*</a:t>
              </a: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신용정보</a:t>
              </a:r>
            </a:p>
          </p:txBody>
        </p:sp>
        <p:sp>
          <p:nvSpPr>
            <p:cNvPr id="351" name="TextBox 350"/>
            <p:cNvSpPr txBox="1"/>
            <p:nvPr/>
          </p:nvSpPr>
          <p:spPr bwMode="auto">
            <a:xfrm>
              <a:off x="2250387" y="4264349"/>
              <a:ext cx="729200" cy="211203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엑셀 </a:t>
              </a:r>
              <a:r>
                <a:rPr lang="ko-KR" altLang="en-US" sz="9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심사표</a:t>
              </a:r>
              <a:endParaRPr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52" name="TextBox 351"/>
            <p:cNvSpPr txBox="1"/>
            <p:nvPr/>
          </p:nvSpPr>
          <p:spPr bwMode="auto">
            <a:xfrm>
              <a:off x="3207612" y="5035946"/>
              <a:ext cx="729200" cy="31892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결과</a:t>
              </a: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등록</a:t>
              </a:r>
            </a:p>
          </p:txBody>
        </p:sp>
        <p:cxnSp>
          <p:nvCxnSpPr>
            <p:cNvPr id="353" name="직선 화살표 연결선 15"/>
            <p:cNvCxnSpPr>
              <a:stCxn id="364" idx="2"/>
              <a:endCxn id="352" idx="1"/>
            </p:cNvCxnSpPr>
            <p:nvPr/>
          </p:nvCxnSpPr>
          <p:spPr bwMode="auto">
            <a:xfrm rot="16200000" flipH="1">
              <a:off x="2851605" y="4839401"/>
              <a:ext cx="122600" cy="589413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354" name="직선 화살표 연결선 353"/>
            <p:cNvCxnSpPr>
              <a:stCxn id="346" idx="3"/>
              <a:endCxn id="344" idx="1"/>
            </p:cNvCxnSpPr>
            <p:nvPr/>
          </p:nvCxnSpPr>
          <p:spPr bwMode="auto">
            <a:xfrm>
              <a:off x="1146948" y="3864351"/>
              <a:ext cx="273280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55" name="원통형 354"/>
            <p:cNvSpPr/>
            <p:nvPr/>
          </p:nvSpPr>
          <p:spPr bwMode="auto">
            <a:xfrm>
              <a:off x="3238708" y="4110002"/>
              <a:ext cx="554717" cy="372466"/>
            </a:xfrm>
            <a:prstGeom prst="can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정보</a:t>
              </a:r>
            </a:p>
          </p:txBody>
        </p:sp>
        <p:sp>
          <p:nvSpPr>
            <p:cNvPr id="356" name="TextBox 355"/>
            <p:cNvSpPr txBox="1"/>
            <p:nvPr/>
          </p:nvSpPr>
          <p:spPr bwMode="auto">
            <a:xfrm>
              <a:off x="4225355" y="3969522"/>
              <a:ext cx="518181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나이스</a:t>
              </a:r>
              <a:endPara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57" name="직선 화살표 연결선 27"/>
            <p:cNvCxnSpPr>
              <a:stCxn id="356" idx="1"/>
              <a:endCxn id="355" idx="4"/>
            </p:cNvCxnSpPr>
            <p:nvPr/>
          </p:nvCxnSpPr>
          <p:spPr bwMode="auto">
            <a:xfrm rot="10800000" flipV="1">
              <a:off x="3793425" y="4067429"/>
              <a:ext cx="431930" cy="22880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358" name="TextBox 357"/>
            <p:cNvSpPr txBox="1"/>
            <p:nvPr/>
          </p:nvSpPr>
          <p:spPr bwMode="auto">
            <a:xfrm>
              <a:off x="4225354" y="4271300"/>
              <a:ext cx="518181" cy="31892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여신관리 시스템</a:t>
              </a:r>
            </a:p>
          </p:txBody>
        </p:sp>
        <p:cxnSp>
          <p:nvCxnSpPr>
            <p:cNvPr id="359" name="직선 화살표 연결선 31"/>
            <p:cNvCxnSpPr>
              <a:stCxn id="358" idx="1"/>
              <a:endCxn id="355" idx="4"/>
            </p:cNvCxnSpPr>
            <p:nvPr/>
          </p:nvCxnSpPr>
          <p:spPr bwMode="auto">
            <a:xfrm rot="10800000">
              <a:off x="3793426" y="4296236"/>
              <a:ext cx="431929" cy="13452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360" name="TextBox 359"/>
            <p:cNvSpPr txBox="1"/>
            <p:nvPr/>
          </p:nvSpPr>
          <p:spPr bwMode="auto">
            <a:xfrm>
              <a:off x="2302142" y="3764424"/>
              <a:ext cx="625028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서류</a:t>
              </a:r>
            </a:p>
          </p:txBody>
        </p:sp>
        <p:cxnSp>
          <p:nvCxnSpPr>
            <p:cNvPr id="361" name="직선 화살표 연결선 360"/>
            <p:cNvCxnSpPr>
              <a:stCxn id="360" idx="2"/>
              <a:endCxn id="351" idx="0"/>
            </p:cNvCxnSpPr>
            <p:nvPr/>
          </p:nvCxnSpPr>
          <p:spPr bwMode="auto">
            <a:xfrm>
              <a:off x="2614656" y="3960238"/>
              <a:ext cx="331" cy="30411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62" name="TextBox 361"/>
            <p:cNvSpPr txBox="1"/>
            <p:nvPr/>
          </p:nvSpPr>
          <p:spPr bwMode="auto">
            <a:xfrm>
              <a:off x="2278628" y="3975539"/>
              <a:ext cx="277309" cy="1688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팩스</a:t>
              </a:r>
            </a:p>
          </p:txBody>
        </p:sp>
        <p:sp>
          <p:nvSpPr>
            <p:cNvPr id="363" name="TextBox 362"/>
            <p:cNvSpPr txBox="1"/>
            <p:nvPr/>
          </p:nvSpPr>
          <p:spPr bwMode="auto">
            <a:xfrm>
              <a:off x="3207612" y="5414713"/>
              <a:ext cx="729200" cy="31892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서류 이미지등록</a:t>
              </a:r>
            </a:p>
          </p:txBody>
        </p:sp>
        <p:sp>
          <p:nvSpPr>
            <p:cNvPr id="364" name="TextBox 363"/>
            <p:cNvSpPr txBox="1"/>
            <p:nvPr/>
          </p:nvSpPr>
          <p:spPr bwMode="auto">
            <a:xfrm>
              <a:off x="2253599" y="4723105"/>
              <a:ext cx="729200" cy="34970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수기심사</a:t>
              </a:r>
              <a:r>
                <a:rPr lang="en-US" altLang="ko-KR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완료</a:t>
              </a:r>
            </a:p>
          </p:txBody>
        </p:sp>
        <p:cxnSp>
          <p:nvCxnSpPr>
            <p:cNvPr id="365" name="직선 화살표 연결선 49"/>
            <p:cNvCxnSpPr>
              <a:stCxn id="364" idx="2"/>
              <a:endCxn id="363" idx="1"/>
            </p:cNvCxnSpPr>
            <p:nvPr/>
          </p:nvCxnSpPr>
          <p:spPr bwMode="auto">
            <a:xfrm rot="16200000" flipH="1">
              <a:off x="2662221" y="5028784"/>
              <a:ext cx="501368" cy="589413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66" name="TextBox 365"/>
            <p:cNvSpPr txBox="1"/>
            <p:nvPr/>
          </p:nvSpPr>
          <p:spPr bwMode="auto">
            <a:xfrm>
              <a:off x="3738808" y="3766444"/>
              <a:ext cx="541164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자동제공</a:t>
              </a:r>
              <a:r>
                <a:rPr lang="en-US" altLang="ko-KR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</a:br>
              <a:r>
                <a:rPr lang="ko-KR" altLang="en-US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안됨</a:t>
              </a:r>
            </a:p>
          </p:txBody>
        </p:sp>
        <p:cxnSp>
          <p:nvCxnSpPr>
            <p:cNvPr id="367" name="직선 화살표 연결선 55"/>
            <p:cNvCxnSpPr>
              <a:stCxn id="364" idx="3"/>
              <a:endCxn id="355" idx="2"/>
            </p:cNvCxnSpPr>
            <p:nvPr/>
          </p:nvCxnSpPr>
          <p:spPr bwMode="auto">
            <a:xfrm flipV="1">
              <a:off x="2982799" y="4296235"/>
              <a:ext cx="255909" cy="60172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368" name="직선 화살표 연결선 367"/>
            <p:cNvCxnSpPr>
              <a:stCxn id="351" idx="2"/>
              <a:endCxn id="364" idx="0"/>
            </p:cNvCxnSpPr>
            <p:nvPr/>
          </p:nvCxnSpPr>
          <p:spPr bwMode="auto">
            <a:xfrm>
              <a:off x="2614987" y="4475552"/>
              <a:ext cx="3212" cy="24755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69" name="TextBox 368"/>
            <p:cNvSpPr txBox="1"/>
            <p:nvPr/>
          </p:nvSpPr>
          <p:spPr bwMode="auto">
            <a:xfrm>
              <a:off x="3060308" y="4570450"/>
              <a:ext cx="511904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적시활용</a:t>
              </a:r>
              <a:r>
                <a:rPr lang="en-US" altLang="ko-KR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</a:br>
              <a:r>
                <a:rPr lang="ko-KR" altLang="en-US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미흡</a:t>
              </a:r>
            </a:p>
          </p:txBody>
        </p:sp>
        <p:sp>
          <p:nvSpPr>
            <p:cNvPr id="370" name="TextBox 369"/>
            <p:cNvSpPr txBox="1"/>
            <p:nvPr/>
          </p:nvSpPr>
          <p:spPr bwMode="auto">
            <a:xfrm>
              <a:off x="1576244" y="3996034"/>
              <a:ext cx="280517" cy="1958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탈락</a:t>
              </a:r>
            </a:p>
          </p:txBody>
        </p:sp>
        <p:cxnSp>
          <p:nvCxnSpPr>
            <p:cNvPr id="371" name="직선 연결선 370"/>
            <p:cNvCxnSpPr/>
            <p:nvPr/>
          </p:nvCxnSpPr>
          <p:spPr bwMode="auto">
            <a:xfrm>
              <a:off x="1331320" y="3503925"/>
              <a:ext cx="0" cy="222568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72" name="직선 연결선 371"/>
            <p:cNvCxnSpPr/>
            <p:nvPr/>
          </p:nvCxnSpPr>
          <p:spPr bwMode="auto">
            <a:xfrm>
              <a:off x="2160810" y="3513008"/>
              <a:ext cx="0" cy="222568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73" name="직선 연결선 372"/>
            <p:cNvCxnSpPr/>
            <p:nvPr/>
          </p:nvCxnSpPr>
          <p:spPr bwMode="auto">
            <a:xfrm>
              <a:off x="3078001" y="3522090"/>
              <a:ext cx="0" cy="222568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74" name="직선 연결선 373"/>
            <p:cNvCxnSpPr/>
            <p:nvPr/>
          </p:nvCxnSpPr>
          <p:spPr bwMode="auto">
            <a:xfrm>
              <a:off x="3985016" y="3531172"/>
              <a:ext cx="0" cy="222568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375" name="TextBox 374"/>
            <p:cNvSpPr txBox="1"/>
            <p:nvPr/>
          </p:nvSpPr>
          <p:spPr bwMode="auto">
            <a:xfrm>
              <a:off x="1867899" y="3553170"/>
              <a:ext cx="746538" cy="19581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본부심사 요청</a:t>
              </a:r>
            </a:p>
          </p:txBody>
        </p:sp>
      </p:grpSp>
      <p:grpSp>
        <p:nvGrpSpPr>
          <p:cNvPr id="376" name="그룹 375"/>
          <p:cNvGrpSpPr/>
          <p:nvPr/>
        </p:nvGrpSpPr>
        <p:grpSpPr>
          <a:xfrm>
            <a:off x="5296759" y="3306086"/>
            <a:ext cx="4192745" cy="2205629"/>
            <a:chOff x="5296759" y="3306086"/>
            <a:chExt cx="4192745" cy="2205629"/>
          </a:xfrm>
        </p:grpSpPr>
        <p:sp>
          <p:nvSpPr>
            <p:cNvPr id="377" name="TextBox 376"/>
            <p:cNvSpPr txBox="1"/>
            <p:nvPr/>
          </p:nvSpPr>
          <p:spPr bwMode="auto">
            <a:xfrm>
              <a:off x="5296759" y="3306086"/>
              <a:ext cx="65099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</a:p>
          </p:txBody>
        </p:sp>
        <p:sp>
          <p:nvSpPr>
            <p:cNvPr id="378" name="TextBox 377"/>
            <p:cNvSpPr txBox="1"/>
            <p:nvPr/>
          </p:nvSpPr>
          <p:spPr bwMode="auto">
            <a:xfrm>
              <a:off x="6114191" y="3775815"/>
              <a:ext cx="625028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자동심사</a:t>
              </a:r>
            </a:p>
          </p:txBody>
        </p:sp>
        <p:cxnSp>
          <p:nvCxnSpPr>
            <p:cNvPr id="379" name="직선 화살표 연결선 378"/>
            <p:cNvCxnSpPr>
              <a:stCxn id="378" idx="3"/>
              <a:endCxn id="392" idx="1"/>
            </p:cNvCxnSpPr>
            <p:nvPr/>
          </p:nvCxnSpPr>
          <p:spPr bwMode="auto">
            <a:xfrm flipV="1">
              <a:off x="6739219" y="3871338"/>
              <a:ext cx="1166109" cy="238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80" name="TextBox 379"/>
            <p:cNvSpPr txBox="1"/>
            <p:nvPr/>
          </p:nvSpPr>
          <p:spPr bwMode="auto">
            <a:xfrm>
              <a:off x="5322730" y="3775815"/>
              <a:ext cx="518181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카드신청</a:t>
              </a:r>
            </a:p>
          </p:txBody>
        </p:sp>
        <p:sp>
          <p:nvSpPr>
            <p:cNvPr id="381" name="TextBox 380"/>
            <p:cNvSpPr txBox="1"/>
            <p:nvPr/>
          </p:nvSpPr>
          <p:spPr bwMode="auto">
            <a:xfrm>
              <a:off x="6104015" y="3306086"/>
              <a:ext cx="65099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영업점</a:t>
              </a:r>
            </a:p>
          </p:txBody>
        </p:sp>
        <p:sp>
          <p:nvSpPr>
            <p:cNvPr id="382" name="TextBox 381"/>
            <p:cNvSpPr txBox="1"/>
            <p:nvPr/>
          </p:nvSpPr>
          <p:spPr bwMode="auto">
            <a:xfrm>
              <a:off x="6969120" y="3306086"/>
              <a:ext cx="72911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심사실</a:t>
              </a:r>
              <a:endPara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83" name="TextBox 382"/>
            <p:cNvSpPr txBox="1"/>
            <p:nvPr/>
          </p:nvSpPr>
          <p:spPr bwMode="auto">
            <a:xfrm>
              <a:off x="7854117" y="3306086"/>
              <a:ext cx="729119" cy="1953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시스템</a:t>
              </a:r>
            </a:p>
          </p:txBody>
        </p:sp>
        <p:sp>
          <p:nvSpPr>
            <p:cNvPr id="384" name="TextBox 383"/>
            <p:cNvSpPr txBox="1"/>
            <p:nvPr/>
          </p:nvSpPr>
          <p:spPr bwMode="auto">
            <a:xfrm>
              <a:off x="8760385" y="3306086"/>
              <a:ext cx="729119" cy="1958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내외</a:t>
              </a: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*</a:t>
              </a: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신용정보</a:t>
              </a:r>
            </a:p>
          </p:txBody>
        </p:sp>
        <p:sp>
          <p:nvSpPr>
            <p:cNvPr id="385" name="TextBox 384"/>
            <p:cNvSpPr txBox="1"/>
            <p:nvPr/>
          </p:nvSpPr>
          <p:spPr bwMode="auto">
            <a:xfrm>
              <a:off x="7854036" y="4183718"/>
              <a:ext cx="729200" cy="211203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심사표</a:t>
              </a: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생성</a:t>
              </a:r>
            </a:p>
          </p:txBody>
        </p:sp>
        <p:cxnSp>
          <p:nvCxnSpPr>
            <p:cNvPr id="386" name="직선 화살표 연결선 385"/>
            <p:cNvCxnSpPr>
              <a:stCxn id="380" idx="3"/>
              <a:endCxn id="378" idx="1"/>
            </p:cNvCxnSpPr>
            <p:nvPr/>
          </p:nvCxnSpPr>
          <p:spPr bwMode="auto">
            <a:xfrm>
              <a:off x="5840911" y="3873722"/>
              <a:ext cx="273280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87" name="원통형 386"/>
            <p:cNvSpPr/>
            <p:nvPr/>
          </p:nvSpPr>
          <p:spPr bwMode="auto">
            <a:xfrm>
              <a:off x="7932671" y="4529488"/>
              <a:ext cx="554717" cy="372466"/>
            </a:xfrm>
            <a:prstGeom prst="can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정보</a:t>
              </a:r>
            </a:p>
          </p:txBody>
        </p:sp>
        <p:sp>
          <p:nvSpPr>
            <p:cNvPr id="388" name="TextBox 387"/>
            <p:cNvSpPr txBox="1"/>
            <p:nvPr/>
          </p:nvSpPr>
          <p:spPr bwMode="auto">
            <a:xfrm>
              <a:off x="8971323" y="4431875"/>
              <a:ext cx="518181" cy="19581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나이스</a:t>
              </a:r>
              <a:endPara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89" name="직선 화살표 연결선 27"/>
            <p:cNvCxnSpPr>
              <a:stCxn id="388" idx="1"/>
              <a:endCxn id="387" idx="4"/>
            </p:cNvCxnSpPr>
            <p:nvPr/>
          </p:nvCxnSpPr>
          <p:spPr bwMode="auto">
            <a:xfrm rot="10800000" flipV="1">
              <a:off x="8487389" y="4529781"/>
              <a:ext cx="483935" cy="18593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90" name="TextBox 389"/>
            <p:cNvSpPr txBox="1"/>
            <p:nvPr/>
          </p:nvSpPr>
          <p:spPr bwMode="auto">
            <a:xfrm>
              <a:off x="8971322" y="4733653"/>
              <a:ext cx="518181" cy="31892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여신관리 시스템</a:t>
              </a:r>
            </a:p>
          </p:txBody>
        </p:sp>
        <p:cxnSp>
          <p:nvCxnSpPr>
            <p:cNvPr id="391" name="직선 화살표 연결선 31"/>
            <p:cNvCxnSpPr>
              <a:stCxn id="390" idx="1"/>
              <a:endCxn id="387" idx="4"/>
            </p:cNvCxnSpPr>
            <p:nvPr/>
          </p:nvCxnSpPr>
          <p:spPr bwMode="auto">
            <a:xfrm rot="10800000">
              <a:off x="8487388" y="4715721"/>
              <a:ext cx="483934" cy="177394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92" name="TextBox 391"/>
            <p:cNvSpPr txBox="1"/>
            <p:nvPr/>
          </p:nvSpPr>
          <p:spPr bwMode="auto">
            <a:xfrm>
              <a:off x="7905328" y="3711876"/>
              <a:ext cx="625028" cy="318924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심사서류</a:t>
              </a: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이미지</a:t>
              </a:r>
            </a:p>
          </p:txBody>
        </p:sp>
        <p:cxnSp>
          <p:nvCxnSpPr>
            <p:cNvPr id="393" name="직선 화살표 연결선 392"/>
            <p:cNvCxnSpPr>
              <a:stCxn id="392" idx="2"/>
              <a:endCxn id="385" idx="0"/>
            </p:cNvCxnSpPr>
            <p:nvPr/>
          </p:nvCxnSpPr>
          <p:spPr bwMode="auto">
            <a:xfrm>
              <a:off x="8217842" y="4030800"/>
              <a:ext cx="794" cy="15291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94" name="TextBox 393"/>
            <p:cNvSpPr txBox="1"/>
            <p:nvPr/>
          </p:nvSpPr>
          <p:spPr bwMode="auto">
            <a:xfrm>
              <a:off x="7114437" y="3886160"/>
              <a:ext cx="277309" cy="1958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BPR</a:t>
              </a:r>
              <a:endPara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95" name="TextBox 394"/>
            <p:cNvSpPr txBox="1"/>
            <p:nvPr/>
          </p:nvSpPr>
          <p:spPr bwMode="auto">
            <a:xfrm>
              <a:off x="6925699" y="4608963"/>
              <a:ext cx="729200" cy="211203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전산심사</a:t>
              </a:r>
            </a:p>
          </p:txBody>
        </p:sp>
        <p:sp>
          <p:nvSpPr>
            <p:cNvPr id="396" name="TextBox 395"/>
            <p:cNvSpPr txBox="1"/>
            <p:nvPr/>
          </p:nvSpPr>
          <p:spPr bwMode="auto">
            <a:xfrm>
              <a:off x="7470498" y="4844135"/>
              <a:ext cx="541164" cy="1804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700" b="0" dirty="0">
                  <a:solidFill>
                    <a:schemeClr val="accent1">
                      <a:lumMod val="75000"/>
                    </a:schemeClr>
                  </a:solidFill>
                  <a:latin typeface="맑은 고딕"/>
                  <a:ea typeface="맑은 고딕"/>
                </a:rPr>
                <a:t>자동연계</a:t>
              </a:r>
            </a:p>
          </p:txBody>
        </p:sp>
        <p:cxnSp>
          <p:nvCxnSpPr>
            <p:cNvPr id="397" name="직선 화살표 연결선 55"/>
            <p:cNvCxnSpPr>
              <a:stCxn id="395" idx="3"/>
              <a:endCxn id="387" idx="2"/>
            </p:cNvCxnSpPr>
            <p:nvPr/>
          </p:nvCxnSpPr>
          <p:spPr bwMode="auto">
            <a:xfrm>
              <a:off x="7654899" y="4714565"/>
              <a:ext cx="277772" cy="115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398" name="직선 화살표 연결선 107"/>
            <p:cNvCxnSpPr>
              <a:stCxn id="385" idx="1"/>
              <a:endCxn id="395" idx="0"/>
            </p:cNvCxnSpPr>
            <p:nvPr/>
          </p:nvCxnSpPr>
          <p:spPr bwMode="auto">
            <a:xfrm rot="10800000" flipV="1">
              <a:off x="7290300" y="4289319"/>
              <a:ext cx="563737" cy="319643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99" name="TextBox 398"/>
            <p:cNvSpPr txBox="1"/>
            <p:nvPr/>
          </p:nvSpPr>
          <p:spPr bwMode="auto">
            <a:xfrm>
              <a:off x="8504433" y="4920261"/>
              <a:ext cx="511904" cy="1804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700" b="0" dirty="0">
                  <a:solidFill>
                    <a:schemeClr val="accent1">
                      <a:lumMod val="75000"/>
                    </a:schemeClr>
                  </a:solidFill>
                  <a:latin typeface="맑은 고딕"/>
                  <a:ea typeface="맑은 고딕"/>
                </a:rPr>
                <a:t>적시활용</a:t>
              </a:r>
            </a:p>
          </p:txBody>
        </p:sp>
        <p:sp>
          <p:nvSpPr>
            <p:cNvPr id="400" name="TextBox 399"/>
            <p:cNvSpPr txBox="1"/>
            <p:nvPr/>
          </p:nvSpPr>
          <p:spPr bwMode="auto">
            <a:xfrm>
              <a:off x="6270207" y="3967694"/>
              <a:ext cx="280517" cy="1804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700" b="0" dirty="0">
                  <a:solidFill>
                    <a:srgbClr val="FF0000"/>
                  </a:solidFill>
                  <a:latin typeface="맑은 고딕"/>
                  <a:ea typeface="맑은 고딕"/>
                </a:rPr>
                <a:t>탈락</a:t>
              </a:r>
            </a:p>
          </p:txBody>
        </p:sp>
        <p:cxnSp>
          <p:nvCxnSpPr>
            <p:cNvPr id="401" name="직선 연결선 400"/>
            <p:cNvCxnSpPr/>
            <p:nvPr/>
          </p:nvCxnSpPr>
          <p:spPr bwMode="auto">
            <a:xfrm>
              <a:off x="6025283" y="3501428"/>
              <a:ext cx="0" cy="1980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402" name="직선 연결선 401"/>
            <p:cNvCxnSpPr/>
            <p:nvPr/>
          </p:nvCxnSpPr>
          <p:spPr bwMode="auto">
            <a:xfrm>
              <a:off x="6854773" y="3510511"/>
              <a:ext cx="0" cy="1980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403" name="직선 연결선 402"/>
            <p:cNvCxnSpPr/>
            <p:nvPr/>
          </p:nvCxnSpPr>
          <p:spPr bwMode="auto">
            <a:xfrm>
              <a:off x="7771964" y="3519593"/>
              <a:ext cx="0" cy="1980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404" name="직선 연결선 403"/>
            <p:cNvCxnSpPr/>
            <p:nvPr/>
          </p:nvCxnSpPr>
          <p:spPr bwMode="auto">
            <a:xfrm>
              <a:off x="8678979" y="3528675"/>
              <a:ext cx="0" cy="1980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405" name="TextBox 404"/>
            <p:cNvSpPr txBox="1"/>
            <p:nvPr/>
          </p:nvSpPr>
          <p:spPr bwMode="auto">
            <a:xfrm>
              <a:off x="6973987" y="3627864"/>
              <a:ext cx="746538" cy="19581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본부심사 요청</a:t>
              </a:r>
            </a:p>
          </p:txBody>
        </p:sp>
        <p:sp>
          <p:nvSpPr>
            <p:cNvPr id="406" name="TextBox 405"/>
            <p:cNvSpPr txBox="1"/>
            <p:nvPr/>
          </p:nvSpPr>
          <p:spPr bwMode="auto">
            <a:xfrm>
              <a:off x="7862506" y="5162013"/>
              <a:ext cx="729200" cy="34970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심사표</a:t>
              </a:r>
              <a:r>
                <a:rPr lang="ko-KR" altLang="en-US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이력관리</a:t>
              </a:r>
            </a:p>
          </p:txBody>
        </p:sp>
        <p:sp>
          <p:nvSpPr>
            <p:cNvPr id="407" name="TextBox 406"/>
            <p:cNvSpPr txBox="1"/>
            <p:nvPr/>
          </p:nvSpPr>
          <p:spPr bwMode="auto">
            <a:xfrm>
              <a:off x="7329264" y="4116473"/>
              <a:ext cx="456288" cy="1958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800" b="0">
                  <a:solidFill>
                    <a:srgbClr val="000000"/>
                  </a:solidFill>
                  <a:latin typeface="맑은 고딕"/>
                  <a:ea typeface="맑은 고딕"/>
                </a:rPr>
                <a:t>이미지</a:t>
              </a:r>
              <a:endPara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08" name="직선 화살표 연결선 107"/>
            <p:cNvCxnSpPr>
              <a:stCxn id="395" idx="2"/>
              <a:endCxn id="406" idx="1"/>
            </p:cNvCxnSpPr>
            <p:nvPr/>
          </p:nvCxnSpPr>
          <p:spPr bwMode="auto">
            <a:xfrm rot="16200000" flipH="1">
              <a:off x="7318053" y="4792411"/>
              <a:ext cx="516698" cy="572207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grpSp>
        <p:nvGrpSpPr>
          <p:cNvPr id="110" name="그룹 10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9" name="그룹 11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69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심사 및 신용정보 활용 자동화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심사 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정보 즉시 활용을 위해 은행 신용정보 시스템과 연계하여 카드 신용정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구축하고 신용정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합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구축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용정보 연계 구성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51" name="그룹 150"/>
          <p:cNvGrpSpPr/>
          <p:nvPr/>
        </p:nvGrpSpPr>
        <p:grpSpPr>
          <a:xfrm>
            <a:off x="149672" y="2296696"/>
            <a:ext cx="4772598" cy="3671188"/>
            <a:chOff x="149672" y="2296696"/>
            <a:chExt cx="4772598" cy="3671188"/>
          </a:xfrm>
        </p:grpSpPr>
        <p:sp>
          <p:nvSpPr>
            <p:cNvPr id="106" name="모서리가 둥근 직사각형 105"/>
            <p:cNvSpPr/>
            <p:nvPr/>
          </p:nvSpPr>
          <p:spPr bwMode="auto">
            <a:xfrm>
              <a:off x="4165934" y="2636912"/>
              <a:ext cx="719396" cy="1166860"/>
            </a:xfrm>
            <a:prstGeom prst="round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0" rIns="36000" bIns="36000" rtlCol="0" anchor="t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9" name="원통 48"/>
            <p:cNvSpPr/>
            <p:nvPr/>
          </p:nvSpPr>
          <p:spPr bwMode="auto">
            <a:xfrm>
              <a:off x="2978589" y="4189059"/>
              <a:ext cx="396698" cy="579475"/>
            </a:xfrm>
            <a:prstGeom prst="can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endPara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149672" y="2296696"/>
              <a:ext cx="772976" cy="556240"/>
              <a:chOff x="200472" y="2440712"/>
              <a:chExt cx="850274" cy="556240"/>
            </a:xfrm>
          </p:grpSpPr>
          <p:pic>
            <p:nvPicPr>
              <p:cNvPr id="28" name="Picture 21" descr="building 2_s"/>
              <p:cNvPicPr preferRelativeResize="0"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632" y="2440712"/>
                <a:ext cx="381955" cy="35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모서리가 둥근 직사각형 54"/>
              <p:cNvSpPr/>
              <p:nvPr/>
            </p:nvSpPr>
            <p:spPr bwMode="auto">
              <a:xfrm>
                <a:off x="200472" y="2855667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9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NICE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22" name="그룹 121"/>
            <p:cNvGrpSpPr/>
            <p:nvPr/>
          </p:nvGrpSpPr>
          <p:grpSpPr>
            <a:xfrm>
              <a:off x="149672" y="3682564"/>
              <a:ext cx="772976" cy="538524"/>
              <a:chOff x="344488" y="3682564"/>
              <a:chExt cx="772976" cy="538524"/>
            </a:xfrm>
          </p:grpSpPr>
          <p:pic>
            <p:nvPicPr>
              <p:cNvPr id="42" name="Picture 21" descr="building 2_s"/>
              <p:cNvPicPr preferRelativeResize="0"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7361" y="3682564"/>
                <a:ext cx="347232" cy="35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모서리가 둥근 직사각형 55"/>
              <p:cNvSpPr/>
              <p:nvPr/>
            </p:nvSpPr>
            <p:spPr bwMode="auto">
              <a:xfrm>
                <a:off x="344488" y="4079803"/>
                <a:ext cx="772976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9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KCB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7" name="그룹 16"/>
            <p:cNvGrpSpPr/>
            <p:nvPr/>
          </p:nvGrpSpPr>
          <p:grpSpPr>
            <a:xfrm>
              <a:off x="982416" y="5364925"/>
              <a:ext cx="772976" cy="602959"/>
              <a:chOff x="1296828" y="5274313"/>
              <a:chExt cx="850274" cy="602959"/>
            </a:xfrm>
          </p:grpSpPr>
          <p:pic>
            <p:nvPicPr>
              <p:cNvPr id="29" name="Picture 13" descr="storage system_s"/>
              <p:cNvPicPr preferRelativeResize="0"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68173" y="5274313"/>
                <a:ext cx="328818" cy="4154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9" name="모서리가 둥근 직사각형 58"/>
              <p:cNvSpPr/>
              <p:nvPr/>
            </p:nvSpPr>
            <p:spPr bwMode="auto">
              <a:xfrm>
                <a:off x="1296828" y="5735987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여신관리시스템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은행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)</a:t>
                </a:r>
                <a:endPara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8" name="그룹 17"/>
            <p:cNvGrpSpPr/>
            <p:nvPr/>
          </p:nvGrpSpPr>
          <p:grpSpPr>
            <a:xfrm>
              <a:off x="2790450" y="5364925"/>
              <a:ext cx="772976" cy="602959"/>
              <a:chOff x="3482916" y="5274313"/>
              <a:chExt cx="850274" cy="602959"/>
            </a:xfrm>
          </p:grpSpPr>
          <p:pic>
            <p:nvPicPr>
              <p:cNvPr id="44" name="Picture 13" descr="storage system_s"/>
              <p:cNvPicPr preferRelativeResize="0"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43645" y="5274313"/>
                <a:ext cx="328818" cy="4154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" name="모서리가 둥근 직사각형 59"/>
              <p:cNvSpPr/>
              <p:nvPr/>
            </p:nvSpPr>
            <p:spPr bwMode="auto">
              <a:xfrm>
                <a:off x="3482916" y="5735987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카드업무시스템</a:t>
                </a:r>
                <a:endPara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76" name="그룹 75"/>
            <p:cNvGrpSpPr/>
            <p:nvPr/>
          </p:nvGrpSpPr>
          <p:grpSpPr>
            <a:xfrm>
              <a:off x="4288788" y="3193341"/>
              <a:ext cx="527953" cy="488625"/>
              <a:chOff x="4732292" y="3284984"/>
              <a:chExt cx="580748" cy="488625"/>
            </a:xfrm>
          </p:grpSpPr>
          <p:pic>
            <p:nvPicPr>
              <p:cNvPr id="50" name="Picture 4" descr="03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34770" y="3284984"/>
                <a:ext cx="375797" cy="3470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1" name="모서리가 둥근 직사각형 60"/>
              <p:cNvSpPr/>
              <p:nvPr/>
            </p:nvSpPr>
            <p:spPr bwMode="auto">
              <a:xfrm>
                <a:off x="4732292" y="3632324"/>
                <a:ext cx="580748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카드리스크관리팀</a:t>
                </a:r>
                <a:endPara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77" name="그룹 76"/>
            <p:cNvGrpSpPr/>
            <p:nvPr/>
          </p:nvGrpSpPr>
          <p:grpSpPr>
            <a:xfrm>
              <a:off x="4149294" y="2675101"/>
              <a:ext cx="772976" cy="440547"/>
              <a:chOff x="4587356" y="2422893"/>
              <a:chExt cx="850274" cy="440547"/>
            </a:xfrm>
          </p:grpSpPr>
          <p:pic>
            <p:nvPicPr>
              <p:cNvPr id="43" name="Picture 4" descr="03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34770" y="2422893"/>
                <a:ext cx="375797" cy="3470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2" name="모서리가 둥근 직사각형 61"/>
              <p:cNvSpPr/>
              <p:nvPr/>
            </p:nvSpPr>
            <p:spPr bwMode="auto">
              <a:xfrm>
                <a:off x="4587356" y="2722155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심사팀</a:t>
                </a:r>
                <a:endPara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cxnSp>
          <p:nvCxnSpPr>
            <p:cNvPr id="63" name="꺾인 연결선 62"/>
            <p:cNvCxnSpPr>
              <a:stCxn id="28" idx="3"/>
              <a:endCxn id="20" idx="1"/>
            </p:cNvCxnSpPr>
            <p:nvPr/>
          </p:nvCxnSpPr>
          <p:spPr bwMode="auto">
            <a:xfrm>
              <a:off x="709777" y="2473970"/>
              <a:ext cx="446232" cy="72713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64" name="직선 화살표 연결선 63"/>
            <p:cNvCxnSpPr>
              <a:stCxn id="20" idx="3"/>
              <a:endCxn id="69" idx="1"/>
            </p:cNvCxnSpPr>
            <p:nvPr/>
          </p:nvCxnSpPr>
          <p:spPr bwMode="auto">
            <a:xfrm>
              <a:off x="2113526" y="3201107"/>
              <a:ext cx="584654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65" name="꺾인 연결선 64"/>
            <p:cNvCxnSpPr>
              <a:stCxn id="29" idx="0"/>
              <a:endCxn id="46" idx="3"/>
            </p:cNvCxnSpPr>
            <p:nvPr/>
          </p:nvCxnSpPr>
          <p:spPr bwMode="auto">
            <a:xfrm rot="5400000" flipH="1" flipV="1">
              <a:off x="772098" y="4239167"/>
              <a:ext cx="1732217" cy="519300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grpSp>
          <p:nvGrpSpPr>
            <p:cNvPr id="78" name="그룹 77"/>
            <p:cNvGrpSpPr/>
            <p:nvPr/>
          </p:nvGrpSpPr>
          <p:grpSpPr>
            <a:xfrm>
              <a:off x="1156009" y="2718933"/>
              <a:ext cx="957517" cy="964347"/>
              <a:chOff x="1568583" y="2416839"/>
              <a:chExt cx="1053269" cy="964347"/>
            </a:xfrm>
          </p:grpSpPr>
          <p:sp>
            <p:nvSpPr>
              <p:cNvPr id="20" name="모서리가 둥근 직사각형 19"/>
              <p:cNvSpPr/>
              <p:nvPr/>
            </p:nvSpPr>
            <p:spPr bwMode="auto">
              <a:xfrm>
                <a:off x="1568583" y="2416839"/>
                <a:ext cx="1053269" cy="964347"/>
              </a:xfrm>
              <a:prstGeom prst="round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lIns="36000" tIns="0" rIns="36000" bIns="36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대내외 신용정보</a:t>
                </a:r>
              </a:p>
            </p:txBody>
          </p:sp>
          <p:sp>
            <p:nvSpPr>
              <p:cNvPr id="45" name="원통 44"/>
              <p:cNvSpPr/>
              <p:nvPr/>
            </p:nvSpPr>
            <p:spPr bwMode="auto">
              <a:xfrm>
                <a:off x="1626567" y="2752117"/>
                <a:ext cx="360635" cy="579475"/>
              </a:xfrm>
              <a:prstGeom prst="can">
                <a:avLst/>
              </a:prstGeom>
              <a:solidFill>
                <a:srgbClr val="D6EBF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외부</a:t>
                </a:r>
                <a:r>
                  <a:rPr kumimoji="1" lang="en-US" altLang="ko-KR" sz="8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</a:t>
                </a:r>
              </a:p>
            </p:txBody>
          </p:sp>
          <p:sp>
            <p:nvSpPr>
              <p:cNvPr id="46" name="원통 45"/>
              <p:cNvSpPr/>
              <p:nvPr/>
            </p:nvSpPr>
            <p:spPr bwMode="auto">
              <a:xfrm>
                <a:off x="2204297" y="2751139"/>
                <a:ext cx="360635" cy="579475"/>
              </a:xfrm>
              <a:prstGeom prst="can">
                <a:avLst/>
              </a:prstGeom>
              <a:solidFill>
                <a:srgbClr val="D6EBF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내부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</a:t>
                </a:r>
              </a:p>
            </p:txBody>
          </p:sp>
          <p:sp>
            <p:nvSpPr>
              <p:cNvPr id="19" name="십자형 18"/>
              <p:cNvSpPr/>
              <p:nvPr/>
            </p:nvSpPr>
            <p:spPr bwMode="auto">
              <a:xfrm>
                <a:off x="2008209" y="2951712"/>
                <a:ext cx="174016" cy="201691"/>
              </a:xfrm>
              <a:prstGeom prst="plus">
                <a:avLst>
                  <a:gd name="adj" fmla="val 37925"/>
                </a:avLst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79" name="그룹 78"/>
            <p:cNvGrpSpPr/>
            <p:nvPr/>
          </p:nvGrpSpPr>
          <p:grpSpPr>
            <a:xfrm>
              <a:off x="2698180" y="2718933"/>
              <a:ext cx="957517" cy="964347"/>
              <a:chOff x="3003831" y="2416839"/>
              <a:chExt cx="1053269" cy="964347"/>
            </a:xfrm>
          </p:grpSpPr>
          <p:sp>
            <p:nvSpPr>
              <p:cNvPr id="69" name="모서리가 둥근 직사각형 68"/>
              <p:cNvSpPr/>
              <p:nvPr/>
            </p:nvSpPr>
            <p:spPr bwMode="auto">
              <a:xfrm>
                <a:off x="3003831" y="2416839"/>
                <a:ext cx="1053269" cy="964347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solidFill>
                  <a:schemeClr val="tx1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lIns="36000" tIns="0" rIns="36000" bIns="36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대내외 신용정보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카드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)</a:t>
                </a:r>
                <a:endPara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0" name="원통 69"/>
              <p:cNvSpPr/>
              <p:nvPr/>
            </p:nvSpPr>
            <p:spPr bwMode="auto">
              <a:xfrm>
                <a:off x="3061815" y="2752117"/>
                <a:ext cx="360635" cy="579475"/>
              </a:xfrm>
              <a:prstGeom prst="can">
                <a:avLst/>
              </a:prstGeom>
              <a:solidFill>
                <a:srgbClr val="D6EBF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외부</a:t>
                </a:r>
                <a:r>
                  <a:rPr kumimoji="1" lang="en-US" altLang="ko-KR" sz="8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</a:t>
                </a:r>
              </a:p>
            </p:txBody>
          </p:sp>
          <p:sp>
            <p:nvSpPr>
              <p:cNvPr id="71" name="원통 70"/>
              <p:cNvSpPr/>
              <p:nvPr/>
            </p:nvSpPr>
            <p:spPr bwMode="auto">
              <a:xfrm>
                <a:off x="3639545" y="2751139"/>
                <a:ext cx="360635" cy="579475"/>
              </a:xfrm>
              <a:prstGeom prst="can">
                <a:avLst/>
              </a:prstGeom>
              <a:solidFill>
                <a:srgbClr val="D6EBF6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내부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</a:t>
                </a:r>
              </a:p>
            </p:txBody>
          </p:sp>
          <p:sp>
            <p:nvSpPr>
              <p:cNvPr id="72" name="십자형 71"/>
              <p:cNvSpPr/>
              <p:nvPr/>
            </p:nvSpPr>
            <p:spPr bwMode="auto">
              <a:xfrm>
                <a:off x="3443457" y="2951712"/>
                <a:ext cx="174016" cy="201691"/>
              </a:xfrm>
              <a:prstGeom prst="plus">
                <a:avLst>
                  <a:gd name="adj" fmla="val 37925"/>
                </a:avLst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73" name="모서리가 둥근 직사각형 72"/>
            <p:cNvSpPr/>
            <p:nvPr/>
          </p:nvSpPr>
          <p:spPr bwMode="auto">
            <a:xfrm>
              <a:off x="2145723" y="3272327"/>
              <a:ext cx="527953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터</a:t>
              </a:r>
              <a:r>
                <a:rPr kumimoji="1" lang="en-US" altLang="ko-KR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페이스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모서리가 둥근 직사각형 73"/>
            <p:cNvSpPr/>
            <p:nvPr/>
          </p:nvSpPr>
          <p:spPr bwMode="auto">
            <a:xfrm>
              <a:off x="3683825" y="2996952"/>
              <a:ext cx="479957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활용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모서리가 둥근 직사각형 74"/>
            <p:cNvSpPr/>
            <p:nvPr/>
          </p:nvSpPr>
          <p:spPr bwMode="auto">
            <a:xfrm>
              <a:off x="3683825" y="3467100"/>
              <a:ext cx="479957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분석업무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2" name="꺾인 연결선 81"/>
            <p:cNvCxnSpPr>
              <a:stCxn id="42" idx="3"/>
              <a:endCxn id="20" idx="1"/>
            </p:cNvCxnSpPr>
            <p:nvPr/>
          </p:nvCxnSpPr>
          <p:spPr bwMode="auto">
            <a:xfrm flipV="1">
              <a:off x="709777" y="3201107"/>
              <a:ext cx="446233" cy="65873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7" name="직선 화살표 연결선 86"/>
            <p:cNvCxnSpPr/>
            <p:nvPr/>
          </p:nvCxnSpPr>
          <p:spPr bwMode="auto">
            <a:xfrm flipV="1">
              <a:off x="3669664" y="2960007"/>
              <a:ext cx="693006" cy="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2" name="직선 화살표 연결선 91"/>
            <p:cNvCxnSpPr/>
            <p:nvPr/>
          </p:nvCxnSpPr>
          <p:spPr bwMode="auto">
            <a:xfrm flipV="1">
              <a:off x="3669664" y="3432784"/>
              <a:ext cx="693006" cy="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3" name="직선 화살표 연결선 92"/>
            <p:cNvCxnSpPr>
              <a:stCxn id="29" idx="0"/>
              <a:endCxn id="45" idx="3"/>
            </p:cNvCxnSpPr>
            <p:nvPr/>
          </p:nvCxnSpPr>
          <p:spPr bwMode="auto">
            <a:xfrm flipH="1" flipV="1">
              <a:off x="1372647" y="3633686"/>
              <a:ext cx="5909" cy="173123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54" name="원통 53"/>
            <p:cNvSpPr/>
            <p:nvPr/>
          </p:nvSpPr>
          <p:spPr bwMode="auto">
            <a:xfrm>
              <a:off x="1440316" y="4362995"/>
              <a:ext cx="185062" cy="14612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모서리가 둥근 직사각형 56"/>
            <p:cNvSpPr/>
            <p:nvPr/>
          </p:nvSpPr>
          <p:spPr bwMode="auto">
            <a:xfrm>
              <a:off x="1401370" y="4509120"/>
              <a:ext cx="262956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t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여신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원통 65"/>
            <p:cNvSpPr/>
            <p:nvPr/>
          </p:nvSpPr>
          <p:spPr bwMode="auto">
            <a:xfrm>
              <a:off x="1757952" y="4365104"/>
              <a:ext cx="185062" cy="14612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모서리가 둥근 직사각형 66"/>
            <p:cNvSpPr/>
            <p:nvPr/>
          </p:nvSpPr>
          <p:spPr bwMode="auto">
            <a:xfrm>
              <a:off x="1701476" y="4585968"/>
              <a:ext cx="298015" cy="141285"/>
            </a:xfrm>
            <a:prstGeom prst="roundRect">
              <a:avLst/>
            </a:prstGeom>
            <a:solidFill>
              <a:schemeClr val="bg1"/>
            </a:solidFill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업정보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9" name="직선 화살표 연결선 98"/>
            <p:cNvCxnSpPr>
              <a:stCxn id="69" idx="2"/>
              <a:endCxn id="49" idx="1"/>
            </p:cNvCxnSpPr>
            <p:nvPr/>
          </p:nvCxnSpPr>
          <p:spPr bwMode="auto">
            <a:xfrm flipH="1">
              <a:off x="3176938" y="3683280"/>
              <a:ext cx="1" cy="5057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02" name="직선 화살표 연결선 101"/>
            <p:cNvCxnSpPr>
              <a:stCxn id="44" idx="0"/>
              <a:endCxn id="49" idx="3"/>
            </p:cNvCxnSpPr>
            <p:nvPr/>
          </p:nvCxnSpPr>
          <p:spPr bwMode="auto">
            <a:xfrm flipH="1" flipV="1">
              <a:off x="3176938" y="4768534"/>
              <a:ext cx="1" cy="59639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05" name="모서리가 둥근 직사각형 104"/>
            <p:cNvSpPr/>
            <p:nvPr/>
          </p:nvSpPr>
          <p:spPr bwMode="auto">
            <a:xfrm>
              <a:off x="1994148" y="4523002"/>
              <a:ext cx="134726" cy="227542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…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모서리가 둥근 직사각형 107"/>
            <p:cNvSpPr/>
            <p:nvPr/>
          </p:nvSpPr>
          <p:spPr bwMode="auto">
            <a:xfrm>
              <a:off x="3678064" y="4077072"/>
              <a:ext cx="1131714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본부부서 업무 및 분석업무 활용</a:t>
              </a:r>
              <a:endParaRPr kumimoji="1" lang="ko-KR" altLang="en-US" sz="10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10" name="직선 연결선 109"/>
          <p:cNvCxnSpPr/>
          <p:nvPr/>
        </p:nvCxnSpPr>
        <p:spPr bwMode="auto">
          <a:xfrm>
            <a:off x="4953000" y="1974438"/>
            <a:ext cx="0" cy="411885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116" name="그룹 115"/>
          <p:cNvGrpSpPr/>
          <p:nvPr/>
        </p:nvGrpSpPr>
        <p:grpSpPr>
          <a:xfrm>
            <a:off x="6405901" y="5388299"/>
            <a:ext cx="772976" cy="602959"/>
            <a:chOff x="1296828" y="5274313"/>
            <a:chExt cx="850274" cy="602959"/>
          </a:xfrm>
        </p:grpSpPr>
        <p:pic>
          <p:nvPicPr>
            <p:cNvPr id="117" name="Picture 13" descr="storage system_s"/>
            <p:cNvPicPr preferRelativeResize="0"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8173" y="5274313"/>
              <a:ext cx="328818" cy="415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모서리가 둥근 직사각형 117"/>
            <p:cNvSpPr/>
            <p:nvPr/>
          </p:nvSpPr>
          <p:spPr bwMode="auto">
            <a:xfrm>
              <a:off x="1296828" y="5735987"/>
              <a:ext cx="850274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t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여신관리시스템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은행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5260144" y="5364925"/>
            <a:ext cx="772976" cy="602959"/>
            <a:chOff x="3482916" y="5274313"/>
            <a:chExt cx="850274" cy="602959"/>
          </a:xfrm>
        </p:grpSpPr>
        <p:pic>
          <p:nvPicPr>
            <p:cNvPr id="120" name="Picture 13" descr="storage system_s"/>
            <p:cNvPicPr preferRelativeResize="0"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3645" y="5274313"/>
              <a:ext cx="328818" cy="415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모서리가 둥근 직사각형 120"/>
            <p:cNvSpPr/>
            <p:nvPr/>
          </p:nvSpPr>
          <p:spPr bwMode="auto">
            <a:xfrm>
              <a:off x="3482916" y="5735987"/>
              <a:ext cx="850274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t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업무시스템</a:t>
              </a:r>
              <a:endParaRPr kumimoji="1" lang="ko-KR" altLang="en-US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3" name="그룹 122"/>
          <p:cNvGrpSpPr/>
          <p:nvPr/>
        </p:nvGrpSpPr>
        <p:grpSpPr>
          <a:xfrm>
            <a:off x="7551658" y="5388299"/>
            <a:ext cx="772976" cy="556240"/>
            <a:chOff x="200472" y="2440712"/>
            <a:chExt cx="850274" cy="556240"/>
          </a:xfrm>
        </p:grpSpPr>
        <p:pic>
          <p:nvPicPr>
            <p:cNvPr id="124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632" y="2440712"/>
              <a:ext cx="381955" cy="3545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5" name="모서리가 둥근 직사각형 124"/>
            <p:cNvSpPr/>
            <p:nvPr/>
          </p:nvSpPr>
          <p:spPr bwMode="auto">
            <a:xfrm>
              <a:off x="200472" y="2855667"/>
              <a:ext cx="850274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ICE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6" name="그룹 125"/>
          <p:cNvGrpSpPr/>
          <p:nvPr/>
        </p:nvGrpSpPr>
        <p:grpSpPr>
          <a:xfrm>
            <a:off x="8697416" y="5388299"/>
            <a:ext cx="772976" cy="538524"/>
            <a:chOff x="344488" y="3682564"/>
            <a:chExt cx="772976" cy="538524"/>
          </a:xfrm>
        </p:grpSpPr>
        <p:pic>
          <p:nvPicPr>
            <p:cNvPr id="127" name="Picture 21" descr="building 2_s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361" y="3682564"/>
              <a:ext cx="347232" cy="3545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8" name="모서리가 둥근 직사각형 127"/>
            <p:cNvSpPr/>
            <p:nvPr/>
          </p:nvSpPr>
          <p:spPr bwMode="auto">
            <a:xfrm>
              <a:off x="344488" y="4079803"/>
              <a:ext cx="772976" cy="141285"/>
            </a:xfrm>
            <a:prstGeom prst="round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lIns="18000" tIns="18000" rIns="18000" bIns="18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KCB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39" name="그룹 138"/>
          <p:cNvGrpSpPr/>
          <p:nvPr/>
        </p:nvGrpSpPr>
        <p:grpSpPr>
          <a:xfrm>
            <a:off x="5056092" y="2296696"/>
            <a:ext cx="4624036" cy="2799569"/>
            <a:chOff x="5056092" y="2348880"/>
            <a:chExt cx="4624036" cy="2916000"/>
          </a:xfrm>
        </p:grpSpPr>
        <p:sp>
          <p:nvSpPr>
            <p:cNvPr id="129" name="직사각형 128"/>
            <p:cNvSpPr/>
            <p:nvPr/>
          </p:nvSpPr>
          <p:spPr bwMode="auto">
            <a:xfrm>
              <a:off x="5056092" y="2348880"/>
              <a:ext cx="4624036" cy="29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t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신용정보 통합 </a:t>
              </a:r>
              <a:r>
                <a:rPr kumimoji="1" lang="en-US" altLang="ko-KR" sz="105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endParaRPr kumimoji="1" lang="ko-KR" altLang="en-US" sz="105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38" name="그룹 137"/>
            <p:cNvGrpSpPr/>
            <p:nvPr/>
          </p:nvGrpSpPr>
          <p:grpSpPr>
            <a:xfrm>
              <a:off x="5197759" y="2694435"/>
              <a:ext cx="1339417" cy="2462757"/>
              <a:chOff x="5108142" y="2694435"/>
              <a:chExt cx="1339417" cy="2462757"/>
            </a:xfrm>
          </p:grpSpPr>
          <p:sp>
            <p:nvSpPr>
              <p:cNvPr id="111" name="직사각형 110"/>
              <p:cNvSpPr/>
              <p:nvPr/>
            </p:nvSpPr>
            <p:spPr bwMode="auto">
              <a:xfrm>
                <a:off x="5108142" y="2888497"/>
                <a:ext cx="1339417" cy="22686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청지역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유지채널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청상품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심사유형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연령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국적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결제일자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외국인구분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성별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자격기준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입회일자</a:t>
                </a:r>
                <a:endPara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0" name="모서리가 둥근 직사각형 129"/>
              <p:cNvSpPr/>
              <p:nvPr/>
            </p:nvSpPr>
            <p:spPr bwMode="auto">
              <a:xfrm>
                <a:off x="5352713" y="2694435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입회신청정보</a:t>
                </a:r>
                <a:endPara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37" name="그룹 136"/>
            <p:cNvGrpSpPr/>
            <p:nvPr/>
          </p:nvGrpSpPr>
          <p:grpSpPr>
            <a:xfrm>
              <a:off x="6695559" y="2694435"/>
              <a:ext cx="1339417" cy="2462757"/>
              <a:chOff x="6639494" y="2694435"/>
              <a:chExt cx="1339417" cy="2462757"/>
            </a:xfrm>
          </p:grpSpPr>
          <p:sp>
            <p:nvSpPr>
              <p:cNvPr id="112" name="직사각형 111"/>
              <p:cNvSpPr/>
              <p:nvPr/>
            </p:nvSpPr>
            <p:spPr bwMode="auto">
              <a:xfrm>
                <a:off x="6639494" y="2888497"/>
                <a:ext cx="1339417" cy="22686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채무불이행정보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은행연합회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)</a:t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채무불이행정보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KBP)</a:t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NICE CSS 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불량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KBP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연체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CB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등급미달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대출기관수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대환대출이력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단기연체이력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카드개설기관수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관보정보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당행 내부관리항목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BL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대상유무</a:t>
                </a:r>
                <a:endPara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1" name="모서리가 둥근 직사각형 130"/>
              <p:cNvSpPr/>
              <p:nvPr/>
            </p:nvSpPr>
            <p:spPr bwMode="auto">
              <a:xfrm>
                <a:off x="6884065" y="2694435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평가정보</a:t>
                </a:r>
                <a:endPara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36" name="그룹 135"/>
            <p:cNvGrpSpPr/>
            <p:nvPr/>
          </p:nvGrpSpPr>
          <p:grpSpPr>
            <a:xfrm>
              <a:off x="8193360" y="2694435"/>
              <a:ext cx="1339417" cy="2462757"/>
              <a:chOff x="8282978" y="2694435"/>
              <a:chExt cx="1339417" cy="2462757"/>
            </a:xfrm>
          </p:grpSpPr>
          <p:sp>
            <p:nvSpPr>
              <p:cNvPr id="113" name="직사각형 112"/>
              <p:cNvSpPr/>
              <p:nvPr/>
            </p:nvSpPr>
            <p:spPr bwMode="auto">
              <a:xfrm>
                <a:off x="8282978" y="2888497"/>
                <a:ext cx="1339417" cy="226869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t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S 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등급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S 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스코어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KBP </a:t>
                </a:r>
                <a:r>
                  <a:rPr kumimoji="1" lang="ko-KR" altLang="en-US" sz="10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틍급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NICE </a:t>
                </a: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등급</a:t>
                </a:r>
                <a: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당사등급</a:t>
                </a:r>
                <a:endPara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2" name="모서리가 둥근 직사각형 131"/>
              <p:cNvSpPr/>
              <p:nvPr/>
            </p:nvSpPr>
            <p:spPr bwMode="auto">
              <a:xfrm>
                <a:off x="8527549" y="2694435"/>
                <a:ext cx="850274" cy="141285"/>
              </a:xfrm>
              <a:prstGeom prst="roundRect">
                <a:avLst/>
              </a:prstGeom>
              <a:noFill/>
              <a:ln w="9525" algn="ctr">
                <a:noFill/>
                <a:prstDash val="dash"/>
                <a:miter lim="800000"/>
                <a:headEnd/>
                <a:tailEnd/>
              </a:ln>
              <a:effectLst/>
            </p:spPr>
            <p:txBody>
              <a:bodyPr lIns="18000" tIns="18000" rIns="18000" bIns="18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평점 정보</a:t>
                </a:r>
                <a:endPara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cxnSp>
        <p:nvCxnSpPr>
          <p:cNvPr id="141" name="직선 화살표 연결선 140"/>
          <p:cNvCxnSpPr>
            <a:endCxn id="120" idx="0"/>
          </p:cNvCxnSpPr>
          <p:nvPr/>
        </p:nvCxnSpPr>
        <p:spPr bwMode="auto">
          <a:xfrm>
            <a:off x="5601072" y="5096265"/>
            <a:ext cx="0" cy="2686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42" name="직선 화살표 연결선 141"/>
          <p:cNvCxnSpPr/>
          <p:nvPr/>
        </p:nvCxnSpPr>
        <p:spPr bwMode="auto">
          <a:xfrm>
            <a:off x="6759431" y="5096265"/>
            <a:ext cx="0" cy="2686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43" name="직선 화살표 연결선 142"/>
          <p:cNvCxnSpPr/>
          <p:nvPr/>
        </p:nvCxnSpPr>
        <p:spPr bwMode="auto">
          <a:xfrm>
            <a:off x="7905328" y="5096265"/>
            <a:ext cx="0" cy="2686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44" name="직선 화살표 연결선 143"/>
          <p:cNvCxnSpPr/>
          <p:nvPr/>
        </p:nvCxnSpPr>
        <p:spPr bwMode="auto">
          <a:xfrm>
            <a:off x="9098929" y="5096265"/>
            <a:ext cx="0" cy="2686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grpSp>
        <p:nvGrpSpPr>
          <p:cNvPr id="145" name="그룹 144"/>
          <p:cNvGrpSpPr/>
          <p:nvPr/>
        </p:nvGrpSpPr>
        <p:grpSpPr>
          <a:xfrm>
            <a:off x="5072750" y="1890630"/>
            <a:ext cx="4537713" cy="302400"/>
            <a:chOff x="5405153" y="1916190"/>
            <a:chExt cx="4084351" cy="302400"/>
          </a:xfrm>
        </p:grpSpPr>
        <p:sp>
          <p:nvSpPr>
            <p:cNvPr id="146" name="직사각형 145"/>
            <p:cNvSpPr/>
            <p:nvPr/>
          </p:nvSpPr>
          <p:spPr bwMode="auto">
            <a:xfrm>
              <a:off x="5791864" y="1916190"/>
              <a:ext cx="3310926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 신용정보 통합</a:t>
              </a:r>
              <a:r>
                <a:rPr kumimoji="1" lang="en-US" altLang="ko-KR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7" name="직선 연결선 146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48" name="그룹 147"/>
          <p:cNvGrpSpPr/>
          <p:nvPr/>
        </p:nvGrpSpPr>
        <p:grpSpPr>
          <a:xfrm>
            <a:off x="513130" y="1890630"/>
            <a:ext cx="4125194" cy="302400"/>
            <a:chOff x="5405153" y="1916190"/>
            <a:chExt cx="4084351" cy="302400"/>
          </a:xfrm>
        </p:grpSpPr>
        <p:sp>
          <p:nvSpPr>
            <p:cNvPr id="149" name="직사각형 148"/>
            <p:cNvSpPr/>
            <p:nvPr/>
          </p:nvSpPr>
          <p:spPr bwMode="auto">
            <a:xfrm>
              <a:off x="5791864" y="1916190"/>
              <a:ext cx="3310926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은행 신용정보 인터페이스 </a:t>
              </a:r>
            </a:p>
          </p:txBody>
        </p:sp>
        <p:cxnSp>
          <p:nvCxnSpPr>
            <p:cNvPr id="150" name="직선 연결선 149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56" name="그룹 15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5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5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6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6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6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6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65" name="그룹 16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6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90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심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신용정보 활용 자동화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부심사 업무 개선을 위해 심사화면 이미지 자동 연계 및 신용정보 조회 기능 요건을 </a:t>
            </a:r>
            <a:r>
              <a:rPr lang="ko-KR" altLang="en-US" dirty="0" smtClean="0"/>
              <a:t>정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심사 자동화 화면 구성 및 요건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297750" y="1954165"/>
            <a:ext cx="4655250" cy="36004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800" tIns="72000" rIns="10800" bIns="72000" anchor="ctr"/>
          <a:lstStyle/>
          <a:p>
            <a:pPr algn="ctr" eaLnBrk="0" latinLnBrk="0" hangingPunct="0"/>
            <a:r>
              <a:rPr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자격 심사 화면 구성</a:t>
            </a:r>
          </a:p>
        </p:txBody>
      </p:sp>
      <p:grpSp>
        <p:nvGrpSpPr>
          <p:cNvPr id="12" name="그룹 11"/>
          <p:cNvGrpSpPr/>
          <p:nvPr/>
        </p:nvGrpSpPr>
        <p:grpSpPr>
          <a:xfrm>
            <a:off x="425004" y="2467496"/>
            <a:ext cx="4326025" cy="3737381"/>
            <a:chOff x="488504" y="2492896"/>
            <a:chExt cx="4326025" cy="3737381"/>
          </a:xfrm>
        </p:grpSpPr>
        <p:grpSp>
          <p:nvGrpSpPr>
            <p:cNvPr id="4" name="그룹 3"/>
            <p:cNvGrpSpPr/>
            <p:nvPr/>
          </p:nvGrpSpPr>
          <p:grpSpPr>
            <a:xfrm>
              <a:off x="488504" y="2492896"/>
              <a:ext cx="4326025" cy="3737381"/>
              <a:chOff x="482959" y="2492897"/>
              <a:chExt cx="4326025" cy="3737381"/>
            </a:xfrm>
          </p:grpSpPr>
          <p:pic>
            <p:nvPicPr>
              <p:cNvPr id="58" name="Picture 17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383"/>
              <a:stretch/>
            </p:blipFill>
            <p:spPr bwMode="auto">
              <a:xfrm>
                <a:off x="482959" y="2492897"/>
                <a:ext cx="4326025" cy="2880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9" name="Picture 18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68824" y="5379071"/>
                <a:ext cx="1440160" cy="85120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6" name="직사각형 5"/>
            <p:cNvSpPr/>
            <p:nvPr/>
          </p:nvSpPr>
          <p:spPr bwMode="auto">
            <a:xfrm>
              <a:off x="742628" y="3131820"/>
              <a:ext cx="499432" cy="13335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2490442" y="2838072"/>
              <a:ext cx="211400" cy="360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3" name="직사각형 12"/>
          <p:cNvSpPr/>
          <p:nvPr/>
        </p:nvSpPr>
        <p:spPr bwMode="auto">
          <a:xfrm>
            <a:off x="667518" y="3619624"/>
            <a:ext cx="2338164" cy="1800200"/>
          </a:xfrm>
          <a:prstGeom prst="rect">
            <a:avLst/>
          </a:prstGeom>
          <a:noFill/>
          <a:ln w="22225" algn="ctr">
            <a:solidFill>
              <a:srgbClr val="FF0000"/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" name="연결선: 구부러짐 14"/>
          <p:cNvCxnSpPr>
            <a:stCxn id="13" idx="3"/>
          </p:cNvCxnSpPr>
          <p:nvPr/>
        </p:nvCxnSpPr>
        <p:spPr bwMode="auto">
          <a:xfrm flipV="1">
            <a:off x="3005682" y="4411712"/>
            <a:ext cx="238184" cy="108012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2" name="직사각형 61"/>
          <p:cNvSpPr/>
          <p:nvPr/>
        </p:nvSpPr>
        <p:spPr bwMode="auto">
          <a:xfrm>
            <a:off x="3243866" y="3173095"/>
            <a:ext cx="1429610" cy="1800200"/>
          </a:xfrm>
          <a:prstGeom prst="rect">
            <a:avLst/>
          </a:prstGeom>
          <a:noFill/>
          <a:ln w="22225" algn="ctr">
            <a:solidFill>
              <a:srgbClr val="FF0000"/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1795981" y="5458706"/>
            <a:ext cx="1584069" cy="2342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입회신청내역 자동 표시</a:t>
            </a: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/>
          </p:nvPr>
        </p:nvGraphicFramePr>
        <p:xfrm>
          <a:off x="5141467" y="2467497"/>
          <a:ext cx="4279327" cy="38490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8004">
                  <a:extLst>
                    <a:ext uri="{9D8B030D-6E8A-4147-A177-3AD203B41FA5}">
                      <a16:colId xmlns="" xmlns:a16="http://schemas.microsoft.com/office/drawing/2014/main" val="4109232218"/>
                    </a:ext>
                  </a:extLst>
                </a:gridCol>
                <a:gridCol w="3051323">
                  <a:extLst>
                    <a:ext uri="{9D8B030D-6E8A-4147-A177-3AD203B41FA5}">
                      <a16:colId xmlns="" xmlns:a16="http://schemas.microsoft.com/office/drawing/2014/main" val="882223166"/>
                    </a:ext>
                  </a:extLst>
                </a:gridCol>
              </a:tblGrid>
              <a:tr h="2810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용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44901339"/>
                  </a:ext>
                </a:extLst>
              </a:tr>
              <a:tr h="5699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조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내부정보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br>
                        <a:rPr lang="en-US" altLang="ko-KR" sz="12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외정보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KCB, KIS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신협회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249723355"/>
                  </a:ext>
                </a:extLst>
              </a:tr>
              <a:tr h="10305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청서등록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latinLnBrk="1">
                        <a:buFontTx/>
                        <a:buNone/>
                      </a:pP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순서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&gt;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체크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&gt;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력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록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정보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민번호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력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신용체크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격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적격 판정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입력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격대상 필수정보 입력</a:t>
                      </a:r>
                    </a:p>
                    <a:p>
                      <a:pPr marL="0" indent="0" latinLnBrk="1">
                        <a:buFontTx/>
                        <a:buNone/>
                      </a:pP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적격 신청정보 재활용 가능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428667397"/>
                  </a:ext>
                </a:extLst>
              </a:tr>
              <a:tr h="4684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유형분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유형별 분류 심사</a:t>
                      </a:r>
                    </a:p>
                    <a:p>
                      <a:pPr latinLnBrk="1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VIP 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약식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밀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체크 등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506612047"/>
                  </a:ext>
                </a:extLst>
              </a:tr>
              <a:tr h="2810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계좌체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체크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111240733"/>
                  </a:ext>
                </a:extLst>
              </a:tr>
              <a:tr h="2810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미지 심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미지 연동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252762351"/>
                  </a:ext>
                </a:extLst>
              </a:tr>
              <a:tr h="4684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외기관연계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청서 등록 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기관 고객번호 </a:t>
                      </a:r>
                      <a:r>
                        <a:rPr lang="ko-KR" altLang="en-US" sz="12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번</a:t>
                      </a: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기간 협의</a:t>
                      </a:r>
                      <a:r>
                        <a:rPr lang="en-US" altLang="ko-KR" sz="12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</a:t>
                      </a:r>
                      <a:r>
                        <a:rPr lang="en-US" altLang="ko-KR" sz="12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000031893"/>
                  </a:ext>
                </a:extLst>
              </a:tr>
              <a:tr h="4684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징후검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요소 관리 및 불량징후를 </a:t>
                      </a:r>
                      <a:r>
                        <a:rPr lang="ko-KR" altLang="en-US" sz="12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시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확인할 수 있도록 사전정보 관리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79635103"/>
                  </a:ext>
                </a:extLst>
              </a:tr>
            </a:tbl>
          </a:graphicData>
        </a:graphic>
      </p:graphicFrame>
      <p:sp>
        <p:nvSpPr>
          <p:cNvPr id="63" name="직사각형 62"/>
          <p:cNvSpPr/>
          <p:nvPr/>
        </p:nvSpPr>
        <p:spPr bwMode="auto">
          <a:xfrm>
            <a:off x="297750" y="2315573"/>
            <a:ext cx="4655250" cy="400100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5169024" y="2011805"/>
            <a:ext cx="4125194" cy="302400"/>
            <a:chOff x="5405153" y="1916190"/>
            <a:chExt cx="4084351" cy="302400"/>
          </a:xfrm>
        </p:grpSpPr>
        <p:sp>
          <p:nvSpPr>
            <p:cNvPr id="43" name="직사각형 42"/>
            <p:cNvSpPr/>
            <p:nvPr/>
          </p:nvSpPr>
          <p:spPr bwMode="auto">
            <a:xfrm>
              <a:off x="5791864" y="1916190"/>
              <a:ext cx="3310926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3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화면 기능 </a:t>
              </a:r>
            </a:p>
          </p:txBody>
        </p:sp>
        <p:cxnSp>
          <p:nvCxnSpPr>
            <p:cNvPr id="44" name="직선 연결선 43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6" name="그룹 5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0" name="그룹 6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3816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사고조사 </a:t>
            </a:r>
            <a:r>
              <a:rPr lang="ko-KR" altLang="en-US" dirty="0"/>
              <a:t>프로세스 </a:t>
            </a:r>
            <a:r>
              <a:rPr lang="ko-KR" altLang="en-US" dirty="0" smtClean="0"/>
              <a:t>개선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/>
              <a:t>FDS </a:t>
            </a:r>
            <a:r>
              <a:rPr lang="ko-KR" altLang="en-US" dirty="0"/>
              <a:t>시스템 부정거래 탐지 </a:t>
            </a:r>
            <a:r>
              <a:rPr lang="en-US" altLang="ko-KR" dirty="0" smtClean="0"/>
              <a:t>Rule</a:t>
            </a:r>
            <a:r>
              <a:rPr lang="ko-KR" altLang="en-US" dirty="0" smtClean="0"/>
              <a:t>과 </a:t>
            </a:r>
            <a:r>
              <a:rPr lang="ko-KR" altLang="en-US" dirty="0"/>
              <a:t>시스템간 사고정보 인터페이스를 개선하고</a:t>
            </a:r>
            <a:r>
              <a:rPr lang="en-US" altLang="ko-KR" dirty="0"/>
              <a:t>, </a:t>
            </a:r>
            <a:r>
              <a:rPr lang="ko-KR" altLang="en-US" dirty="0"/>
              <a:t>사고발생부터 조사</a:t>
            </a:r>
            <a:r>
              <a:rPr lang="en-US" altLang="ko-KR" dirty="0"/>
              <a:t>, </a:t>
            </a:r>
            <a:r>
              <a:rPr lang="ko-KR" altLang="en-US" dirty="0"/>
              <a:t>귀책분담금 산출까지 업무 </a:t>
            </a:r>
            <a:r>
              <a:rPr lang="ko-KR" altLang="en-US" dirty="0" smtClean="0"/>
              <a:t>효율을 제고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FDS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시스템에 의한 부정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불량 매출 사전 검출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시스템간 사고내역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불량매출 내역 연계 강화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전적 사고관리 체계로 프로세스 및 시스템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변경 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바일 결제 등 채널 확대에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따라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FDS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지능화를 위한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Big Data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활용 방안 검토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419573" y="5848244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의 사고 신고에 의한 사후적 사고관리 업무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사고 모니터링을 위한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FDS Rul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노후화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시스템간 정보 연계 미흡</a:t>
            </a: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9" y="5854314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FDS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시간 모니터링에 의한 사전적 부정거래 적발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사전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사후 사고관리 자동화 및 고객요청 기반 부정사용 예방 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6" name="원통 35"/>
          <p:cNvSpPr/>
          <p:nvPr/>
        </p:nvSpPr>
        <p:spPr bwMode="auto">
          <a:xfrm>
            <a:off x="3388530" y="3702830"/>
            <a:ext cx="935398" cy="344556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신고내역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3" name="Picture 7" descr="03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27" y="3393744"/>
            <a:ext cx="544759" cy="4882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모서리가 둥근 직사각형 38"/>
          <p:cNvSpPr/>
          <p:nvPr/>
        </p:nvSpPr>
        <p:spPr bwMode="auto">
          <a:xfrm>
            <a:off x="563618" y="3828944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4" name="Picture 4" descr="0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602" y="3382172"/>
            <a:ext cx="500185" cy="50809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모서리가 둥근 직사각형 39"/>
          <p:cNvSpPr/>
          <p:nvPr/>
        </p:nvSpPr>
        <p:spPr bwMode="auto">
          <a:xfrm>
            <a:off x="2097206" y="3828944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7" name="Picture 41" descr="Dumb Terminal sm"/>
          <p:cNvPicPr preferRelativeResize="0"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780" y="4132443"/>
            <a:ext cx="351828" cy="36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모서리가 둥근 직사각형 40"/>
          <p:cNvSpPr/>
          <p:nvPr/>
        </p:nvSpPr>
        <p:spPr bwMode="auto">
          <a:xfrm>
            <a:off x="2097206" y="4525103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5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97" y="4374264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모서리가 둥근 직사각형 41"/>
          <p:cNvSpPr/>
          <p:nvPr/>
        </p:nvSpPr>
        <p:spPr bwMode="auto">
          <a:xfrm>
            <a:off x="563618" y="4233986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3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97" y="5093642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모서리가 둥근 직사각형 43"/>
          <p:cNvSpPr/>
          <p:nvPr/>
        </p:nvSpPr>
        <p:spPr bwMode="auto">
          <a:xfrm>
            <a:off x="563618" y="5591971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DS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4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749" y="5093642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모서리가 둥근 직사각형 54"/>
          <p:cNvSpPr/>
          <p:nvPr/>
        </p:nvSpPr>
        <p:spPr bwMode="auto">
          <a:xfrm>
            <a:off x="1975743" y="5591971"/>
            <a:ext cx="1028831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시스템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8" name="Picture 5" descr="Bule User sm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715829" y="4249532"/>
            <a:ext cx="2808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" name="모서리가 둥근 직사각형 55"/>
          <p:cNvSpPr/>
          <p:nvPr/>
        </p:nvSpPr>
        <p:spPr bwMode="auto">
          <a:xfrm>
            <a:off x="3977140" y="4185726"/>
            <a:ext cx="360599" cy="443417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담당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원통 56"/>
          <p:cNvSpPr/>
          <p:nvPr/>
        </p:nvSpPr>
        <p:spPr bwMode="auto">
          <a:xfrm>
            <a:off x="3388530" y="4703678"/>
            <a:ext cx="935398" cy="344556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내역</a:t>
            </a:r>
          </a:p>
        </p:txBody>
      </p:sp>
      <p:sp>
        <p:nvSpPr>
          <p:cNvPr id="58" name="원통 57"/>
          <p:cNvSpPr/>
          <p:nvPr/>
        </p:nvSpPr>
        <p:spPr bwMode="auto">
          <a:xfrm>
            <a:off x="3388530" y="5250380"/>
            <a:ext cx="935398" cy="344556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데이터</a:t>
            </a:r>
          </a:p>
        </p:txBody>
      </p:sp>
      <p:cxnSp>
        <p:nvCxnSpPr>
          <p:cNvPr id="32" name="직선 화살표 연결선 31"/>
          <p:cNvCxnSpPr/>
          <p:nvPr/>
        </p:nvCxnSpPr>
        <p:spPr bwMode="auto">
          <a:xfrm>
            <a:off x="1319554" y="3789040"/>
            <a:ext cx="875903" cy="44881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1" name="직선 화살표 연결선 60"/>
          <p:cNvCxnSpPr>
            <a:stCxn id="35" idx="2"/>
            <a:endCxn id="43" idx="0"/>
          </p:cNvCxnSpPr>
          <p:nvPr/>
        </p:nvCxnSpPr>
        <p:spPr bwMode="auto">
          <a:xfrm>
            <a:off x="950106" y="4831277"/>
            <a:ext cx="0" cy="26236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4" name="직선 화살표 연결선 63"/>
          <p:cNvCxnSpPr>
            <a:stCxn id="58" idx="2"/>
          </p:cNvCxnSpPr>
          <p:nvPr/>
        </p:nvCxnSpPr>
        <p:spPr bwMode="auto">
          <a:xfrm flipH="1">
            <a:off x="2711051" y="5422658"/>
            <a:ext cx="677479" cy="102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7" name="직선 화살표 연결선 66"/>
          <p:cNvCxnSpPr/>
          <p:nvPr/>
        </p:nvCxnSpPr>
        <p:spPr bwMode="auto">
          <a:xfrm flipH="1">
            <a:off x="1321282" y="5422658"/>
            <a:ext cx="677479" cy="102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8" name="직선 화살표 연결선 67"/>
          <p:cNvCxnSpPr/>
          <p:nvPr/>
        </p:nvCxnSpPr>
        <p:spPr bwMode="auto">
          <a:xfrm rot="10800000" flipH="1" flipV="1">
            <a:off x="2696436" y="4058778"/>
            <a:ext cx="619380" cy="17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2" name="직선 화살표 연결선 71"/>
          <p:cNvCxnSpPr>
            <a:stCxn id="36" idx="3"/>
            <a:endCxn id="38" idx="0"/>
          </p:cNvCxnSpPr>
          <p:nvPr/>
        </p:nvCxnSpPr>
        <p:spPr bwMode="auto">
          <a:xfrm>
            <a:off x="3856229" y="4047386"/>
            <a:ext cx="0" cy="202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5" name="직선 화살표 연결선 74"/>
          <p:cNvCxnSpPr>
            <a:stCxn id="38" idx="2"/>
            <a:endCxn id="57" idx="1"/>
          </p:cNvCxnSpPr>
          <p:nvPr/>
        </p:nvCxnSpPr>
        <p:spPr bwMode="auto">
          <a:xfrm>
            <a:off x="3856229" y="4501532"/>
            <a:ext cx="0" cy="202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8" name="직선 화살표 연결선 77"/>
          <p:cNvCxnSpPr>
            <a:stCxn id="57" idx="3"/>
            <a:endCxn id="58" idx="1"/>
          </p:cNvCxnSpPr>
          <p:nvPr/>
        </p:nvCxnSpPr>
        <p:spPr bwMode="auto">
          <a:xfrm>
            <a:off x="3856229" y="5048234"/>
            <a:ext cx="0" cy="202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83" name="Picture 7" descr="03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2597" y="3356571"/>
            <a:ext cx="544759" cy="4882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모서리가 둥근 직사각형 83"/>
          <p:cNvSpPr/>
          <p:nvPr/>
        </p:nvSpPr>
        <p:spPr bwMode="auto">
          <a:xfrm>
            <a:off x="8498488" y="3791771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5" name="Picture 4" descr="0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349" y="3382172"/>
            <a:ext cx="500185" cy="50809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모서리가 둥근 직사각형 85"/>
          <p:cNvSpPr/>
          <p:nvPr/>
        </p:nvSpPr>
        <p:spPr bwMode="auto">
          <a:xfrm>
            <a:off x="7125953" y="3828944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7" name="Picture 41" descr="Dumb Terminal sm"/>
          <p:cNvPicPr preferRelativeResize="0"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6527" y="4132443"/>
            <a:ext cx="351828" cy="36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모서리가 둥근 직사각형 87"/>
          <p:cNvSpPr/>
          <p:nvPr/>
        </p:nvSpPr>
        <p:spPr bwMode="auto">
          <a:xfrm>
            <a:off x="7125953" y="4525103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9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444" y="4374264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모서리가 둥근 직사각형 89"/>
          <p:cNvSpPr/>
          <p:nvPr/>
        </p:nvSpPr>
        <p:spPr bwMode="auto">
          <a:xfrm>
            <a:off x="5592365" y="4233986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DS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1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444" y="5093642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모서리가 둥근 직사각형 91"/>
          <p:cNvSpPr/>
          <p:nvPr/>
        </p:nvSpPr>
        <p:spPr bwMode="auto">
          <a:xfrm>
            <a:off x="5592365" y="5591971"/>
            <a:ext cx="772976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3" name="Picture 13" descr="storage system_s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496" y="5093642"/>
            <a:ext cx="328818" cy="45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모서리가 둥근 직사각형 93"/>
          <p:cNvSpPr/>
          <p:nvPr/>
        </p:nvSpPr>
        <p:spPr bwMode="auto">
          <a:xfrm>
            <a:off x="7004490" y="5591971"/>
            <a:ext cx="1028831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시스템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9" name="직선 화살표 연결선 98"/>
          <p:cNvCxnSpPr/>
          <p:nvPr/>
        </p:nvCxnSpPr>
        <p:spPr bwMode="auto">
          <a:xfrm>
            <a:off x="6228723" y="4689947"/>
            <a:ext cx="875903" cy="44881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0" name="직선 화살표 연결선 99"/>
          <p:cNvCxnSpPr>
            <a:stCxn id="91" idx="0"/>
            <a:endCxn id="89" idx="2"/>
          </p:cNvCxnSpPr>
          <p:nvPr/>
        </p:nvCxnSpPr>
        <p:spPr bwMode="auto">
          <a:xfrm flipV="1">
            <a:off x="5978853" y="4831277"/>
            <a:ext cx="0" cy="26236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1" name="직선 화살표 연결선 100"/>
          <p:cNvCxnSpPr/>
          <p:nvPr/>
        </p:nvCxnSpPr>
        <p:spPr bwMode="auto">
          <a:xfrm flipH="1">
            <a:off x="7689304" y="5378377"/>
            <a:ext cx="67747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3" name="직선 화살표 연결선 102"/>
          <p:cNvCxnSpPr/>
          <p:nvPr/>
        </p:nvCxnSpPr>
        <p:spPr bwMode="auto">
          <a:xfrm rot="10800000" flipH="1" flipV="1">
            <a:off x="7905328" y="3645024"/>
            <a:ext cx="619380" cy="17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2" name="원통 81"/>
          <p:cNvSpPr/>
          <p:nvPr/>
        </p:nvSpPr>
        <p:spPr bwMode="auto">
          <a:xfrm>
            <a:off x="8417277" y="4205251"/>
            <a:ext cx="935398" cy="344556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신고내역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5" name="Picture 5" descr="Bule User sm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744576" y="4751953"/>
            <a:ext cx="2808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6" name="모서리가 둥근 직사각형 95"/>
          <p:cNvSpPr/>
          <p:nvPr/>
        </p:nvSpPr>
        <p:spPr bwMode="auto">
          <a:xfrm>
            <a:off x="9005887" y="4688147"/>
            <a:ext cx="360599" cy="443417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담당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원통 96"/>
          <p:cNvSpPr/>
          <p:nvPr/>
        </p:nvSpPr>
        <p:spPr bwMode="auto">
          <a:xfrm>
            <a:off x="8417277" y="5206099"/>
            <a:ext cx="935398" cy="344556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내역</a:t>
            </a:r>
          </a:p>
        </p:txBody>
      </p:sp>
      <p:cxnSp>
        <p:nvCxnSpPr>
          <p:cNvPr id="104" name="직선 화살표 연결선 103"/>
          <p:cNvCxnSpPr>
            <a:stCxn id="82" idx="3"/>
            <a:endCxn id="95" idx="0"/>
          </p:cNvCxnSpPr>
          <p:nvPr/>
        </p:nvCxnSpPr>
        <p:spPr bwMode="auto">
          <a:xfrm>
            <a:off x="8884976" y="4549807"/>
            <a:ext cx="0" cy="202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5" name="직선 화살표 연결선 104"/>
          <p:cNvCxnSpPr>
            <a:stCxn id="95" idx="2"/>
            <a:endCxn id="97" idx="1"/>
          </p:cNvCxnSpPr>
          <p:nvPr/>
        </p:nvCxnSpPr>
        <p:spPr bwMode="auto">
          <a:xfrm>
            <a:off x="8884976" y="5003953"/>
            <a:ext cx="0" cy="202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2" name="직선 화살표 연결선 111"/>
          <p:cNvCxnSpPr/>
          <p:nvPr/>
        </p:nvCxnSpPr>
        <p:spPr bwMode="auto">
          <a:xfrm rot="12600000" flipH="1" flipV="1">
            <a:off x="7864276" y="4064607"/>
            <a:ext cx="619380" cy="17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3" name="직선 화살표 연결선 112"/>
          <p:cNvCxnSpPr/>
          <p:nvPr/>
        </p:nvCxnSpPr>
        <p:spPr bwMode="auto">
          <a:xfrm rot="18000000">
            <a:off x="6204091" y="3912098"/>
            <a:ext cx="875903" cy="44881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14" name="모서리가 둥근 직사각형 113"/>
          <p:cNvSpPr/>
          <p:nvPr/>
        </p:nvSpPr>
        <p:spPr bwMode="auto">
          <a:xfrm>
            <a:off x="7865013" y="5159923"/>
            <a:ext cx="360599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정보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1" name="직선 화살표 연결선 110"/>
          <p:cNvCxnSpPr/>
          <p:nvPr/>
        </p:nvCxnSpPr>
        <p:spPr bwMode="auto">
          <a:xfrm>
            <a:off x="6365341" y="5422658"/>
            <a:ext cx="63914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117" name="모서리가 둥근 직사각형 116"/>
          <p:cNvSpPr/>
          <p:nvPr/>
        </p:nvSpPr>
        <p:spPr bwMode="auto">
          <a:xfrm>
            <a:off x="6474326" y="5159923"/>
            <a:ext cx="360599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/L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6486881" y="4655867"/>
            <a:ext cx="580749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거래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모서리가 둥근 직사각형 118"/>
          <p:cNvSpPr/>
          <p:nvPr/>
        </p:nvSpPr>
        <p:spPr bwMode="auto">
          <a:xfrm>
            <a:off x="6177136" y="3863779"/>
            <a:ext cx="580749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통보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7918580" y="3468756"/>
            <a:ext cx="580749" cy="141285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all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8369182" y="4688147"/>
            <a:ext cx="360599" cy="443417"/>
          </a:xfrm>
          <a:prstGeom prst="round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lIns="18000" tIns="18000" rIns="18000" bIns="18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할당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2" name="직선 화살표 연결선 121"/>
          <p:cNvCxnSpPr>
            <a:stCxn id="93" idx="0"/>
            <a:endCxn id="88" idx="2"/>
          </p:cNvCxnSpPr>
          <p:nvPr/>
        </p:nvCxnSpPr>
        <p:spPr bwMode="auto">
          <a:xfrm flipH="1" flipV="1">
            <a:off x="7512441" y="4666388"/>
            <a:ext cx="6464" cy="42725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4" name="구부러진 연결선 123"/>
          <p:cNvCxnSpPr>
            <a:stCxn id="93" idx="3"/>
            <a:endCxn id="121" idx="1"/>
          </p:cNvCxnSpPr>
          <p:nvPr/>
        </p:nvCxnSpPr>
        <p:spPr bwMode="auto">
          <a:xfrm flipV="1">
            <a:off x="7683314" y="4909856"/>
            <a:ext cx="685868" cy="412293"/>
          </a:xfrm>
          <a:prstGeom prst="curvedConnector3">
            <a:avLst>
              <a:gd name="adj1" fmla="val 24882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127" name="그룹 12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6" name="그룹 13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55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" name="꺾인 연결선 93"/>
          <p:cNvCxnSpPr>
            <a:stCxn id="44" idx="0"/>
            <a:endCxn id="69" idx="1"/>
          </p:cNvCxnSpPr>
          <p:nvPr/>
        </p:nvCxnSpPr>
        <p:spPr bwMode="auto">
          <a:xfrm rot="5400000" flipH="1" flipV="1">
            <a:off x="2372934" y="3443981"/>
            <a:ext cx="940827" cy="706649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4" name="꺾인 연결선 83"/>
          <p:cNvCxnSpPr>
            <a:stCxn id="28" idx="3"/>
            <a:endCxn id="120" idx="2"/>
          </p:cNvCxnSpPr>
          <p:nvPr/>
        </p:nvCxnSpPr>
        <p:spPr bwMode="auto">
          <a:xfrm flipV="1">
            <a:off x="4318409" y="3645024"/>
            <a:ext cx="4727157" cy="1933226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82" name="꺾인 연결선 81"/>
          <p:cNvCxnSpPr>
            <a:stCxn id="69" idx="3"/>
            <a:endCxn id="60" idx="1"/>
          </p:cNvCxnSpPr>
          <p:nvPr/>
        </p:nvCxnSpPr>
        <p:spPr bwMode="auto">
          <a:xfrm>
            <a:off x="5140888" y="3326891"/>
            <a:ext cx="1517902" cy="1066971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0" name="직선 화살표 연결선 69"/>
          <p:cNvCxnSpPr>
            <a:stCxn id="47" idx="3"/>
            <a:endCxn id="50" idx="1"/>
          </p:cNvCxnSpPr>
          <p:nvPr/>
        </p:nvCxnSpPr>
        <p:spPr bwMode="auto">
          <a:xfrm>
            <a:off x="6371318" y="4482268"/>
            <a:ext cx="57494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9" name="모서리가 둥근 직사각형 68"/>
          <p:cNvSpPr/>
          <p:nvPr/>
        </p:nvSpPr>
        <p:spPr bwMode="auto">
          <a:xfrm>
            <a:off x="3196672" y="2975266"/>
            <a:ext cx="1944216" cy="70325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고조사 프로세스 개선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82059" cy="605126"/>
          </a:xfrm>
        </p:spPr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D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인터페이스 기능과 부정사용 탐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화하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전적으로 부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불량 사용에 대응하고 후속 사고관리 프로세스를 자동화함 </a:t>
            </a:r>
            <a:r>
              <a:rPr lang="en-US" altLang="ko-KR" dirty="0" smtClean="0"/>
              <a:t>(</a:t>
            </a:r>
            <a:r>
              <a:rPr lang="ko-KR" altLang="en-US" dirty="0" smtClean="0"/>
              <a:t>계속</a:t>
            </a:r>
            <a:r>
              <a:rPr lang="en-US" altLang="ko-KR" dirty="0" smtClean="0"/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DS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중심 사고조사 업무 개선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pic>
        <p:nvPicPr>
          <p:cNvPr id="28" name="Picture 13" descr="storage system_s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484" y="5370517"/>
            <a:ext cx="298925" cy="415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7" descr="03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329" y="1916832"/>
            <a:ext cx="495235" cy="4438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0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1874" y="2981820"/>
            <a:ext cx="454714" cy="461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" descr="0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2981820"/>
            <a:ext cx="454714" cy="461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모서리가 둥근 직사각형 45"/>
          <p:cNvSpPr/>
          <p:nvPr/>
        </p:nvSpPr>
        <p:spPr bwMode="auto">
          <a:xfrm>
            <a:off x="3645497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사용내역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심건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조회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3" name="Picture 21" descr="building 2_s"/>
          <p:cNvPicPr preferRelativeResize="0"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7935" y="3076431"/>
            <a:ext cx="347232" cy="35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모서리가 둥근 직사각형 50"/>
          <p:cNvSpPr/>
          <p:nvPr/>
        </p:nvSpPr>
        <p:spPr bwMode="auto">
          <a:xfrm>
            <a:off x="8568102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종결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5324420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접수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원통 52"/>
          <p:cNvSpPr/>
          <p:nvPr/>
        </p:nvSpPr>
        <p:spPr bwMode="auto">
          <a:xfrm>
            <a:off x="5953061" y="3238485"/>
            <a:ext cx="223925" cy="176812"/>
          </a:xfrm>
          <a:prstGeom prst="can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2132501" y="3439464"/>
            <a:ext cx="715045" cy="2664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메일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2132501" y="3813569"/>
            <a:ext cx="715045" cy="2664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통보</a:t>
            </a: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1966574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사용내역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심건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적발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 bwMode="auto">
          <a:xfrm>
            <a:off x="344733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DS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5" name="Picture 13" descr="storage system_s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720" y="5370517"/>
            <a:ext cx="298925" cy="415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모서리가 둥근 직사각형 49"/>
          <p:cNvSpPr/>
          <p:nvPr/>
        </p:nvSpPr>
        <p:spPr bwMode="auto">
          <a:xfrm>
            <a:off x="6946261" y="4267718"/>
            <a:ext cx="1046898" cy="4291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2" name="Picture 4" descr="0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353" y="3294123"/>
            <a:ext cx="454714" cy="461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직선 화살표 연결선 18"/>
          <p:cNvCxnSpPr>
            <a:stCxn id="45" idx="3"/>
            <a:endCxn id="44" idx="1"/>
          </p:cNvCxnSpPr>
          <p:nvPr/>
        </p:nvCxnSpPr>
        <p:spPr bwMode="auto">
          <a:xfrm>
            <a:off x="1391631" y="4482268"/>
            <a:ext cx="57494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7" name="직선 화살표 연결선 56"/>
          <p:cNvCxnSpPr>
            <a:stCxn id="44" idx="3"/>
            <a:endCxn id="46" idx="1"/>
          </p:cNvCxnSpPr>
          <p:nvPr/>
        </p:nvCxnSpPr>
        <p:spPr bwMode="auto">
          <a:xfrm>
            <a:off x="3013472" y="4482268"/>
            <a:ext cx="63202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8" name="직선 화살표 연결선 57"/>
          <p:cNvCxnSpPr>
            <a:stCxn id="55" idx="3"/>
            <a:endCxn id="28" idx="1"/>
          </p:cNvCxnSpPr>
          <p:nvPr/>
        </p:nvCxnSpPr>
        <p:spPr bwMode="auto">
          <a:xfrm>
            <a:off x="1017645" y="5578250"/>
            <a:ext cx="300183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0" name="원통 59"/>
          <p:cNvSpPr/>
          <p:nvPr/>
        </p:nvSpPr>
        <p:spPr bwMode="auto">
          <a:xfrm>
            <a:off x="6546827" y="4393862"/>
            <a:ext cx="223925" cy="176812"/>
          </a:xfrm>
          <a:prstGeom prst="can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원통 53"/>
          <p:cNvSpPr/>
          <p:nvPr/>
        </p:nvSpPr>
        <p:spPr bwMode="auto">
          <a:xfrm>
            <a:off x="2378061" y="5493790"/>
            <a:ext cx="223925" cy="176812"/>
          </a:xfrm>
          <a:prstGeom prst="can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원통 55"/>
          <p:cNvSpPr/>
          <p:nvPr/>
        </p:nvSpPr>
        <p:spPr bwMode="auto">
          <a:xfrm>
            <a:off x="7129019" y="5493790"/>
            <a:ext cx="223925" cy="176812"/>
          </a:xfrm>
          <a:prstGeom prst="can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8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3" name="직선 화살표 연결선 62"/>
          <p:cNvCxnSpPr>
            <a:stCxn id="55" idx="0"/>
            <a:endCxn id="45" idx="2"/>
          </p:cNvCxnSpPr>
          <p:nvPr/>
        </p:nvCxnSpPr>
        <p:spPr bwMode="auto">
          <a:xfrm flipH="1" flipV="1">
            <a:off x="868182" y="4696818"/>
            <a:ext cx="1" cy="6736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66" name="직선 화살표 연결선 65"/>
          <p:cNvCxnSpPr>
            <a:stCxn id="28" idx="0"/>
            <a:endCxn id="46" idx="2"/>
          </p:cNvCxnSpPr>
          <p:nvPr/>
        </p:nvCxnSpPr>
        <p:spPr bwMode="auto">
          <a:xfrm flipH="1" flipV="1">
            <a:off x="4168946" y="4696818"/>
            <a:ext cx="1" cy="6736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75" name="직선 화살표 연결선 74"/>
          <p:cNvCxnSpPr>
            <a:stCxn id="50" idx="3"/>
            <a:endCxn id="51" idx="1"/>
          </p:cNvCxnSpPr>
          <p:nvPr/>
        </p:nvCxnSpPr>
        <p:spPr bwMode="auto">
          <a:xfrm>
            <a:off x="7993159" y="4482268"/>
            <a:ext cx="57494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8" name="직선 화살표 연결선 77"/>
          <p:cNvCxnSpPr>
            <a:stCxn id="114" idx="2"/>
            <a:endCxn id="50" idx="0"/>
          </p:cNvCxnSpPr>
          <p:nvPr/>
        </p:nvCxnSpPr>
        <p:spPr bwMode="auto">
          <a:xfrm flipH="1">
            <a:off x="7469710" y="3933056"/>
            <a:ext cx="140" cy="33466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5" name="꺾인 연결선 84"/>
          <p:cNvCxnSpPr>
            <a:stCxn id="23" idx="0"/>
            <a:endCxn id="40" idx="3"/>
          </p:cNvCxnSpPr>
          <p:nvPr/>
        </p:nvCxnSpPr>
        <p:spPr bwMode="auto">
          <a:xfrm rot="16200000" flipV="1">
            <a:off x="6285228" y="270107"/>
            <a:ext cx="937660" cy="4674987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8" name="꺾인 연결선 87"/>
          <p:cNvCxnSpPr>
            <a:stCxn id="69" idx="2"/>
            <a:endCxn id="47" idx="0"/>
          </p:cNvCxnSpPr>
          <p:nvPr/>
        </p:nvCxnSpPr>
        <p:spPr bwMode="auto">
          <a:xfrm rot="16200000" flipH="1">
            <a:off x="4713723" y="3133572"/>
            <a:ext cx="589202" cy="16790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1" name="직선 화살표 연결선 90"/>
          <p:cNvCxnSpPr>
            <a:stCxn id="69" idx="2"/>
            <a:endCxn id="46" idx="0"/>
          </p:cNvCxnSpPr>
          <p:nvPr/>
        </p:nvCxnSpPr>
        <p:spPr bwMode="auto">
          <a:xfrm>
            <a:off x="4168780" y="3678516"/>
            <a:ext cx="166" cy="58920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2082680" y="5775460"/>
            <a:ext cx="786550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사용</a:t>
            </a: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심내역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3774418" y="5775460"/>
            <a:ext cx="786550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74907" y="5775460"/>
            <a:ext cx="786550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DS</a:t>
            </a:r>
          </a:p>
        </p:txBody>
      </p:sp>
      <p:sp>
        <p:nvSpPr>
          <p:cNvPr id="100" name="직사각형 99"/>
          <p:cNvSpPr/>
          <p:nvPr/>
        </p:nvSpPr>
        <p:spPr bwMode="auto">
          <a:xfrm>
            <a:off x="3346226" y="3402546"/>
            <a:ext cx="786550" cy="203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4221774" y="3402546"/>
            <a:ext cx="786550" cy="203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772736" y="2317880"/>
            <a:ext cx="786550" cy="203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직선 화살표 연결선 102"/>
          <p:cNvCxnSpPr/>
          <p:nvPr/>
        </p:nvCxnSpPr>
        <p:spPr bwMode="auto">
          <a:xfrm>
            <a:off x="3944888" y="2521114"/>
            <a:ext cx="0" cy="45415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6" name="직선 화살표 연결선 105"/>
          <p:cNvCxnSpPr/>
          <p:nvPr/>
        </p:nvCxnSpPr>
        <p:spPr bwMode="auto">
          <a:xfrm rot="10800000">
            <a:off x="4374681" y="2521114"/>
            <a:ext cx="0" cy="45415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7" name="타원 106"/>
          <p:cNvSpPr/>
          <p:nvPr/>
        </p:nvSpPr>
        <p:spPr bwMode="auto">
          <a:xfrm>
            <a:off x="3854888" y="2649561"/>
            <a:ext cx="180000" cy="180000"/>
          </a:xfrm>
          <a:prstGeom prst="ellips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타원 107"/>
          <p:cNvSpPr/>
          <p:nvPr/>
        </p:nvSpPr>
        <p:spPr bwMode="auto">
          <a:xfrm>
            <a:off x="4280543" y="2649561"/>
            <a:ext cx="180000" cy="180000"/>
          </a:xfrm>
          <a:prstGeom prst="ellips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4520952" y="2564904"/>
            <a:ext cx="1850366" cy="35462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00" tIns="36000" rIns="18000" bIns="36000" rtlCol="0" anchor="ctr"/>
          <a:lstStyle/>
          <a:p>
            <a:pPr marL="84138" indent="-84138" latinLnBrk="0">
              <a:lnSpc>
                <a:spcPct val="8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사용 내용확인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4138" indent="-84138" latinLnBrk="0">
              <a:lnSpc>
                <a:spcPct val="8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 접수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2356570" y="2564904"/>
            <a:ext cx="1514087" cy="35462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00" tIns="36000" rIns="18000" bIns="36000" rtlCol="0" anchor="ctr"/>
          <a:lstStyle/>
          <a:p>
            <a:pPr marL="84138" indent="-84138" latinLnBrk="0">
              <a:lnSpc>
                <a:spcPct val="8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정사용 신고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수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8673954" y="3873917"/>
            <a:ext cx="786550" cy="22355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전금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6946400" y="3709499"/>
            <a:ext cx="1046899" cy="2235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담당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8522116" y="3421467"/>
            <a:ext cx="1046899" cy="2235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6853344" y="5775460"/>
            <a:ext cx="786550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데이터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8591366" y="2382562"/>
            <a:ext cx="951726" cy="22355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인 및 송금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6313033" y="4625000"/>
            <a:ext cx="715045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조사내용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5600279" y="3452799"/>
            <a:ext cx="951726" cy="203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신고내역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타원 125"/>
          <p:cNvSpPr/>
          <p:nvPr/>
        </p:nvSpPr>
        <p:spPr bwMode="auto">
          <a:xfrm>
            <a:off x="5637096" y="3225385"/>
            <a:ext cx="180000" cy="180000"/>
          </a:xfrm>
          <a:prstGeom prst="ellips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사각형 설명선 126"/>
          <p:cNvSpPr/>
          <p:nvPr/>
        </p:nvSpPr>
        <p:spPr bwMode="auto">
          <a:xfrm>
            <a:off x="6114440" y="1832424"/>
            <a:ext cx="1430848" cy="604282"/>
          </a:xfrm>
          <a:prstGeom prst="wedgeRectCallout">
            <a:avLst>
              <a:gd name="adj1" fmla="val -100983"/>
              <a:gd name="adj2" fmla="val 5318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발내역 고객확인 채널 단일화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등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사각형 설명선 127"/>
          <p:cNvSpPr/>
          <p:nvPr/>
        </p:nvSpPr>
        <p:spPr bwMode="auto">
          <a:xfrm>
            <a:off x="6753200" y="2680702"/>
            <a:ext cx="1075017" cy="604282"/>
          </a:xfrm>
          <a:prstGeom prst="wedgeRectCallout">
            <a:avLst>
              <a:gd name="adj1" fmla="val -102949"/>
              <a:gd name="adj2" fmla="val 48532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상담내역 전산화를 통한 고객편의제고</a:t>
            </a:r>
          </a:p>
        </p:txBody>
      </p:sp>
      <p:sp>
        <p:nvSpPr>
          <p:cNvPr id="129" name="사각형 설명선 128"/>
          <p:cNvSpPr/>
          <p:nvPr/>
        </p:nvSpPr>
        <p:spPr bwMode="auto">
          <a:xfrm>
            <a:off x="7243188" y="4814173"/>
            <a:ext cx="1075017" cy="604282"/>
          </a:xfrm>
          <a:prstGeom prst="wedgeRectCallout">
            <a:avLst>
              <a:gd name="adj1" fmla="val 93342"/>
              <a:gd name="adj2" fmla="val -18892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손실보상금 영업점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금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자동화</a:t>
            </a:r>
          </a:p>
        </p:txBody>
      </p:sp>
      <p:sp>
        <p:nvSpPr>
          <p:cNvPr id="130" name="사각형 설명선 129"/>
          <p:cNvSpPr/>
          <p:nvPr/>
        </p:nvSpPr>
        <p:spPr bwMode="auto">
          <a:xfrm>
            <a:off x="559984" y="2031849"/>
            <a:ext cx="1430848" cy="604282"/>
          </a:xfrm>
          <a:prstGeom prst="wedgeRectCallout">
            <a:avLst>
              <a:gd name="adj1" fmla="val 79921"/>
              <a:gd name="adj2" fmla="val 50860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편의적 신고 방법 지원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온라인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선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내방 등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사각형 설명선 130"/>
          <p:cNvSpPr/>
          <p:nvPr/>
        </p:nvSpPr>
        <p:spPr bwMode="auto">
          <a:xfrm>
            <a:off x="1167400" y="4941168"/>
            <a:ext cx="977288" cy="375211"/>
          </a:xfrm>
          <a:prstGeom prst="wedgeRectCallout">
            <a:avLst>
              <a:gd name="adj1" fmla="val 1523"/>
              <a:gd name="adj2" fmla="val 122856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연동 인터페이스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사각형 설명선 131"/>
          <p:cNvSpPr/>
          <p:nvPr/>
        </p:nvSpPr>
        <p:spPr bwMode="auto">
          <a:xfrm>
            <a:off x="4935275" y="5790093"/>
            <a:ext cx="1300771" cy="375211"/>
          </a:xfrm>
          <a:prstGeom prst="wedgeRectCallout">
            <a:avLst>
              <a:gd name="adj1" fmla="val 23153"/>
              <a:gd name="adj2" fmla="val -94602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 사고내역 전산화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5" name="그룹 13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818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고조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개선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en-US" altLang="ko-KR" dirty="0"/>
              <a:t>FDS </a:t>
            </a:r>
            <a:r>
              <a:rPr lang="ko-KR" altLang="en-US" dirty="0"/>
              <a:t>시스템 인터페이스 기능과 부정사용 탐지 </a:t>
            </a:r>
            <a:r>
              <a:rPr lang="en-US" altLang="ko-KR" dirty="0"/>
              <a:t>Rule</a:t>
            </a:r>
            <a:r>
              <a:rPr lang="ko-KR" altLang="en-US" dirty="0"/>
              <a:t>을</a:t>
            </a:r>
            <a:r>
              <a:rPr lang="en-US" altLang="ko-KR" dirty="0"/>
              <a:t> </a:t>
            </a:r>
            <a:r>
              <a:rPr lang="ko-KR" altLang="en-US" dirty="0"/>
              <a:t>강화하여</a:t>
            </a:r>
            <a:r>
              <a:rPr lang="en-US" altLang="ko-KR" dirty="0"/>
              <a:t>,</a:t>
            </a:r>
            <a:r>
              <a:rPr lang="ko-KR" altLang="en-US" dirty="0"/>
              <a:t> 사전적으로 부정</a:t>
            </a:r>
            <a:r>
              <a:rPr lang="en-US" altLang="ko-KR" dirty="0"/>
              <a:t>/</a:t>
            </a:r>
            <a:r>
              <a:rPr lang="ko-KR" altLang="en-US" dirty="0"/>
              <a:t>불량 사용에 대응하고 후속 사고관리 프로세스를 </a:t>
            </a:r>
            <a:r>
              <a:rPr lang="ko-KR" altLang="en-US" dirty="0" smtClean="0"/>
              <a:t>자동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회원 사고조사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5. </a:t>
            </a:r>
            <a:r>
              <a:rPr lang="ko-KR" altLang="en-US" sz="1200" kern="0" dirty="0">
                <a:solidFill>
                  <a:srgbClr val="FFFFFF"/>
                </a:solidFill>
              </a:rPr>
              <a:t>신용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8" name="AutoShape 67"/>
          <p:cNvSpPr>
            <a:spLocks noChangeArrowheads="1"/>
          </p:cNvSpPr>
          <p:nvPr/>
        </p:nvSpPr>
        <p:spPr bwMode="auto">
          <a:xfrm>
            <a:off x="3512022" y="3446059"/>
            <a:ext cx="1511472" cy="323848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화이력및메모조회</a:t>
            </a:r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AutoShape 68"/>
          <p:cNvSpPr>
            <a:spLocks noChangeArrowheads="1"/>
          </p:cNvSpPr>
          <p:nvPr/>
        </p:nvSpPr>
        <p:spPr bwMode="auto">
          <a:xfrm>
            <a:off x="1181333" y="2385218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t"/>
          <a:lstStyle/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</a:t>
            </a:r>
          </a:p>
          <a:p>
            <a:pPr algn="ctr"/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AutoShape 69"/>
          <p:cNvSpPr>
            <a:spLocks noChangeArrowheads="1"/>
          </p:cNvSpPr>
          <p:nvPr/>
        </p:nvSpPr>
        <p:spPr bwMode="auto">
          <a:xfrm>
            <a:off x="3512022" y="2441177"/>
            <a:ext cx="1511472" cy="323848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대상회원조회</a:t>
            </a:r>
          </a:p>
          <a:p>
            <a:pPr algn="ctr"/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AutoShape 70"/>
          <p:cNvSpPr>
            <a:spLocks noChangeArrowheads="1"/>
          </p:cNvSpPr>
          <p:nvPr/>
        </p:nvSpPr>
        <p:spPr bwMode="auto">
          <a:xfrm>
            <a:off x="2003574" y="2925759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관리</a:t>
            </a:r>
          </a:p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</a:p>
        </p:txBody>
      </p:sp>
      <p:sp>
        <p:nvSpPr>
          <p:cNvPr id="43" name="AutoShape 72"/>
          <p:cNvSpPr>
            <a:spLocks noChangeArrowheads="1"/>
          </p:cNvSpPr>
          <p:nvPr/>
        </p:nvSpPr>
        <p:spPr bwMode="auto">
          <a:xfrm>
            <a:off x="1592453" y="4219961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lang="en-US" altLang="ko-KR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</a:t>
            </a:r>
          </a:p>
        </p:txBody>
      </p:sp>
      <p:sp>
        <p:nvSpPr>
          <p:cNvPr id="44" name="AutoShape 73"/>
          <p:cNvSpPr>
            <a:spLocks noChangeArrowheads="1"/>
          </p:cNvSpPr>
          <p:nvPr/>
        </p:nvSpPr>
        <p:spPr bwMode="auto">
          <a:xfrm>
            <a:off x="1935558" y="2385218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조사</a:t>
            </a:r>
          </a:p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</a:t>
            </a:r>
          </a:p>
        </p:txBody>
      </p:sp>
      <p:sp>
        <p:nvSpPr>
          <p:cNvPr id="45" name="Rectangle 74"/>
          <p:cNvSpPr>
            <a:spLocks noChangeArrowheads="1"/>
          </p:cNvSpPr>
          <p:nvPr/>
        </p:nvSpPr>
        <p:spPr bwMode="auto">
          <a:xfrm>
            <a:off x="1043789" y="2331640"/>
            <a:ext cx="1714009" cy="540541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ko-KR" altLang="en-US" sz="11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AutoShape 75"/>
          <p:cNvCxnSpPr>
            <a:cxnSpLocks noChangeShapeType="1"/>
            <a:stCxn id="45" idx="3"/>
            <a:endCxn id="40" idx="1"/>
          </p:cNvCxnSpPr>
          <p:nvPr/>
        </p:nvCxnSpPr>
        <p:spPr bwMode="auto">
          <a:xfrm>
            <a:off x="2757798" y="2601911"/>
            <a:ext cx="754224" cy="119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AutoShape 76"/>
          <p:cNvSpPr>
            <a:spLocks noChangeArrowheads="1"/>
          </p:cNvSpPr>
          <p:nvPr/>
        </p:nvSpPr>
        <p:spPr bwMode="auto">
          <a:xfrm>
            <a:off x="1249349" y="2913853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</a:t>
            </a:r>
          </a:p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정보</a:t>
            </a:r>
          </a:p>
        </p:txBody>
      </p:sp>
      <p:sp>
        <p:nvSpPr>
          <p:cNvPr id="48" name="Rectangle 77"/>
          <p:cNvSpPr>
            <a:spLocks noChangeArrowheads="1"/>
          </p:cNvSpPr>
          <p:nvPr/>
        </p:nvSpPr>
        <p:spPr bwMode="auto">
          <a:xfrm>
            <a:off x="975773" y="2276872"/>
            <a:ext cx="1851553" cy="1620431"/>
          </a:xfrm>
          <a:prstGeom prst="rect">
            <a:avLst/>
          </a:prstGeom>
          <a:noFill/>
          <a:ln w="9525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ko-KR" altLang="en-US" sz="11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AutoShape 78"/>
          <p:cNvSpPr>
            <a:spLocks noChangeArrowheads="1"/>
          </p:cNvSpPr>
          <p:nvPr/>
        </p:nvSpPr>
        <p:spPr bwMode="auto">
          <a:xfrm>
            <a:off x="3512022" y="2978146"/>
            <a:ext cx="1511472" cy="323848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ko-KR" altLang="en-US" sz="11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ko-KR" altLang="en-US" sz="11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조사</a:t>
            </a:r>
          </a:p>
          <a:p>
            <a:pPr algn="ctr"/>
            <a:endParaRPr lang="ko-KR" altLang="en-US" sz="11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ko-KR" altLang="en-US" sz="11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0" name="AutoShape 79"/>
          <p:cNvCxnSpPr>
            <a:cxnSpLocks noChangeShapeType="1"/>
            <a:endCxn id="49" idx="1"/>
          </p:cNvCxnSpPr>
          <p:nvPr/>
        </p:nvCxnSpPr>
        <p:spPr bwMode="auto">
          <a:xfrm flipV="1">
            <a:off x="2806165" y="3140070"/>
            <a:ext cx="705857" cy="10716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AutoShape 80"/>
          <p:cNvSpPr>
            <a:spLocks noChangeArrowheads="1"/>
          </p:cNvSpPr>
          <p:nvPr/>
        </p:nvSpPr>
        <p:spPr bwMode="auto">
          <a:xfrm>
            <a:off x="1249349" y="3392481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화메모</a:t>
            </a:r>
          </a:p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력</a:t>
            </a:r>
          </a:p>
        </p:txBody>
      </p:sp>
      <p:cxnSp>
        <p:nvCxnSpPr>
          <p:cNvPr id="52" name="AutoShape 81"/>
          <p:cNvCxnSpPr>
            <a:cxnSpLocks noChangeShapeType="1"/>
            <a:stCxn id="51" idx="4"/>
            <a:endCxn id="28" idx="1"/>
          </p:cNvCxnSpPr>
          <p:nvPr/>
        </p:nvCxnSpPr>
        <p:spPr bwMode="auto">
          <a:xfrm flipV="1">
            <a:off x="1934046" y="3607983"/>
            <a:ext cx="1577976" cy="119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AutoShape 82"/>
          <p:cNvCxnSpPr>
            <a:cxnSpLocks noChangeShapeType="1"/>
            <a:stCxn id="40" idx="2"/>
            <a:endCxn id="49" idx="0"/>
          </p:cNvCxnSpPr>
          <p:nvPr/>
        </p:nvCxnSpPr>
        <p:spPr bwMode="auto">
          <a:xfrm>
            <a:off x="4267758" y="2765025"/>
            <a:ext cx="0" cy="213121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AutoShape 83"/>
          <p:cNvSpPr>
            <a:spLocks noChangeArrowheads="1"/>
          </p:cNvSpPr>
          <p:nvPr/>
        </p:nvSpPr>
        <p:spPr bwMode="auto">
          <a:xfrm>
            <a:off x="3573993" y="3949691"/>
            <a:ext cx="1257544" cy="514347"/>
          </a:xfrm>
          <a:prstGeom prst="diamond">
            <a:avLst/>
          </a:prstGeom>
          <a:solidFill>
            <a:schemeClr val="accent3">
              <a:lumMod val="9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량여부</a:t>
            </a:r>
          </a:p>
        </p:txBody>
      </p:sp>
      <p:sp>
        <p:nvSpPr>
          <p:cNvPr id="55" name="AutoShape 84"/>
          <p:cNvSpPr>
            <a:spLocks noChangeArrowheads="1"/>
          </p:cNvSpPr>
          <p:nvPr/>
        </p:nvSpPr>
        <p:spPr bwMode="auto">
          <a:xfrm>
            <a:off x="3444006" y="4705733"/>
            <a:ext cx="1511472" cy="323848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한도 조정</a:t>
            </a:r>
          </a:p>
        </p:txBody>
      </p:sp>
      <p:cxnSp>
        <p:nvCxnSpPr>
          <p:cNvPr id="56" name="AutoShape 85"/>
          <p:cNvCxnSpPr>
            <a:cxnSpLocks noChangeShapeType="1"/>
            <a:stCxn id="49" idx="3"/>
            <a:endCxn id="54" idx="3"/>
          </p:cNvCxnSpPr>
          <p:nvPr/>
        </p:nvCxnSpPr>
        <p:spPr bwMode="auto">
          <a:xfrm flipH="1">
            <a:off x="4831537" y="3140070"/>
            <a:ext cx="191957" cy="1066794"/>
          </a:xfrm>
          <a:prstGeom prst="bentConnector3">
            <a:avLst>
              <a:gd name="adj1" fmla="val -119089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AutoShape 86"/>
          <p:cNvCxnSpPr>
            <a:cxnSpLocks noChangeShapeType="1"/>
            <a:stCxn id="54" idx="2"/>
            <a:endCxn id="55" idx="0"/>
          </p:cNvCxnSpPr>
          <p:nvPr/>
        </p:nvCxnSpPr>
        <p:spPr bwMode="auto">
          <a:xfrm rot="5400000">
            <a:off x="4081161" y="4583969"/>
            <a:ext cx="241696" cy="302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AutoShape 87"/>
          <p:cNvCxnSpPr>
            <a:cxnSpLocks noChangeShapeType="1"/>
            <a:stCxn id="55" idx="1"/>
            <a:endCxn id="43" idx="4"/>
          </p:cNvCxnSpPr>
          <p:nvPr/>
        </p:nvCxnSpPr>
        <p:spPr bwMode="auto">
          <a:xfrm rot="10800000">
            <a:off x="2277150" y="4436653"/>
            <a:ext cx="1166856" cy="43100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AutoShape 88"/>
          <p:cNvSpPr>
            <a:spLocks noChangeArrowheads="1"/>
          </p:cNvSpPr>
          <p:nvPr/>
        </p:nvSpPr>
        <p:spPr bwMode="auto">
          <a:xfrm>
            <a:off x="1592453" y="4814079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</a:p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도조정</a:t>
            </a:r>
          </a:p>
        </p:txBody>
      </p:sp>
      <p:cxnSp>
        <p:nvCxnSpPr>
          <p:cNvPr id="60" name="AutoShape 89"/>
          <p:cNvCxnSpPr>
            <a:cxnSpLocks noChangeShapeType="1"/>
            <a:stCxn id="55" idx="1"/>
            <a:endCxn id="59" idx="4"/>
          </p:cNvCxnSpPr>
          <p:nvPr/>
        </p:nvCxnSpPr>
        <p:spPr bwMode="auto">
          <a:xfrm rot="10800000" flipV="1">
            <a:off x="2277150" y="4867657"/>
            <a:ext cx="1166856" cy="16311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AutoShape 90"/>
          <p:cNvSpPr>
            <a:spLocks noChangeArrowheads="1"/>
          </p:cNvSpPr>
          <p:nvPr/>
        </p:nvSpPr>
        <p:spPr bwMode="auto">
          <a:xfrm>
            <a:off x="1211563" y="5461776"/>
            <a:ext cx="1440432" cy="270270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별한도내역</a:t>
            </a:r>
          </a:p>
        </p:txBody>
      </p:sp>
      <p:sp>
        <p:nvSpPr>
          <p:cNvPr id="62" name="AutoShape 91"/>
          <p:cNvSpPr>
            <a:spLocks noChangeArrowheads="1"/>
          </p:cNvSpPr>
          <p:nvPr/>
        </p:nvSpPr>
        <p:spPr bwMode="auto">
          <a:xfrm>
            <a:off x="526866" y="4759311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</a:p>
        </p:txBody>
      </p:sp>
      <p:cxnSp>
        <p:nvCxnSpPr>
          <p:cNvPr id="63" name="AutoShape 92"/>
          <p:cNvCxnSpPr>
            <a:cxnSpLocks noChangeShapeType="1"/>
            <a:stCxn id="61" idx="1"/>
            <a:endCxn id="62" idx="3"/>
          </p:cNvCxnSpPr>
          <p:nvPr/>
        </p:nvCxnSpPr>
        <p:spPr bwMode="auto">
          <a:xfrm rot="10800000">
            <a:off x="869970" y="5192696"/>
            <a:ext cx="341593" cy="404810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AutoShape 93"/>
          <p:cNvCxnSpPr>
            <a:cxnSpLocks noChangeShapeType="1"/>
            <a:stCxn id="59" idx="3"/>
            <a:endCxn id="61" idx="0"/>
          </p:cNvCxnSpPr>
          <p:nvPr/>
        </p:nvCxnSpPr>
        <p:spPr bwMode="auto">
          <a:xfrm rot="5400000">
            <a:off x="1826890" y="5353109"/>
            <a:ext cx="214311" cy="302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AutoShape 94"/>
          <p:cNvSpPr>
            <a:spLocks noChangeArrowheads="1"/>
          </p:cNvSpPr>
          <p:nvPr/>
        </p:nvSpPr>
        <p:spPr bwMode="auto">
          <a:xfrm>
            <a:off x="1592453" y="5785624"/>
            <a:ext cx="684697" cy="433385"/>
          </a:xfrm>
          <a:prstGeom prst="ca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lang="en-US" altLang="ko-KR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</a:t>
            </a:r>
          </a:p>
        </p:txBody>
      </p:sp>
      <p:sp>
        <p:nvSpPr>
          <p:cNvPr id="66" name="AutoShape 95"/>
          <p:cNvSpPr>
            <a:spLocks noChangeArrowheads="1"/>
          </p:cNvSpPr>
          <p:nvPr/>
        </p:nvSpPr>
        <p:spPr bwMode="auto">
          <a:xfrm>
            <a:off x="3512022" y="5814199"/>
            <a:ext cx="1511472" cy="377426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관리회원조회</a:t>
            </a:r>
          </a:p>
        </p:txBody>
      </p:sp>
      <p:cxnSp>
        <p:nvCxnSpPr>
          <p:cNvPr id="67" name="AutoShape 96"/>
          <p:cNvCxnSpPr>
            <a:cxnSpLocks noChangeShapeType="1"/>
            <a:stCxn id="65" idx="4"/>
            <a:endCxn id="66" idx="1"/>
          </p:cNvCxnSpPr>
          <p:nvPr/>
        </p:nvCxnSpPr>
        <p:spPr bwMode="auto">
          <a:xfrm>
            <a:off x="2277150" y="6002316"/>
            <a:ext cx="1234872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직사각형 69"/>
          <p:cNvSpPr/>
          <p:nvPr/>
        </p:nvSpPr>
        <p:spPr>
          <a:xfrm>
            <a:off x="5529064" y="2348880"/>
            <a:ext cx="4016080" cy="3884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담당자별 </a:t>
            </a:r>
            <a:r>
              <a:rPr kumimoji="1" lang="ko-KR" altLang="en-US" sz="14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건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조회</a:t>
            </a: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사전관리회원과 통화하며 통화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이력과 메모를 남기고 불량 징후가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있으면 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M(RISK MARKING : </a:t>
            </a:r>
          </a:p>
          <a:p>
            <a:pPr lvl="0">
              <a:spcBef>
                <a:spcPct val="20000"/>
              </a:spcBef>
            </a:pP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혐의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주의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량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, 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량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I)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도 체크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kumimoji="1" lang="ko-KR" altLang="en-US" sz="14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량회원으로 판단되면 회원의 한도를 조회한후 담당자는 원의 </a:t>
            </a:r>
            <a:r>
              <a:rPr kumimoji="1" lang="ko-KR" altLang="en-US" sz="14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총한도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조정</a:t>
            </a: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정한 총한도금액을 상품별 한도 금액으로 나누어 승인계로 전송</a:t>
            </a: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kumimoji="1" lang="en-US" altLang="ko-KR" sz="14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endParaRPr kumimoji="1" lang="ko-KR" altLang="en-US" sz="14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4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리스크</a:t>
            </a:r>
            <a:r>
              <a:rPr kumimoji="1" lang="ko-KR" altLang="en-US" sz="14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테이블에 사전등급이 생성된 회원을 등급별로 조회</a:t>
            </a:r>
          </a:p>
        </p:txBody>
      </p:sp>
      <p:sp>
        <p:nvSpPr>
          <p:cNvPr id="71" name="직사각형 70"/>
          <p:cNvSpPr/>
          <p:nvPr/>
        </p:nvSpPr>
        <p:spPr bwMode="auto">
          <a:xfrm>
            <a:off x="359094" y="1850753"/>
            <a:ext cx="2649690" cy="36004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800" tIns="72000" rIns="10800" bIns="72000" anchor="ctr"/>
          <a:lstStyle/>
          <a:p>
            <a:pPr algn="ctr" eaLnBrk="0" latinLnBrk="0" hangingPunct="0"/>
            <a:r>
              <a:rPr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고관리 관련 원장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3104225" y="1855923"/>
            <a:ext cx="6510775" cy="36004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800" tIns="72000" rIns="10800" bIns="72000" anchor="ctr"/>
          <a:lstStyle/>
          <a:p>
            <a:pPr algn="ctr" eaLnBrk="0" latinLnBrk="0" hangingPunct="0"/>
            <a:r>
              <a:rPr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359094" y="2207240"/>
            <a:ext cx="2649690" cy="408101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105090" y="2213046"/>
            <a:ext cx="6509910" cy="408224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5" name="그룹 8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4" name="그룹 9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5" name="직선 연결선 4"/>
          <p:cNvCxnSpPr/>
          <p:nvPr/>
        </p:nvCxnSpPr>
        <p:spPr bwMode="auto">
          <a:xfrm>
            <a:off x="5423148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67313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채권관리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채권관리 프로세스의 가설적 이슈를 기반으로 </a:t>
            </a:r>
            <a:r>
              <a:rPr lang="ko-KR" altLang="en-US" dirty="0" smtClean="0"/>
              <a:t>카드 채권관리 </a:t>
            </a:r>
            <a:r>
              <a:rPr lang="ko-KR" altLang="en-US" dirty="0"/>
              <a:t>시스템 구축</a:t>
            </a:r>
            <a:r>
              <a:rPr lang="en-US" altLang="ko-KR" dirty="0"/>
              <a:t>, </a:t>
            </a:r>
            <a:r>
              <a:rPr lang="ko-KR" altLang="en-US" dirty="0"/>
              <a:t>채권 회수 지원 기능 개선 </a:t>
            </a:r>
            <a:r>
              <a:rPr lang="ko-KR" altLang="en-US" dirty="0" smtClean="0"/>
              <a:t>과제를 </a:t>
            </a:r>
            <a:r>
              <a:rPr lang="ko-KR" altLang="en-US" dirty="0"/>
              <a:t>도출함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04" y="2638100"/>
            <a:ext cx="3040025" cy="3527204"/>
            <a:chOff x="488504" y="2638100"/>
            <a:chExt cx="3040025" cy="3527204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488504" y="2638100"/>
              <a:ext cx="3040025" cy="35885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이슈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488504" y="2995532"/>
              <a:ext cx="3040025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361950" indent="-180975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2287"/>
            <a:ext cx="9334604" cy="284687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6879456 w 9334604"/>
              <a:gd name="connsiteY2" fmla="*/ 7654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74533 h 274533"/>
              <a:gd name="connsiteX1" fmla="*/ 5873682 w 9334604"/>
              <a:gd name="connsiteY1" fmla="*/ 0 h 274533"/>
              <a:gd name="connsiteX2" fmla="*/ 6879456 w 9334604"/>
              <a:gd name="connsiteY2" fmla="*/ 1530 h 274533"/>
              <a:gd name="connsiteX3" fmla="*/ 9334604 w 9334604"/>
              <a:gd name="connsiteY3" fmla="*/ 272120 h 274533"/>
              <a:gd name="connsiteX4" fmla="*/ 0 w 9334604"/>
              <a:gd name="connsiteY4" fmla="*/ 274533 h 274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4533">
                <a:moveTo>
                  <a:pt x="0" y="274533"/>
                </a:moveTo>
                <a:lnTo>
                  <a:pt x="5873682" y="0"/>
                </a:lnTo>
                <a:lnTo>
                  <a:pt x="6879456" y="1530"/>
                </a:lnTo>
                <a:lnTo>
                  <a:pt x="9334604" y="272120"/>
                </a:lnTo>
                <a:lnTo>
                  <a:pt x="0" y="274533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590244" y="3212976"/>
            <a:ext cx="2755244" cy="1217632"/>
            <a:chOff x="6590244" y="3565354"/>
            <a:chExt cx="2755244" cy="1217632"/>
          </a:xfrm>
        </p:grpSpPr>
        <p:sp>
          <p:nvSpPr>
            <p:cNvPr id="56" name="TextBox 55"/>
            <p:cNvSpPr txBox="1"/>
            <p:nvPr/>
          </p:nvSpPr>
          <p:spPr bwMode="auto">
            <a:xfrm>
              <a:off x="6590244" y="3565354"/>
              <a:ext cx="2755244" cy="12176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카드 채권관리 시스템 구축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채권 회수 지원 기능 구현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카드 채권원장 관리 구현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법조치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업무 기능 개선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대환대출 시스템 개발</a:t>
              </a: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590244" y="3570970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512840" y="2782116"/>
            <a:ext cx="2987565" cy="3352450"/>
            <a:chOff x="3651451" y="2782116"/>
            <a:chExt cx="3078595" cy="3352450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212976"/>
              <a:ext cx="2895819" cy="292159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651451" y="3284984"/>
              <a:ext cx="2893881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독자 채권관리 기능 </a:t>
              </a:r>
              <a:r>
                <a:rPr kumimoji="1" lang="ko-KR" altLang="en-US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구축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cxnSp>
        <p:nvCxnSpPr>
          <p:cNvPr id="58" name="직선 연결선 57"/>
          <p:cNvCxnSpPr/>
          <p:nvPr/>
        </p:nvCxnSpPr>
        <p:spPr bwMode="auto">
          <a:xfrm>
            <a:off x="1396600" y="3347620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9" name="TextBox 58"/>
          <p:cNvSpPr txBox="1"/>
          <p:nvPr/>
        </p:nvSpPr>
        <p:spPr bwMode="auto">
          <a:xfrm>
            <a:off x="1489495" y="3069574"/>
            <a:ext cx="201631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사업자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SOHO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분리 배분</a:t>
            </a:r>
          </a:p>
        </p:txBody>
      </p:sp>
      <p:cxnSp>
        <p:nvCxnSpPr>
          <p:cNvPr id="60" name="직선 연결선 59"/>
          <p:cNvCxnSpPr/>
          <p:nvPr/>
        </p:nvCxnSpPr>
        <p:spPr bwMode="auto">
          <a:xfrm>
            <a:off x="1399561" y="4418061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1402522" y="4941167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>
            <a:off x="1405483" y="5328765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1" name="화살표: 오각형 50"/>
          <p:cNvSpPr/>
          <p:nvPr/>
        </p:nvSpPr>
        <p:spPr bwMode="auto">
          <a:xfrm rot="5400000">
            <a:off x="831613" y="2797340"/>
            <a:ext cx="313403" cy="816567"/>
          </a:xfrm>
          <a:prstGeom prst="homePlate">
            <a:avLst>
              <a:gd name="adj" fmla="val 2767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배분</a:t>
            </a:r>
          </a:p>
        </p:txBody>
      </p:sp>
      <p:sp>
        <p:nvSpPr>
          <p:cNvPr id="52" name="화살표: 오각형 51"/>
          <p:cNvSpPr/>
          <p:nvPr/>
        </p:nvSpPr>
        <p:spPr bwMode="auto">
          <a:xfrm rot="5400000">
            <a:off x="483391" y="3497363"/>
            <a:ext cx="1009847" cy="816567"/>
          </a:xfrm>
          <a:prstGeom prst="homePlate">
            <a:avLst>
              <a:gd name="adj" fmla="val 1735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회수</a:t>
            </a:r>
          </a:p>
        </p:txBody>
      </p:sp>
      <p:sp>
        <p:nvSpPr>
          <p:cNvPr id="53" name="화살표: 오각형 52"/>
          <p:cNvSpPr/>
          <p:nvPr/>
        </p:nvSpPr>
        <p:spPr bwMode="auto">
          <a:xfrm rot="5400000">
            <a:off x="747387" y="4284616"/>
            <a:ext cx="481861" cy="816567"/>
          </a:xfrm>
          <a:prstGeom prst="homePlate">
            <a:avLst>
              <a:gd name="adj" fmla="val 22731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워크아웃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관리</a:t>
            </a:r>
          </a:p>
        </p:txBody>
      </p:sp>
      <p:sp>
        <p:nvSpPr>
          <p:cNvPr id="54" name="화살표: 오각형 53"/>
          <p:cNvSpPr/>
          <p:nvPr/>
        </p:nvSpPr>
        <p:spPr bwMode="auto">
          <a:xfrm rot="5400000">
            <a:off x="813189" y="4750590"/>
            <a:ext cx="350252" cy="816567"/>
          </a:xfrm>
          <a:prstGeom prst="homePlate">
            <a:avLst>
              <a:gd name="adj" fmla="val 2062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상각</a:t>
            </a:r>
          </a:p>
        </p:txBody>
      </p:sp>
      <p:sp>
        <p:nvSpPr>
          <p:cNvPr id="57" name="화살표: 오각형 56"/>
          <p:cNvSpPr/>
          <p:nvPr/>
        </p:nvSpPr>
        <p:spPr bwMode="auto">
          <a:xfrm rot="5400000">
            <a:off x="820924" y="5125039"/>
            <a:ext cx="334782" cy="816567"/>
          </a:xfrm>
          <a:prstGeom prst="homePlate">
            <a:avLst>
              <a:gd name="adj" fmla="val 2376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매각</a:t>
            </a:r>
          </a:p>
        </p:txBody>
      </p:sp>
      <p:sp>
        <p:nvSpPr>
          <p:cNvPr id="63" name="화살표: 오각형 62"/>
          <p:cNvSpPr/>
          <p:nvPr/>
        </p:nvSpPr>
        <p:spPr bwMode="auto">
          <a:xfrm rot="5400000">
            <a:off x="795088" y="5520357"/>
            <a:ext cx="386454" cy="816567"/>
          </a:xfrm>
          <a:prstGeom prst="homePlate">
            <a:avLst>
              <a:gd name="adj" fmla="val 2376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감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1490266" y="3380972"/>
            <a:ext cx="2016311" cy="1071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환 대출 심사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권회수 입금 개선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가상계좌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시간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휴일입금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법조치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관련 업무 수작업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환대출 은행 시스템 이용 </a:t>
            </a:r>
          </a:p>
        </p:txBody>
      </p:sp>
      <p:sp>
        <p:nvSpPr>
          <p:cNvPr id="66" name="TextBox 65"/>
          <p:cNvSpPr txBox="1"/>
          <p:nvPr/>
        </p:nvSpPr>
        <p:spPr bwMode="auto">
          <a:xfrm>
            <a:off x="1490179" y="4470619"/>
            <a:ext cx="2016311" cy="411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회생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실효채권 관리 기능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7" name="TextBox 66"/>
          <p:cNvSpPr txBox="1"/>
          <p:nvPr/>
        </p:nvSpPr>
        <p:spPr bwMode="auto">
          <a:xfrm>
            <a:off x="1490266" y="4987358"/>
            <a:ext cx="201631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권 이력관리 기능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68" name="직선 연결선 67"/>
          <p:cNvCxnSpPr/>
          <p:nvPr/>
        </p:nvCxnSpPr>
        <p:spPr bwMode="auto">
          <a:xfrm>
            <a:off x="1405558" y="5676105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69" name="TextBox 68"/>
          <p:cNvSpPr txBox="1"/>
          <p:nvPr/>
        </p:nvSpPr>
        <p:spPr bwMode="auto">
          <a:xfrm>
            <a:off x="1496616" y="5381168"/>
            <a:ext cx="201631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N/A</a:t>
            </a:r>
          </a:p>
        </p:txBody>
      </p:sp>
      <p:sp>
        <p:nvSpPr>
          <p:cNvPr id="70" name="TextBox 69"/>
          <p:cNvSpPr txBox="1"/>
          <p:nvPr/>
        </p:nvSpPr>
        <p:spPr bwMode="auto">
          <a:xfrm>
            <a:off x="1496529" y="5714206"/>
            <a:ext cx="2016311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외주 회수 현황 관리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회수 실적관리 미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47" name="그룹 46"/>
          <p:cNvGrpSpPr/>
          <p:nvPr/>
        </p:nvGrpSpPr>
        <p:grpSpPr>
          <a:xfrm>
            <a:off x="6590244" y="4698432"/>
            <a:ext cx="2755244" cy="1106832"/>
            <a:chOff x="6590244" y="4179743"/>
            <a:chExt cx="2755244" cy="1106832"/>
          </a:xfrm>
        </p:grpSpPr>
        <p:sp>
          <p:nvSpPr>
            <p:cNvPr id="48" name="TextBox 47"/>
            <p:cNvSpPr txBox="1"/>
            <p:nvPr/>
          </p:nvSpPr>
          <p:spPr bwMode="auto">
            <a:xfrm>
              <a:off x="6590244" y="4179743"/>
              <a:ext cx="2755244" cy="1106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회수실적 분석 및 모니터링 강화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Rule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기반 실적지표 관리 및 모니터링 강화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채권 상담 실적 평가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	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6590244" y="4185359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508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카드 </a:t>
            </a:r>
            <a:r>
              <a:rPr lang="ko-KR" altLang="en-US" dirty="0"/>
              <a:t>채권관리 시스템 </a:t>
            </a:r>
            <a:r>
              <a:rPr lang="ko-KR" altLang="en-US" dirty="0" smtClean="0"/>
              <a:t>구축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카드 채권관리 시스템을 통합 구축하여 </a:t>
            </a:r>
            <a:r>
              <a:rPr lang="ko-KR" altLang="en-US" dirty="0" smtClean="0"/>
              <a:t>카드 </a:t>
            </a:r>
            <a:r>
              <a:rPr lang="ko-KR" altLang="en-US" dirty="0"/>
              <a:t>특성을 고려한 채권관리를 지원하고</a:t>
            </a:r>
            <a:r>
              <a:rPr lang="en-US" altLang="ko-KR" dirty="0"/>
              <a:t>, </a:t>
            </a:r>
            <a:r>
              <a:rPr lang="ko-KR" altLang="en-US" dirty="0"/>
              <a:t>모니터링 체계를 강화하여 업무 효율성을 제고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업무 중심 채권관리 프로세스 신설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법조치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관련 수작업 업무 전산화 및 유관 시스템 연계로 업무 프로세스 개선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 채권종합관리 시스템과의 분리 여부 검토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권회수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OB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련 프로세스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시스템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관 포함</a:t>
            </a:r>
            <a:endParaRPr kumimoji="0"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환대출 업무 카드 이관 검토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시스템</a:t>
            </a:r>
            <a:r>
              <a:rPr kumimoji="0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이관</a:t>
            </a:r>
            <a:endParaRPr kumimoji="0"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419573" y="5848244"/>
            <a:ext cx="4244280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은행 채권관리 시스템과 업무관련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인터페이스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채권관리 지원 기능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9" y="5882450"/>
            <a:ext cx="4244280" cy="411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채권관리 시스템 통합 구축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-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권관리 기능 고도화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채권 회수 실적 관리 강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5494524" y="3315871"/>
            <a:ext cx="3994980" cy="2501403"/>
            <a:chOff x="849313" y="2924175"/>
            <a:chExt cx="3994980" cy="3170238"/>
          </a:xfrm>
        </p:grpSpPr>
        <p:sp>
          <p:nvSpPr>
            <p:cNvPr id="68" name="AutoShape 192"/>
            <p:cNvSpPr>
              <a:spLocks noChangeArrowheads="1"/>
            </p:cNvSpPr>
            <p:nvPr/>
          </p:nvSpPr>
          <p:spPr bwMode="auto">
            <a:xfrm>
              <a:off x="1568450" y="2925763"/>
              <a:ext cx="1368425" cy="287337"/>
            </a:xfrm>
            <a:prstGeom prst="roundRect">
              <a:avLst>
                <a:gd name="adj" fmla="val 16667"/>
              </a:avLst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업무 시스템</a:t>
              </a:r>
            </a:p>
          </p:txBody>
        </p:sp>
        <p:sp>
          <p:nvSpPr>
            <p:cNvPr id="69" name="Rectangle 194"/>
            <p:cNvSpPr>
              <a:spLocks noChangeArrowheads="1"/>
            </p:cNvSpPr>
            <p:nvPr/>
          </p:nvSpPr>
          <p:spPr bwMode="auto">
            <a:xfrm>
              <a:off x="1857375" y="3429000"/>
              <a:ext cx="792163" cy="360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자발췌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분작업</a:t>
              </a:r>
            </a:p>
          </p:txBody>
        </p:sp>
        <p:sp>
          <p:nvSpPr>
            <p:cNvPr id="70" name="Rectangle 195"/>
            <p:cNvSpPr>
              <a:spLocks noChangeArrowheads="1"/>
            </p:cNvSpPr>
            <p:nvPr/>
          </p:nvSpPr>
          <p:spPr bwMode="auto">
            <a:xfrm>
              <a:off x="2865438" y="4652963"/>
              <a:ext cx="792162" cy="3603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실적</a:t>
              </a:r>
            </a:p>
          </p:txBody>
        </p:sp>
        <p:sp>
          <p:nvSpPr>
            <p:cNvPr id="71" name="Rectangle 197"/>
            <p:cNvSpPr>
              <a:spLocks noChangeArrowheads="1"/>
            </p:cNvSpPr>
            <p:nvPr/>
          </p:nvSpPr>
          <p:spPr bwMode="auto">
            <a:xfrm>
              <a:off x="1857375" y="5156200"/>
              <a:ext cx="792163" cy="360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상각</a:t>
              </a:r>
            </a:p>
          </p:txBody>
        </p:sp>
        <p:sp>
          <p:nvSpPr>
            <p:cNvPr id="72" name="Rectangle 198"/>
            <p:cNvSpPr>
              <a:spLocks noChangeArrowheads="1"/>
            </p:cNvSpPr>
            <p:nvPr/>
          </p:nvSpPr>
          <p:spPr bwMode="auto">
            <a:xfrm>
              <a:off x="3873500" y="4652963"/>
              <a:ext cx="792163" cy="3603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법조치</a:t>
              </a:r>
            </a:p>
          </p:txBody>
        </p:sp>
        <p:sp>
          <p:nvSpPr>
            <p:cNvPr id="73" name="Rectangle 199"/>
            <p:cNvSpPr>
              <a:spLocks noChangeArrowheads="1"/>
            </p:cNvSpPr>
            <p:nvPr/>
          </p:nvSpPr>
          <p:spPr bwMode="auto">
            <a:xfrm>
              <a:off x="1857375" y="4652963"/>
              <a:ext cx="792163" cy="3603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상담</a:t>
              </a:r>
            </a:p>
          </p:txBody>
        </p:sp>
        <p:sp>
          <p:nvSpPr>
            <p:cNvPr id="74" name="Rectangle 215"/>
            <p:cNvSpPr>
              <a:spLocks noChangeArrowheads="1"/>
            </p:cNvSpPr>
            <p:nvPr/>
          </p:nvSpPr>
          <p:spPr bwMode="auto">
            <a:xfrm>
              <a:off x="1857375" y="4005263"/>
              <a:ext cx="792163" cy="3603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원장</a:t>
              </a:r>
            </a:p>
          </p:txBody>
        </p:sp>
        <p:sp>
          <p:nvSpPr>
            <p:cNvPr id="75" name="Rectangle 217"/>
            <p:cNvSpPr>
              <a:spLocks noChangeArrowheads="1"/>
            </p:cNvSpPr>
            <p:nvPr/>
          </p:nvSpPr>
          <p:spPr bwMode="auto">
            <a:xfrm>
              <a:off x="992188" y="3933825"/>
              <a:ext cx="504825" cy="5032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입금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반영</a:t>
              </a:r>
            </a:p>
          </p:txBody>
        </p:sp>
        <p:sp>
          <p:nvSpPr>
            <p:cNvPr id="76" name="Rectangle 218"/>
            <p:cNvSpPr>
              <a:spLocks noChangeArrowheads="1"/>
            </p:cNvSpPr>
            <p:nvPr/>
          </p:nvSpPr>
          <p:spPr bwMode="auto">
            <a:xfrm>
              <a:off x="3657600" y="2924175"/>
              <a:ext cx="790575" cy="360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불량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맹점색출</a:t>
              </a:r>
              <a:endParaRPr kumimoji="1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Rectangle 219"/>
            <p:cNvSpPr>
              <a:spLocks noChangeArrowheads="1"/>
            </p:cNvSpPr>
            <p:nvPr/>
          </p:nvSpPr>
          <p:spPr bwMode="auto">
            <a:xfrm>
              <a:off x="3656013" y="3644900"/>
              <a:ext cx="792162" cy="360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고채권</a:t>
              </a:r>
            </a:p>
          </p:txBody>
        </p:sp>
        <p:cxnSp>
          <p:nvCxnSpPr>
            <p:cNvPr id="78" name="AutoShape 220"/>
            <p:cNvCxnSpPr>
              <a:cxnSpLocks noChangeShapeType="1"/>
              <a:stCxn id="68" idx="2"/>
              <a:endCxn id="69" idx="0"/>
            </p:cNvCxnSpPr>
            <p:nvPr/>
          </p:nvCxnSpPr>
          <p:spPr bwMode="auto">
            <a:xfrm rot="16200000" flipH="1">
              <a:off x="2145507" y="3320256"/>
              <a:ext cx="215900" cy="1587"/>
            </a:xfrm>
            <a:prstGeom prst="bentConnector3">
              <a:avLst>
                <a:gd name="adj1" fmla="val 49264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AutoShape 221"/>
            <p:cNvCxnSpPr>
              <a:cxnSpLocks noChangeShapeType="1"/>
              <a:stCxn id="69" idx="2"/>
              <a:endCxn id="74" idx="0"/>
            </p:cNvCxnSpPr>
            <p:nvPr/>
          </p:nvCxnSpPr>
          <p:spPr bwMode="auto">
            <a:xfrm rot="5400000">
              <a:off x="2146300" y="3897313"/>
              <a:ext cx="21590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AutoShape 222"/>
            <p:cNvCxnSpPr>
              <a:cxnSpLocks noChangeShapeType="1"/>
              <a:stCxn id="74" idx="2"/>
              <a:endCxn id="73" idx="0"/>
            </p:cNvCxnSpPr>
            <p:nvPr/>
          </p:nvCxnSpPr>
          <p:spPr bwMode="auto">
            <a:xfrm rot="5400000">
              <a:off x="2110581" y="4509294"/>
              <a:ext cx="28733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AutoShape 223"/>
            <p:cNvCxnSpPr>
              <a:cxnSpLocks noChangeShapeType="1"/>
              <a:stCxn id="74" idx="2"/>
              <a:endCxn id="70" idx="0"/>
            </p:cNvCxnSpPr>
            <p:nvPr/>
          </p:nvCxnSpPr>
          <p:spPr bwMode="auto">
            <a:xfrm rot="16200000" flipH="1">
              <a:off x="2614613" y="4005262"/>
              <a:ext cx="287338" cy="1008063"/>
            </a:xfrm>
            <a:prstGeom prst="bentConnector3">
              <a:avLst>
                <a:gd name="adj1" fmla="val 49722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AutoShape 224"/>
            <p:cNvCxnSpPr>
              <a:cxnSpLocks noChangeShapeType="1"/>
              <a:stCxn id="74" idx="2"/>
              <a:endCxn id="72" idx="0"/>
            </p:cNvCxnSpPr>
            <p:nvPr/>
          </p:nvCxnSpPr>
          <p:spPr bwMode="auto">
            <a:xfrm rot="16200000" flipH="1">
              <a:off x="3118644" y="3501231"/>
              <a:ext cx="287338" cy="2016125"/>
            </a:xfrm>
            <a:prstGeom prst="bentConnector3">
              <a:avLst>
                <a:gd name="adj1" fmla="val 49722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AutoShape 225"/>
            <p:cNvCxnSpPr>
              <a:cxnSpLocks noChangeShapeType="1"/>
              <a:stCxn id="68" idx="1"/>
              <a:endCxn id="75" idx="0"/>
            </p:cNvCxnSpPr>
            <p:nvPr/>
          </p:nvCxnSpPr>
          <p:spPr bwMode="auto">
            <a:xfrm rot="10800000" flipV="1">
              <a:off x="1244600" y="3070225"/>
              <a:ext cx="323850" cy="863600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AutoShape 226"/>
            <p:cNvCxnSpPr>
              <a:cxnSpLocks noChangeShapeType="1"/>
              <a:stCxn id="75" idx="3"/>
              <a:endCxn id="74" idx="1"/>
            </p:cNvCxnSpPr>
            <p:nvPr/>
          </p:nvCxnSpPr>
          <p:spPr bwMode="auto">
            <a:xfrm>
              <a:off x="1497013" y="4186238"/>
              <a:ext cx="36036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AutoShape 227"/>
            <p:cNvCxnSpPr>
              <a:cxnSpLocks noChangeShapeType="1"/>
              <a:stCxn id="75" idx="2"/>
              <a:endCxn id="71" idx="1"/>
            </p:cNvCxnSpPr>
            <p:nvPr/>
          </p:nvCxnSpPr>
          <p:spPr bwMode="auto">
            <a:xfrm rot="16200000" flipH="1">
              <a:off x="1100932" y="4580731"/>
              <a:ext cx="900112" cy="612775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AutoShape 230"/>
            <p:cNvCxnSpPr>
              <a:cxnSpLocks noChangeShapeType="1"/>
              <a:stCxn id="68" idx="3"/>
              <a:endCxn id="77" idx="1"/>
            </p:cNvCxnSpPr>
            <p:nvPr/>
          </p:nvCxnSpPr>
          <p:spPr bwMode="auto">
            <a:xfrm>
              <a:off x="2936875" y="3070225"/>
              <a:ext cx="719138" cy="755650"/>
            </a:xfrm>
            <a:prstGeom prst="bentConnector3">
              <a:avLst>
                <a:gd name="adj1" fmla="val 49889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7" name="Line 232"/>
            <p:cNvSpPr>
              <a:spLocks noChangeShapeType="1"/>
            </p:cNvSpPr>
            <p:nvPr/>
          </p:nvSpPr>
          <p:spPr bwMode="auto">
            <a:xfrm>
              <a:off x="3297238" y="3068638"/>
              <a:ext cx="36036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Rectangle 233"/>
            <p:cNvSpPr>
              <a:spLocks noChangeArrowheads="1"/>
            </p:cNvSpPr>
            <p:nvPr/>
          </p:nvSpPr>
          <p:spPr bwMode="auto">
            <a:xfrm>
              <a:off x="2865438" y="5734050"/>
              <a:ext cx="792162" cy="360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용회복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회생</a:t>
              </a:r>
            </a:p>
          </p:txBody>
        </p:sp>
        <p:sp>
          <p:nvSpPr>
            <p:cNvPr id="89" name="Rectangle 236"/>
            <p:cNvSpPr>
              <a:spLocks noChangeArrowheads="1"/>
            </p:cNvSpPr>
            <p:nvPr/>
          </p:nvSpPr>
          <p:spPr bwMode="auto">
            <a:xfrm>
              <a:off x="849313" y="5732463"/>
              <a:ext cx="792162" cy="3603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산정</a:t>
              </a:r>
            </a:p>
          </p:txBody>
        </p:sp>
        <p:cxnSp>
          <p:nvCxnSpPr>
            <p:cNvPr id="90" name="AutoShape 237"/>
            <p:cNvCxnSpPr>
              <a:cxnSpLocks noChangeShapeType="1"/>
              <a:stCxn id="75" idx="2"/>
              <a:endCxn id="89" idx="0"/>
            </p:cNvCxnSpPr>
            <p:nvPr/>
          </p:nvCxnSpPr>
          <p:spPr bwMode="auto">
            <a:xfrm rot="16200000" flipH="1">
              <a:off x="597694" y="5083969"/>
              <a:ext cx="1295400" cy="1588"/>
            </a:xfrm>
            <a:prstGeom prst="bentConnector3">
              <a:avLst>
                <a:gd name="adj1" fmla="val 4988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1" name="AutoShape 239"/>
            <p:cNvSpPr>
              <a:spLocks noChangeArrowheads="1"/>
            </p:cNvSpPr>
            <p:nvPr/>
          </p:nvSpPr>
          <p:spPr bwMode="auto">
            <a:xfrm>
              <a:off x="4052131" y="5426807"/>
              <a:ext cx="792162" cy="287337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외기관</a:t>
              </a:r>
            </a:p>
          </p:txBody>
        </p:sp>
        <p:cxnSp>
          <p:nvCxnSpPr>
            <p:cNvPr id="92" name="AutoShape 240"/>
            <p:cNvCxnSpPr>
              <a:cxnSpLocks noChangeShapeType="1"/>
              <a:stCxn id="91" idx="1"/>
              <a:endCxn id="88" idx="0"/>
            </p:cNvCxnSpPr>
            <p:nvPr/>
          </p:nvCxnSpPr>
          <p:spPr bwMode="auto">
            <a:xfrm rot="10800000" flipV="1">
              <a:off x="3261519" y="5570476"/>
              <a:ext cx="790612" cy="163574"/>
            </a:xfrm>
            <a:prstGeom prst="curvedConnector2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AutoShape 240"/>
            <p:cNvCxnSpPr>
              <a:cxnSpLocks noChangeShapeType="1"/>
              <a:stCxn id="91" idx="0"/>
              <a:endCxn id="72" idx="2"/>
            </p:cNvCxnSpPr>
            <p:nvPr/>
          </p:nvCxnSpPr>
          <p:spPr bwMode="auto">
            <a:xfrm rot="16200000" flipV="1">
              <a:off x="4152156" y="5130751"/>
              <a:ext cx="413483" cy="17863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3" name="TextBox 22"/>
          <p:cNvSpPr txBox="1"/>
          <p:nvPr/>
        </p:nvSpPr>
        <p:spPr bwMode="auto">
          <a:xfrm>
            <a:off x="8374352" y="5603214"/>
            <a:ext cx="1254557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* </a:t>
            </a:r>
            <a:r>
              <a: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rPr>
              <a:t>카드업무 시스템내 채권관리업무 통합 구축</a:t>
            </a:r>
          </a:p>
        </p:txBody>
      </p:sp>
      <p:sp>
        <p:nvSpPr>
          <p:cNvPr id="60" name="Rectangle 217"/>
          <p:cNvSpPr>
            <a:spLocks noChangeArrowheads="1"/>
          </p:cNvSpPr>
          <p:nvPr/>
        </p:nvSpPr>
        <p:spPr bwMode="auto">
          <a:xfrm>
            <a:off x="403252" y="3531912"/>
            <a:ext cx="1309388" cy="23336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종합관리시스템</a:t>
            </a: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은행</a:t>
            </a: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217"/>
          <p:cNvSpPr>
            <a:spLocks noChangeArrowheads="1"/>
          </p:cNvSpPr>
          <p:nvPr/>
        </p:nvSpPr>
        <p:spPr bwMode="auto">
          <a:xfrm>
            <a:off x="1872220" y="3531912"/>
            <a:ext cx="1309388" cy="1479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kumimoji="1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OB</a:t>
            </a: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kumimoji="1" lang="ko-KR" alt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Rectangle 217"/>
          <p:cNvSpPr>
            <a:spLocks noChangeArrowheads="1"/>
          </p:cNvSpPr>
          <p:nvPr/>
        </p:nvSpPr>
        <p:spPr bwMode="auto">
          <a:xfrm>
            <a:off x="3341188" y="3531912"/>
            <a:ext cx="1309388" cy="6571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업무시스템</a:t>
            </a:r>
            <a:endParaRPr kumimoji="1" lang="ko-KR" alt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Rectangle 217"/>
          <p:cNvSpPr>
            <a:spLocks noChangeArrowheads="1"/>
          </p:cNvSpPr>
          <p:nvPr/>
        </p:nvSpPr>
        <p:spPr bwMode="auto">
          <a:xfrm>
            <a:off x="500482" y="391128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CS(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연체독촉</a:t>
            </a: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217"/>
          <p:cNvSpPr>
            <a:spLocks noChangeArrowheads="1"/>
          </p:cNvSpPr>
          <p:nvPr/>
        </p:nvSpPr>
        <p:spPr bwMode="auto">
          <a:xfrm>
            <a:off x="500482" y="406056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B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Rectangle 217"/>
          <p:cNvSpPr>
            <a:spLocks noChangeArrowheads="1"/>
          </p:cNvSpPr>
          <p:nvPr/>
        </p:nvSpPr>
        <p:spPr bwMode="auto">
          <a:xfrm>
            <a:off x="500482" y="420985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인회생</a:t>
            </a: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파산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Rectangle 217"/>
          <p:cNvSpPr>
            <a:spLocks noChangeArrowheads="1"/>
          </p:cNvSpPr>
          <p:nvPr/>
        </p:nvSpPr>
        <p:spPr bwMode="auto">
          <a:xfrm>
            <a:off x="500482" y="435913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관리업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Rectangle 217"/>
          <p:cNvSpPr>
            <a:spLocks noChangeArrowheads="1"/>
          </p:cNvSpPr>
          <p:nvPr/>
        </p:nvSpPr>
        <p:spPr bwMode="auto">
          <a:xfrm>
            <a:off x="500482" y="450842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부실채권매각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Rectangle 217"/>
          <p:cNvSpPr>
            <a:spLocks noChangeArrowheads="1"/>
          </p:cNvSpPr>
          <p:nvPr/>
        </p:nvSpPr>
        <p:spPr bwMode="auto">
          <a:xfrm>
            <a:off x="500482" y="465770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용정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Rectangle 217"/>
          <p:cNvSpPr>
            <a:spLocks noChangeArrowheads="1"/>
          </p:cNvSpPr>
          <p:nvPr/>
        </p:nvSpPr>
        <p:spPr bwMode="auto">
          <a:xfrm>
            <a:off x="500482" y="4956278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여신관리일반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Rectangle 217"/>
          <p:cNvSpPr>
            <a:spLocks noChangeArrowheads="1"/>
          </p:cNvSpPr>
          <p:nvPr/>
        </p:nvSpPr>
        <p:spPr bwMode="auto">
          <a:xfrm>
            <a:off x="500482" y="5105564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여신성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가지급금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Rectangle 217"/>
          <p:cNvSpPr>
            <a:spLocks noChangeArrowheads="1"/>
          </p:cNvSpPr>
          <p:nvPr/>
        </p:nvSpPr>
        <p:spPr bwMode="auto">
          <a:xfrm>
            <a:off x="500482" y="5254850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자산건전성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Rectangle 217"/>
          <p:cNvSpPr>
            <a:spLocks noChangeArrowheads="1"/>
          </p:cNvSpPr>
          <p:nvPr/>
        </p:nvSpPr>
        <p:spPr bwMode="auto">
          <a:xfrm>
            <a:off x="500482" y="5404136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일반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Rectangle 217"/>
          <p:cNvSpPr>
            <a:spLocks noChangeArrowheads="1"/>
          </p:cNvSpPr>
          <p:nvPr/>
        </p:nvSpPr>
        <p:spPr bwMode="auto">
          <a:xfrm>
            <a:off x="500482" y="555342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집중관리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Rectangle 217"/>
          <p:cNvSpPr>
            <a:spLocks noChangeArrowheads="1"/>
          </p:cNvSpPr>
          <p:nvPr/>
        </p:nvSpPr>
        <p:spPr bwMode="auto">
          <a:xfrm>
            <a:off x="500482" y="5702708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특수채권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Rectangle 217"/>
          <p:cNvSpPr>
            <a:spLocks noChangeArrowheads="1"/>
          </p:cNvSpPr>
          <p:nvPr/>
        </p:nvSpPr>
        <p:spPr bwMode="auto">
          <a:xfrm>
            <a:off x="500482" y="480699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용회복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Rectangle 217"/>
          <p:cNvSpPr>
            <a:spLocks noChangeArrowheads="1"/>
          </p:cNvSpPr>
          <p:nvPr/>
        </p:nvSpPr>
        <p:spPr bwMode="auto">
          <a:xfrm>
            <a:off x="1964800" y="391128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담관리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Rectangle 217"/>
          <p:cNvSpPr>
            <a:spLocks noChangeArrowheads="1"/>
          </p:cNvSpPr>
          <p:nvPr/>
        </p:nvSpPr>
        <p:spPr bwMode="auto">
          <a:xfrm>
            <a:off x="1964800" y="406056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컨텍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Rectangle 217"/>
          <p:cNvSpPr>
            <a:spLocks noChangeArrowheads="1"/>
          </p:cNvSpPr>
          <p:nvPr/>
        </p:nvSpPr>
        <p:spPr bwMode="auto">
          <a:xfrm>
            <a:off x="1964800" y="420985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웹포탈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Rectangle 217"/>
          <p:cNvSpPr>
            <a:spLocks noChangeArrowheads="1"/>
          </p:cNvSpPr>
          <p:nvPr/>
        </p:nvSpPr>
        <p:spPr bwMode="auto">
          <a:xfrm>
            <a:off x="1964800" y="435913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Rectangle 217"/>
          <p:cNvSpPr>
            <a:spLocks noChangeArrowheads="1"/>
          </p:cNvSpPr>
          <p:nvPr/>
        </p:nvSpPr>
        <p:spPr bwMode="auto">
          <a:xfrm>
            <a:off x="1964800" y="450842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통계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Rectangle 217"/>
          <p:cNvSpPr>
            <a:spLocks noChangeArrowheads="1"/>
          </p:cNvSpPr>
          <p:nvPr/>
        </p:nvSpPr>
        <p:spPr bwMode="auto">
          <a:xfrm>
            <a:off x="1964800" y="4657707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통합업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Rectangle 217"/>
          <p:cNvSpPr>
            <a:spLocks noChangeArrowheads="1"/>
          </p:cNvSpPr>
          <p:nvPr/>
        </p:nvSpPr>
        <p:spPr bwMode="auto">
          <a:xfrm>
            <a:off x="1964800" y="4806992"/>
            <a:ext cx="1114929" cy="128522"/>
          </a:xfrm>
          <a:prstGeom prst="rect">
            <a:avLst/>
          </a:prstGeom>
          <a:solidFill>
            <a:srgbClr val="D6EBF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CM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9" name="Rectangle 217"/>
          <p:cNvSpPr>
            <a:spLocks noChangeArrowheads="1"/>
          </p:cNvSpPr>
          <p:nvPr/>
        </p:nvSpPr>
        <p:spPr bwMode="auto">
          <a:xfrm>
            <a:off x="3443155" y="3911282"/>
            <a:ext cx="1114929" cy="12852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업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꺾인 연결선 7"/>
          <p:cNvCxnSpPr>
            <a:stCxn id="60" idx="0"/>
            <a:endCxn id="62" idx="0"/>
          </p:cNvCxnSpPr>
          <p:nvPr/>
        </p:nvCxnSpPr>
        <p:spPr bwMode="auto">
          <a:xfrm rot="5400000" flipH="1" flipV="1">
            <a:off x="2526914" y="2062944"/>
            <a:ext cx="12700" cy="2937936"/>
          </a:xfrm>
          <a:prstGeom prst="bentConnector3">
            <a:avLst>
              <a:gd name="adj1" fmla="val 1125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10" name="Rectangle 217"/>
          <p:cNvSpPr>
            <a:spLocks noChangeArrowheads="1"/>
          </p:cNvSpPr>
          <p:nvPr/>
        </p:nvSpPr>
        <p:spPr bwMode="auto">
          <a:xfrm>
            <a:off x="2613935" y="3258686"/>
            <a:ext cx="1114929" cy="250452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시스템</a:t>
            </a:r>
            <a:r>
              <a:rPr kumimoji="1" lang="en-US" altLang="ko-KR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페이스 미흡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타원 23"/>
          <p:cNvSpPr/>
          <p:nvPr/>
        </p:nvSpPr>
        <p:spPr bwMode="auto">
          <a:xfrm>
            <a:off x="2533264" y="3258685"/>
            <a:ext cx="186607" cy="2524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Rectangle 217"/>
          <p:cNvSpPr>
            <a:spLocks noChangeArrowheads="1"/>
          </p:cNvSpPr>
          <p:nvPr/>
        </p:nvSpPr>
        <p:spPr bwMode="auto">
          <a:xfrm>
            <a:off x="3468788" y="4300069"/>
            <a:ext cx="1114929" cy="250452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채권관리</a:t>
            </a:r>
            <a:r>
              <a:rPr kumimoji="1" lang="en-US" altLang="ko-KR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900" kern="0" noProof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메뉴 부재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타원 111"/>
          <p:cNvSpPr/>
          <p:nvPr/>
        </p:nvSpPr>
        <p:spPr bwMode="auto">
          <a:xfrm>
            <a:off x="3388117" y="4300068"/>
            <a:ext cx="186607" cy="2524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Rectangle 217"/>
          <p:cNvSpPr>
            <a:spLocks noChangeArrowheads="1"/>
          </p:cNvSpPr>
          <p:nvPr/>
        </p:nvSpPr>
        <p:spPr bwMode="auto">
          <a:xfrm>
            <a:off x="2022035" y="5086216"/>
            <a:ext cx="1114929" cy="250452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noProof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채권 회수 지원 기능 미흡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타원 113"/>
          <p:cNvSpPr/>
          <p:nvPr/>
        </p:nvSpPr>
        <p:spPr bwMode="auto">
          <a:xfrm>
            <a:off x="1941364" y="5086215"/>
            <a:ext cx="186607" cy="2524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7" name="그룹 12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6" name="그룹 13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416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행 채권종합 관리 시스템과 분리하여 카드 채권 특성을 반영한 채권관리 시스템을 카드업무 시스템內 구축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 채권관리 시스템 및 기능 구성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297750" y="1844824"/>
            <a:ext cx="4655250" cy="36004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10800" tIns="72000" rIns="10800" bIns="72000" anchor="ctr"/>
          <a:lstStyle/>
          <a:p>
            <a:pPr algn="ctr" eaLnBrk="0" latinLnBrk="0" hangingPunct="0"/>
            <a:r>
              <a:rPr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 채권관리 시스템 구성도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297750" y="2204864"/>
            <a:ext cx="4655250" cy="411171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6" name="AutoShape 192"/>
          <p:cNvSpPr>
            <a:spLocks noChangeArrowheads="1"/>
          </p:cNvSpPr>
          <p:nvPr/>
        </p:nvSpPr>
        <p:spPr bwMode="auto">
          <a:xfrm>
            <a:off x="1234998" y="2284530"/>
            <a:ext cx="1488454" cy="174323"/>
          </a:xfrm>
          <a:prstGeom prst="roundRect">
            <a:avLst>
              <a:gd name="adj" fmla="val 16667"/>
            </a:avLst>
          </a:prstGeom>
          <a:pattFill prst="lt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업무 시스템</a:t>
            </a:r>
          </a:p>
        </p:txBody>
      </p:sp>
      <p:sp>
        <p:nvSpPr>
          <p:cNvPr id="317" name="Rectangle 194"/>
          <p:cNvSpPr>
            <a:spLocks noChangeArrowheads="1"/>
          </p:cNvSpPr>
          <p:nvPr/>
        </p:nvSpPr>
        <p:spPr bwMode="auto">
          <a:xfrm>
            <a:off x="1549266" y="2589836"/>
            <a:ext cx="861646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연체자발췌</a:t>
            </a:r>
          </a:p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배분작업</a:t>
            </a:r>
          </a:p>
        </p:txBody>
      </p:sp>
      <p:sp>
        <p:nvSpPr>
          <p:cNvPr id="318" name="Rectangle 195"/>
          <p:cNvSpPr>
            <a:spLocks noChangeArrowheads="1"/>
          </p:cNvSpPr>
          <p:nvPr/>
        </p:nvSpPr>
        <p:spPr bwMode="auto">
          <a:xfrm>
            <a:off x="2645750" y="3332394"/>
            <a:ext cx="861645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실적</a:t>
            </a:r>
          </a:p>
        </p:txBody>
      </p:sp>
      <p:sp>
        <p:nvSpPr>
          <p:cNvPr id="319" name="Rectangle 197"/>
          <p:cNvSpPr>
            <a:spLocks noChangeArrowheads="1"/>
          </p:cNvSpPr>
          <p:nvPr/>
        </p:nvSpPr>
        <p:spPr bwMode="auto">
          <a:xfrm>
            <a:off x="1549266" y="3637699"/>
            <a:ext cx="861646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대손상각</a:t>
            </a:r>
          </a:p>
        </p:txBody>
      </p:sp>
      <p:sp>
        <p:nvSpPr>
          <p:cNvPr id="320" name="Rectangle 198"/>
          <p:cNvSpPr>
            <a:spLocks noChangeArrowheads="1"/>
          </p:cNvSpPr>
          <p:nvPr/>
        </p:nvSpPr>
        <p:spPr bwMode="auto">
          <a:xfrm>
            <a:off x="3742232" y="3332394"/>
            <a:ext cx="861646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</a:p>
        </p:txBody>
      </p:sp>
      <p:sp>
        <p:nvSpPr>
          <p:cNvPr id="321" name="Rectangle 199"/>
          <p:cNvSpPr>
            <a:spLocks noChangeArrowheads="1"/>
          </p:cNvSpPr>
          <p:nvPr/>
        </p:nvSpPr>
        <p:spPr bwMode="auto">
          <a:xfrm>
            <a:off x="1549266" y="3332394"/>
            <a:ext cx="861646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담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2" name="Rectangle 215"/>
          <p:cNvSpPr>
            <a:spLocks noChangeArrowheads="1"/>
          </p:cNvSpPr>
          <p:nvPr/>
        </p:nvSpPr>
        <p:spPr bwMode="auto">
          <a:xfrm>
            <a:off x="1549266" y="2939445"/>
            <a:ext cx="861646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원장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3" name="Rectangle 217"/>
          <p:cNvSpPr>
            <a:spLocks noChangeArrowheads="1"/>
          </p:cNvSpPr>
          <p:nvPr/>
        </p:nvSpPr>
        <p:spPr bwMode="auto">
          <a:xfrm>
            <a:off x="608190" y="2896105"/>
            <a:ext cx="549105" cy="3053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반영</a:t>
            </a:r>
          </a:p>
        </p:txBody>
      </p:sp>
      <p:sp>
        <p:nvSpPr>
          <p:cNvPr id="324" name="Rectangle 218"/>
          <p:cNvSpPr>
            <a:spLocks noChangeArrowheads="1"/>
          </p:cNvSpPr>
          <p:nvPr/>
        </p:nvSpPr>
        <p:spPr bwMode="auto">
          <a:xfrm>
            <a:off x="3505669" y="2283567"/>
            <a:ext cx="1144552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불량 가맹점색출</a:t>
            </a:r>
            <a:endParaRPr kumimoji="1" lang="ko-KR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5" name="Rectangle 219"/>
          <p:cNvSpPr>
            <a:spLocks noChangeArrowheads="1"/>
          </p:cNvSpPr>
          <p:nvPr/>
        </p:nvSpPr>
        <p:spPr bwMode="auto">
          <a:xfrm>
            <a:off x="3505669" y="2720819"/>
            <a:ext cx="861645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사고채권</a:t>
            </a:r>
          </a:p>
        </p:txBody>
      </p:sp>
      <p:cxnSp>
        <p:nvCxnSpPr>
          <p:cNvPr id="326" name="AutoShape 220"/>
          <p:cNvCxnSpPr>
            <a:cxnSpLocks noChangeShapeType="1"/>
            <a:stCxn id="316" idx="2"/>
            <a:endCxn id="317" idx="0"/>
          </p:cNvCxnSpPr>
          <p:nvPr/>
        </p:nvCxnSpPr>
        <p:spPr bwMode="auto">
          <a:xfrm rot="16200000" flipH="1">
            <a:off x="1914598" y="2523481"/>
            <a:ext cx="130983" cy="1726"/>
          </a:xfrm>
          <a:prstGeom prst="bentConnector3">
            <a:avLst>
              <a:gd name="adj1" fmla="val 49264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7" name="AutoShape 221"/>
          <p:cNvCxnSpPr>
            <a:cxnSpLocks noChangeShapeType="1"/>
            <a:stCxn id="317" idx="2"/>
            <a:endCxn id="322" idx="0"/>
          </p:cNvCxnSpPr>
          <p:nvPr/>
        </p:nvCxnSpPr>
        <p:spPr bwMode="auto">
          <a:xfrm rot="5400000">
            <a:off x="1915461" y="2873953"/>
            <a:ext cx="130983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8" name="AutoShape 222"/>
          <p:cNvCxnSpPr>
            <a:cxnSpLocks noChangeShapeType="1"/>
            <a:stCxn id="322" idx="2"/>
            <a:endCxn id="321" idx="0"/>
          </p:cNvCxnSpPr>
          <p:nvPr/>
        </p:nvCxnSpPr>
        <p:spPr bwMode="auto">
          <a:xfrm rot="5400000">
            <a:off x="1893790" y="3245232"/>
            <a:ext cx="174323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9" name="AutoShape 223"/>
          <p:cNvCxnSpPr>
            <a:cxnSpLocks noChangeShapeType="1"/>
            <a:stCxn id="322" idx="2"/>
            <a:endCxn id="318" idx="0"/>
          </p:cNvCxnSpPr>
          <p:nvPr/>
        </p:nvCxnSpPr>
        <p:spPr bwMode="auto">
          <a:xfrm rot="16200000" flipH="1">
            <a:off x="2442033" y="2696990"/>
            <a:ext cx="174323" cy="1096484"/>
          </a:xfrm>
          <a:prstGeom prst="bentConnector3">
            <a:avLst>
              <a:gd name="adj1" fmla="val 49722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0" name="AutoShape 224"/>
          <p:cNvCxnSpPr>
            <a:cxnSpLocks noChangeShapeType="1"/>
            <a:stCxn id="322" idx="2"/>
            <a:endCxn id="320" idx="0"/>
          </p:cNvCxnSpPr>
          <p:nvPr/>
        </p:nvCxnSpPr>
        <p:spPr bwMode="auto">
          <a:xfrm rot="16200000" flipH="1">
            <a:off x="2990274" y="2148748"/>
            <a:ext cx="174323" cy="2192967"/>
          </a:xfrm>
          <a:prstGeom prst="bentConnector3">
            <a:avLst>
              <a:gd name="adj1" fmla="val 49722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1" name="AutoShape 225"/>
          <p:cNvCxnSpPr>
            <a:cxnSpLocks noChangeShapeType="1"/>
            <a:stCxn id="316" idx="1"/>
            <a:endCxn id="323" idx="0"/>
          </p:cNvCxnSpPr>
          <p:nvPr/>
        </p:nvCxnSpPr>
        <p:spPr bwMode="auto">
          <a:xfrm rot="10800000" flipV="1">
            <a:off x="882742" y="2372173"/>
            <a:ext cx="352256" cy="523932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2" name="AutoShape 226"/>
          <p:cNvCxnSpPr>
            <a:cxnSpLocks noChangeShapeType="1"/>
            <a:stCxn id="323" idx="3"/>
            <a:endCxn id="322" idx="1"/>
          </p:cNvCxnSpPr>
          <p:nvPr/>
        </p:nvCxnSpPr>
        <p:spPr bwMode="auto">
          <a:xfrm>
            <a:off x="1157295" y="3049239"/>
            <a:ext cx="391971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3" name="AutoShape 227"/>
          <p:cNvCxnSpPr>
            <a:cxnSpLocks noChangeShapeType="1"/>
            <a:stCxn id="323" idx="2"/>
            <a:endCxn id="319" idx="1"/>
          </p:cNvCxnSpPr>
          <p:nvPr/>
        </p:nvCxnSpPr>
        <p:spPr bwMode="auto">
          <a:xfrm rot="16200000" flipH="1">
            <a:off x="942963" y="3141190"/>
            <a:ext cx="546083" cy="666524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4" name="AutoShape 230"/>
          <p:cNvCxnSpPr>
            <a:cxnSpLocks noChangeShapeType="1"/>
            <a:stCxn id="316" idx="3"/>
            <a:endCxn id="325" idx="1"/>
          </p:cNvCxnSpPr>
          <p:nvPr/>
        </p:nvCxnSpPr>
        <p:spPr bwMode="auto">
          <a:xfrm>
            <a:off x="2723452" y="2371692"/>
            <a:ext cx="782217" cy="4584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5" name="Line 232"/>
          <p:cNvSpPr>
            <a:spLocks noChangeShapeType="1"/>
          </p:cNvSpPr>
          <p:nvPr/>
        </p:nvSpPr>
        <p:spPr bwMode="auto">
          <a:xfrm>
            <a:off x="3115424" y="2371210"/>
            <a:ext cx="391971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6" name="Rectangle 233"/>
          <p:cNvSpPr>
            <a:spLocks noChangeArrowheads="1"/>
          </p:cNvSpPr>
          <p:nvPr/>
        </p:nvSpPr>
        <p:spPr bwMode="auto">
          <a:xfrm>
            <a:off x="2658485" y="3988271"/>
            <a:ext cx="1146850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용회복</a:t>
            </a:r>
            <a:r>
              <a:rPr kumimoji="1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인회생</a:t>
            </a:r>
          </a:p>
        </p:txBody>
      </p:sp>
      <p:sp>
        <p:nvSpPr>
          <p:cNvPr id="337" name="Rectangle 236"/>
          <p:cNvSpPr>
            <a:spLocks noChangeArrowheads="1"/>
          </p:cNvSpPr>
          <p:nvPr/>
        </p:nvSpPr>
        <p:spPr bwMode="auto">
          <a:xfrm>
            <a:off x="452783" y="3987308"/>
            <a:ext cx="861645" cy="2186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성과급산정</a:t>
            </a:r>
          </a:p>
        </p:txBody>
      </p:sp>
      <p:cxnSp>
        <p:nvCxnSpPr>
          <p:cNvPr id="338" name="AutoShape 237"/>
          <p:cNvCxnSpPr>
            <a:cxnSpLocks noChangeShapeType="1"/>
            <a:stCxn id="323" idx="2"/>
            <a:endCxn id="337" idx="0"/>
          </p:cNvCxnSpPr>
          <p:nvPr/>
        </p:nvCxnSpPr>
        <p:spPr bwMode="auto">
          <a:xfrm rot="16200000" flipH="1">
            <a:off x="490657" y="3593496"/>
            <a:ext cx="785897" cy="1727"/>
          </a:xfrm>
          <a:prstGeom prst="bentConnector3">
            <a:avLst>
              <a:gd name="adj1" fmla="val 4988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9" name="AutoShape 239"/>
          <p:cNvSpPr>
            <a:spLocks noChangeArrowheads="1"/>
          </p:cNvSpPr>
          <p:nvPr/>
        </p:nvSpPr>
        <p:spPr bwMode="auto">
          <a:xfrm>
            <a:off x="3936532" y="3801872"/>
            <a:ext cx="861645" cy="174323"/>
          </a:xfrm>
          <a:prstGeom prst="flowChartAlternateProcess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대외기관</a:t>
            </a:r>
          </a:p>
        </p:txBody>
      </p:sp>
      <p:cxnSp>
        <p:nvCxnSpPr>
          <p:cNvPr id="340" name="AutoShape 240"/>
          <p:cNvCxnSpPr>
            <a:cxnSpLocks noChangeShapeType="1"/>
            <a:stCxn id="339" idx="1"/>
            <a:endCxn id="336" idx="0"/>
          </p:cNvCxnSpPr>
          <p:nvPr/>
        </p:nvCxnSpPr>
        <p:spPr bwMode="auto">
          <a:xfrm rot="10800000" flipV="1">
            <a:off x="3231910" y="3889033"/>
            <a:ext cx="704622" cy="99237"/>
          </a:xfrm>
          <a:prstGeom prst="curvedConnector2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1" name="AutoShape 240"/>
          <p:cNvCxnSpPr>
            <a:cxnSpLocks noChangeShapeType="1"/>
            <a:stCxn id="339" idx="0"/>
            <a:endCxn id="320" idx="2"/>
          </p:cNvCxnSpPr>
          <p:nvPr/>
        </p:nvCxnSpPr>
        <p:spPr bwMode="auto">
          <a:xfrm rot="16200000" flipV="1">
            <a:off x="4144779" y="3579296"/>
            <a:ext cx="250853" cy="194298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2" name="TextBox 341"/>
          <p:cNvSpPr txBox="1"/>
          <p:nvPr/>
        </p:nvSpPr>
        <p:spPr bwMode="auto">
          <a:xfrm>
            <a:off x="452783" y="6109437"/>
            <a:ext cx="2447155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900" b="0" dirty="0">
                <a:solidFill>
                  <a:srgbClr val="000000"/>
                </a:solidFill>
                <a:latin typeface="맑은 고딕"/>
                <a:ea typeface="맑은 고딕"/>
              </a:rPr>
              <a:t>* </a:t>
            </a:r>
            <a:r>
              <a:rPr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rPr>
              <a:t>카드업무 시스템내 채권관리업무 통합 구축</a:t>
            </a:r>
          </a:p>
        </p:txBody>
      </p:sp>
      <p:sp>
        <p:nvSpPr>
          <p:cNvPr id="207" name="Rectangle 123"/>
          <p:cNvSpPr>
            <a:spLocks noChangeArrowheads="1"/>
          </p:cNvSpPr>
          <p:nvPr/>
        </p:nvSpPr>
        <p:spPr bwMode="gray">
          <a:xfrm>
            <a:off x="757494" y="4974386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기초자료등록</a:t>
            </a:r>
          </a:p>
        </p:txBody>
      </p:sp>
      <p:sp>
        <p:nvSpPr>
          <p:cNvPr id="222" name="Rectangle 153"/>
          <p:cNvSpPr>
            <a:spLocks noChangeArrowheads="1"/>
          </p:cNvSpPr>
          <p:nvPr/>
        </p:nvSpPr>
        <p:spPr bwMode="gray">
          <a:xfrm>
            <a:off x="757494" y="517133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배분관리</a:t>
            </a:r>
          </a:p>
        </p:txBody>
      </p:sp>
      <p:sp>
        <p:nvSpPr>
          <p:cNvPr id="225" name="Rectangle 156"/>
          <p:cNvSpPr>
            <a:spLocks noChangeArrowheads="1"/>
          </p:cNvSpPr>
          <p:nvPr/>
        </p:nvSpPr>
        <p:spPr bwMode="gray">
          <a:xfrm>
            <a:off x="757494" y="536462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감관리</a:t>
            </a:r>
          </a:p>
        </p:txBody>
      </p:sp>
      <p:sp>
        <p:nvSpPr>
          <p:cNvPr id="228" name="Rectangle 159"/>
          <p:cNvSpPr>
            <a:spLocks noChangeArrowheads="1"/>
          </p:cNvSpPr>
          <p:nvPr/>
        </p:nvSpPr>
        <p:spPr bwMode="gray">
          <a:xfrm>
            <a:off x="757494" y="5558529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사관리</a:t>
            </a:r>
          </a:p>
        </p:txBody>
      </p:sp>
      <p:sp>
        <p:nvSpPr>
          <p:cNvPr id="231" name="Rectangle 171"/>
          <p:cNvSpPr>
            <a:spLocks noChangeArrowheads="1"/>
          </p:cNvSpPr>
          <p:nvPr/>
        </p:nvSpPr>
        <p:spPr bwMode="gray">
          <a:xfrm>
            <a:off x="1600161" y="4974386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담관리</a:t>
            </a:r>
          </a:p>
        </p:txBody>
      </p:sp>
      <p:sp>
        <p:nvSpPr>
          <p:cNvPr id="234" name="Rectangle 174"/>
          <p:cNvSpPr>
            <a:spLocks noChangeArrowheads="1"/>
          </p:cNvSpPr>
          <p:nvPr/>
        </p:nvSpPr>
        <p:spPr bwMode="gray">
          <a:xfrm>
            <a:off x="1600161" y="517133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관리</a:t>
            </a:r>
          </a:p>
        </p:txBody>
      </p:sp>
      <p:sp>
        <p:nvSpPr>
          <p:cNvPr id="237" name="Rectangle 177"/>
          <p:cNvSpPr>
            <a:spLocks noChangeArrowheads="1"/>
          </p:cNvSpPr>
          <p:nvPr/>
        </p:nvSpPr>
        <p:spPr bwMode="gray">
          <a:xfrm>
            <a:off x="1600161" y="536462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급</a:t>
            </a:r>
          </a:p>
        </p:txBody>
      </p:sp>
      <p:sp>
        <p:nvSpPr>
          <p:cNvPr id="240" name="Rectangle 183"/>
          <p:cNvSpPr>
            <a:spLocks noChangeArrowheads="1"/>
          </p:cNvSpPr>
          <p:nvPr/>
        </p:nvSpPr>
        <p:spPr bwMode="gray">
          <a:xfrm>
            <a:off x="2445476" y="4974386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관리</a:t>
            </a:r>
          </a:p>
        </p:txBody>
      </p:sp>
      <p:sp>
        <p:nvSpPr>
          <p:cNvPr id="243" name="Rectangle 186"/>
          <p:cNvSpPr>
            <a:spLocks noChangeArrowheads="1"/>
          </p:cNvSpPr>
          <p:nvPr/>
        </p:nvSpPr>
        <p:spPr bwMode="gray">
          <a:xfrm>
            <a:off x="2445476" y="517133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손관리</a:t>
            </a:r>
          </a:p>
        </p:txBody>
      </p:sp>
      <p:sp>
        <p:nvSpPr>
          <p:cNvPr id="246" name="Rectangle 189"/>
          <p:cNvSpPr>
            <a:spLocks noChangeArrowheads="1"/>
          </p:cNvSpPr>
          <p:nvPr/>
        </p:nvSpPr>
        <p:spPr bwMode="gray">
          <a:xfrm>
            <a:off x="2445476" y="536462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용회복</a:t>
            </a:r>
          </a:p>
        </p:txBody>
      </p:sp>
      <p:sp>
        <p:nvSpPr>
          <p:cNvPr id="249" name="Rectangle 192"/>
          <p:cNvSpPr>
            <a:spLocks noChangeArrowheads="1"/>
          </p:cNvSpPr>
          <p:nvPr/>
        </p:nvSpPr>
        <p:spPr bwMode="gray">
          <a:xfrm>
            <a:off x="2445476" y="5558529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회생</a:t>
            </a:r>
          </a:p>
        </p:txBody>
      </p:sp>
      <p:sp>
        <p:nvSpPr>
          <p:cNvPr id="252" name="Rectangle 195"/>
          <p:cNvSpPr>
            <a:spLocks noChangeArrowheads="1"/>
          </p:cNvSpPr>
          <p:nvPr/>
        </p:nvSpPr>
        <p:spPr bwMode="gray">
          <a:xfrm>
            <a:off x="3332555" y="4971599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</a:t>
            </a:r>
          </a:p>
        </p:txBody>
      </p:sp>
      <p:sp>
        <p:nvSpPr>
          <p:cNvPr id="255" name="Rectangle 198"/>
          <p:cNvSpPr>
            <a:spLocks noChangeArrowheads="1"/>
          </p:cNvSpPr>
          <p:nvPr/>
        </p:nvSpPr>
        <p:spPr bwMode="gray">
          <a:xfrm>
            <a:off x="3322133" y="517133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조사</a:t>
            </a:r>
          </a:p>
        </p:txBody>
      </p:sp>
      <p:sp>
        <p:nvSpPr>
          <p:cNvPr id="258" name="Rectangle 201"/>
          <p:cNvSpPr>
            <a:spLocks noChangeArrowheads="1"/>
          </p:cNvSpPr>
          <p:nvPr/>
        </p:nvSpPr>
        <p:spPr bwMode="gray">
          <a:xfrm>
            <a:off x="3322133" y="536462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조사</a:t>
            </a:r>
          </a:p>
        </p:txBody>
      </p:sp>
      <p:sp>
        <p:nvSpPr>
          <p:cNvPr id="261" name="Rectangle 204"/>
          <p:cNvSpPr>
            <a:spLocks noChangeArrowheads="1"/>
          </p:cNvSpPr>
          <p:nvPr/>
        </p:nvSpPr>
        <p:spPr bwMode="gray">
          <a:xfrm>
            <a:off x="3322133" y="5558529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상관리</a:t>
            </a:r>
          </a:p>
        </p:txBody>
      </p:sp>
      <p:sp>
        <p:nvSpPr>
          <p:cNvPr id="264" name="Rectangle 207"/>
          <p:cNvSpPr>
            <a:spLocks noChangeArrowheads="1"/>
          </p:cNvSpPr>
          <p:nvPr/>
        </p:nvSpPr>
        <p:spPr bwMode="gray">
          <a:xfrm>
            <a:off x="4176860" y="4974386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배분</a:t>
            </a:r>
          </a:p>
        </p:txBody>
      </p:sp>
      <p:sp>
        <p:nvSpPr>
          <p:cNvPr id="267" name="Rectangle 210"/>
          <p:cNvSpPr>
            <a:spLocks noChangeArrowheads="1"/>
          </p:cNvSpPr>
          <p:nvPr/>
        </p:nvSpPr>
        <p:spPr bwMode="gray">
          <a:xfrm>
            <a:off x="4176860" y="517133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적발</a:t>
            </a:r>
          </a:p>
        </p:txBody>
      </p:sp>
      <p:sp>
        <p:nvSpPr>
          <p:cNvPr id="270" name="Rectangle 213"/>
          <p:cNvSpPr>
            <a:spLocks noChangeArrowheads="1"/>
          </p:cNvSpPr>
          <p:nvPr/>
        </p:nvSpPr>
        <p:spPr bwMode="gray">
          <a:xfrm>
            <a:off x="4176860" y="5364627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험대상</a:t>
            </a:r>
          </a:p>
        </p:txBody>
      </p:sp>
      <p:sp>
        <p:nvSpPr>
          <p:cNvPr id="273" name="Rectangle 216"/>
          <p:cNvSpPr>
            <a:spLocks noChangeArrowheads="1"/>
          </p:cNvSpPr>
          <p:nvPr/>
        </p:nvSpPr>
        <p:spPr bwMode="gray">
          <a:xfrm>
            <a:off x="4176860" y="5558529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지원</a:t>
            </a:r>
          </a:p>
        </p:txBody>
      </p:sp>
      <p:sp>
        <p:nvSpPr>
          <p:cNvPr id="276" name="Rectangle 219"/>
          <p:cNvSpPr>
            <a:spLocks noChangeArrowheads="1"/>
          </p:cNvSpPr>
          <p:nvPr/>
        </p:nvSpPr>
        <p:spPr bwMode="gray">
          <a:xfrm>
            <a:off x="3324118" y="5749382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관련정보</a:t>
            </a:r>
          </a:p>
        </p:txBody>
      </p:sp>
      <p:sp>
        <p:nvSpPr>
          <p:cNvPr id="279" name="Rectangle 222"/>
          <p:cNvSpPr>
            <a:spLocks noChangeArrowheads="1"/>
          </p:cNvSpPr>
          <p:nvPr/>
        </p:nvSpPr>
        <p:spPr bwMode="gray">
          <a:xfrm>
            <a:off x="3324118" y="5942673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정보</a:t>
            </a:r>
          </a:p>
        </p:txBody>
      </p:sp>
      <p:sp>
        <p:nvSpPr>
          <p:cNvPr id="282" name="Rectangle 225"/>
          <p:cNvSpPr>
            <a:spLocks noChangeArrowheads="1"/>
          </p:cNvSpPr>
          <p:nvPr/>
        </p:nvSpPr>
        <p:spPr bwMode="gray">
          <a:xfrm>
            <a:off x="3324118" y="6136574"/>
            <a:ext cx="528263" cy="13058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35E83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/>
            <a:r>
              <a:rPr kumimoji="1" lang="ko-KR" altLang="en-US" sz="5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관리</a:t>
            </a:r>
          </a:p>
        </p:txBody>
      </p:sp>
      <p:cxnSp>
        <p:nvCxnSpPr>
          <p:cNvPr id="283" name="AutoShape 227"/>
          <p:cNvCxnSpPr>
            <a:cxnSpLocks noChangeShapeType="1"/>
            <a:stCxn id="353" idx="2"/>
            <a:endCxn id="352" idx="0"/>
          </p:cNvCxnSpPr>
          <p:nvPr/>
        </p:nvCxnSpPr>
        <p:spPr bwMode="auto">
          <a:xfrm rot="5400000">
            <a:off x="1734092" y="3746405"/>
            <a:ext cx="189995" cy="175362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4" name="AutoShape 232"/>
          <p:cNvCxnSpPr>
            <a:cxnSpLocks noChangeShapeType="1"/>
            <a:stCxn id="353" idx="2"/>
            <a:endCxn id="348" idx="0"/>
          </p:cNvCxnSpPr>
          <p:nvPr/>
        </p:nvCxnSpPr>
        <p:spPr bwMode="auto">
          <a:xfrm rot="16200000" flipH="1">
            <a:off x="3030098" y="4204026"/>
            <a:ext cx="189995" cy="83838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5" name="AutoShape 233"/>
          <p:cNvCxnSpPr>
            <a:cxnSpLocks noChangeShapeType="1"/>
            <a:stCxn id="353" idx="2"/>
            <a:endCxn id="7" idx="0"/>
          </p:cNvCxnSpPr>
          <p:nvPr/>
        </p:nvCxnSpPr>
        <p:spPr bwMode="auto">
          <a:xfrm rot="16200000" flipH="1">
            <a:off x="3462100" y="3772024"/>
            <a:ext cx="189995" cy="1702389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6" name="AutoShape 234"/>
          <p:cNvCxnSpPr>
            <a:cxnSpLocks noChangeShapeType="1"/>
            <a:stCxn id="353" idx="2"/>
            <a:endCxn id="351" idx="0"/>
          </p:cNvCxnSpPr>
          <p:nvPr/>
        </p:nvCxnSpPr>
        <p:spPr bwMode="auto">
          <a:xfrm rot="5400000">
            <a:off x="2166094" y="4178407"/>
            <a:ext cx="189995" cy="889623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7" name="Line 238"/>
          <p:cNvSpPr>
            <a:spLocks noChangeShapeType="1"/>
          </p:cNvSpPr>
          <p:nvPr/>
        </p:nvSpPr>
        <p:spPr bwMode="auto">
          <a:xfrm>
            <a:off x="2705901" y="4502398"/>
            <a:ext cx="4738" cy="218031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8" name="Line 240"/>
          <p:cNvSpPr>
            <a:spLocks noChangeShapeType="1"/>
          </p:cNvSpPr>
          <p:nvPr/>
        </p:nvSpPr>
        <p:spPr bwMode="auto">
          <a:xfrm>
            <a:off x="671240" y="4883373"/>
            <a:ext cx="0" cy="746337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9" name="Line 241"/>
          <p:cNvSpPr>
            <a:spLocks noChangeShapeType="1"/>
          </p:cNvSpPr>
          <p:nvPr/>
        </p:nvSpPr>
        <p:spPr bwMode="auto">
          <a:xfrm>
            <a:off x="671240" y="5021787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0" name="Line 242"/>
          <p:cNvSpPr>
            <a:spLocks noChangeShapeType="1"/>
          </p:cNvSpPr>
          <p:nvPr/>
        </p:nvSpPr>
        <p:spPr bwMode="auto">
          <a:xfrm>
            <a:off x="671240" y="5215078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1" name="Line 243"/>
          <p:cNvSpPr>
            <a:spLocks noChangeShapeType="1"/>
          </p:cNvSpPr>
          <p:nvPr/>
        </p:nvSpPr>
        <p:spPr bwMode="auto">
          <a:xfrm>
            <a:off x="671240" y="5408979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2" name="Line 244"/>
          <p:cNvSpPr>
            <a:spLocks noChangeShapeType="1"/>
          </p:cNvSpPr>
          <p:nvPr/>
        </p:nvSpPr>
        <p:spPr bwMode="auto">
          <a:xfrm>
            <a:off x="671240" y="5629710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3" name="Line 245"/>
          <p:cNvSpPr>
            <a:spLocks noChangeShapeType="1"/>
          </p:cNvSpPr>
          <p:nvPr/>
        </p:nvSpPr>
        <p:spPr bwMode="auto">
          <a:xfrm>
            <a:off x="1516555" y="4883373"/>
            <a:ext cx="0" cy="525606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4" name="Line 246"/>
          <p:cNvSpPr>
            <a:spLocks noChangeShapeType="1"/>
          </p:cNvSpPr>
          <p:nvPr/>
        </p:nvSpPr>
        <p:spPr bwMode="auto">
          <a:xfrm>
            <a:off x="1516555" y="5021787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5" name="Line 247"/>
          <p:cNvSpPr>
            <a:spLocks noChangeShapeType="1"/>
          </p:cNvSpPr>
          <p:nvPr/>
        </p:nvSpPr>
        <p:spPr bwMode="auto">
          <a:xfrm>
            <a:off x="1516555" y="5215078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6" name="Line 248"/>
          <p:cNvSpPr>
            <a:spLocks noChangeShapeType="1"/>
          </p:cNvSpPr>
          <p:nvPr/>
        </p:nvSpPr>
        <p:spPr bwMode="auto">
          <a:xfrm>
            <a:off x="1516555" y="5408979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7" name="Line 250"/>
          <p:cNvSpPr>
            <a:spLocks noChangeShapeType="1"/>
          </p:cNvSpPr>
          <p:nvPr/>
        </p:nvSpPr>
        <p:spPr bwMode="auto">
          <a:xfrm>
            <a:off x="2361870" y="4883373"/>
            <a:ext cx="0" cy="746337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8" name="Line 251"/>
          <p:cNvSpPr>
            <a:spLocks noChangeShapeType="1"/>
          </p:cNvSpPr>
          <p:nvPr/>
        </p:nvSpPr>
        <p:spPr bwMode="auto">
          <a:xfrm>
            <a:off x="2361870" y="5021787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9" name="Line 252"/>
          <p:cNvSpPr>
            <a:spLocks noChangeShapeType="1"/>
          </p:cNvSpPr>
          <p:nvPr/>
        </p:nvSpPr>
        <p:spPr bwMode="auto">
          <a:xfrm>
            <a:off x="2361870" y="5215078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0" name="Line 253"/>
          <p:cNvSpPr>
            <a:spLocks noChangeShapeType="1"/>
          </p:cNvSpPr>
          <p:nvPr/>
        </p:nvSpPr>
        <p:spPr bwMode="auto">
          <a:xfrm>
            <a:off x="2361870" y="5408979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1" name="Line 254"/>
          <p:cNvSpPr>
            <a:spLocks noChangeShapeType="1"/>
          </p:cNvSpPr>
          <p:nvPr/>
        </p:nvSpPr>
        <p:spPr bwMode="auto">
          <a:xfrm>
            <a:off x="2361870" y="5629710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2" name="Line 255"/>
          <p:cNvSpPr>
            <a:spLocks noChangeShapeType="1"/>
          </p:cNvSpPr>
          <p:nvPr/>
        </p:nvSpPr>
        <p:spPr bwMode="auto">
          <a:xfrm>
            <a:off x="3238526" y="4883373"/>
            <a:ext cx="0" cy="1327431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3" name="Line 256"/>
          <p:cNvSpPr>
            <a:spLocks noChangeShapeType="1"/>
          </p:cNvSpPr>
          <p:nvPr/>
        </p:nvSpPr>
        <p:spPr bwMode="auto">
          <a:xfrm>
            <a:off x="3238526" y="5021787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4" name="Line 257"/>
          <p:cNvSpPr>
            <a:spLocks noChangeShapeType="1"/>
          </p:cNvSpPr>
          <p:nvPr/>
        </p:nvSpPr>
        <p:spPr bwMode="auto">
          <a:xfrm>
            <a:off x="3238526" y="5215078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5" name="Line 258"/>
          <p:cNvSpPr>
            <a:spLocks noChangeShapeType="1"/>
          </p:cNvSpPr>
          <p:nvPr/>
        </p:nvSpPr>
        <p:spPr bwMode="auto">
          <a:xfrm>
            <a:off x="3238526" y="5408979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6" name="Line 259"/>
          <p:cNvSpPr>
            <a:spLocks noChangeShapeType="1"/>
          </p:cNvSpPr>
          <p:nvPr/>
        </p:nvSpPr>
        <p:spPr bwMode="auto">
          <a:xfrm>
            <a:off x="3238526" y="5629710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7" name="Line 260"/>
          <p:cNvSpPr>
            <a:spLocks noChangeShapeType="1"/>
          </p:cNvSpPr>
          <p:nvPr/>
        </p:nvSpPr>
        <p:spPr bwMode="auto">
          <a:xfrm>
            <a:off x="4093254" y="4883373"/>
            <a:ext cx="0" cy="746337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8" name="Line 261"/>
          <p:cNvSpPr>
            <a:spLocks noChangeShapeType="1"/>
          </p:cNvSpPr>
          <p:nvPr/>
        </p:nvSpPr>
        <p:spPr bwMode="auto">
          <a:xfrm>
            <a:off x="4093254" y="5021787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9" name="Line 262"/>
          <p:cNvSpPr>
            <a:spLocks noChangeShapeType="1"/>
          </p:cNvSpPr>
          <p:nvPr/>
        </p:nvSpPr>
        <p:spPr bwMode="auto">
          <a:xfrm>
            <a:off x="4093254" y="5215078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0" name="Line 263"/>
          <p:cNvSpPr>
            <a:spLocks noChangeShapeType="1"/>
          </p:cNvSpPr>
          <p:nvPr/>
        </p:nvSpPr>
        <p:spPr bwMode="auto">
          <a:xfrm>
            <a:off x="4093254" y="5408979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1" name="Line 264"/>
          <p:cNvSpPr>
            <a:spLocks noChangeShapeType="1"/>
          </p:cNvSpPr>
          <p:nvPr/>
        </p:nvSpPr>
        <p:spPr bwMode="auto">
          <a:xfrm>
            <a:off x="4093254" y="5629710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2" name="Line 265"/>
          <p:cNvSpPr>
            <a:spLocks noChangeShapeType="1"/>
          </p:cNvSpPr>
          <p:nvPr/>
        </p:nvSpPr>
        <p:spPr bwMode="auto">
          <a:xfrm>
            <a:off x="3238526" y="5796782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3" name="Line 266"/>
          <p:cNvSpPr>
            <a:spLocks noChangeShapeType="1"/>
          </p:cNvSpPr>
          <p:nvPr/>
        </p:nvSpPr>
        <p:spPr bwMode="auto">
          <a:xfrm>
            <a:off x="3238526" y="5990074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4" name="Line 267"/>
          <p:cNvSpPr>
            <a:spLocks noChangeShapeType="1"/>
          </p:cNvSpPr>
          <p:nvPr/>
        </p:nvSpPr>
        <p:spPr bwMode="auto">
          <a:xfrm>
            <a:off x="3238526" y="6210804"/>
            <a:ext cx="9001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3989211" y="4718216"/>
            <a:ext cx="838162" cy="18871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전채권</a:t>
            </a:r>
          </a:p>
        </p:txBody>
      </p:sp>
      <p:sp>
        <p:nvSpPr>
          <p:cNvPr id="348" name="직사각형 347"/>
          <p:cNvSpPr/>
          <p:nvPr/>
        </p:nvSpPr>
        <p:spPr bwMode="auto">
          <a:xfrm>
            <a:off x="3125207" y="4718216"/>
            <a:ext cx="838162" cy="18871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고채권</a:t>
            </a:r>
          </a:p>
        </p:txBody>
      </p:sp>
      <p:sp>
        <p:nvSpPr>
          <p:cNvPr id="350" name="직사각형 349"/>
          <p:cNvSpPr/>
          <p:nvPr/>
        </p:nvSpPr>
        <p:spPr bwMode="auto">
          <a:xfrm>
            <a:off x="2261203" y="4718216"/>
            <a:ext cx="838162" cy="18871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/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환처리</a:t>
            </a:r>
          </a:p>
        </p:txBody>
      </p:sp>
      <p:sp>
        <p:nvSpPr>
          <p:cNvPr id="351" name="직사각형 350"/>
          <p:cNvSpPr/>
          <p:nvPr/>
        </p:nvSpPr>
        <p:spPr bwMode="auto">
          <a:xfrm>
            <a:off x="1397199" y="4718216"/>
            <a:ext cx="838162" cy="18871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/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수활동</a:t>
            </a:r>
          </a:p>
        </p:txBody>
      </p:sp>
      <p:sp>
        <p:nvSpPr>
          <p:cNvPr id="352" name="직사각형 351"/>
          <p:cNvSpPr/>
          <p:nvPr/>
        </p:nvSpPr>
        <p:spPr bwMode="auto">
          <a:xfrm>
            <a:off x="533195" y="4718216"/>
            <a:ext cx="838162" cy="18871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/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관리</a:t>
            </a:r>
          </a:p>
        </p:txBody>
      </p:sp>
      <p:sp>
        <p:nvSpPr>
          <p:cNvPr id="353" name="직사각형 352"/>
          <p:cNvSpPr/>
          <p:nvPr/>
        </p:nvSpPr>
        <p:spPr bwMode="auto">
          <a:xfrm>
            <a:off x="2286822" y="4339503"/>
            <a:ext cx="838162" cy="1887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/>
            <a:r>
              <a:rPr kumimoji="1"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</a:t>
            </a:r>
          </a:p>
        </p:txBody>
      </p:sp>
      <p:grpSp>
        <p:nvGrpSpPr>
          <p:cNvPr id="407" name="그룹 406"/>
          <p:cNvGrpSpPr/>
          <p:nvPr/>
        </p:nvGrpSpPr>
        <p:grpSpPr>
          <a:xfrm>
            <a:off x="5535488" y="2371209"/>
            <a:ext cx="3810000" cy="3699437"/>
            <a:chOff x="5535488" y="2453166"/>
            <a:chExt cx="3810000" cy="3568122"/>
          </a:xfrm>
        </p:grpSpPr>
        <p:grpSp>
          <p:nvGrpSpPr>
            <p:cNvPr id="401" name="그룹 400"/>
            <p:cNvGrpSpPr/>
            <p:nvPr/>
          </p:nvGrpSpPr>
          <p:grpSpPr>
            <a:xfrm>
              <a:off x="5535488" y="2453166"/>
              <a:ext cx="3810000" cy="534988"/>
              <a:chOff x="9980830" y="2778172"/>
              <a:chExt cx="3810000" cy="534988"/>
            </a:xfrm>
          </p:grpSpPr>
          <p:sp>
            <p:nvSpPr>
              <p:cNvPr id="366" name="Text Box 10"/>
              <p:cNvSpPr txBox="1">
                <a:spLocks noChangeArrowheads="1"/>
              </p:cNvSpPr>
              <p:nvPr/>
            </p:nvSpPr>
            <p:spPr bwMode="auto">
              <a:xfrm>
                <a:off x="11122242" y="2843515"/>
                <a:ext cx="2563813" cy="3725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체회원및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연체금액 확정</a:t>
                </a:r>
              </a:p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파라메타에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의한 지점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담당 배분처리</a:t>
                </a:r>
              </a:p>
            </p:txBody>
          </p:sp>
          <p:sp>
            <p:nvSpPr>
              <p:cNvPr id="373" name="AutoShape 17"/>
              <p:cNvSpPr>
                <a:spLocks noChangeArrowheads="1"/>
              </p:cNvSpPr>
              <p:nvPr/>
            </p:nvSpPr>
            <p:spPr bwMode="auto">
              <a:xfrm>
                <a:off x="9980830" y="2778172"/>
                <a:ext cx="1014412" cy="534988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86" name="Line 30"/>
              <p:cNvSpPr>
                <a:spLocks noChangeShapeType="1"/>
              </p:cNvSpPr>
              <p:nvPr/>
            </p:nvSpPr>
            <p:spPr bwMode="auto">
              <a:xfrm>
                <a:off x="11030167" y="3309984"/>
                <a:ext cx="2760663" cy="0"/>
              </a:xfrm>
              <a:prstGeom prst="line">
                <a:avLst/>
              </a:prstGeom>
              <a:noFill/>
              <a:ln w="9525">
                <a:solidFill>
                  <a:schemeClr val="folHlink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tIns="43201" bIns="43201" anchor="ctr"/>
              <a:lstStyle/>
              <a:p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1" name="Rectangle 35"/>
              <p:cNvSpPr>
                <a:spLocks noChangeArrowheads="1"/>
              </p:cNvSpPr>
              <p:nvPr/>
            </p:nvSpPr>
            <p:spPr bwMode="auto">
              <a:xfrm>
                <a:off x="10166567" y="2830559"/>
                <a:ext cx="663575" cy="3937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배분작업</a:t>
                </a:r>
              </a:p>
            </p:txBody>
          </p:sp>
        </p:grpSp>
        <p:grpSp>
          <p:nvGrpSpPr>
            <p:cNvPr id="402" name="그룹 401"/>
            <p:cNvGrpSpPr/>
            <p:nvPr/>
          </p:nvGrpSpPr>
          <p:grpSpPr>
            <a:xfrm>
              <a:off x="5535488" y="3059158"/>
              <a:ext cx="3810000" cy="534988"/>
              <a:chOff x="9980830" y="3330622"/>
              <a:chExt cx="3810000" cy="534988"/>
            </a:xfrm>
          </p:grpSpPr>
          <p:sp>
            <p:nvSpPr>
              <p:cNvPr id="367" name="Text Box 11"/>
              <p:cNvSpPr txBox="1">
                <a:spLocks noChangeArrowheads="1"/>
              </p:cNvSpPr>
              <p:nvPr/>
            </p:nvSpPr>
            <p:spPr bwMode="auto">
              <a:xfrm>
                <a:off x="11122242" y="3385524"/>
                <a:ext cx="2563813" cy="3918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권상담에 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최적인 원장속성 구성</a:t>
                </a:r>
              </a:p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결제일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속성에 따른 </a:t>
                </a:r>
                <a:r>
                  <a:rPr kumimoji="0" lang="ko-KR" altLang="en-US" sz="1100" b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권원장 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구성</a:t>
                </a:r>
              </a:p>
            </p:txBody>
          </p:sp>
          <p:sp>
            <p:nvSpPr>
              <p:cNvPr id="374" name="AutoShape 18"/>
              <p:cNvSpPr>
                <a:spLocks noChangeArrowheads="1"/>
              </p:cNvSpPr>
              <p:nvPr/>
            </p:nvSpPr>
            <p:spPr bwMode="auto">
              <a:xfrm>
                <a:off x="9980830" y="3330622"/>
                <a:ext cx="1014412" cy="534988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87" name="Line 31"/>
              <p:cNvSpPr>
                <a:spLocks noChangeShapeType="1"/>
              </p:cNvSpPr>
              <p:nvPr/>
            </p:nvSpPr>
            <p:spPr bwMode="auto">
              <a:xfrm>
                <a:off x="11030167" y="3854497"/>
                <a:ext cx="2760663" cy="0"/>
              </a:xfrm>
              <a:prstGeom prst="line">
                <a:avLst/>
              </a:prstGeom>
              <a:noFill/>
              <a:ln w="9525">
                <a:solidFill>
                  <a:schemeClr val="folHlink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tIns="43201" bIns="43201" anchor="ctr"/>
              <a:lstStyle/>
              <a:p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2" name="Rectangle 36"/>
              <p:cNvSpPr>
                <a:spLocks noChangeArrowheads="1"/>
              </p:cNvSpPr>
              <p:nvPr/>
            </p:nvSpPr>
            <p:spPr bwMode="auto">
              <a:xfrm>
                <a:off x="10082430" y="3417934"/>
                <a:ext cx="831850" cy="3238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권원장</a:t>
                </a:r>
                <a:endParaRPr lang="ko-KR" altLang="en-US" sz="13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403" name="그룹 402"/>
            <p:cNvGrpSpPr/>
            <p:nvPr/>
          </p:nvGrpSpPr>
          <p:grpSpPr>
            <a:xfrm>
              <a:off x="5535488" y="3665150"/>
              <a:ext cx="3810000" cy="536575"/>
              <a:chOff x="9980830" y="3883072"/>
              <a:chExt cx="3810000" cy="536575"/>
            </a:xfrm>
          </p:grpSpPr>
          <p:sp>
            <p:nvSpPr>
              <p:cNvPr id="368" name="Text Box 12"/>
              <p:cNvSpPr txBox="1">
                <a:spLocks noChangeArrowheads="1"/>
              </p:cNvSpPr>
              <p:nvPr/>
            </p:nvSpPr>
            <p:spPr bwMode="auto">
              <a:xfrm>
                <a:off x="11122242" y="3947622"/>
                <a:ext cx="2563813" cy="3725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목표대비 실적 산정 가능</a:t>
                </a:r>
              </a:p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전사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점별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담당별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속성별 실적산정</a:t>
                </a:r>
              </a:p>
            </p:txBody>
          </p:sp>
          <p:sp>
            <p:nvSpPr>
              <p:cNvPr id="375" name="AutoShape 19"/>
              <p:cNvSpPr>
                <a:spLocks noChangeArrowheads="1"/>
              </p:cNvSpPr>
              <p:nvPr/>
            </p:nvSpPr>
            <p:spPr bwMode="auto">
              <a:xfrm>
                <a:off x="9980830" y="3883072"/>
                <a:ext cx="1014412" cy="536575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88" name="Line 32"/>
              <p:cNvSpPr>
                <a:spLocks noChangeShapeType="1"/>
              </p:cNvSpPr>
              <p:nvPr/>
            </p:nvSpPr>
            <p:spPr bwMode="auto">
              <a:xfrm>
                <a:off x="11030167" y="4410122"/>
                <a:ext cx="2760663" cy="0"/>
              </a:xfrm>
              <a:prstGeom prst="line">
                <a:avLst/>
              </a:prstGeom>
              <a:noFill/>
              <a:ln w="9525">
                <a:solidFill>
                  <a:schemeClr val="folHlink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tIns="43201" bIns="43201" anchor="ctr"/>
              <a:lstStyle/>
              <a:p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3" name="Rectangle 37"/>
              <p:cNvSpPr>
                <a:spLocks noChangeArrowheads="1"/>
              </p:cNvSpPr>
              <p:nvPr/>
            </p:nvSpPr>
            <p:spPr bwMode="auto">
              <a:xfrm>
                <a:off x="10149105" y="3968797"/>
                <a:ext cx="698500" cy="327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권실적</a:t>
                </a:r>
              </a:p>
            </p:txBody>
          </p:sp>
        </p:grpSp>
        <p:grpSp>
          <p:nvGrpSpPr>
            <p:cNvPr id="404" name="그룹 403"/>
            <p:cNvGrpSpPr/>
            <p:nvPr/>
          </p:nvGrpSpPr>
          <p:grpSpPr>
            <a:xfrm>
              <a:off x="5535488" y="4272729"/>
              <a:ext cx="3810000" cy="534988"/>
              <a:chOff x="9980830" y="4437110"/>
              <a:chExt cx="3810000" cy="534988"/>
            </a:xfrm>
          </p:grpSpPr>
          <p:sp>
            <p:nvSpPr>
              <p:cNvPr id="369" name="Text Box 13"/>
              <p:cNvSpPr txBox="1">
                <a:spLocks noChangeArrowheads="1"/>
              </p:cNvSpPr>
              <p:nvPr/>
            </p:nvSpPr>
            <p:spPr bwMode="auto">
              <a:xfrm>
                <a:off x="11122242" y="4498484"/>
                <a:ext cx="2563813" cy="3725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법조치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대상자 선정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의뢰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진행관리</a:t>
                </a:r>
              </a:p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법조치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기일및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실효관리</a:t>
                </a:r>
              </a:p>
            </p:txBody>
          </p:sp>
          <p:sp>
            <p:nvSpPr>
              <p:cNvPr id="376" name="AutoShape 20"/>
              <p:cNvSpPr>
                <a:spLocks noChangeArrowheads="1"/>
              </p:cNvSpPr>
              <p:nvPr/>
            </p:nvSpPr>
            <p:spPr bwMode="auto">
              <a:xfrm>
                <a:off x="9980830" y="4437110"/>
                <a:ext cx="1014412" cy="534988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0" name="Line 34"/>
              <p:cNvSpPr>
                <a:spLocks noChangeShapeType="1"/>
              </p:cNvSpPr>
              <p:nvPr/>
            </p:nvSpPr>
            <p:spPr bwMode="auto">
              <a:xfrm>
                <a:off x="11030167" y="4956222"/>
                <a:ext cx="2760663" cy="0"/>
              </a:xfrm>
              <a:prstGeom prst="line">
                <a:avLst/>
              </a:prstGeom>
              <a:noFill/>
              <a:ln w="9525">
                <a:solidFill>
                  <a:schemeClr val="folHlink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tIns="43201" bIns="43201" anchor="ctr"/>
              <a:lstStyle/>
              <a:p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4" name="Rectangle 38"/>
              <p:cNvSpPr>
                <a:spLocks noChangeArrowheads="1"/>
              </p:cNvSpPr>
              <p:nvPr/>
            </p:nvSpPr>
            <p:spPr bwMode="auto">
              <a:xfrm>
                <a:off x="10065568" y="4522834"/>
                <a:ext cx="849312" cy="3254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법조치</a:t>
                </a:r>
                <a:endParaRPr lang="ko-KR" altLang="en-US" sz="13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405" name="그룹 404"/>
            <p:cNvGrpSpPr/>
            <p:nvPr/>
          </p:nvGrpSpPr>
          <p:grpSpPr>
            <a:xfrm>
              <a:off x="5535488" y="4878721"/>
              <a:ext cx="3810000" cy="534988"/>
              <a:chOff x="9980830" y="5002260"/>
              <a:chExt cx="3810000" cy="534988"/>
            </a:xfrm>
          </p:grpSpPr>
          <p:sp>
            <p:nvSpPr>
              <p:cNvPr id="370" name="Text Box 14"/>
              <p:cNvSpPr txBox="1">
                <a:spLocks noChangeArrowheads="1"/>
              </p:cNvSpPr>
              <p:nvPr/>
            </p:nvSpPr>
            <p:spPr bwMode="auto">
              <a:xfrm>
                <a:off x="11122242" y="5066809"/>
                <a:ext cx="2563813" cy="3725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대손충담금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설정</a:t>
                </a:r>
              </a:p>
              <a:p>
                <a:pPr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대손상각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처리 지원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 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대손잔고 관리</a:t>
                </a:r>
              </a:p>
            </p:txBody>
          </p:sp>
          <p:sp>
            <p:nvSpPr>
              <p:cNvPr id="377" name="AutoShape 21"/>
              <p:cNvSpPr>
                <a:spLocks noChangeArrowheads="1"/>
              </p:cNvSpPr>
              <p:nvPr/>
            </p:nvSpPr>
            <p:spPr bwMode="auto">
              <a:xfrm>
                <a:off x="9980830" y="5002260"/>
                <a:ext cx="1014412" cy="534988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89" name="Line 33"/>
              <p:cNvSpPr>
                <a:spLocks noChangeShapeType="1"/>
              </p:cNvSpPr>
              <p:nvPr/>
            </p:nvSpPr>
            <p:spPr bwMode="auto">
              <a:xfrm>
                <a:off x="11030167" y="5534072"/>
                <a:ext cx="2760663" cy="0"/>
              </a:xfrm>
              <a:prstGeom prst="line">
                <a:avLst/>
              </a:prstGeom>
              <a:noFill/>
              <a:ln w="9525">
                <a:solidFill>
                  <a:schemeClr val="folHlink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tIns="43201" bIns="43201" anchor="ctr"/>
              <a:lstStyle/>
              <a:p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5" name="Rectangle 39"/>
              <p:cNvSpPr>
                <a:spLocks noChangeArrowheads="1"/>
              </p:cNvSpPr>
              <p:nvPr/>
            </p:nvSpPr>
            <p:spPr bwMode="auto">
              <a:xfrm>
                <a:off x="10061792" y="5053059"/>
                <a:ext cx="873125" cy="395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대손상각</a:t>
                </a:r>
              </a:p>
            </p:txBody>
          </p:sp>
        </p:grpSp>
        <p:grpSp>
          <p:nvGrpSpPr>
            <p:cNvPr id="406" name="그룹 405"/>
            <p:cNvGrpSpPr/>
            <p:nvPr/>
          </p:nvGrpSpPr>
          <p:grpSpPr>
            <a:xfrm>
              <a:off x="5535488" y="5484713"/>
              <a:ext cx="3705225" cy="536575"/>
              <a:chOff x="9980830" y="5534072"/>
              <a:chExt cx="3705225" cy="536575"/>
            </a:xfrm>
          </p:grpSpPr>
          <p:sp>
            <p:nvSpPr>
              <p:cNvPr id="371" name="Text Box 15"/>
              <p:cNvSpPr txBox="1">
                <a:spLocks noChangeArrowheads="1"/>
              </p:cNvSpPr>
              <p:nvPr/>
            </p:nvSpPr>
            <p:spPr bwMode="auto">
              <a:xfrm>
                <a:off x="11122242" y="5609613"/>
                <a:ext cx="2563813" cy="3918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42000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bg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9B9B9B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marL="88900" indent="-889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l"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en-US" altLang="ko-KR" sz="1100" b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ule</a:t>
                </a:r>
                <a:r>
                  <a:rPr kumimoji="0" lang="ko-KR" altLang="en-US" sz="1100" b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에 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따른 불량 가맹점 색출</a:t>
                </a:r>
              </a:p>
              <a:p>
                <a:pPr algn="l" eaLnBrk="1" latinLnBrk="0" hangingPunct="1">
                  <a:lnSpc>
                    <a:spcPct val="120000"/>
                  </a:lnSpc>
                  <a:buClr>
                    <a:schemeClr val="tx1"/>
                  </a:buClr>
                  <a:buFont typeface="Wingdings" panose="05000000000000000000" pitchFamily="2" charset="2"/>
                  <a:buChar char="§"/>
                </a:pP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사고회원 배분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조사</a:t>
                </a:r>
                <a:r>
                  <a:rPr kumimoji="0" lang="en-US" altLang="ko-KR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,</a:t>
                </a:r>
                <a:r>
                  <a:rPr kumimoji="0" lang="ko-KR" altLang="en-US" sz="1100" b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의뢰 보상처리</a:t>
                </a:r>
              </a:p>
            </p:txBody>
          </p:sp>
          <p:sp>
            <p:nvSpPr>
              <p:cNvPr id="378" name="AutoShape 22"/>
              <p:cNvSpPr>
                <a:spLocks noChangeArrowheads="1"/>
              </p:cNvSpPr>
              <p:nvPr/>
            </p:nvSpPr>
            <p:spPr bwMode="auto">
              <a:xfrm>
                <a:off x="9980830" y="5534072"/>
                <a:ext cx="1014412" cy="536575"/>
              </a:xfrm>
              <a:prstGeom prst="roundRect">
                <a:avLst>
                  <a:gd name="adj" fmla="val 7648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2A81EA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45791" dir="2021404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defTabSz="957263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algn="ctr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eaLnBrk="1" latinLnBrk="0" hangingPunct="1"/>
                <a:endParaRPr lang="ko-KR" altLang="en-US" sz="18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6" name="Rectangle 40"/>
              <p:cNvSpPr>
                <a:spLocks noChangeArrowheads="1"/>
              </p:cNvSpPr>
              <p:nvPr/>
            </p:nvSpPr>
            <p:spPr bwMode="auto">
              <a:xfrm>
                <a:off x="10034805" y="5642022"/>
                <a:ext cx="927100" cy="3238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8D7BB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B7B78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14" tIns="204" rIns="204" bIns="204" anchor="ctr"/>
              <a:lstStyle>
                <a:lvl1pPr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1pPr>
                <a:lvl2pPr marL="4318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2pPr>
                <a:lvl3pPr marL="8636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3pPr>
                <a:lvl4pPr marL="1295400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4pPr>
                <a:lvl5pPr marL="1728788" defTabSz="863600" eaLnBrk="0" hangingPunct="0"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5pPr>
                <a:lvl6pPr marL="21859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6pPr>
                <a:lvl7pPr marL="26431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7pPr>
                <a:lvl8pPr marL="31003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8pPr>
                <a:lvl9pPr marL="3557588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defRPr>
                </a:lvl9pPr>
              </a:lstStyle>
              <a:p>
                <a:pPr algn="ctr" eaLnBrk="1" fontAlgn="ctr" latinLnBrk="0" hangingPunct="1"/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사전</a:t>
                </a:r>
                <a:r>
                  <a:rPr lang="en-US" altLang="ko-KR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사고</a:t>
                </a:r>
              </a:p>
              <a:p>
                <a:pPr algn="ctr" eaLnBrk="1" fontAlgn="ctr" latinLnBrk="0" hangingPunct="1"/>
                <a:r>
                  <a:rPr lang="ko-KR" altLang="en-US" sz="13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채권</a:t>
                </a:r>
              </a:p>
            </p:txBody>
          </p:sp>
        </p:grpSp>
      </p:grpSp>
      <p:cxnSp>
        <p:nvCxnSpPr>
          <p:cNvPr id="409" name="직선 연결선 408"/>
          <p:cNvCxnSpPr/>
          <p:nvPr/>
        </p:nvCxnSpPr>
        <p:spPr bwMode="auto">
          <a:xfrm>
            <a:off x="452783" y="4290265"/>
            <a:ext cx="434539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147" name="그룹 146"/>
          <p:cNvGrpSpPr/>
          <p:nvPr/>
        </p:nvGrpSpPr>
        <p:grpSpPr>
          <a:xfrm>
            <a:off x="5516996" y="1855727"/>
            <a:ext cx="3713046" cy="302400"/>
            <a:chOff x="5405153" y="1916190"/>
            <a:chExt cx="4084351" cy="302400"/>
          </a:xfrm>
        </p:grpSpPr>
        <p:sp>
          <p:nvSpPr>
            <p:cNvPr id="148" name="직사각형 147"/>
            <p:cNvSpPr/>
            <p:nvPr/>
          </p:nvSpPr>
          <p:spPr bwMode="auto">
            <a:xfrm>
              <a:off x="6079176" y="1916190"/>
              <a:ext cx="2736304" cy="3024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채권관리 주요 기능</a:t>
              </a:r>
            </a:p>
          </p:txBody>
        </p:sp>
        <p:cxnSp>
          <p:nvCxnSpPr>
            <p:cNvPr id="149" name="직선 연결선 148"/>
            <p:cNvCxnSpPr/>
            <p:nvPr/>
          </p:nvCxnSpPr>
          <p:spPr bwMode="auto">
            <a:xfrm>
              <a:off x="5405153" y="2218590"/>
              <a:ext cx="40843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60" name="그룹 15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6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6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6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6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6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6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6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69" name="그룹 16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507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추진 전략 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 추진에 있어</a:t>
            </a:r>
            <a:r>
              <a:rPr lang="en-US" altLang="ko-KR" dirty="0"/>
              <a:t>, NH</a:t>
            </a:r>
            <a:r>
              <a:rPr lang="ko-KR" altLang="en-US" dirty="0"/>
              <a:t>농협카드의 특수성</a:t>
            </a:r>
            <a:r>
              <a:rPr lang="en-US" altLang="ko-KR" dirty="0"/>
              <a:t>, </a:t>
            </a:r>
            <a:r>
              <a:rPr lang="ko-KR" altLang="en-US" dirty="0"/>
              <a:t>실제 개발관리 경험을 토대로 실행력 있는 프로세스 및 아키텍처 설계</a:t>
            </a:r>
            <a:r>
              <a:rPr lang="en-US" altLang="ko-KR" dirty="0"/>
              <a:t>, </a:t>
            </a:r>
            <a:r>
              <a:rPr lang="ko-KR" altLang="en-US" dirty="0"/>
              <a:t>전체 업무 프로세스 관점에서의 통합을 특히 고려할 것임</a:t>
            </a:r>
          </a:p>
        </p:txBody>
      </p:sp>
      <p:sp>
        <p:nvSpPr>
          <p:cNvPr id="38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79" name="직사각형 78"/>
          <p:cNvSpPr/>
          <p:nvPr/>
        </p:nvSpPr>
        <p:spPr bwMode="gray">
          <a:xfrm>
            <a:off x="5575623" y="2140155"/>
            <a:ext cx="3600000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>
              <a:lnSpc>
                <a:spcPct val="120000"/>
              </a:lnSpc>
            </a:pPr>
            <a:r>
              <a:rPr lang="en-US" altLang="ko-KR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H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농협카드의 특수성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려</a:t>
            </a:r>
            <a:endParaRPr lang="ko-KR" altLang="en-US" sz="14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86" name="직사각형 85"/>
          <p:cNvSpPr/>
          <p:nvPr/>
        </p:nvSpPr>
        <p:spPr bwMode="gray">
          <a:xfrm>
            <a:off x="5575623" y="2140155"/>
            <a:ext cx="252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lang="en-US" sz="1400" b="1" kern="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</a:t>
            </a:r>
          </a:p>
        </p:txBody>
      </p:sp>
      <p:sp>
        <p:nvSpPr>
          <p:cNvPr id="88" name="직사각형 87"/>
          <p:cNvSpPr/>
          <p:nvPr/>
        </p:nvSpPr>
        <p:spPr bwMode="gray">
          <a:xfrm>
            <a:off x="5575623" y="3073826"/>
            <a:ext cx="3600000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  <a:defRPr/>
            </a:pPr>
            <a:r>
              <a:rPr lang="ko-KR" altLang="en-US" sz="1400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마스터플랜 및 차세대 구축 간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400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arrier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제거</a:t>
            </a:r>
            <a:endParaRPr lang="ko-KR" altLang="en-US" sz="14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89" name="직사각형 88"/>
          <p:cNvSpPr/>
          <p:nvPr/>
        </p:nvSpPr>
        <p:spPr bwMode="gray">
          <a:xfrm>
            <a:off x="5575623" y="3073826"/>
            <a:ext cx="252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lang="en-US" sz="1400" b="1" kern="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2</a:t>
            </a:r>
          </a:p>
        </p:txBody>
      </p:sp>
      <p:sp>
        <p:nvSpPr>
          <p:cNvPr id="91" name="직사각형 90"/>
          <p:cNvSpPr/>
          <p:nvPr/>
        </p:nvSpPr>
        <p:spPr bwMode="gray">
          <a:xfrm>
            <a:off x="5575623" y="4007497"/>
            <a:ext cx="3600000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  <a:defRPr/>
            </a:pPr>
            <a:r>
              <a:rPr lang="en-US" altLang="ko-KR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iz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및 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T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간 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lignment</a:t>
            </a:r>
            <a:endParaRPr lang="ko-KR" altLang="en-US" sz="14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2" name="직사각형 91"/>
          <p:cNvSpPr/>
          <p:nvPr/>
        </p:nvSpPr>
        <p:spPr bwMode="gray">
          <a:xfrm>
            <a:off x="5575623" y="4007497"/>
            <a:ext cx="252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lang="en-US" sz="1400" b="1" kern="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3</a:t>
            </a:r>
          </a:p>
        </p:txBody>
      </p:sp>
      <p:sp>
        <p:nvSpPr>
          <p:cNvPr id="94" name="직사각형 93"/>
          <p:cNvSpPr/>
          <p:nvPr/>
        </p:nvSpPr>
        <p:spPr bwMode="gray">
          <a:xfrm>
            <a:off x="5575623" y="4941168"/>
            <a:ext cx="3600000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  <a:defRPr/>
            </a:pPr>
            <a:r>
              <a:rPr lang="en-US" altLang="ko-KR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End-to-End(E2E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점의 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전사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 프로세스 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통합화 </a:t>
            </a:r>
            <a:endParaRPr lang="ko-KR" altLang="en-US" sz="14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5" name="직사각형 94"/>
          <p:cNvSpPr/>
          <p:nvPr/>
        </p:nvSpPr>
        <p:spPr bwMode="gray">
          <a:xfrm>
            <a:off x="5575623" y="4941168"/>
            <a:ext cx="252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lang="en-US" sz="1400" b="1" kern="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4</a:t>
            </a:r>
          </a:p>
        </p:txBody>
      </p:sp>
      <p:cxnSp>
        <p:nvCxnSpPr>
          <p:cNvPr id="100" name="직선 화살표 연결선 99"/>
          <p:cNvCxnSpPr>
            <a:stCxn id="65" idx="3"/>
            <a:endCxn id="88" idx="1"/>
          </p:cNvCxnSpPr>
          <p:nvPr/>
        </p:nvCxnSpPr>
        <p:spPr>
          <a:xfrm>
            <a:off x="3821630" y="2080595"/>
            <a:ext cx="1753993" cy="1353271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1325740" y="5675428"/>
            <a:ext cx="1751047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 eaLnBrk="0" fontAlgn="t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차세대시스템 구축의</a:t>
            </a: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궁극적 목적</a:t>
            </a:r>
          </a:p>
        </p:txBody>
      </p:sp>
      <p:sp>
        <p:nvSpPr>
          <p:cNvPr id="65" name="모서리가 둥근 직사각형 64"/>
          <p:cNvSpPr/>
          <p:nvPr/>
        </p:nvSpPr>
        <p:spPr bwMode="gray">
          <a:xfrm>
            <a:off x="941629" y="1824073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와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T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연계 강화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8" name="모서리가 둥근 직사각형 67"/>
          <p:cNvSpPr/>
          <p:nvPr/>
        </p:nvSpPr>
        <p:spPr bwMode="gray">
          <a:xfrm>
            <a:off x="941629" y="2460587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 및 사용자 관점의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구축 가능한 </a:t>
            </a:r>
            <a:r>
              <a:rPr lang="ko-KR" altLang="en-US" sz="14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요건 정의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1" name="모서리가 둥근 직사각형 70"/>
          <p:cNvSpPr/>
          <p:nvPr/>
        </p:nvSpPr>
        <p:spPr bwMode="gray">
          <a:xfrm>
            <a:off x="941629" y="3733614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주요 기술요소 선정의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객관성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및 공정성 확보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4" name="모서리가 둥근 직사각형 73"/>
          <p:cNvSpPr/>
          <p:nvPr/>
        </p:nvSpPr>
        <p:spPr bwMode="gray">
          <a:xfrm>
            <a:off x="941629" y="4370128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차세대 구축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Scope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확화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5" name="모서리가 둥근 직사각형 74"/>
          <p:cNvSpPr/>
          <p:nvPr/>
        </p:nvSpPr>
        <p:spPr bwMode="gray">
          <a:xfrm>
            <a:off x="941629" y="5006642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발방식 결정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Big Bang vs. Phased)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6" name="모서리가 둥근 직사각형 75"/>
          <p:cNvSpPr/>
          <p:nvPr/>
        </p:nvSpPr>
        <p:spPr bwMode="gray">
          <a:xfrm>
            <a:off x="941629" y="5643155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실행력 있는 로드맵 수립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9" name="모서리가 둥근 직사각형 98"/>
          <p:cNvSpPr/>
          <p:nvPr/>
        </p:nvSpPr>
        <p:spPr bwMode="gray">
          <a:xfrm>
            <a:off x="941629" y="3097100"/>
            <a:ext cx="2880001" cy="5130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 latinLnBrk="0"/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차세대의 안정적인 수행을 위한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T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역량 기반 확보</a:t>
            </a:r>
            <a:endParaRPr 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01" name="그룹 100"/>
          <p:cNvGrpSpPr/>
          <p:nvPr/>
        </p:nvGrpSpPr>
        <p:grpSpPr>
          <a:xfrm rot="16200000">
            <a:off x="236376" y="2320056"/>
            <a:ext cx="1162898" cy="180000"/>
            <a:chOff x="4340932" y="4203522"/>
            <a:chExt cx="1116000" cy="108000"/>
          </a:xfrm>
        </p:grpSpPr>
        <p:cxnSp>
          <p:nvCxnSpPr>
            <p:cNvPr id="102" name="직선 연결선 101"/>
            <p:cNvCxnSpPr/>
            <p:nvPr/>
          </p:nvCxnSpPr>
          <p:spPr>
            <a:xfrm>
              <a:off x="4356172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직선 연결선 102"/>
            <p:cNvCxnSpPr/>
            <p:nvPr/>
          </p:nvCxnSpPr>
          <p:spPr>
            <a:xfrm>
              <a:off x="4340932" y="4203522"/>
              <a:ext cx="1116000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직선 연결선 103"/>
            <p:cNvCxnSpPr/>
            <p:nvPr/>
          </p:nvCxnSpPr>
          <p:spPr>
            <a:xfrm>
              <a:off x="5445669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TextBox 104"/>
          <p:cNvSpPr txBox="1"/>
          <p:nvPr/>
        </p:nvSpPr>
        <p:spPr>
          <a:xfrm rot="5400000">
            <a:off x="473490" y="2269481"/>
            <a:ext cx="513043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iz</a:t>
            </a:r>
            <a:endParaRPr lang="en-US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106" name="그룹 105"/>
          <p:cNvGrpSpPr/>
          <p:nvPr/>
        </p:nvGrpSpPr>
        <p:grpSpPr>
          <a:xfrm rot="16200000">
            <a:off x="236376" y="3576175"/>
            <a:ext cx="1162898" cy="180000"/>
            <a:chOff x="4340932" y="4203522"/>
            <a:chExt cx="1116000" cy="108000"/>
          </a:xfrm>
        </p:grpSpPr>
        <p:cxnSp>
          <p:nvCxnSpPr>
            <p:cNvPr id="107" name="직선 연결선 106"/>
            <p:cNvCxnSpPr/>
            <p:nvPr/>
          </p:nvCxnSpPr>
          <p:spPr>
            <a:xfrm>
              <a:off x="4356172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직선 연결선 107"/>
            <p:cNvCxnSpPr/>
            <p:nvPr/>
          </p:nvCxnSpPr>
          <p:spPr>
            <a:xfrm>
              <a:off x="4340932" y="4203522"/>
              <a:ext cx="1116000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 108"/>
            <p:cNvCxnSpPr/>
            <p:nvPr/>
          </p:nvCxnSpPr>
          <p:spPr>
            <a:xfrm>
              <a:off x="5445669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0" name="TextBox 109"/>
          <p:cNvSpPr txBox="1"/>
          <p:nvPr/>
        </p:nvSpPr>
        <p:spPr>
          <a:xfrm rot="5400000">
            <a:off x="446808" y="3522144"/>
            <a:ext cx="566407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en-US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111" name="그룹 110"/>
          <p:cNvGrpSpPr/>
          <p:nvPr/>
        </p:nvGrpSpPr>
        <p:grpSpPr>
          <a:xfrm rot="16200000">
            <a:off x="-88551" y="5168929"/>
            <a:ext cx="1812753" cy="180000"/>
            <a:chOff x="4340932" y="4203522"/>
            <a:chExt cx="1116000" cy="108000"/>
          </a:xfrm>
        </p:grpSpPr>
        <p:cxnSp>
          <p:nvCxnSpPr>
            <p:cNvPr id="112" name="직선 연결선 111"/>
            <p:cNvCxnSpPr/>
            <p:nvPr/>
          </p:nvCxnSpPr>
          <p:spPr>
            <a:xfrm>
              <a:off x="4356172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직선 연결선 112"/>
            <p:cNvCxnSpPr/>
            <p:nvPr/>
          </p:nvCxnSpPr>
          <p:spPr>
            <a:xfrm>
              <a:off x="4340932" y="4203522"/>
              <a:ext cx="1116000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직선 연결선 113"/>
            <p:cNvCxnSpPr/>
            <p:nvPr/>
          </p:nvCxnSpPr>
          <p:spPr>
            <a:xfrm>
              <a:off x="5445669" y="4203522"/>
              <a:ext cx="0" cy="108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TextBox 114"/>
          <p:cNvSpPr txBox="1"/>
          <p:nvPr/>
        </p:nvSpPr>
        <p:spPr>
          <a:xfrm rot="5400000">
            <a:off x="238567" y="5134643"/>
            <a:ext cx="982889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발계획</a:t>
            </a:r>
            <a:endParaRPr lang="en-US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16" name="직선 화살표 연결선 115"/>
          <p:cNvCxnSpPr>
            <a:stCxn id="68" idx="3"/>
            <a:endCxn id="91" idx="1"/>
          </p:cNvCxnSpPr>
          <p:nvPr/>
        </p:nvCxnSpPr>
        <p:spPr>
          <a:xfrm>
            <a:off x="3821630" y="2717109"/>
            <a:ext cx="1753993" cy="1650428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화살표 연결선 116"/>
          <p:cNvCxnSpPr>
            <a:stCxn id="74" idx="3"/>
            <a:endCxn id="79" idx="1"/>
          </p:cNvCxnSpPr>
          <p:nvPr/>
        </p:nvCxnSpPr>
        <p:spPr>
          <a:xfrm flipV="1">
            <a:off x="3821630" y="2500195"/>
            <a:ext cx="1753993" cy="2126455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/>
          <p:cNvCxnSpPr>
            <a:stCxn id="75" idx="3"/>
            <a:endCxn id="79" idx="1"/>
          </p:cNvCxnSpPr>
          <p:nvPr/>
        </p:nvCxnSpPr>
        <p:spPr>
          <a:xfrm flipV="1">
            <a:off x="3821630" y="2500195"/>
            <a:ext cx="1753993" cy="2762969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/>
          <p:cNvCxnSpPr>
            <a:stCxn id="75" idx="3"/>
            <a:endCxn id="94" idx="1"/>
          </p:cNvCxnSpPr>
          <p:nvPr/>
        </p:nvCxnSpPr>
        <p:spPr>
          <a:xfrm>
            <a:off x="3821630" y="5263164"/>
            <a:ext cx="1753993" cy="38044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/>
          <p:cNvCxnSpPr>
            <a:stCxn id="76" idx="3"/>
            <a:endCxn id="94" idx="1"/>
          </p:cNvCxnSpPr>
          <p:nvPr/>
        </p:nvCxnSpPr>
        <p:spPr>
          <a:xfrm flipV="1">
            <a:off x="3821630" y="5301208"/>
            <a:ext cx="1753993" cy="598469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/>
          <p:cNvCxnSpPr>
            <a:stCxn id="76" idx="3"/>
            <a:endCxn id="79" idx="1"/>
          </p:cNvCxnSpPr>
          <p:nvPr/>
        </p:nvCxnSpPr>
        <p:spPr>
          <a:xfrm flipV="1">
            <a:off x="3821630" y="2500195"/>
            <a:ext cx="1753993" cy="3399482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화살표 연결선 122"/>
          <p:cNvCxnSpPr>
            <a:stCxn id="68" idx="3"/>
            <a:endCxn id="88" idx="1"/>
          </p:cNvCxnSpPr>
          <p:nvPr/>
        </p:nvCxnSpPr>
        <p:spPr>
          <a:xfrm>
            <a:off x="3821630" y="2717109"/>
            <a:ext cx="1753993" cy="716757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stCxn id="71" idx="3"/>
            <a:endCxn id="94" idx="1"/>
          </p:cNvCxnSpPr>
          <p:nvPr/>
        </p:nvCxnSpPr>
        <p:spPr>
          <a:xfrm>
            <a:off x="3821630" y="3990136"/>
            <a:ext cx="1753993" cy="1311072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/>
          <p:cNvCxnSpPr>
            <a:stCxn id="74" idx="3"/>
            <a:endCxn id="94" idx="1"/>
          </p:cNvCxnSpPr>
          <p:nvPr/>
        </p:nvCxnSpPr>
        <p:spPr>
          <a:xfrm>
            <a:off x="3821630" y="4626650"/>
            <a:ext cx="1753993" cy="674558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화살표 연결선 126"/>
          <p:cNvCxnSpPr>
            <a:stCxn id="65" idx="3"/>
            <a:endCxn id="94" idx="1"/>
          </p:cNvCxnSpPr>
          <p:nvPr/>
        </p:nvCxnSpPr>
        <p:spPr>
          <a:xfrm>
            <a:off x="3821630" y="2080595"/>
            <a:ext cx="1753993" cy="3220613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화살표 연결선 127"/>
          <p:cNvCxnSpPr>
            <a:stCxn id="68" idx="3"/>
            <a:endCxn id="94" idx="1"/>
          </p:cNvCxnSpPr>
          <p:nvPr/>
        </p:nvCxnSpPr>
        <p:spPr>
          <a:xfrm>
            <a:off x="3821630" y="2717109"/>
            <a:ext cx="1753993" cy="2584099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직선 화살표 연결선 128"/>
          <p:cNvCxnSpPr>
            <a:stCxn id="99" idx="3"/>
            <a:endCxn id="79" idx="1"/>
          </p:cNvCxnSpPr>
          <p:nvPr/>
        </p:nvCxnSpPr>
        <p:spPr>
          <a:xfrm flipV="1">
            <a:off x="3821630" y="2500195"/>
            <a:ext cx="1753993" cy="853427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화살표 연결선 129"/>
          <p:cNvCxnSpPr>
            <a:stCxn id="99" idx="3"/>
            <a:endCxn id="94" idx="1"/>
          </p:cNvCxnSpPr>
          <p:nvPr/>
        </p:nvCxnSpPr>
        <p:spPr>
          <a:xfrm>
            <a:off x="3821630" y="3353622"/>
            <a:ext cx="1753993" cy="1947586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화살표 연결선 130"/>
          <p:cNvCxnSpPr>
            <a:stCxn id="99" idx="3"/>
            <a:endCxn id="91" idx="1"/>
          </p:cNvCxnSpPr>
          <p:nvPr/>
        </p:nvCxnSpPr>
        <p:spPr>
          <a:xfrm>
            <a:off x="3821630" y="3353622"/>
            <a:ext cx="1753993" cy="1013915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직선 화살표 연결선 131"/>
          <p:cNvCxnSpPr>
            <a:stCxn id="65" idx="3"/>
            <a:endCxn id="91" idx="1"/>
          </p:cNvCxnSpPr>
          <p:nvPr/>
        </p:nvCxnSpPr>
        <p:spPr>
          <a:xfrm>
            <a:off x="3821630" y="2080595"/>
            <a:ext cx="1753993" cy="2286942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그룹 5"/>
          <p:cNvGrpSpPr/>
          <p:nvPr/>
        </p:nvGrpSpPr>
        <p:grpSpPr>
          <a:xfrm>
            <a:off x="604943" y="1412776"/>
            <a:ext cx="3312000" cy="288000"/>
            <a:chOff x="604943" y="1412776"/>
            <a:chExt cx="3312000" cy="288000"/>
          </a:xfrm>
        </p:grpSpPr>
        <p:sp>
          <p:nvSpPr>
            <p:cNvPr id="47" name="TextBox 46"/>
            <p:cNvSpPr txBox="1"/>
            <p:nvPr/>
          </p:nvSpPr>
          <p:spPr>
            <a:xfrm>
              <a:off x="604943" y="1412776"/>
              <a:ext cx="3312000" cy="288000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Key Success Factor (KSF)</a:t>
              </a:r>
              <a:endParaRPr 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cxnSp>
          <p:nvCxnSpPr>
            <p:cNvPr id="3" name="직선 연결선 2"/>
            <p:cNvCxnSpPr/>
            <p:nvPr/>
          </p:nvCxnSpPr>
          <p:spPr bwMode="auto">
            <a:xfrm flipV="1">
              <a:off x="632536" y="1700776"/>
              <a:ext cx="316800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7" name="그룹 56"/>
          <p:cNvGrpSpPr/>
          <p:nvPr/>
        </p:nvGrpSpPr>
        <p:grpSpPr>
          <a:xfrm>
            <a:off x="5701623" y="1412776"/>
            <a:ext cx="3312000" cy="288000"/>
            <a:chOff x="604943" y="1412776"/>
            <a:chExt cx="3312000" cy="288000"/>
          </a:xfrm>
        </p:grpSpPr>
        <p:sp>
          <p:nvSpPr>
            <p:cNvPr id="59" name="TextBox 58"/>
            <p:cNvSpPr txBox="1"/>
            <p:nvPr/>
          </p:nvSpPr>
          <p:spPr>
            <a:xfrm>
              <a:off x="604943" y="1412776"/>
              <a:ext cx="3312000" cy="288000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algn="ctr"/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프로젝트 추진전략</a:t>
              </a:r>
              <a:endPara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cxnSp>
          <p:nvCxnSpPr>
            <p:cNvPr id="60" name="직선 연결선 59"/>
            <p:cNvCxnSpPr/>
            <p:nvPr/>
          </p:nvCxnSpPr>
          <p:spPr bwMode="auto">
            <a:xfrm flipV="1">
              <a:off x="632536" y="1700776"/>
              <a:ext cx="316800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0005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 담당자 회수 실적을 기반으로 배분을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 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배분 전략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록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에 의한 자동 배분 및 확정을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뮬레이션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함 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배분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>
          <a:xfrm>
            <a:off x="5529064" y="2276872"/>
            <a:ext cx="401608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능력등록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지점에 배분 항목별로 담당자의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능력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선 순위 등을 등록함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kumimoji="1"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배분 전략 등록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점별로 사용하는 배분항목을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배분전략그룹으로 묶어서 해당팀의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특성을 감안한 담당배분이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될수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있도록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을 구사함 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 </a:t>
            </a: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실시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전략에 따른 배분을 실시하며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지점에서 만족 할 때까지 시뮬레이션을 실시함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확정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시뮬레이션한 결과를 확정하는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기능이며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후 조정된 담당자로 상담이 가능함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359093" y="1850753"/>
            <a:ext cx="2880642" cy="4437505"/>
            <a:chOff x="359094" y="1850753"/>
            <a:chExt cx="2649690" cy="4437505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359094" y="1850753"/>
              <a:ext cx="2649690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배분 관련 원장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59094" y="2207240"/>
              <a:ext cx="2649690" cy="408101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309591" y="1855923"/>
            <a:ext cx="6305409" cy="4439368"/>
            <a:chOff x="3104225" y="1855923"/>
            <a:chExt cx="6510775" cy="4439368"/>
          </a:xfrm>
        </p:grpSpPr>
        <p:sp>
          <p:nvSpPr>
            <p:cNvPr id="72" name="직사각형 71"/>
            <p:cNvSpPr/>
            <p:nvPr/>
          </p:nvSpPr>
          <p:spPr bwMode="auto">
            <a:xfrm>
              <a:off x="3104225" y="1855923"/>
              <a:ext cx="6510775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배분 프로세스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105090" y="2213046"/>
              <a:ext cx="6509910" cy="40822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23" name="AutoShape 345"/>
          <p:cNvSpPr>
            <a:spLocks noChangeArrowheads="1"/>
          </p:cNvSpPr>
          <p:nvPr/>
        </p:nvSpPr>
        <p:spPr bwMode="auto">
          <a:xfrm>
            <a:off x="1349835" y="2299109"/>
            <a:ext cx="764532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능력</a:t>
            </a:r>
          </a:p>
        </p:txBody>
      </p:sp>
      <p:sp>
        <p:nvSpPr>
          <p:cNvPr id="124" name="AutoShape 346"/>
          <p:cNvSpPr>
            <a:spLocks noChangeArrowheads="1"/>
          </p:cNvSpPr>
          <p:nvPr/>
        </p:nvSpPr>
        <p:spPr bwMode="auto">
          <a:xfrm>
            <a:off x="585303" y="4962695"/>
            <a:ext cx="845619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확정</a:t>
            </a:r>
          </a:p>
        </p:txBody>
      </p:sp>
      <p:sp>
        <p:nvSpPr>
          <p:cNvPr id="126" name="AutoShape 348"/>
          <p:cNvSpPr>
            <a:spLocks noChangeArrowheads="1"/>
          </p:cNvSpPr>
          <p:nvPr/>
        </p:nvSpPr>
        <p:spPr bwMode="auto">
          <a:xfrm>
            <a:off x="1280332" y="3651391"/>
            <a:ext cx="984625" cy="348315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실시</a:t>
            </a:r>
          </a:p>
        </p:txBody>
      </p:sp>
      <p:sp>
        <p:nvSpPr>
          <p:cNvPr id="128" name="AutoShape 350"/>
          <p:cNvSpPr>
            <a:spLocks noChangeArrowheads="1"/>
          </p:cNvSpPr>
          <p:nvPr/>
        </p:nvSpPr>
        <p:spPr bwMode="auto">
          <a:xfrm>
            <a:off x="515800" y="2852315"/>
            <a:ext cx="764532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배분전략</a:t>
            </a:r>
          </a:p>
        </p:txBody>
      </p:sp>
      <p:sp>
        <p:nvSpPr>
          <p:cNvPr id="129" name="AutoShape 354"/>
          <p:cNvSpPr>
            <a:spLocks noChangeArrowheads="1"/>
          </p:cNvSpPr>
          <p:nvPr/>
        </p:nvSpPr>
        <p:spPr bwMode="auto">
          <a:xfrm>
            <a:off x="585303" y="4327532"/>
            <a:ext cx="876026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집계</a:t>
            </a:r>
          </a:p>
        </p:txBody>
      </p:sp>
      <p:sp>
        <p:nvSpPr>
          <p:cNvPr id="130" name="AutoShape 355"/>
          <p:cNvSpPr>
            <a:spLocks noChangeArrowheads="1"/>
          </p:cNvSpPr>
          <p:nvPr/>
        </p:nvSpPr>
        <p:spPr bwMode="auto">
          <a:xfrm>
            <a:off x="585303" y="5556879"/>
            <a:ext cx="876026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확정</a:t>
            </a:r>
          </a:p>
        </p:txBody>
      </p:sp>
      <p:sp>
        <p:nvSpPr>
          <p:cNvPr id="132" name="AutoShape 357"/>
          <p:cNvSpPr>
            <a:spLocks noChangeArrowheads="1"/>
          </p:cNvSpPr>
          <p:nvPr/>
        </p:nvSpPr>
        <p:spPr bwMode="auto">
          <a:xfrm>
            <a:off x="2670390" y="5864215"/>
            <a:ext cx="486520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</a:t>
            </a:r>
          </a:p>
        </p:txBody>
      </p:sp>
      <p:sp>
        <p:nvSpPr>
          <p:cNvPr id="133" name="AutoShape 358"/>
          <p:cNvSpPr>
            <a:spLocks noChangeArrowheads="1"/>
          </p:cNvSpPr>
          <p:nvPr/>
        </p:nvSpPr>
        <p:spPr bwMode="auto">
          <a:xfrm>
            <a:off x="2670390" y="5249542"/>
            <a:ext cx="486520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건</a:t>
            </a:r>
          </a:p>
        </p:txBody>
      </p:sp>
      <p:sp>
        <p:nvSpPr>
          <p:cNvPr id="134" name="Line 360"/>
          <p:cNvSpPr>
            <a:spLocks noChangeShapeType="1"/>
          </p:cNvSpPr>
          <p:nvPr/>
        </p:nvSpPr>
        <p:spPr bwMode="auto">
          <a:xfrm flipH="1" flipV="1">
            <a:off x="1280331" y="3021759"/>
            <a:ext cx="2574777" cy="816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Line 361"/>
          <p:cNvSpPr>
            <a:spLocks noChangeShapeType="1"/>
          </p:cNvSpPr>
          <p:nvPr/>
        </p:nvSpPr>
        <p:spPr bwMode="auto">
          <a:xfrm>
            <a:off x="863315" y="3221119"/>
            <a:ext cx="764532" cy="43027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Line 362"/>
          <p:cNvSpPr>
            <a:spLocks noChangeShapeType="1"/>
          </p:cNvSpPr>
          <p:nvPr/>
        </p:nvSpPr>
        <p:spPr bwMode="auto">
          <a:xfrm flipH="1">
            <a:off x="1905859" y="3221119"/>
            <a:ext cx="764532" cy="43027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Line 363"/>
          <p:cNvSpPr>
            <a:spLocks noChangeShapeType="1"/>
          </p:cNvSpPr>
          <p:nvPr/>
        </p:nvSpPr>
        <p:spPr bwMode="auto">
          <a:xfrm>
            <a:off x="1766852" y="2667914"/>
            <a:ext cx="0" cy="98347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Line 364"/>
          <p:cNvSpPr>
            <a:spLocks noChangeShapeType="1"/>
          </p:cNvSpPr>
          <p:nvPr/>
        </p:nvSpPr>
        <p:spPr bwMode="auto">
          <a:xfrm flipH="1">
            <a:off x="1002320" y="4020195"/>
            <a:ext cx="764532" cy="24586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Line 365"/>
          <p:cNvSpPr>
            <a:spLocks noChangeShapeType="1"/>
          </p:cNvSpPr>
          <p:nvPr/>
        </p:nvSpPr>
        <p:spPr bwMode="auto">
          <a:xfrm>
            <a:off x="1836355" y="4020195"/>
            <a:ext cx="695029" cy="3073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Line 366"/>
          <p:cNvSpPr>
            <a:spLocks noChangeShapeType="1"/>
          </p:cNvSpPr>
          <p:nvPr/>
        </p:nvSpPr>
        <p:spPr bwMode="auto">
          <a:xfrm flipH="1">
            <a:off x="1002320" y="4696336"/>
            <a:ext cx="1459561" cy="24586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1" name="Line 367"/>
          <p:cNvSpPr>
            <a:spLocks noChangeShapeType="1"/>
          </p:cNvSpPr>
          <p:nvPr/>
        </p:nvSpPr>
        <p:spPr bwMode="auto">
          <a:xfrm>
            <a:off x="1002320" y="5311010"/>
            <a:ext cx="0" cy="24586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2" name="Line 368"/>
          <p:cNvSpPr>
            <a:spLocks noChangeShapeType="1"/>
          </p:cNvSpPr>
          <p:nvPr/>
        </p:nvSpPr>
        <p:spPr bwMode="auto">
          <a:xfrm flipH="1">
            <a:off x="1461328" y="5103682"/>
            <a:ext cx="2393778" cy="1739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3" name="Line 369"/>
          <p:cNvSpPr>
            <a:spLocks noChangeShapeType="1"/>
          </p:cNvSpPr>
          <p:nvPr/>
        </p:nvSpPr>
        <p:spPr bwMode="auto">
          <a:xfrm>
            <a:off x="1488841" y="5741281"/>
            <a:ext cx="139006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4" name="Line 370"/>
          <p:cNvSpPr>
            <a:spLocks noChangeShapeType="1"/>
          </p:cNvSpPr>
          <p:nvPr/>
        </p:nvSpPr>
        <p:spPr bwMode="auto">
          <a:xfrm flipV="1">
            <a:off x="2461882" y="5433945"/>
            <a:ext cx="208508" cy="3073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Line 371"/>
          <p:cNvSpPr>
            <a:spLocks noChangeShapeType="1"/>
          </p:cNvSpPr>
          <p:nvPr/>
        </p:nvSpPr>
        <p:spPr bwMode="auto">
          <a:xfrm>
            <a:off x="2461882" y="5741281"/>
            <a:ext cx="208508" cy="24586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Line 372"/>
          <p:cNvSpPr>
            <a:spLocks noChangeShapeType="1"/>
          </p:cNvSpPr>
          <p:nvPr/>
        </p:nvSpPr>
        <p:spPr bwMode="auto">
          <a:xfrm flipH="1" flipV="1">
            <a:off x="2264955" y="3813669"/>
            <a:ext cx="1590152" cy="72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7" name="Line 376"/>
          <p:cNvSpPr>
            <a:spLocks noChangeShapeType="1"/>
          </p:cNvSpPr>
          <p:nvPr/>
        </p:nvSpPr>
        <p:spPr bwMode="auto">
          <a:xfrm flipH="1">
            <a:off x="1461325" y="4517464"/>
            <a:ext cx="2393781" cy="94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8" name="Line 378"/>
          <p:cNvSpPr>
            <a:spLocks noChangeShapeType="1"/>
          </p:cNvSpPr>
          <p:nvPr/>
        </p:nvSpPr>
        <p:spPr bwMode="auto">
          <a:xfrm flipH="1">
            <a:off x="1461326" y="5864215"/>
            <a:ext cx="239377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9" name="Line 379"/>
          <p:cNvSpPr>
            <a:spLocks noChangeShapeType="1"/>
          </p:cNvSpPr>
          <p:nvPr/>
        </p:nvSpPr>
        <p:spPr bwMode="auto">
          <a:xfrm>
            <a:off x="2392378" y="2299109"/>
            <a:ext cx="0" cy="55320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Text Box 380"/>
          <p:cNvSpPr txBox="1">
            <a:spLocks noChangeArrowheads="1"/>
          </p:cNvSpPr>
          <p:nvPr/>
        </p:nvSpPr>
        <p:spPr bwMode="auto">
          <a:xfrm>
            <a:off x="2366348" y="2445410"/>
            <a:ext cx="834034" cy="40011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aff</a:t>
            </a:r>
            <a:br>
              <a:rPr kumimoji="1"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결과</a:t>
            </a:r>
          </a:p>
        </p:txBody>
      </p:sp>
      <p:sp>
        <p:nvSpPr>
          <p:cNvPr id="151" name="AutoShape 343"/>
          <p:cNvSpPr>
            <a:spLocks noChangeArrowheads="1"/>
          </p:cNvSpPr>
          <p:nvPr/>
        </p:nvSpPr>
        <p:spPr bwMode="auto">
          <a:xfrm>
            <a:off x="3856434" y="2317966"/>
            <a:ext cx="1543037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능력등록</a:t>
            </a:r>
          </a:p>
        </p:txBody>
      </p:sp>
      <p:sp>
        <p:nvSpPr>
          <p:cNvPr id="152" name="AutoShape 351"/>
          <p:cNvSpPr>
            <a:spLocks noChangeArrowheads="1"/>
          </p:cNvSpPr>
          <p:nvPr/>
        </p:nvSpPr>
        <p:spPr bwMode="auto">
          <a:xfrm>
            <a:off x="3856427" y="2891661"/>
            <a:ext cx="1543037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배분전략</a:t>
            </a:r>
          </a:p>
        </p:txBody>
      </p:sp>
      <p:sp>
        <p:nvSpPr>
          <p:cNvPr id="153" name="AutoShape 352"/>
          <p:cNvSpPr>
            <a:spLocks noChangeArrowheads="1"/>
          </p:cNvSpPr>
          <p:nvPr/>
        </p:nvSpPr>
        <p:spPr bwMode="auto">
          <a:xfrm>
            <a:off x="3856427" y="3649758"/>
            <a:ext cx="1543037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배분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뮬레이션</a:t>
            </a:r>
          </a:p>
        </p:txBody>
      </p:sp>
      <p:sp>
        <p:nvSpPr>
          <p:cNvPr id="154" name="AutoShape 353"/>
          <p:cNvSpPr>
            <a:spLocks noChangeArrowheads="1"/>
          </p:cNvSpPr>
          <p:nvPr/>
        </p:nvSpPr>
        <p:spPr bwMode="auto">
          <a:xfrm>
            <a:off x="3856427" y="5002040"/>
            <a:ext cx="1543037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확정</a:t>
            </a:r>
          </a:p>
        </p:txBody>
      </p:sp>
      <p:sp>
        <p:nvSpPr>
          <p:cNvPr id="155" name="Line 373"/>
          <p:cNvSpPr>
            <a:spLocks noChangeShapeType="1"/>
          </p:cNvSpPr>
          <p:nvPr/>
        </p:nvSpPr>
        <p:spPr bwMode="auto">
          <a:xfrm>
            <a:off x="4592960" y="2666281"/>
            <a:ext cx="0" cy="22538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b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6" name="Line 374"/>
          <p:cNvSpPr>
            <a:spLocks noChangeShapeType="1"/>
          </p:cNvSpPr>
          <p:nvPr/>
        </p:nvSpPr>
        <p:spPr bwMode="auto">
          <a:xfrm>
            <a:off x="4592960" y="3260464"/>
            <a:ext cx="0" cy="36880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b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7" name="Line 375"/>
          <p:cNvSpPr>
            <a:spLocks noChangeShapeType="1"/>
          </p:cNvSpPr>
          <p:nvPr/>
        </p:nvSpPr>
        <p:spPr bwMode="auto">
          <a:xfrm>
            <a:off x="4607384" y="3998073"/>
            <a:ext cx="0" cy="98347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b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8" name="AutoShape 377"/>
          <p:cNvSpPr>
            <a:spLocks noChangeArrowheads="1"/>
          </p:cNvSpPr>
          <p:nvPr/>
        </p:nvSpPr>
        <p:spPr bwMode="auto">
          <a:xfrm>
            <a:off x="3856427" y="5616713"/>
            <a:ext cx="1543037" cy="34831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수사원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담화면</a:t>
            </a:r>
          </a:p>
        </p:txBody>
      </p:sp>
      <p:sp>
        <p:nvSpPr>
          <p:cNvPr id="159" name="Line 359"/>
          <p:cNvSpPr>
            <a:spLocks noChangeShapeType="1"/>
          </p:cNvSpPr>
          <p:nvPr/>
        </p:nvSpPr>
        <p:spPr bwMode="auto">
          <a:xfrm flipH="1">
            <a:off x="2114363" y="2460586"/>
            <a:ext cx="1740746" cy="24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0" name="AutoShape 344"/>
          <p:cNvSpPr>
            <a:spLocks noChangeArrowheads="1"/>
          </p:cNvSpPr>
          <p:nvPr/>
        </p:nvSpPr>
        <p:spPr bwMode="auto">
          <a:xfrm>
            <a:off x="3855109" y="4270689"/>
            <a:ext cx="563106" cy="491739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결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인</a:t>
            </a:r>
          </a:p>
        </p:txBody>
      </p:sp>
      <p:sp>
        <p:nvSpPr>
          <p:cNvPr id="125" name="AutoShape 347"/>
          <p:cNvSpPr>
            <a:spLocks noChangeArrowheads="1"/>
          </p:cNvSpPr>
          <p:nvPr/>
        </p:nvSpPr>
        <p:spPr bwMode="auto">
          <a:xfrm>
            <a:off x="2322875" y="2852315"/>
            <a:ext cx="695029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대상</a:t>
            </a:r>
          </a:p>
        </p:txBody>
      </p:sp>
      <p:sp>
        <p:nvSpPr>
          <p:cNvPr id="131" name="AutoShape 356"/>
          <p:cNvSpPr>
            <a:spLocks noChangeArrowheads="1"/>
          </p:cNvSpPr>
          <p:nvPr/>
        </p:nvSpPr>
        <p:spPr bwMode="auto">
          <a:xfrm>
            <a:off x="1627846" y="5577368"/>
            <a:ext cx="845619" cy="348315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kumimoji="1" lang="ko-KR" altLang="en-US" sz="105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감후속</a:t>
            </a:r>
            <a:endParaRPr kumimoji="1" lang="ko-KR" altLang="en-US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업</a:t>
            </a:r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야간</a:t>
            </a:r>
            <a:r>
              <a:rPr kumimoji="1"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27" name="AutoShape 349"/>
          <p:cNvSpPr>
            <a:spLocks noChangeArrowheads="1"/>
          </p:cNvSpPr>
          <p:nvPr/>
        </p:nvSpPr>
        <p:spPr bwMode="auto">
          <a:xfrm>
            <a:off x="2072376" y="4327532"/>
            <a:ext cx="876026" cy="368805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분결과</a:t>
            </a:r>
          </a:p>
        </p:txBody>
      </p:sp>
      <p:grpSp>
        <p:nvGrpSpPr>
          <p:cNvPr id="98" name="그룹 97"/>
          <p:cNvGrpSpPr/>
          <p:nvPr/>
        </p:nvGrpSpPr>
        <p:grpSpPr>
          <a:xfrm>
            <a:off x="383228" y="6067896"/>
            <a:ext cx="609332" cy="178741"/>
            <a:chOff x="2648744" y="2248464"/>
            <a:chExt cx="609332" cy="178741"/>
          </a:xfrm>
        </p:grpSpPr>
        <p:sp>
          <p:nvSpPr>
            <p:cNvPr id="99" name="AutoShape 348"/>
            <p:cNvSpPr>
              <a:spLocks noChangeArrowheads="1"/>
            </p:cNvSpPr>
            <p:nvPr/>
          </p:nvSpPr>
          <p:spPr bwMode="auto">
            <a:xfrm>
              <a:off x="2648744" y="2248464"/>
              <a:ext cx="313732" cy="178741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AutoShape 348"/>
            <p:cNvSpPr>
              <a:spLocks noChangeArrowheads="1"/>
            </p:cNvSpPr>
            <p:nvPr/>
          </p:nvSpPr>
          <p:spPr bwMode="auto">
            <a:xfrm>
              <a:off x="2944344" y="2248464"/>
              <a:ext cx="313732" cy="178741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8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치</a:t>
              </a: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3" name="그룹 7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7" name="그룹 9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83" name="직선 연결선 82"/>
          <p:cNvCxnSpPr/>
          <p:nvPr/>
        </p:nvCxnSpPr>
        <p:spPr bwMode="auto">
          <a:xfrm>
            <a:off x="5541764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7580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 회수 내역에 따라 담당자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점별 목표 대비 실적을 시스템에 의해 자동 산출함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 입금 및 실적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>
          <a:xfrm>
            <a:off x="5529064" y="2276872"/>
            <a:ext cx="4016080" cy="225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산반영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수납코드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 채권입금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실적 매핑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</a:p>
          <a:p>
            <a:pPr marL="17145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생성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반영일 기준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월</a:t>
            </a:r>
            <a:endParaRPr kumimoji="1"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359092" y="1850753"/>
            <a:ext cx="3476072" cy="4437505"/>
            <a:chOff x="359094" y="1850753"/>
            <a:chExt cx="2649690" cy="4437505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359094" y="1850753"/>
              <a:ext cx="2649690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실적 관련 원장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59094" y="2207240"/>
              <a:ext cx="2649690" cy="408101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915821" y="1855923"/>
            <a:ext cx="5699179" cy="4439368"/>
            <a:chOff x="3104225" y="1855923"/>
            <a:chExt cx="6510775" cy="4439368"/>
          </a:xfrm>
        </p:grpSpPr>
        <p:sp>
          <p:nvSpPr>
            <p:cNvPr id="72" name="직사각형 71"/>
            <p:cNvSpPr/>
            <p:nvPr/>
          </p:nvSpPr>
          <p:spPr bwMode="auto">
            <a:xfrm>
              <a:off x="3104225" y="1855923"/>
              <a:ext cx="6510775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입금 프로세스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105090" y="2213046"/>
              <a:ext cx="6509910" cy="40822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16" name="Group 166"/>
          <p:cNvGrpSpPr>
            <a:grpSpLocks/>
          </p:cNvGrpSpPr>
          <p:nvPr/>
        </p:nvGrpSpPr>
        <p:grpSpPr bwMode="auto">
          <a:xfrm>
            <a:off x="416496" y="2258464"/>
            <a:ext cx="5031911" cy="3976775"/>
            <a:chOff x="-113" y="1089"/>
            <a:chExt cx="3016" cy="3311"/>
          </a:xfrm>
        </p:grpSpPr>
        <p:sp>
          <p:nvSpPr>
            <p:cNvPr id="117" name="AutoShape 134"/>
            <p:cNvSpPr>
              <a:spLocks noChangeArrowheads="1"/>
            </p:cNvSpPr>
            <p:nvPr/>
          </p:nvSpPr>
          <p:spPr bwMode="auto">
            <a:xfrm>
              <a:off x="998" y="3674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실적집계</a:t>
              </a:r>
            </a:p>
          </p:txBody>
        </p:sp>
        <p:cxnSp>
          <p:nvCxnSpPr>
            <p:cNvPr id="118" name="AutoShape 135"/>
            <p:cNvCxnSpPr>
              <a:cxnSpLocks noChangeShapeType="1"/>
              <a:stCxn id="122" idx="3"/>
            </p:cNvCxnSpPr>
            <p:nvPr/>
          </p:nvCxnSpPr>
          <p:spPr bwMode="auto">
            <a:xfrm rot="16200000" flipH="1">
              <a:off x="61" y="2730"/>
              <a:ext cx="1009" cy="903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9" name="AutoShape 136"/>
            <p:cNvSpPr>
              <a:spLocks noChangeArrowheads="1"/>
            </p:cNvSpPr>
            <p:nvPr/>
          </p:nvSpPr>
          <p:spPr bwMode="auto">
            <a:xfrm>
              <a:off x="2177" y="4082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목표등록</a:t>
              </a:r>
            </a:p>
          </p:txBody>
        </p:sp>
        <p:sp>
          <p:nvSpPr>
            <p:cNvPr id="120" name="AutoShape 137"/>
            <p:cNvSpPr>
              <a:spLocks noChangeArrowheads="1"/>
            </p:cNvSpPr>
            <p:nvPr/>
          </p:nvSpPr>
          <p:spPr bwMode="auto">
            <a:xfrm>
              <a:off x="1134" y="4036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목표</a:t>
              </a:r>
            </a:p>
          </p:txBody>
        </p:sp>
        <p:cxnSp>
          <p:nvCxnSpPr>
            <p:cNvPr id="121" name="AutoShape 138"/>
            <p:cNvCxnSpPr>
              <a:cxnSpLocks noChangeShapeType="1"/>
              <a:stCxn id="119" idx="1"/>
              <a:endCxn id="120" idx="4"/>
            </p:cNvCxnSpPr>
            <p:nvPr/>
          </p:nvCxnSpPr>
          <p:spPr bwMode="auto">
            <a:xfrm rot="10800000">
              <a:off x="1587" y="4218"/>
              <a:ext cx="59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2" name="AutoShape 139"/>
            <p:cNvSpPr>
              <a:spLocks noChangeArrowheads="1"/>
            </p:cNvSpPr>
            <p:nvPr/>
          </p:nvSpPr>
          <p:spPr bwMode="auto">
            <a:xfrm>
              <a:off x="-113" y="2313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청구입금</a:t>
              </a:r>
            </a:p>
          </p:txBody>
        </p:sp>
        <p:sp>
          <p:nvSpPr>
            <p:cNvPr id="161" name="Text Box 140"/>
            <p:cNvSpPr txBox="1">
              <a:spLocks noChangeArrowheads="1"/>
            </p:cNvSpPr>
            <p:nvPr/>
          </p:nvSpPr>
          <p:spPr bwMode="auto">
            <a:xfrm>
              <a:off x="204" y="2002"/>
              <a:ext cx="635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ko-KR" altLang="en-US" sz="9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입금내역</a:t>
              </a:r>
            </a:p>
          </p:txBody>
        </p:sp>
        <p:sp>
          <p:nvSpPr>
            <p:cNvPr id="162" name="AutoShape 141"/>
            <p:cNvSpPr>
              <a:spLocks noChangeArrowheads="1"/>
            </p:cNvSpPr>
            <p:nvPr/>
          </p:nvSpPr>
          <p:spPr bwMode="auto">
            <a:xfrm>
              <a:off x="2177" y="1588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목표등록</a:t>
              </a:r>
            </a:p>
          </p:txBody>
        </p:sp>
        <p:sp>
          <p:nvSpPr>
            <p:cNvPr id="163" name="AutoShape 142"/>
            <p:cNvSpPr>
              <a:spLocks noChangeArrowheads="1"/>
            </p:cNvSpPr>
            <p:nvPr/>
          </p:nvSpPr>
          <p:spPr bwMode="auto">
            <a:xfrm>
              <a:off x="2177" y="1134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산반영등록</a:t>
              </a:r>
            </a:p>
          </p:txBody>
        </p:sp>
        <p:sp>
          <p:nvSpPr>
            <p:cNvPr id="164" name="AutoShape 143"/>
            <p:cNvSpPr>
              <a:spLocks noChangeArrowheads="1"/>
            </p:cNvSpPr>
            <p:nvPr/>
          </p:nvSpPr>
          <p:spPr bwMode="auto">
            <a:xfrm>
              <a:off x="1134" y="1541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목표</a:t>
              </a:r>
            </a:p>
          </p:txBody>
        </p:sp>
        <p:cxnSp>
          <p:nvCxnSpPr>
            <p:cNvPr id="165" name="AutoShape 144"/>
            <p:cNvCxnSpPr>
              <a:cxnSpLocks noChangeShapeType="1"/>
              <a:stCxn id="164" idx="4"/>
              <a:endCxn id="162" idx="1"/>
            </p:cNvCxnSpPr>
            <p:nvPr/>
          </p:nvCxnSpPr>
          <p:spPr bwMode="auto">
            <a:xfrm>
              <a:off x="1587" y="1723"/>
              <a:ext cx="590" cy="1"/>
            </a:xfrm>
            <a:prstGeom prst="bentConnector3">
              <a:avLst>
                <a:gd name="adj1" fmla="val 49829"/>
              </a:avLst>
            </a:prstGeom>
            <a:noFill/>
            <a:ln w="9525">
              <a:solidFill>
                <a:srgbClr val="000000"/>
              </a:solidFill>
              <a:miter lim="800000"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6" name="AutoShape 145"/>
            <p:cNvSpPr>
              <a:spLocks noChangeArrowheads="1"/>
            </p:cNvSpPr>
            <p:nvPr/>
          </p:nvSpPr>
          <p:spPr bwMode="auto">
            <a:xfrm>
              <a:off x="1134" y="1089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정산</a:t>
              </a:r>
            </a:p>
          </p:txBody>
        </p:sp>
        <p:cxnSp>
          <p:nvCxnSpPr>
            <p:cNvPr id="167" name="AutoShape 146"/>
            <p:cNvCxnSpPr>
              <a:cxnSpLocks noChangeShapeType="1"/>
              <a:stCxn id="166" idx="4"/>
              <a:endCxn id="163" idx="1"/>
            </p:cNvCxnSpPr>
            <p:nvPr/>
          </p:nvCxnSpPr>
          <p:spPr bwMode="auto">
            <a:xfrm flipV="1">
              <a:off x="1587" y="1270"/>
              <a:ext cx="590" cy="1"/>
            </a:xfrm>
            <a:prstGeom prst="bentConnector3">
              <a:avLst>
                <a:gd name="adj1" fmla="val 49829"/>
              </a:avLst>
            </a:prstGeom>
            <a:noFill/>
            <a:ln w="9525">
              <a:solidFill>
                <a:srgbClr val="000000"/>
              </a:solidFill>
              <a:miter lim="800000"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8" name="AutoShape 147"/>
            <p:cNvSpPr>
              <a:spLocks noChangeArrowheads="1"/>
            </p:cNvSpPr>
            <p:nvPr/>
          </p:nvSpPr>
          <p:spPr bwMode="auto">
            <a:xfrm>
              <a:off x="454" y="2811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입금</a:t>
              </a:r>
            </a:p>
          </p:txBody>
        </p:sp>
        <p:sp>
          <p:nvSpPr>
            <p:cNvPr id="169" name="AutoShape 148"/>
            <p:cNvSpPr>
              <a:spLocks noChangeArrowheads="1"/>
            </p:cNvSpPr>
            <p:nvPr/>
          </p:nvSpPr>
          <p:spPr bwMode="auto">
            <a:xfrm>
              <a:off x="997" y="2132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실적집계</a:t>
              </a:r>
            </a:p>
          </p:txBody>
        </p:sp>
        <p:cxnSp>
          <p:nvCxnSpPr>
            <p:cNvPr id="170" name="AutoShape 149"/>
            <p:cNvCxnSpPr>
              <a:cxnSpLocks noChangeShapeType="1"/>
              <a:stCxn id="168" idx="3"/>
              <a:endCxn id="117" idx="1"/>
            </p:cNvCxnSpPr>
            <p:nvPr/>
          </p:nvCxnSpPr>
          <p:spPr bwMode="auto">
            <a:xfrm rot="16200000" flipH="1">
              <a:off x="522" y="3334"/>
              <a:ext cx="635" cy="317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1" name="AutoShape 150"/>
            <p:cNvCxnSpPr>
              <a:cxnSpLocks noChangeShapeType="1"/>
              <a:stCxn id="168" idx="1"/>
              <a:endCxn id="169" idx="1"/>
            </p:cNvCxnSpPr>
            <p:nvPr/>
          </p:nvCxnSpPr>
          <p:spPr bwMode="auto">
            <a:xfrm rot="16200000">
              <a:off x="567" y="2382"/>
              <a:ext cx="543" cy="316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2" name="AutoShape 151"/>
            <p:cNvCxnSpPr>
              <a:cxnSpLocks noChangeShapeType="1"/>
              <a:stCxn id="122" idx="1"/>
            </p:cNvCxnSpPr>
            <p:nvPr/>
          </p:nvCxnSpPr>
          <p:spPr bwMode="auto">
            <a:xfrm rot="5400000" flipH="1" flipV="1">
              <a:off x="486" y="1802"/>
              <a:ext cx="138" cy="883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3" name="AutoShape 152"/>
            <p:cNvCxnSpPr>
              <a:cxnSpLocks noChangeShapeType="1"/>
              <a:stCxn id="120" idx="2"/>
              <a:endCxn id="117" idx="1"/>
            </p:cNvCxnSpPr>
            <p:nvPr/>
          </p:nvCxnSpPr>
          <p:spPr bwMode="auto">
            <a:xfrm rot="10800000">
              <a:off x="998" y="3810"/>
              <a:ext cx="136" cy="408"/>
            </a:xfrm>
            <a:prstGeom prst="bentConnector3">
              <a:avLst>
                <a:gd name="adj1" fmla="val 332928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4" name="AutoShape 153"/>
            <p:cNvCxnSpPr>
              <a:cxnSpLocks noChangeShapeType="1"/>
              <a:stCxn id="164" idx="3"/>
              <a:endCxn id="169" idx="0"/>
            </p:cNvCxnSpPr>
            <p:nvPr/>
          </p:nvCxnSpPr>
          <p:spPr bwMode="auto">
            <a:xfrm rot="5400000">
              <a:off x="1247" y="2018"/>
              <a:ext cx="227" cy="1"/>
            </a:xfrm>
            <a:prstGeom prst="bentConnector3">
              <a:avLst>
                <a:gd name="adj1" fmla="val 49778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5" name="AutoShape 154"/>
            <p:cNvSpPr>
              <a:spLocks noChangeArrowheads="1"/>
            </p:cNvSpPr>
            <p:nvPr/>
          </p:nvSpPr>
          <p:spPr bwMode="auto">
            <a:xfrm>
              <a:off x="1134" y="2539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실적</a:t>
              </a:r>
            </a:p>
          </p:txBody>
        </p:sp>
        <p:sp>
          <p:nvSpPr>
            <p:cNvPr id="176" name="AutoShape 155"/>
            <p:cNvSpPr>
              <a:spLocks noChangeArrowheads="1"/>
            </p:cNvSpPr>
            <p:nvPr/>
          </p:nvSpPr>
          <p:spPr bwMode="auto">
            <a:xfrm>
              <a:off x="1134" y="3129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실적</a:t>
              </a:r>
            </a:p>
          </p:txBody>
        </p:sp>
        <p:sp>
          <p:nvSpPr>
            <p:cNvPr id="177" name="AutoShape 156"/>
            <p:cNvSpPr>
              <a:spLocks noChangeArrowheads="1"/>
            </p:cNvSpPr>
            <p:nvPr/>
          </p:nvSpPr>
          <p:spPr bwMode="auto">
            <a:xfrm>
              <a:off x="2177" y="3493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월별회수실적</a:t>
              </a:r>
            </a:p>
          </p:txBody>
        </p:sp>
        <p:sp>
          <p:nvSpPr>
            <p:cNvPr id="178" name="AutoShape 157"/>
            <p:cNvSpPr>
              <a:spLocks noChangeArrowheads="1"/>
            </p:cNvSpPr>
            <p:nvPr/>
          </p:nvSpPr>
          <p:spPr bwMode="auto">
            <a:xfrm>
              <a:off x="2177" y="3175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점회수실적</a:t>
              </a:r>
            </a:p>
          </p:txBody>
        </p:sp>
        <p:sp>
          <p:nvSpPr>
            <p:cNvPr id="179" name="AutoShape 158"/>
            <p:cNvSpPr>
              <a:spLocks noChangeArrowheads="1"/>
            </p:cNvSpPr>
            <p:nvPr/>
          </p:nvSpPr>
          <p:spPr bwMode="auto">
            <a:xfrm>
              <a:off x="2177" y="2812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회수실적</a:t>
              </a:r>
            </a:p>
          </p:txBody>
        </p:sp>
        <p:sp>
          <p:nvSpPr>
            <p:cNvPr id="180" name="AutoShape 159"/>
            <p:cNvSpPr>
              <a:spLocks noChangeArrowheads="1"/>
            </p:cNvSpPr>
            <p:nvPr/>
          </p:nvSpPr>
          <p:spPr bwMode="auto">
            <a:xfrm>
              <a:off x="2177" y="2495"/>
              <a:ext cx="726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회수실적</a:t>
              </a:r>
            </a:p>
          </p:txBody>
        </p:sp>
        <p:cxnSp>
          <p:nvCxnSpPr>
            <p:cNvPr id="181" name="AutoShape 160"/>
            <p:cNvCxnSpPr>
              <a:cxnSpLocks noChangeShapeType="1"/>
              <a:stCxn id="169" idx="2"/>
              <a:endCxn id="175" idx="1"/>
            </p:cNvCxnSpPr>
            <p:nvPr/>
          </p:nvCxnSpPr>
          <p:spPr bwMode="auto">
            <a:xfrm rot="16200000" flipH="1">
              <a:off x="1293" y="2471"/>
              <a:ext cx="135" cy="1"/>
            </a:xfrm>
            <a:prstGeom prst="bentConnector3">
              <a:avLst>
                <a:gd name="adj1" fmla="val 4963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2" name="AutoShape 161"/>
            <p:cNvCxnSpPr>
              <a:cxnSpLocks noChangeShapeType="1"/>
              <a:stCxn id="175" idx="4"/>
              <a:endCxn id="180" idx="1"/>
            </p:cNvCxnSpPr>
            <p:nvPr/>
          </p:nvCxnSpPr>
          <p:spPr bwMode="auto">
            <a:xfrm flipV="1">
              <a:off x="1587" y="2631"/>
              <a:ext cx="590" cy="90"/>
            </a:xfrm>
            <a:prstGeom prst="bentConnector3">
              <a:avLst>
                <a:gd name="adj1" fmla="val 49829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3" name="AutoShape 162"/>
            <p:cNvCxnSpPr>
              <a:cxnSpLocks noChangeShapeType="1"/>
              <a:stCxn id="175" idx="4"/>
              <a:endCxn id="179" idx="1"/>
            </p:cNvCxnSpPr>
            <p:nvPr/>
          </p:nvCxnSpPr>
          <p:spPr bwMode="auto">
            <a:xfrm>
              <a:off x="1587" y="2721"/>
              <a:ext cx="590" cy="227"/>
            </a:xfrm>
            <a:prstGeom prst="bentConnector3">
              <a:avLst>
                <a:gd name="adj1" fmla="val 49829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4" name="AutoShape 163"/>
            <p:cNvCxnSpPr>
              <a:cxnSpLocks noChangeShapeType="1"/>
              <a:stCxn id="176" idx="4"/>
              <a:endCxn id="178" idx="1"/>
            </p:cNvCxnSpPr>
            <p:nvPr/>
          </p:nvCxnSpPr>
          <p:spPr bwMode="auto">
            <a:xfrm>
              <a:off x="1587" y="3311"/>
              <a:ext cx="59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5" name="AutoShape 164"/>
            <p:cNvCxnSpPr>
              <a:cxnSpLocks noChangeShapeType="1"/>
              <a:stCxn id="176" idx="4"/>
              <a:endCxn id="177" idx="1"/>
            </p:cNvCxnSpPr>
            <p:nvPr/>
          </p:nvCxnSpPr>
          <p:spPr bwMode="auto">
            <a:xfrm>
              <a:off x="1587" y="3311"/>
              <a:ext cx="590" cy="318"/>
            </a:xfrm>
            <a:prstGeom prst="bentConnector3">
              <a:avLst>
                <a:gd name="adj1" fmla="val 49829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6" name="AutoShape 165"/>
            <p:cNvCxnSpPr>
              <a:cxnSpLocks noChangeShapeType="1"/>
              <a:stCxn id="117" idx="0"/>
              <a:endCxn id="176" idx="3"/>
            </p:cNvCxnSpPr>
            <p:nvPr/>
          </p:nvCxnSpPr>
          <p:spPr bwMode="auto">
            <a:xfrm rot="16200000">
              <a:off x="1270" y="3584"/>
              <a:ext cx="18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5" name="그룹 94"/>
          <p:cNvGrpSpPr/>
          <p:nvPr/>
        </p:nvGrpSpPr>
        <p:grpSpPr>
          <a:xfrm>
            <a:off x="383228" y="6067896"/>
            <a:ext cx="609332" cy="178741"/>
            <a:chOff x="2648744" y="2248464"/>
            <a:chExt cx="609332" cy="178741"/>
          </a:xfrm>
        </p:grpSpPr>
        <p:sp>
          <p:nvSpPr>
            <p:cNvPr id="96" name="AutoShape 348"/>
            <p:cNvSpPr>
              <a:spLocks noChangeArrowheads="1"/>
            </p:cNvSpPr>
            <p:nvPr/>
          </p:nvSpPr>
          <p:spPr bwMode="auto">
            <a:xfrm>
              <a:off x="2648744" y="2248464"/>
              <a:ext cx="313732" cy="178741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AutoShape 348"/>
            <p:cNvSpPr>
              <a:spLocks noChangeArrowheads="1"/>
            </p:cNvSpPr>
            <p:nvPr/>
          </p:nvSpPr>
          <p:spPr bwMode="auto">
            <a:xfrm>
              <a:off x="2944344" y="2248464"/>
              <a:ext cx="313732" cy="178741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8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치</a:t>
              </a: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8" name="그룹 6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2" name="그룹 9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83" name="직선 연결선 82"/>
          <p:cNvCxnSpPr/>
          <p:nvPr/>
        </p:nvCxnSpPr>
        <p:spPr bwMode="auto">
          <a:xfrm>
            <a:off x="5554464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47118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 회수 담당자별 입금 내역을 시스템에 의해 집계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전에 등록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성과금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지급 기준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라 성과급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급 내역을 자동 산출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금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산정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>
          <a:xfrm>
            <a:off x="5889104" y="2276872"/>
            <a:ext cx="3656040" cy="4044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급 기준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월과 동일 주기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도별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지급기준 등록</a:t>
            </a:r>
          </a:p>
          <a:p>
            <a:pPr lvl="0"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급 생성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반영일 기준 담당자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 변경일에는 변경 후 담당자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금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내역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생성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정산에 등록된 수납코드로</a:t>
            </a: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현금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체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외 분리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359092" y="1850753"/>
            <a:ext cx="3876358" cy="4437505"/>
            <a:chOff x="359094" y="1850753"/>
            <a:chExt cx="2649690" cy="4437505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359094" y="1850753"/>
              <a:ext cx="2649690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실적 관련 원장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59094" y="2207240"/>
              <a:ext cx="2649690" cy="408101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313617" y="1855923"/>
            <a:ext cx="5301383" cy="4439368"/>
            <a:chOff x="3104225" y="1855923"/>
            <a:chExt cx="6510775" cy="4439368"/>
          </a:xfrm>
        </p:grpSpPr>
        <p:sp>
          <p:nvSpPr>
            <p:cNvPr id="72" name="직사각형 71"/>
            <p:cNvSpPr/>
            <p:nvPr/>
          </p:nvSpPr>
          <p:spPr bwMode="auto">
            <a:xfrm>
              <a:off x="3104225" y="1855923"/>
              <a:ext cx="6510775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입금 프로세스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105090" y="2213046"/>
              <a:ext cx="6509910" cy="40822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88504" y="2272617"/>
            <a:ext cx="5264228" cy="3924437"/>
            <a:chOff x="654252" y="2240867"/>
            <a:chExt cx="5264228" cy="4508500"/>
          </a:xfrm>
        </p:grpSpPr>
        <p:sp>
          <p:nvSpPr>
            <p:cNvPr id="62" name="AutoShape 118"/>
            <p:cNvSpPr>
              <a:spLocks noChangeArrowheads="1"/>
            </p:cNvSpPr>
            <p:nvPr/>
          </p:nvSpPr>
          <p:spPr bwMode="auto">
            <a:xfrm>
              <a:off x="654252" y="3980870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청구입금</a:t>
              </a:r>
            </a:p>
          </p:txBody>
        </p:sp>
        <p:sp>
          <p:nvSpPr>
            <p:cNvPr id="63" name="Text Box 119"/>
            <p:cNvSpPr txBox="1">
              <a:spLocks noChangeArrowheads="1"/>
            </p:cNvSpPr>
            <p:nvPr/>
          </p:nvSpPr>
          <p:spPr bwMode="auto">
            <a:xfrm>
              <a:off x="1137283" y="4246410"/>
              <a:ext cx="1005322" cy="2651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입금내역</a:t>
              </a:r>
            </a:p>
          </p:txBody>
        </p:sp>
        <p:sp>
          <p:nvSpPr>
            <p:cNvPr id="64" name="AutoShape 120"/>
            <p:cNvSpPr>
              <a:spLocks noChangeArrowheads="1"/>
            </p:cNvSpPr>
            <p:nvPr/>
          </p:nvSpPr>
          <p:spPr bwMode="auto">
            <a:xfrm>
              <a:off x="4769088" y="2949447"/>
              <a:ext cx="1149392" cy="38624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기준등록</a:t>
              </a:r>
            </a:p>
          </p:txBody>
        </p:sp>
        <p:sp>
          <p:nvSpPr>
            <p:cNvPr id="65" name="AutoShape 121"/>
            <p:cNvSpPr>
              <a:spLocks noChangeArrowheads="1"/>
            </p:cNvSpPr>
            <p:nvPr/>
          </p:nvSpPr>
          <p:spPr bwMode="auto">
            <a:xfrm>
              <a:off x="4769088" y="2304767"/>
              <a:ext cx="1149392" cy="38624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코드등록</a:t>
              </a:r>
              <a:endPara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AutoShape 122"/>
            <p:cNvSpPr>
              <a:spLocks noChangeArrowheads="1"/>
            </p:cNvSpPr>
            <p:nvPr/>
          </p:nvSpPr>
          <p:spPr bwMode="auto">
            <a:xfrm>
              <a:off x="2829686" y="288270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기준</a:t>
              </a:r>
            </a:p>
          </p:txBody>
        </p:sp>
        <p:cxnSp>
          <p:nvCxnSpPr>
            <p:cNvPr id="67" name="AutoShape 123"/>
            <p:cNvCxnSpPr>
              <a:cxnSpLocks noChangeShapeType="1"/>
              <a:stCxn id="66" idx="4"/>
              <a:endCxn id="64" idx="1"/>
            </p:cNvCxnSpPr>
            <p:nvPr/>
          </p:nvCxnSpPr>
          <p:spPr bwMode="auto">
            <a:xfrm>
              <a:off x="3546869" y="3141147"/>
              <a:ext cx="1222219" cy="1420"/>
            </a:xfrm>
            <a:prstGeom prst="bentConnector3">
              <a:avLst>
                <a:gd name="adj1" fmla="val 49870"/>
              </a:avLst>
            </a:prstGeom>
            <a:noFill/>
            <a:ln w="9525">
              <a:solidFill>
                <a:srgbClr val="000000"/>
              </a:solidFill>
              <a:miter lim="800000"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3" name="AutoShape 124"/>
            <p:cNvSpPr>
              <a:spLocks noChangeArrowheads="1"/>
            </p:cNvSpPr>
            <p:nvPr/>
          </p:nvSpPr>
          <p:spPr bwMode="auto">
            <a:xfrm>
              <a:off x="1532799" y="224086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종류</a:t>
              </a:r>
            </a:p>
          </p:txBody>
        </p:sp>
        <p:cxnSp>
          <p:nvCxnSpPr>
            <p:cNvPr id="84" name="AutoShape 125"/>
            <p:cNvCxnSpPr>
              <a:cxnSpLocks noChangeShapeType="1"/>
              <a:stCxn id="83" idx="4"/>
              <a:endCxn id="65" idx="1"/>
            </p:cNvCxnSpPr>
            <p:nvPr/>
          </p:nvCxnSpPr>
          <p:spPr bwMode="auto">
            <a:xfrm flipV="1">
              <a:off x="2249982" y="2497887"/>
              <a:ext cx="2519106" cy="142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5" name="AutoShape 126"/>
            <p:cNvSpPr>
              <a:spLocks noChangeArrowheads="1"/>
            </p:cNvSpPr>
            <p:nvPr/>
          </p:nvSpPr>
          <p:spPr bwMode="auto">
            <a:xfrm>
              <a:off x="3548452" y="449298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입금</a:t>
              </a:r>
            </a:p>
          </p:txBody>
        </p:sp>
        <p:sp>
          <p:nvSpPr>
            <p:cNvPr id="86" name="AutoShape 127"/>
            <p:cNvSpPr>
              <a:spLocks noChangeArrowheads="1"/>
            </p:cNvSpPr>
            <p:nvPr/>
          </p:nvSpPr>
          <p:spPr bwMode="auto">
            <a:xfrm>
              <a:off x="2147575" y="4044267"/>
              <a:ext cx="1149392" cy="386240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별입금</a:t>
              </a:r>
              <a:endPara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역생성</a:t>
              </a:r>
            </a:p>
          </p:txBody>
        </p:sp>
        <p:cxnSp>
          <p:nvCxnSpPr>
            <p:cNvPr id="87" name="AutoShape 128"/>
            <p:cNvCxnSpPr>
              <a:cxnSpLocks noChangeShapeType="1"/>
              <a:stCxn id="85" idx="1"/>
              <a:endCxn id="86" idx="3"/>
            </p:cNvCxnSpPr>
            <p:nvPr/>
          </p:nvCxnSpPr>
          <p:spPr bwMode="auto">
            <a:xfrm rot="16200000" flipV="1">
              <a:off x="3474206" y="4060148"/>
              <a:ext cx="255600" cy="610077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AutoShape 129"/>
            <p:cNvCxnSpPr>
              <a:cxnSpLocks noChangeShapeType="1"/>
              <a:stCxn id="62" idx="4"/>
              <a:endCxn id="86" idx="1"/>
            </p:cNvCxnSpPr>
            <p:nvPr/>
          </p:nvCxnSpPr>
          <p:spPr bwMode="auto">
            <a:xfrm flipV="1">
              <a:off x="1371435" y="4237387"/>
              <a:ext cx="776140" cy="192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9" name="AutoShape 130"/>
            <p:cNvSpPr>
              <a:spLocks noChangeArrowheads="1"/>
            </p:cNvSpPr>
            <p:nvPr/>
          </p:nvSpPr>
          <p:spPr bwMode="auto">
            <a:xfrm>
              <a:off x="2687200" y="475000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당별입금</a:t>
              </a:r>
              <a:endPara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AutoShape 131"/>
            <p:cNvSpPr>
              <a:spLocks noChangeArrowheads="1"/>
            </p:cNvSpPr>
            <p:nvPr/>
          </p:nvSpPr>
          <p:spPr bwMode="auto">
            <a:xfrm>
              <a:off x="3548452" y="352738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정산</a:t>
              </a:r>
            </a:p>
          </p:txBody>
        </p:sp>
        <p:cxnSp>
          <p:nvCxnSpPr>
            <p:cNvPr id="91" name="AutoShape 132"/>
            <p:cNvCxnSpPr>
              <a:cxnSpLocks noChangeShapeType="1"/>
              <a:stCxn id="90" idx="3"/>
              <a:endCxn id="86" idx="3"/>
            </p:cNvCxnSpPr>
            <p:nvPr/>
          </p:nvCxnSpPr>
          <p:spPr bwMode="auto">
            <a:xfrm rot="5400000">
              <a:off x="3505446" y="3835789"/>
              <a:ext cx="193120" cy="610077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2" name="AutoShape 133"/>
            <p:cNvSpPr>
              <a:spLocks noChangeArrowheads="1"/>
            </p:cNvSpPr>
            <p:nvPr/>
          </p:nvSpPr>
          <p:spPr bwMode="auto">
            <a:xfrm>
              <a:off x="3117826" y="5589227"/>
              <a:ext cx="1149392" cy="386240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내역생성</a:t>
              </a:r>
            </a:p>
          </p:txBody>
        </p:sp>
        <p:cxnSp>
          <p:nvCxnSpPr>
            <p:cNvPr id="93" name="AutoShape 134"/>
            <p:cNvCxnSpPr>
              <a:cxnSpLocks noChangeShapeType="1"/>
              <a:endCxn id="89" idx="1"/>
            </p:cNvCxnSpPr>
            <p:nvPr/>
          </p:nvCxnSpPr>
          <p:spPr bwMode="auto">
            <a:xfrm rot="16200000" flipH="1">
              <a:off x="2886041" y="4589465"/>
              <a:ext cx="319500" cy="1583"/>
            </a:xfrm>
            <a:prstGeom prst="bentConnector3">
              <a:avLst>
                <a:gd name="adj1" fmla="val 49778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AutoShape 135"/>
            <p:cNvCxnSpPr>
              <a:cxnSpLocks noChangeShapeType="1"/>
              <a:stCxn id="83" idx="3"/>
              <a:endCxn id="99" idx="2"/>
            </p:cNvCxnSpPr>
            <p:nvPr/>
          </p:nvCxnSpPr>
          <p:spPr bwMode="auto">
            <a:xfrm rot="16200000" flipH="1">
              <a:off x="935103" y="3714035"/>
              <a:ext cx="3145139" cy="1232562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AutoShape 136"/>
            <p:cNvCxnSpPr>
              <a:cxnSpLocks noChangeShapeType="1"/>
              <a:stCxn id="89" idx="2"/>
              <a:endCxn id="92" idx="1"/>
            </p:cNvCxnSpPr>
            <p:nvPr/>
          </p:nvCxnSpPr>
          <p:spPr bwMode="auto">
            <a:xfrm rot="10800000" flipH="1" flipV="1">
              <a:off x="2687200" y="5008447"/>
              <a:ext cx="430626" cy="773900"/>
            </a:xfrm>
            <a:prstGeom prst="bentConnector3">
              <a:avLst>
                <a:gd name="adj1" fmla="val -67648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AutoShape 137"/>
            <p:cNvCxnSpPr>
              <a:cxnSpLocks noChangeShapeType="1"/>
              <a:stCxn id="66" idx="2"/>
              <a:endCxn id="7" idx="2"/>
            </p:cNvCxnSpPr>
            <p:nvPr/>
          </p:nvCxnSpPr>
          <p:spPr bwMode="auto">
            <a:xfrm rot="10800000" flipH="1" flipV="1">
              <a:off x="2829685" y="3141148"/>
              <a:ext cx="279981" cy="2517377"/>
            </a:xfrm>
            <a:prstGeom prst="bentConnector3">
              <a:avLst>
                <a:gd name="adj1" fmla="val -294274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7" name="AutoShape 138"/>
            <p:cNvSpPr>
              <a:spLocks noChangeArrowheads="1"/>
            </p:cNvSpPr>
            <p:nvPr/>
          </p:nvSpPr>
          <p:spPr bwMode="auto">
            <a:xfrm>
              <a:off x="3333139" y="6232487"/>
              <a:ext cx="717183" cy="516880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급내역</a:t>
              </a:r>
            </a:p>
          </p:txBody>
        </p:sp>
        <p:cxnSp>
          <p:nvCxnSpPr>
            <p:cNvPr id="98" name="AutoShape 139"/>
            <p:cNvCxnSpPr>
              <a:cxnSpLocks noChangeShapeType="1"/>
              <a:stCxn id="92" idx="2"/>
              <a:endCxn id="97" idx="1"/>
            </p:cNvCxnSpPr>
            <p:nvPr/>
          </p:nvCxnSpPr>
          <p:spPr bwMode="auto">
            <a:xfrm rot="5400000">
              <a:off x="3563220" y="6104687"/>
              <a:ext cx="25702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" name="타원 6"/>
          <p:cNvSpPr/>
          <p:nvPr/>
        </p:nvSpPr>
        <p:spPr bwMode="auto">
          <a:xfrm>
            <a:off x="2943919" y="5160511"/>
            <a:ext cx="216024" cy="174031"/>
          </a:xfrm>
          <a:prstGeom prst="ellipse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타원 98"/>
          <p:cNvSpPr/>
          <p:nvPr/>
        </p:nvSpPr>
        <p:spPr bwMode="auto">
          <a:xfrm>
            <a:off x="2958205" y="5373216"/>
            <a:ext cx="216024" cy="174031"/>
          </a:xfrm>
          <a:prstGeom prst="ellipse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9" name="그룹 108"/>
          <p:cNvGrpSpPr/>
          <p:nvPr/>
        </p:nvGrpSpPr>
        <p:grpSpPr>
          <a:xfrm>
            <a:off x="383228" y="6067896"/>
            <a:ext cx="609332" cy="178741"/>
            <a:chOff x="2648744" y="2248464"/>
            <a:chExt cx="609332" cy="178741"/>
          </a:xfrm>
        </p:grpSpPr>
        <p:sp>
          <p:nvSpPr>
            <p:cNvPr id="110" name="AutoShape 348"/>
            <p:cNvSpPr>
              <a:spLocks noChangeArrowheads="1"/>
            </p:cNvSpPr>
            <p:nvPr/>
          </p:nvSpPr>
          <p:spPr bwMode="auto">
            <a:xfrm>
              <a:off x="2648744" y="2248464"/>
              <a:ext cx="313732" cy="178741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AutoShape 348"/>
            <p:cNvSpPr>
              <a:spLocks noChangeArrowheads="1"/>
            </p:cNvSpPr>
            <p:nvPr/>
          </p:nvSpPr>
          <p:spPr bwMode="auto">
            <a:xfrm>
              <a:off x="2944344" y="2248464"/>
              <a:ext cx="313732" cy="178741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8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치</a:t>
              </a: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8" name="그룹 6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60" name="직선 연결선 59"/>
          <p:cNvCxnSpPr/>
          <p:nvPr/>
        </p:nvCxnSpPr>
        <p:spPr bwMode="auto">
          <a:xfrm>
            <a:off x="5876404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14287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5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err="1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lang="ko-KR" altLang="en-US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상자에 대해 </a:t>
            </a:r>
            <a:r>
              <a:rPr lang="ko-KR" altLang="en-US" dirty="0" err="1" smtClean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별</a:t>
            </a:r>
            <a:r>
              <a:rPr lang="ko-KR" altLang="en-US" dirty="0" smtClean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건을</a:t>
            </a:r>
            <a:r>
              <a:rPr lang="ko-KR" altLang="en-US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관리하며</a:t>
            </a:r>
            <a:r>
              <a:rPr lang="en-US" altLang="ko-KR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lang="ko-KR" altLang="en-US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의뢰단계부터 </a:t>
            </a:r>
            <a:r>
              <a:rPr lang="ko-KR" altLang="en-US" dirty="0" smtClean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</a:t>
            </a:r>
            <a:r>
              <a:rPr lang="ko-KR" altLang="en-US" dirty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결 단계까지 일련의 처리를 </a:t>
            </a:r>
            <a:r>
              <a:rPr lang="ko-KR" altLang="en-US" dirty="0" smtClean="0">
                <a:solidFill>
                  <a:srgbClr val="0C0C0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함</a:t>
            </a:r>
            <a:endParaRPr lang="ko-KR" altLang="en-US" dirty="0">
              <a:solidFill>
                <a:srgbClr val="0C0C0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법조치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의뢰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>
          <a:xfrm>
            <a:off x="6382014" y="2276872"/>
            <a:ext cx="3163130" cy="382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상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체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손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증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실회원별 생성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담당자가 추가대상자 등록</a:t>
            </a:r>
          </a:p>
          <a:p>
            <a:pPr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의뢰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상자 여부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eck</a:t>
            </a:r>
          </a:p>
          <a:p>
            <a:pPr>
              <a:spcBef>
                <a:spcPct val="20000"/>
              </a:spcBef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구분에 따라 보증인내역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eck</a:t>
            </a:r>
          </a:p>
          <a:p>
            <a:pPr>
              <a:spcBef>
                <a:spcPct val="20000"/>
              </a:spcBef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행 확인   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위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의뢰불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       </a:t>
            </a:r>
          </a:p>
          <a:p>
            <a:pPr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ct val="20000"/>
              </a:spcBef>
            </a:pP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결재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의뢰내역 조회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재단계별 결재대상 조회</a:t>
            </a:r>
          </a:p>
          <a:p>
            <a:pPr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점장 결재 후 품의서 출력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359092" y="1850753"/>
            <a:ext cx="3385966" cy="4437505"/>
            <a:chOff x="359094" y="1850753"/>
            <a:chExt cx="2649690" cy="4437505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359094" y="1850753"/>
              <a:ext cx="2649690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 err="1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법조치</a:t>
              </a:r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관련 원장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59094" y="2207240"/>
              <a:ext cx="2649690" cy="408101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855781" y="1855923"/>
            <a:ext cx="5759220" cy="4439368"/>
            <a:chOff x="3104225" y="1855923"/>
            <a:chExt cx="6510775" cy="4439368"/>
          </a:xfrm>
        </p:grpSpPr>
        <p:sp>
          <p:nvSpPr>
            <p:cNvPr id="72" name="직사각형 71"/>
            <p:cNvSpPr/>
            <p:nvPr/>
          </p:nvSpPr>
          <p:spPr bwMode="auto">
            <a:xfrm>
              <a:off x="3104225" y="1855923"/>
              <a:ext cx="6510775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 err="1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법조치</a:t>
              </a:r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프로세스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105090" y="2213046"/>
              <a:ext cx="6509910" cy="40822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3" name="AutoShape 65"/>
          <p:cNvSpPr>
            <a:spLocks noChangeArrowheads="1"/>
          </p:cNvSpPr>
          <p:nvPr/>
        </p:nvSpPr>
        <p:spPr bwMode="auto">
          <a:xfrm>
            <a:off x="4118011" y="4161677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뢰등록</a:t>
            </a:r>
          </a:p>
        </p:txBody>
      </p:sp>
      <p:sp>
        <p:nvSpPr>
          <p:cNvPr id="54" name="AutoShape 66"/>
          <p:cNvSpPr>
            <a:spLocks noChangeArrowheads="1"/>
          </p:cNvSpPr>
          <p:nvPr/>
        </p:nvSpPr>
        <p:spPr bwMode="auto">
          <a:xfrm>
            <a:off x="4118011" y="4710651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뢰현황</a:t>
            </a:r>
          </a:p>
        </p:txBody>
      </p:sp>
      <p:sp>
        <p:nvSpPr>
          <p:cNvPr id="55" name="AutoShape 67"/>
          <p:cNvSpPr>
            <a:spLocks noChangeArrowheads="1"/>
          </p:cNvSpPr>
          <p:nvPr/>
        </p:nvSpPr>
        <p:spPr bwMode="auto">
          <a:xfrm>
            <a:off x="2555554" y="3502667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endParaRPr kumimoji="1" lang="ko-KR" altLang="en-US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자</a:t>
            </a:r>
          </a:p>
        </p:txBody>
      </p:sp>
      <p:sp>
        <p:nvSpPr>
          <p:cNvPr id="56" name="AutoShape 68"/>
          <p:cNvSpPr>
            <a:spLocks noChangeArrowheads="1"/>
          </p:cNvSpPr>
          <p:nvPr/>
        </p:nvSpPr>
        <p:spPr bwMode="auto">
          <a:xfrm>
            <a:off x="2033092" y="4655028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</a:t>
            </a:r>
            <a:endParaRPr kumimoji="1" lang="ko-KR" altLang="en-US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행위</a:t>
            </a:r>
          </a:p>
        </p:txBody>
      </p:sp>
      <p:sp>
        <p:nvSpPr>
          <p:cNvPr id="57" name="AutoShape 69"/>
          <p:cNvSpPr>
            <a:spLocks noChangeArrowheads="1"/>
          </p:cNvSpPr>
          <p:nvPr/>
        </p:nvSpPr>
        <p:spPr bwMode="auto">
          <a:xfrm>
            <a:off x="988168" y="3064939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조치대상자생성</a:t>
            </a:r>
          </a:p>
        </p:txBody>
      </p:sp>
      <p:sp>
        <p:nvSpPr>
          <p:cNvPr id="58" name="AutoShape 70"/>
          <p:cNvSpPr>
            <a:spLocks noChangeArrowheads="1"/>
          </p:cNvSpPr>
          <p:nvPr/>
        </p:nvSpPr>
        <p:spPr bwMode="auto">
          <a:xfrm>
            <a:off x="4118011" y="3064939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자추가등록</a:t>
            </a:r>
          </a:p>
        </p:txBody>
      </p:sp>
      <p:cxnSp>
        <p:nvCxnSpPr>
          <p:cNvPr id="59" name="AutoShape 71"/>
          <p:cNvCxnSpPr>
            <a:cxnSpLocks noChangeShapeType="1"/>
            <a:stCxn id="57" idx="3"/>
            <a:endCxn id="55" idx="1"/>
          </p:cNvCxnSpPr>
          <p:nvPr/>
        </p:nvCxnSpPr>
        <p:spPr bwMode="auto">
          <a:xfrm>
            <a:off x="2330468" y="3229389"/>
            <a:ext cx="598038" cy="273278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AutoShape 72"/>
          <p:cNvCxnSpPr>
            <a:cxnSpLocks noChangeShapeType="1"/>
            <a:stCxn id="58" idx="1"/>
            <a:endCxn id="55" idx="1"/>
          </p:cNvCxnSpPr>
          <p:nvPr/>
        </p:nvCxnSpPr>
        <p:spPr bwMode="auto">
          <a:xfrm rot="10800000" flipV="1">
            <a:off x="2928506" y="3229389"/>
            <a:ext cx="1189505" cy="273278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AutoShape 73"/>
          <p:cNvCxnSpPr>
            <a:cxnSpLocks noChangeShapeType="1"/>
            <a:stCxn id="55" idx="4"/>
            <a:endCxn id="53" idx="0"/>
          </p:cNvCxnSpPr>
          <p:nvPr/>
        </p:nvCxnSpPr>
        <p:spPr bwMode="auto">
          <a:xfrm>
            <a:off x="3299816" y="3722740"/>
            <a:ext cx="1490167" cy="438937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AutoShape 74"/>
          <p:cNvCxnSpPr>
            <a:cxnSpLocks noChangeShapeType="1"/>
            <a:stCxn id="53" idx="1"/>
            <a:endCxn id="56" idx="1"/>
          </p:cNvCxnSpPr>
          <p:nvPr/>
        </p:nvCxnSpPr>
        <p:spPr bwMode="auto">
          <a:xfrm rot="10800000" flipV="1">
            <a:off x="2406044" y="4326128"/>
            <a:ext cx="1711967" cy="328901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AutoShape 75"/>
          <p:cNvSpPr>
            <a:spLocks noChangeArrowheads="1"/>
          </p:cNvSpPr>
          <p:nvPr/>
        </p:nvSpPr>
        <p:spPr bwMode="auto">
          <a:xfrm>
            <a:off x="542925" y="2297101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실회원</a:t>
            </a:r>
          </a:p>
        </p:txBody>
      </p:sp>
      <p:sp>
        <p:nvSpPr>
          <p:cNvPr id="101" name="AutoShape 76"/>
          <p:cNvSpPr>
            <a:spLocks noChangeArrowheads="1"/>
          </p:cNvSpPr>
          <p:nvPr/>
        </p:nvSpPr>
        <p:spPr bwMode="auto">
          <a:xfrm>
            <a:off x="1288830" y="2297101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손회원</a:t>
            </a:r>
          </a:p>
        </p:txBody>
      </p:sp>
      <p:sp>
        <p:nvSpPr>
          <p:cNvPr id="102" name="AutoShape 77"/>
          <p:cNvSpPr>
            <a:spLocks noChangeArrowheads="1"/>
          </p:cNvSpPr>
          <p:nvPr/>
        </p:nvSpPr>
        <p:spPr bwMode="auto">
          <a:xfrm>
            <a:off x="2033092" y="2297101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체회원</a:t>
            </a:r>
          </a:p>
        </p:txBody>
      </p:sp>
      <p:cxnSp>
        <p:nvCxnSpPr>
          <p:cNvPr id="103" name="AutoShape 78"/>
          <p:cNvCxnSpPr>
            <a:cxnSpLocks noChangeShapeType="1"/>
            <a:stCxn id="102" idx="3"/>
            <a:endCxn id="57" idx="0"/>
          </p:cNvCxnSpPr>
          <p:nvPr/>
        </p:nvCxnSpPr>
        <p:spPr bwMode="auto">
          <a:xfrm rot="5400000">
            <a:off x="1868425" y="2528745"/>
            <a:ext cx="327691" cy="745905"/>
          </a:xfrm>
          <a:prstGeom prst="bentConnector3">
            <a:avLst>
              <a:gd name="adj1" fmla="val 49815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AutoShape 79"/>
          <p:cNvCxnSpPr>
            <a:cxnSpLocks noChangeShapeType="1"/>
            <a:stCxn id="101" idx="3"/>
            <a:endCxn id="57" idx="0"/>
          </p:cNvCxnSpPr>
          <p:nvPr/>
        </p:nvCxnSpPr>
        <p:spPr bwMode="auto">
          <a:xfrm rot="5400000">
            <a:off x="1497115" y="2900272"/>
            <a:ext cx="327691" cy="1643"/>
          </a:xfrm>
          <a:prstGeom prst="bentConnector3">
            <a:avLst>
              <a:gd name="adj1" fmla="val 49815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AutoShape 80"/>
          <p:cNvCxnSpPr>
            <a:cxnSpLocks noChangeShapeType="1"/>
            <a:stCxn id="100" idx="3"/>
            <a:endCxn id="57" idx="0"/>
          </p:cNvCxnSpPr>
          <p:nvPr/>
        </p:nvCxnSpPr>
        <p:spPr bwMode="auto">
          <a:xfrm rot="16200000" flipH="1">
            <a:off x="1124163" y="2528962"/>
            <a:ext cx="327691" cy="744262"/>
          </a:xfrm>
          <a:prstGeom prst="bentConnector3">
            <a:avLst>
              <a:gd name="adj1" fmla="val 49815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6" name="AutoShape 81"/>
          <p:cNvSpPr>
            <a:spLocks noChangeArrowheads="1"/>
          </p:cNvSpPr>
          <p:nvPr/>
        </p:nvSpPr>
        <p:spPr bwMode="auto">
          <a:xfrm>
            <a:off x="4118011" y="5258416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뢰결재</a:t>
            </a:r>
          </a:p>
        </p:txBody>
      </p:sp>
      <p:cxnSp>
        <p:nvCxnSpPr>
          <p:cNvPr id="107" name="AutoShape 82"/>
          <p:cNvCxnSpPr>
            <a:cxnSpLocks noChangeShapeType="1"/>
            <a:stCxn id="56" idx="4"/>
            <a:endCxn id="54" idx="1"/>
          </p:cNvCxnSpPr>
          <p:nvPr/>
        </p:nvCxnSpPr>
        <p:spPr bwMode="auto">
          <a:xfrm>
            <a:off x="2777354" y="4875101"/>
            <a:ext cx="1340657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AutoShape 83"/>
          <p:cNvCxnSpPr>
            <a:cxnSpLocks noChangeShapeType="1"/>
            <a:stCxn id="56" idx="3"/>
            <a:endCxn id="106" idx="1"/>
          </p:cNvCxnSpPr>
          <p:nvPr/>
        </p:nvCxnSpPr>
        <p:spPr bwMode="auto">
          <a:xfrm rot="16200000" flipH="1">
            <a:off x="3097361" y="4403642"/>
            <a:ext cx="327691" cy="1711967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AutoShape 84"/>
          <p:cNvCxnSpPr>
            <a:cxnSpLocks noChangeShapeType="1"/>
            <a:stCxn id="54" idx="2"/>
            <a:endCxn id="106" idx="0"/>
          </p:cNvCxnSpPr>
          <p:nvPr/>
        </p:nvCxnSpPr>
        <p:spPr bwMode="auto">
          <a:xfrm rot="5400000">
            <a:off x="4679729" y="5149588"/>
            <a:ext cx="21886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AutoShape 86"/>
          <p:cNvSpPr>
            <a:spLocks noChangeArrowheads="1"/>
          </p:cNvSpPr>
          <p:nvPr/>
        </p:nvSpPr>
        <p:spPr bwMode="auto">
          <a:xfrm>
            <a:off x="5548480" y="5807390"/>
            <a:ext cx="615956" cy="38331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의서</a:t>
            </a:r>
          </a:p>
        </p:txBody>
      </p:sp>
      <p:cxnSp>
        <p:nvCxnSpPr>
          <p:cNvPr id="111" name="AutoShape 87"/>
          <p:cNvCxnSpPr>
            <a:cxnSpLocks noChangeShapeType="1"/>
            <a:stCxn id="106" idx="3"/>
            <a:endCxn id="110" idx="0"/>
          </p:cNvCxnSpPr>
          <p:nvPr/>
        </p:nvCxnSpPr>
        <p:spPr bwMode="auto">
          <a:xfrm>
            <a:off x="5460311" y="5422867"/>
            <a:ext cx="396147" cy="384523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AutoShape 88"/>
          <p:cNvSpPr>
            <a:spLocks noChangeArrowheads="1"/>
          </p:cNvSpPr>
          <p:nvPr/>
        </p:nvSpPr>
        <p:spPr bwMode="auto">
          <a:xfrm>
            <a:off x="4129512" y="5772323"/>
            <a:ext cx="1342300" cy="32890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무사등록</a:t>
            </a:r>
          </a:p>
        </p:txBody>
      </p:sp>
      <p:sp>
        <p:nvSpPr>
          <p:cNvPr id="113" name="AutoShape 89"/>
          <p:cNvSpPr>
            <a:spLocks noChangeArrowheads="1"/>
          </p:cNvSpPr>
          <p:nvPr/>
        </p:nvSpPr>
        <p:spPr bwMode="auto">
          <a:xfrm>
            <a:off x="915877" y="5716700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무사</a:t>
            </a:r>
          </a:p>
        </p:txBody>
      </p:sp>
      <p:cxnSp>
        <p:nvCxnSpPr>
          <p:cNvPr id="114" name="AutoShape 90"/>
          <p:cNvCxnSpPr>
            <a:cxnSpLocks noChangeShapeType="1"/>
            <a:stCxn id="113" idx="4"/>
            <a:endCxn id="112" idx="1"/>
          </p:cNvCxnSpPr>
          <p:nvPr/>
        </p:nvCxnSpPr>
        <p:spPr bwMode="auto">
          <a:xfrm>
            <a:off x="1660139" y="5936773"/>
            <a:ext cx="246937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5" name="AutoShape 91"/>
          <p:cNvCxnSpPr>
            <a:cxnSpLocks noChangeShapeType="1"/>
            <a:stCxn id="113" idx="1"/>
            <a:endCxn id="53" idx="0"/>
          </p:cNvCxnSpPr>
          <p:nvPr/>
        </p:nvCxnSpPr>
        <p:spPr bwMode="auto">
          <a:xfrm rot="16200000">
            <a:off x="2262716" y="3188008"/>
            <a:ext cx="1555023" cy="3501153"/>
          </a:xfrm>
          <a:prstGeom prst="bentConnector3">
            <a:avLst>
              <a:gd name="adj1" fmla="val 111199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6" name="AutoShape 92"/>
          <p:cNvSpPr>
            <a:spLocks noChangeArrowheads="1"/>
          </p:cNvSpPr>
          <p:nvPr/>
        </p:nvSpPr>
        <p:spPr bwMode="auto">
          <a:xfrm>
            <a:off x="1809649" y="3502667"/>
            <a:ext cx="744262" cy="440146"/>
          </a:xfrm>
          <a:prstGeom prst="can">
            <a:avLst>
              <a:gd name="adj" fmla="val 25000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kumimoji="1" lang="ko-KR" altLang="en-US" sz="105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증인</a:t>
            </a:r>
          </a:p>
        </p:txBody>
      </p:sp>
      <p:grpSp>
        <p:nvGrpSpPr>
          <p:cNvPr id="90" name="그룹 89"/>
          <p:cNvGrpSpPr/>
          <p:nvPr/>
        </p:nvGrpSpPr>
        <p:grpSpPr>
          <a:xfrm>
            <a:off x="383228" y="6067896"/>
            <a:ext cx="609332" cy="178741"/>
            <a:chOff x="2648744" y="2248464"/>
            <a:chExt cx="609332" cy="178741"/>
          </a:xfrm>
        </p:grpSpPr>
        <p:sp>
          <p:nvSpPr>
            <p:cNvPr id="91" name="AutoShape 348"/>
            <p:cNvSpPr>
              <a:spLocks noChangeArrowheads="1"/>
            </p:cNvSpPr>
            <p:nvPr/>
          </p:nvSpPr>
          <p:spPr bwMode="auto">
            <a:xfrm>
              <a:off x="2648744" y="2248464"/>
              <a:ext cx="313732" cy="178741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AutoShape 348"/>
            <p:cNvSpPr>
              <a:spLocks noChangeArrowheads="1"/>
            </p:cNvSpPr>
            <p:nvPr/>
          </p:nvSpPr>
          <p:spPr bwMode="auto">
            <a:xfrm>
              <a:off x="2944344" y="2248464"/>
              <a:ext cx="313732" cy="178741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8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치</a:t>
              </a: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8" name="그룹 6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63" name="직선 연결선 62"/>
          <p:cNvCxnSpPr/>
          <p:nvPr/>
        </p:nvCxnSpPr>
        <p:spPr bwMode="auto">
          <a:xfrm>
            <a:off x="6273225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46004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 시스템 구축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6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상각처리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대상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에 의해 대체입금처리 및 상품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손원장을 생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상각 프로세스 및 원장 예시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>
          <a:xfrm>
            <a:off x="6000145" y="2420888"/>
            <a:ext cx="3544999" cy="49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각처리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spcBef>
                <a:spcPct val="20000"/>
              </a:spcBef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출상품은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로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내역 생성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359091" y="1850753"/>
            <a:ext cx="3959579" cy="4437505"/>
            <a:chOff x="359094" y="1850753"/>
            <a:chExt cx="2649690" cy="4437505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359094" y="1850753"/>
              <a:ext cx="2649690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대손상각 관련 원장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59094" y="2207240"/>
              <a:ext cx="2649690" cy="4081018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430159" y="1855923"/>
            <a:ext cx="5184841" cy="4439368"/>
            <a:chOff x="3104225" y="1855923"/>
            <a:chExt cx="6510775" cy="4439368"/>
          </a:xfrm>
        </p:grpSpPr>
        <p:sp>
          <p:nvSpPr>
            <p:cNvPr id="72" name="직사각형 71"/>
            <p:cNvSpPr/>
            <p:nvPr/>
          </p:nvSpPr>
          <p:spPr bwMode="auto">
            <a:xfrm>
              <a:off x="3104225" y="1855923"/>
              <a:ext cx="6510775" cy="36004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10800" tIns="72000" rIns="10800" bIns="72000" anchor="ctr"/>
            <a:lstStyle/>
            <a:p>
              <a:pPr algn="ctr" eaLnBrk="0" latinLnBrk="0" hangingPunct="0"/>
              <a:r>
                <a:rPr lang="ko-KR" altLang="en-US" sz="13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대손상각 프로세스</a:t>
              </a: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105090" y="2213046"/>
              <a:ext cx="6509910" cy="40822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6. </a:t>
            </a:r>
            <a:r>
              <a:rPr lang="ko-KR" altLang="en-US" sz="1200" kern="0" dirty="0">
                <a:solidFill>
                  <a:srgbClr val="FFFFFF"/>
                </a:solidFill>
              </a:rPr>
              <a:t>채권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2" name="Group 95"/>
          <p:cNvGrpSpPr>
            <a:grpSpLocks/>
          </p:cNvGrpSpPr>
          <p:nvPr/>
        </p:nvGrpSpPr>
        <p:grpSpPr bwMode="auto">
          <a:xfrm>
            <a:off x="576312" y="2299109"/>
            <a:ext cx="5312345" cy="3866195"/>
            <a:chOff x="544" y="1178"/>
            <a:chExt cx="3446" cy="3176"/>
          </a:xfrm>
        </p:grpSpPr>
        <p:sp>
          <p:nvSpPr>
            <p:cNvPr id="63" name="AutoShape 69"/>
            <p:cNvSpPr>
              <a:spLocks noChangeArrowheads="1"/>
            </p:cNvSpPr>
            <p:nvPr/>
          </p:nvSpPr>
          <p:spPr bwMode="auto">
            <a:xfrm>
              <a:off x="1269" y="2041"/>
              <a:ext cx="817" cy="27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체입금전표발췌</a:t>
              </a:r>
              <a:endParaRPr kumimoji="1"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4" name="AutoShape 70"/>
            <p:cNvSpPr>
              <a:spLocks noChangeArrowheads="1"/>
            </p:cNvSpPr>
            <p:nvPr/>
          </p:nvSpPr>
          <p:spPr bwMode="auto">
            <a:xfrm>
              <a:off x="544" y="2948"/>
              <a:ext cx="817" cy="27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원장생성</a:t>
              </a:r>
            </a:p>
          </p:txBody>
        </p:sp>
        <p:sp>
          <p:nvSpPr>
            <p:cNvPr id="65" name="AutoShape 71"/>
            <p:cNvSpPr>
              <a:spLocks noChangeArrowheads="1"/>
            </p:cNvSpPr>
            <p:nvPr/>
          </p:nvSpPr>
          <p:spPr bwMode="auto">
            <a:xfrm>
              <a:off x="3173" y="1542"/>
              <a:ext cx="817" cy="2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체입금처리</a:t>
              </a:r>
            </a:p>
          </p:txBody>
        </p:sp>
        <p:sp>
          <p:nvSpPr>
            <p:cNvPr id="66" name="AutoShape 72"/>
            <p:cNvSpPr>
              <a:spLocks noChangeArrowheads="1"/>
            </p:cNvSpPr>
            <p:nvPr/>
          </p:nvSpPr>
          <p:spPr bwMode="auto">
            <a:xfrm>
              <a:off x="908" y="1178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처리대상</a:t>
              </a:r>
            </a:p>
          </p:txBody>
        </p:sp>
        <p:cxnSp>
          <p:nvCxnSpPr>
            <p:cNvPr id="67" name="AutoShape 73"/>
            <p:cNvCxnSpPr>
              <a:cxnSpLocks noChangeShapeType="1"/>
              <a:stCxn id="66" idx="4"/>
              <a:endCxn id="121" idx="1"/>
            </p:cNvCxnSpPr>
            <p:nvPr/>
          </p:nvCxnSpPr>
          <p:spPr bwMode="auto">
            <a:xfrm flipV="1">
              <a:off x="1361" y="1359"/>
              <a:ext cx="1807" cy="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3" name="AutoShape 74"/>
            <p:cNvSpPr>
              <a:spLocks noChangeArrowheads="1"/>
            </p:cNvSpPr>
            <p:nvPr/>
          </p:nvSpPr>
          <p:spPr bwMode="auto">
            <a:xfrm>
              <a:off x="726" y="3447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회원</a:t>
              </a:r>
            </a:p>
          </p:txBody>
        </p:sp>
        <p:cxnSp>
          <p:nvCxnSpPr>
            <p:cNvPr id="84" name="AutoShape 76"/>
            <p:cNvCxnSpPr>
              <a:cxnSpLocks noChangeShapeType="1"/>
              <a:stCxn id="66" idx="3"/>
              <a:endCxn id="65" idx="1"/>
            </p:cNvCxnSpPr>
            <p:nvPr/>
          </p:nvCxnSpPr>
          <p:spPr bwMode="auto">
            <a:xfrm rot="16200000" flipH="1">
              <a:off x="2086" y="591"/>
              <a:ext cx="136" cy="2039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5" name="AutoShape 77"/>
            <p:cNvSpPr>
              <a:spLocks noChangeArrowheads="1"/>
            </p:cNvSpPr>
            <p:nvPr/>
          </p:nvSpPr>
          <p:spPr bwMode="auto">
            <a:xfrm>
              <a:off x="3355" y="1996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입금내역</a:t>
              </a:r>
            </a:p>
          </p:txBody>
        </p:sp>
        <p:sp>
          <p:nvSpPr>
            <p:cNvPr id="86" name="AutoShape 78"/>
            <p:cNvSpPr>
              <a:spLocks noChangeArrowheads="1"/>
            </p:cNvSpPr>
            <p:nvPr/>
          </p:nvSpPr>
          <p:spPr bwMode="auto">
            <a:xfrm>
              <a:off x="544" y="2449"/>
              <a:ext cx="817" cy="27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별내역생성</a:t>
              </a:r>
            </a:p>
          </p:txBody>
        </p:sp>
        <p:cxnSp>
          <p:nvCxnSpPr>
            <p:cNvPr id="87" name="AutoShape 79"/>
            <p:cNvCxnSpPr>
              <a:cxnSpLocks noChangeShapeType="1"/>
              <a:stCxn id="65" idx="2"/>
              <a:endCxn id="85" idx="1"/>
            </p:cNvCxnSpPr>
            <p:nvPr/>
          </p:nvCxnSpPr>
          <p:spPr bwMode="auto">
            <a:xfrm rot="5400000">
              <a:off x="3491" y="1905"/>
              <a:ext cx="1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AutoShape 80"/>
            <p:cNvCxnSpPr>
              <a:cxnSpLocks noChangeShapeType="1"/>
              <a:stCxn id="85" idx="2"/>
              <a:endCxn id="63" idx="3"/>
            </p:cNvCxnSpPr>
            <p:nvPr/>
          </p:nvCxnSpPr>
          <p:spPr bwMode="auto">
            <a:xfrm rot="10800000">
              <a:off x="2086" y="2177"/>
              <a:ext cx="1269" cy="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AutoShape 81"/>
            <p:cNvCxnSpPr>
              <a:cxnSpLocks noChangeShapeType="1"/>
              <a:stCxn id="63" idx="1"/>
              <a:endCxn id="86" idx="0"/>
            </p:cNvCxnSpPr>
            <p:nvPr/>
          </p:nvCxnSpPr>
          <p:spPr bwMode="auto">
            <a:xfrm rot="10800000" flipV="1">
              <a:off x="953" y="2177"/>
              <a:ext cx="316" cy="272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0" name="AutoShape 82"/>
            <p:cNvSpPr>
              <a:spLocks noChangeArrowheads="1"/>
            </p:cNvSpPr>
            <p:nvPr/>
          </p:nvSpPr>
          <p:spPr bwMode="auto">
            <a:xfrm>
              <a:off x="1497" y="2766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상품</a:t>
              </a:r>
            </a:p>
            <a:p>
              <a:pPr algn="ctr"/>
              <a:r>
                <a:rPr kumimoji="1"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청구</a:t>
              </a:r>
              <a:r>
                <a:rPr kumimoji="1"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cxnSp>
          <p:nvCxnSpPr>
            <p:cNvPr id="91" name="AutoShape 83"/>
            <p:cNvCxnSpPr>
              <a:cxnSpLocks noChangeShapeType="1"/>
              <a:stCxn id="86" idx="3"/>
              <a:endCxn id="90" idx="1"/>
            </p:cNvCxnSpPr>
            <p:nvPr/>
          </p:nvCxnSpPr>
          <p:spPr bwMode="auto">
            <a:xfrm>
              <a:off x="1361" y="2585"/>
              <a:ext cx="363" cy="181"/>
            </a:xfrm>
            <a:prstGeom prst="bentConnector2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AutoShape 84"/>
            <p:cNvCxnSpPr>
              <a:cxnSpLocks noChangeShapeType="1"/>
              <a:stCxn id="86" idx="2"/>
              <a:endCxn id="64" idx="0"/>
            </p:cNvCxnSpPr>
            <p:nvPr/>
          </p:nvCxnSpPr>
          <p:spPr bwMode="auto">
            <a:xfrm rot="5400000">
              <a:off x="839" y="2835"/>
              <a:ext cx="22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AutoShape 85"/>
            <p:cNvCxnSpPr>
              <a:cxnSpLocks noChangeShapeType="1"/>
              <a:stCxn id="64" idx="2"/>
              <a:endCxn id="83" idx="1"/>
            </p:cNvCxnSpPr>
            <p:nvPr/>
          </p:nvCxnSpPr>
          <p:spPr bwMode="auto">
            <a:xfrm rot="5400000">
              <a:off x="839" y="3334"/>
              <a:ext cx="22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4" name="AutoShape 86"/>
            <p:cNvSpPr>
              <a:spLocks noChangeArrowheads="1"/>
            </p:cNvSpPr>
            <p:nvPr/>
          </p:nvSpPr>
          <p:spPr bwMode="auto">
            <a:xfrm>
              <a:off x="2463" y="3265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출내역</a:t>
              </a:r>
            </a:p>
          </p:txBody>
        </p:sp>
        <p:sp>
          <p:nvSpPr>
            <p:cNvPr id="95" name="AutoShape 87"/>
            <p:cNvSpPr>
              <a:spLocks noChangeArrowheads="1"/>
            </p:cNvSpPr>
            <p:nvPr/>
          </p:nvSpPr>
          <p:spPr bwMode="auto">
            <a:xfrm>
              <a:off x="2463" y="3718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증인</a:t>
              </a:r>
            </a:p>
          </p:txBody>
        </p:sp>
        <p:sp>
          <p:nvSpPr>
            <p:cNvPr id="96" name="AutoShape 88"/>
            <p:cNvSpPr>
              <a:spLocks noChangeArrowheads="1"/>
            </p:cNvSpPr>
            <p:nvPr/>
          </p:nvSpPr>
          <p:spPr bwMode="auto">
            <a:xfrm>
              <a:off x="1315" y="3538"/>
              <a:ext cx="817" cy="272"/>
            </a:xfrm>
            <a:prstGeom prst="roundRect">
              <a:avLst>
                <a:gd name="adj" fmla="val 16667"/>
              </a:avLst>
            </a:prstGeom>
            <a:pattFill prst="ltUpDiag">
              <a:fgClr>
                <a:schemeClr val="bg1">
                  <a:lumMod val="85000"/>
                </a:schemeClr>
              </a:fgClr>
              <a:bgClr>
                <a:schemeClr val="bg1"/>
              </a:bgClr>
            </a:patt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1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대출내역생성</a:t>
              </a:r>
            </a:p>
          </p:txBody>
        </p:sp>
        <p:sp>
          <p:nvSpPr>
            <p:cNvPr id="97" name="AutoShape 89"/>
            <p:cNvSpPr>
              <a:spLocks noChangeArrowheads="1"/>
            </p:cNvSpPr>
            <p:nvPr/>
          </p:nvSpPr>
          <p:spPr bwMode="auto">
            <a:xfrm>
              <a:off x="1497" y="3990"/>
              <a:ext cx="453" cy="364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kumimoji="1"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대출</a:t>
              </a:r>
            </a:p>
          </p:txBody>
        </p:sp>
        <p:cxnSp>
          <p:nvCxnSpPr>
            <p:cNvPr id="98" name="AutoShape 90"/>
            <p:cNvCxnSpPr>
              <a:cxnSpLocks noChangeShapeType="1"/>
              <a:stCxn id="94" idx="2"/>
              <a:endCxn id="96" idx="3"/>
            </p:cNvCxnSpPr>
            <p:nvPr/>
          </p:nvCxnSpPr>
          <p:spPr bwMode="auto">
            <a:xfrm rot="10800000" flipV="1">
              <a:off x="2132" y="3447"/>
              <a:ext cx="331" cy="22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AutoShape 91"/>
            <p:cNvCxnSpPr>
              <a:cxnSpLocks noChangeShapeType="1"/>
              <a:stCxn id="95" idx="2"/>
              <a:endCxn id="96" idx="3"/>
            </p:cNvCxnSpPr>
            <p:nvPr/>
          </p:nvCxnSpPr>
          <p:spPr bwMode="auto">
            <a:xfrm rot="10800000">
              <a:off x="2132" y="3674"/>
              <a:ext cx="331" cy="22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0000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AutoShape 92"/>
            <p:cNvCxnSpPr>
              <a:cxnSpLocks noChangeShapeType="1"/>
              <a:stCxn id="96" idx="2"/>
              <a:endCxn id="97" idx="1"/>
            </p:cNvCxnSpPr>
            <p:nvPr/>
          </p:nvCxnSpPr>
          <p:spPr bwMode="auto">
            <a:xfrm rot="5400000">
              <a:off x="1634" y="3900"/>
              <a:ext cx="18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AutoShape 93"/>
            <p:cNvCxnSpPr>
              <a:cxnSpLocks noChangeShapeType="1"/>
              <a:stCxn id="90" idx="3"/>
              <a:endCxn id="96" idx="0"/>
            </p:cNvCxnSpPr>
            <p:nvPr/>
          </p:nvCxnSpPr>
          <p:spPr bwMode="auto">
            <a:xfrm rot="5400000">
              <a:off x="1520" y="3334"/>
              <a:ext cx="40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Text Box 94"/>
            <p:cNvSpPr txBox="1">
              <a:spLocks noChangeArrowheads="1"/>
            </p:cNvSpPr>
            <p:nvPr/>
          </p:nvSpPr>
          <p:spPr bwMode="auto">
            <a:xfrm>
              <a:off x="1381" y="1185"/>
              <a:ext cx="635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ko-KR" altLang="en-US" sz="9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종대상자</a:t>
              </a:r>
            </a:p>
          </p:txBody>
        </p:sp>
        <p:sp>
          <p:nvSpPr>
            <p:cNvPr id="121" name="Text Box 94"/>
            <p:cNvSpPr txBox="1">
              <a:spLocks noChangeArrowheads="1"/>
            </p:cNvSpPr>
            <p:nvPr/>
          </p:nvSpPr>
          <p:spPr bwMode="auto">
            <a:xfrm>
              <a:off x="3168" y="1264"/>
              <a:ext cx="635" cy="189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ko-KR" altLang="en-US" sz="12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팀</a:t>
              </a:r>
              <a:endPara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06" name="그룹 105"/>
          <p:cNvGrpSpPr/>
          <p:nvPr/>
        </p:nvGrpSpPr>
        <p:grpSpPr>
          <a:xfrm>
            <a:off x="383228" y="6067896"/>
            <a:ext cx="609332" cy="178741"/>
            <a:chOff x="2648744" y="2248464"/>
            <a:chExt cx="609332" cy="178741"/>
          </a:xfrm>
        </p:grpSpPr>
        <p:sp>
          <p:nvSpPr>
            <p:cNvPr id="107" name="AutoShape 348"/>
            <p:cNvSpPr>
              <a:spLocks noChangeArrowheads="1"/>
            </p:cNvSpPr>
            <p:nvPr/>
          </p:nvSpPr>
          <p:spPr bwMode="auto">
            <a:xfrm>
              <a:off x="2648744" y="2248464"/>
              <a:ext cx="313732" cy="178741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AutoShape 348"/>
            <p:cNvSpPr>
              <a:spLocks noChangeArrowheads="1"/>
            </p:cNvSpPr>
            <p:nvPr/>
          </p:nvSpPr>
          <p:spPr bwMode="auto">
            <a:xfrm>
              <a:off x="2944344" y="2248464"/>
              <a:ext cx="313732" cy="178741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8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치</a:t>
              </a:r>
              <a:endParaRPr kumimoji="1" lang="ko-KR" altLang="en-US" sz="8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8" name="그룹 6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9" name="그룹 10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99" name="직선 연결선 98"/>
          <p:cNvCxnSpPr/>
          <p:nvPr/>
        </p:nvCxnSpPr>
        <p:spPr bwMode="auto">
          <a:xfrm>
            <a:off x="6007720" y="2342434"/>
            <a:ext cx="0" cy="3854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68739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고객서비스 관리 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고객서비스 관리 </a:t>
            </a:r>
            <a:r>
              <a:rPr lang="ko-KR" altLang="en-US" dirty="0"/>
              <a:t>프로세스의 가설적 이슈를 기반으로 전사 고객정보 통합</a:t>
            </a:r>
            <a:r>
              <a:rPr lang="en-US" altLang="ko-KR" dirty="0"/>
              <a:t>, </a:t>
            </a:r>
            <a:r>
              <a:rPr lang="ko-KR" altLang="en-US" dirty="0"/>
              <a:t>통합 고객 </a:t>
            </a:r>
            <a:r>
              <a:rPr lang="en-US" altLang="ko-KR" dirty="0"/>
              <a:t>Profile Value </a:t>
            </a:r>
            <a:r>
              <a:rPr lang="ko-KR" altLang="en-US" dirty="0"/>
              <a:t>분석환경 </a:t>
            </a:r>
            <a:r>
              <a:rPr lang="ko-KR" altLang="en-US" dirty="0" smtClean="0"/>
              <a:t>구축 </a:t>
            </a:r>
            <a:r>
              <a:rPr lang="ko-KR" altLang="en-US" dirty="0"/>
              <a:t>과제를 도출함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고객서비스 관리</a:t>
              </a: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04" y="2638100"/>
            <a:ext cx="3040025" cy="3527204"/>
            <a:chOff x="488504" y="2638100"/>
            <a:chExt cx="3040025" cy="3527204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488504" y="2638100"/>
              <a:ext cx="3040025" cy="35885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200" dirty="0">
                  <a:solidFill>
                    <a:schemeClr val="bg1">
                      <a:lumMod val="9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이슈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488504" y="2995532"/>
              <a:ext cx="3040025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361950" indent="-180975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43402"/>
            <a:ext cx="9334604" cy="273573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6879456 w 9334604"/>
              <a:gd name="connsiteY2" fmla="*/ 7654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74533 h 274533"/>
              <a:gd name="connsiteX1" fmla="*/ 5873682 w 9334604"/>
              <a:gd name="connsiteY1" fmla="*/ 0 h 274533"/>
              <a:gd name="connsiteX2" fmla="*/ 6879456 w 9334604"/>
              <a:gd name="connsiteY2" fmla="*/ 1530 h 274533"/>
              <a:gd name="connsiteX3" fmla="*/ 9334604 w 9334604"/>
              <a:gd name="connsiteY3" fmla="*/ 272120 h 274533"/>
              <a:gd name="connsiteX4" fmla="*/ 0 w 9334604"/>
              <a:gd name="connsiteY4" fmla="*/ 274533 h 274533"/>
              <a:gd name="connsiteX0" fmla="*/ 0 w 9334604"/>
              <a:gd name="connsiteY0" fmla="*/ 273003 h 273003"/>
              <a:gd name="connsiteX1" fmla="*/ 2339907 w 9334604"/>
              <a:gd name="connsiteY1" fmla="*/ 4594 h 273003"/>
              <a:gd name="connsiteX2" fmla="*/ 6879456 w 9334604"/>
              <a:gd name="connsiteY2" fmla="*/ 0 h 273003"/>
              <a:gd name="connsiteX3" fmla="*/ 9334604 w 9334604"/>
              <a:gd name="connsiteY3" fmla="*/ 270590 h 273003"/>
              <a:gd name="connsiteX4" fmla="*/ 0 w 9334604"/>
              <a:gd name="connsiteY4" fmla="*/ 273003 h 273003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3367906 w 9334604"/>
              <a:gd name="connsiteY2" fmla="*/ 1530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8020868 w 9334604"/>
              <a:gd name="connsiteY2" fmla="*/ 6123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  <a:gd name="connsiteX0" fmla="*/ 0 w 9334604"/>
              <a:gd name="connsiteY0" fmla="*/ 263816 h 263816"/>
              <a:gd name="connsiteX1" fmla="*/ 7026207 w 9334604"/>
              <a:gd name="connsiteY1" fmla="*/ 0 h 263816"/>
              <a:gd name="connsiteX2" fmla="*/ 8020868 w 9334604"/>
              <a:gd name="connsiteY2" fmla="*/ 1530 h 263816"/>
              <a:gd name="connsiteX3" fmla="*/ 9334604 w 9334604"/>
              <a:gd name="connsiteY3" fmla="*/ 261403 h 263816"/>
              <a:gd name="connsiteX4" fmla="*/ 0 w 9334604"/>
              <a:gd name="connsiteY4" fmla="*/ 263816 h 263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63816">
                <a:moveTo>
                  <a:pt x="0" y="263816"/>
                </a:moveTo>
                <a:lnTo>
                  <a:pt x="7026207" y="0"/>
                </a:lnTo>
                <a:lnTo>
                  <a:pt x="8020868" y="1530"/>
                </a:lnTo>
                <a:lnTo>
                  <a:pt x="9334604" y="261403"/>
                </a:lnTo>
                <a:lnTo>
                  <a:pt x="0" y="26381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590244" y="3284984"/>
            <a:ext cx="2755244" cy="1162232"/>
            <a:chOff x="6590244" y="3565354"/>
            <a:chExt cx="2755244" cy="1162232"/>
          </a:xfrm>
        </p:grpSpPr>
        <p:sp>
          <p:nvSpPr>
            <p:cNvPr id="56" name="TextBox 55"/>
            <p:cNvSpPr txBox="1"/>
            <p:nvPr/>
          </p:nvSpPr>
          <p:spPr bwMode="auto">
            <a:xfrm>
              <a:off x="6590244" y="3565354"/>
              <a:ext cx="2755244" cy="11622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전사 고객정보 통합</a:t>
              </a:r>
              <a:endParaRPr lang="en-US" altLang="ko-KR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카드고객 통합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DB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구축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정보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Master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속성체계 설계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고객접촉이력 통합 </a:t>
              </a: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590244" y="3570970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512840" y="2782116"/>
            <a:ext cx="2987565" cy="3352450"/>
            <a:chOff x="3651451" y="2782116"/>
            <a:chExt cx="3078595" cy="3352450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212976"/>
              <a:ext cx="2895819" cy="2921590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651451" y="3284984"/>
              <a:ext cx="2893881" cy="2592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고객정보 통합 및 표준화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4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 세분화 기준체계 </a:t>
              </a:r>
              <a:r>
                <a:rPr kumimoji="1" lang="ko-KR" altLang="en-US" sz="1400" i="1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립</a:t>
              </a:r>
              <a:endParaRPr kumimoji="1" lang="en-US" altLang="ko-KR" sz="14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cxnSp>
        <p:nvCxnSpPr>
          <p:cNvPr id="60" name="직선 연결선 59"/>
          <p:cNvCxnSpPr/>
          <p:nvPr/>
        </p:nvCxnSpPr>
        <p:spPr bwMode="auto">
          <a:xfrm>
            <a:off x="1399561" y="3876784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52" name="화살표: 오각형 51"/>
          <p:cNvSpPr/>
          <p:nvPr/>
        </p:nvSpPr>
        <p:spPr bwMode="auto">
          <a:xfrm rot="5400000">
            <a:off x="601311" y="3081498"/>
            <a:ext cx="774005" cy="816567"/>
          </a:xfrm>
          <a:prstGeom prst="homePlate">
            <a:avLst>
              <a:gd name="adj" fmla="val 1735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정보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기획</a:t>
            </a:r>
          </a:p>
        </p:txBody>
      </p:sp>
      <p:sp>
        <p:nvSpPr>
          <p:cNvPr id="53" name="화살표: 오각형 52"/>
          <p:cNvSpPr/>
          <p:nvPr/>
        </p:nvSpPr>
        <p:spPr bwMode="auto">
          <a:xfrm rot="5400000">
            <a:off x="285190" y="4205534"/>
            <a:ext cx="1406252" cy="816567"/>
          </a:xfrm>
          <a:prstGeom prst="homePlate">
            <a:avLst>
              <a:gd name="adj" fmla="val 22731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정보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1490266" y="3083028"/>
            <a:ext cx="2016311" cy="12407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개인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기업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SOHO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회원 운영기준 불명확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계통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계열간 고객관리코드 상이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1490179" y="3915274"/>
            <a:ext cx="2016311" cy="1409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중심의 데이터 모델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관련 코드정보 상이로 분석 오류 발생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세분화 기준 부재로 마케팅 활용 한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정보계 성능 저하로 고객분석 정보분석 한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0" name="화살표: 오각형 49"/>
          <p:cNvSpPr/>
          <p:nvPr/>
        </p:nvSpPr>
        <p:spPr bwMode="auto">
          <a:xfrm rot="5400000">
            <a:off x="618834" y="5300532"/>
            <a:ext cx="738959" cy="816567"/>
          </a:xfrm>
          <a:prstGeom prst="homePlate">
            <a:avLst>
              <a:gd name="adj" fmla="val 22731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서비스관리</a:t>
            </a:r>
          </a:p>
        </p:txBody>
      </p:sp>
      <p:cxnSp>
        <p:nvCxnSpPr>
          <p:cNvPr id="64" name="직선 연결선 63"/>
          <p:cNvCxnSpPr/>
          <p:nvPr/>
        </p:nvCxnSpPr>
        <p:spPr bwMode="auto">
          <a:xfrm>
            <a:off x="1387770" y="5302876"/>
            <a:ext cx="2081529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71" name="TextBox 70"/>
          <p:cNvSpPr txBox="1"/>
          <p:nvPr/>
        </p:nvSpPr>
        <p:spPr bwMode="auto">
          <a:xfrm>
            <a:off x="1478388" y="5329472"/>
            <a:ext cx="2016311" cy="88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널별 고객통합접촉이력 부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은행 콜센터 공동사용으로 카드특화 운영 어려움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6590244" y="4698432"/>
            <a:ext cx="2755244" cy="737501"/>
            <a:chOff x="6590244" y="4179743"/>
            <a:chExt cx="2755244" cy="737501"/>
          </a:xfrm>
        </p:grpSpPr>
        <p:sp>
          <p:nvSpPr>
            <p:cNvPr id="45" name="TextBox 44"/>
            <p:cNvSpPr txBox="1"/>
            <p:nvPr/>
          </p:nvSpPr>
          <p:spPr bwMode="auto">
            <a:xfrm>
              <a:off x="6590244" y="4179743"/>
              <a:ext cx="2755244" cy="7375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361950" indent="-361950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 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>Profile Value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설계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 속성 항목 도출</a:t>
              </a:r>
              <a:endPara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630238" lvl="1" indent="-180975" latinLnBrk="0">
                <a:spcBef>
                  <a:spcPct val="30000"/>
                </a:spcBef>
                <a:buFont typeface="맑은 고딕" panose="020B0503020000020004" pitchFamily="50" charset="-127"/>
                <a:buChar char="-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 속성 관리 프로세스 설계</a:t>
              </a:r>
              <a:r>
                <a:rPr lang="ko-KR" altLang="en-US" sz="1200" b="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  <a:endParaRPr lang="ko-KR" altLang="en-US" sz="1200" b="0" i="1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6590244" y="4185359"/>
              <a:ext cx="245912" cy="24591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81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전사 </a:t>
            </a:r>
            <a:r>
              <a:rPr lang="ko-KR" altLang="en-US" dirty="0"/>
              <a:t>고객정보 </a:t>
            </a:r>
            <a:r>
              <a:rPr lang="ko-KR" altLang="en-US" dirty="0" smtClean="0"/>
              <a:t>통합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전사 고객관리 분류 체계 </a:t>
            </a:r>
            <a:r>
              <a:rPr lang="ko-KR" altLang="en-US" dirty="0" smtClean="0"/>
              <a:t>재정립 후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고객 데이터를 통합하여 고객에 대한 </a:t>
            </a:r>
            <a:r>
              <a:rPr lang="en-US" altLang="ko-KR" dirty="0"/>
              <a:t>Single View</a:t>
            </a:r>
            <a:r>
              <a:rPr lang="ko-KR" altLang="en-US" dirty="0"/>
              <a:t>를 제공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 고객 범위 및 분류체계 재정립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산된 고객정보 통합 및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Single View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체계 구축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데이터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Life Cycle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리 체계 수립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B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통합 방식 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-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업무 시스템내 통합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또는 고객관리 시스템 분리 통합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널 접촉 이력 통합을 위한 시스템 구성 방식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9" y="5624410"/>
            <a:ext cx="4244280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 고객정보 및 접촉이력 통합관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데이터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Life Cycl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관리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입수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등록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변경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활용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폐기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고객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Single View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지원과 마케팅 영업 수행 역랑 강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488503" y="3429000"/>
            <a:ext cx="4048327" cy="2088232"/>
            <a:chOff x="858099" y="3120953"/>
            <a:chExt cx="3081482" cy="1751084"/>
          </a:xfrm>
        </p:grpSpPr>
        <p:sp>
          <p:nvSpPr>
            <p:cNvPr id="31" name="직사각형 30"/>
            <p:cNvSpPr/>
            <p:nvPr/>
          </p:nvSpPr>
          <p:spPr bwMode="auto">
            <a:xfrm>
              <a:off x="858099" y="3120953"/>
              <a:ext cx="1094526" cy="21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널</a:t>
              </a: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914096" y="3419901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점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914096" y="3780205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터넷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914096" y="4140509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콜센터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914096" y="4500813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RS</a:t>
              </a:r>
            </a:p>
          </p:txBody>
        </p:sp>
        <p:sp>
          <p:nvSpPr>
            <p:cNvPr id="37" name="원통형 36"/>
            <p:cNvSpPr/>
            <p:nvPr/>
          </p:nvSpPr>
          <p:spPr bwMode="auto">
            <a:xfrm>
              <a:off x="1575726" y="4111724"/>
              <a:ext cx="338792" cy="288868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2194857" y="3120953"/>
              <a:ext cx="1738968" cy="21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업무 시스템</a:t>
              </a:r>
            </a:p>
          </p:txBody>
        </p:sp>
        <p:grpSp>
          <p:nvGrpSpPr>
            <p:cNvPr id="39" name="그룹 38"/>
            <p:cNvGrpSpPr/>
            <p:nvPr/>
          </p:nvGrpSpPr>
          <p:grpSpPr>
            <a:xfrm>
              <a:off x="2247242" y="3392408"/>
              <a:ext cx="1624672" cy="735787"/>
              <a:chOff x="2247242" y="3392408"/>
              <a:chExt cx="1513823" cy="621679"/>
            </a:xfrm>
          </p:grpSpPr>
          <p:sp>
            <p:nvSpPr>
              <p:cNvPr id="55" name="원통형 54"/>
              <p:cNvSpPr/>
              <p:nvPr/>
            </p:nvSpPr>
            <p:spPr bwMode="auto">
              <a:xfrm>
                <a:off x="2247242" y="3392408"/>
                <a:ext cx="338792" cy="288868"/>
              </a:xfrm>
              <a:prstGeom prst="can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endPara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6" name="원통형 55"/>
              <p:cNvSpPr/>
              <p:nvPr/>
            </p:nvSpPr>
            <p:spPr bwMode="auto">
              <a:xfrm>
                <a:off x="2635747" y="3392408"/>
                <a:ext cx="338792" cy="288868"/>
              </a:xfrm>
              <a:prstGeom prst="can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카드</a:t>
                </a:r>
                <a:r>
                  <a:rPr kumimoji="1" lang="en-US" altLang="ko-KR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1" lang="en-US" altLang="ko-KR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회원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7" name="원통형 56"/>
              <p:cNvSpPr/>
              <p:nvPr/>
            </p:nvSpPr>
            <p:spPr bwMode="auto">
              <a:xfrm>
                <a:off x="3024252" y="3392408"/>
                <a:ext cx="338792" cy="288868"/>
              </a:xfrm>
              <a:prstGeom prst="can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가맹점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8" name="원통형 57"/>
              <p:cNvSpPr/>
              <p:nvPr/>
            </p:nvSpPr>
            <p:spPr bwMode="auto">
              <a:xfrm>
                <a:off x="3412757" y="3392408"/>
                <a:ext cx="338792" cy="288868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포인트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9" name="원통형 58"/>
              <p:cNvSpPr/>
              <p:nvPr/>
            </p:nvSpPr>
            <p:spPr bwMode="auto">
              <a:xfrm>
                <a:off x="2627297" y="3725219"/>
                <a:ext cx="338792" cy="288868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승인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0" name="원통형 59"/>
              <p:cNvSpPr/>
              <p:nvPr/>
            </p:nvSpPr>
            <p:spPr bwMode="auto">
              <a:xfrm>
                <a:off x="3033768" y="3721029"/>
                <a:ext cx="338792" cy="288868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매출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1" name="원통형 60"/>
              <p:cNvSpPr/>
              <p:nvPr/>
            </p:nvSpPr>
            <p:spPr bwMode="auto">
              <a:xfrm>
                <a:off x="3422273" y="3721029"/>
                <a:ext cx="338792" cy="288868"/>
              </a:xfrm>
              <a:prstGeom prst="can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9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모집인</a:t>
                </a:r>
                <a:endParaRPr kumimoji="1" lang="ko-KR" altLang="en-US" sz="9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40" name="직사각형 39"/>
            <p:cNvSpPr/>
            <p:nvPr/>
          </p:nvSpPr>
          <p:spPr bwMode="auto">
            <a:xfrm>
              <a:off x="2200613" y="4217916"/>
              <a:ext cx="1738968" cy="21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W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원통형 49"/>
            <p:cNvSpPr/>
            <p:nvPr/>
          </p:nvSpPr>
          <p:spPr bwMode="auto">
            <a:xfrm>
              <a:off x="2402850" y="4500813"/>
              <a:ext cx="487811" cy="288868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3221864" y="4500813"/>
              <a:ext cx="471442" cy="2888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RM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858793" y="3336952"/>
              <a:ext cx="1093832" cy="153508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2194858" y="3336952"/>
              <a:ext cx="1738968" cy="83976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2200613" y="4432356"/>
              <a:ext cx="1738968" cy="43968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원통형 95"/>
            <p:cNvSpPr/>
            <p:nvPr/>
          </p:nvSpPr>
          <p:spPr bwMode="auto">
            <a:xfrm>
              <a:off x="1583397" y="3766571"/>
              <a:ext cx="338792" cy="288868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2" name="그룹 61"/>
          <p:cNvGrpSpPr/>
          <p:nvPr/>
        </p:nvGrpSpPr>
        <p:grpSpPr>
          <a:xfrm>
            <a:off x="5320158" y="3405680"/>
            <a:ext cx="4240973" cy="2111551"/>
            <a:chOff x="5627175" y="1754340"/>
            <a:chExt cx="4240973" cy="1932066"/>
          </a:xfrm>
        </p:grpSpPr>
        <p:sp>
          <p:nvSpPr>
            <p:cNvPr id="63" name="원통형 62"/>
            <p:cNvSpPr/>
            <p:nvPr/>
          </p:nvSpPr>
          <p:spPr bwMode="auto">
            <a:xfrm>
              <a:off x="7275085" y="3357208"/>
              <a:ext cx="540000" cy="259743"/>
            </a:xfrm>
            <a:prstGeom prst="can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캠페인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5627175" y="1765192"/>
              <a:ext cx="1094526" cy="21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널</a:t>
              </a: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5886374" y="2143061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점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5886374" y="2503365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터넷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직사각형 66"/>
            <p:cNvSpPr/>
            <p:nvPr/>
          </p:nvSpPr>
          <p:spPr bwMode="auto">
            <a:xfrm>
              <a:off x="5886374" y="2863669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콜센터</a:t>
              </a: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5886374" y="3223973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RS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5627869" y="1981191"/>
              <a:ext cx="1093832" cy="170521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70" name="그룹 69"/>
            <p:cNvGrpSpPr/>
            <p:nvPr/>
          </p:nvGrpSpPr>
          <p:grpSpPr>
            <a:xfrm>
              <a:off x="7001496" y="1765191"/>
              <a:ext cx="1094526" cy="914906"/>
              <a:chOff x="7103096" y="1765191"/>
              <a:chExt cx="1094526" cy="914906"/>
            </a:xfrm>
          </p:grpSpPr>
          <p:sp>
            <p:nvSpPr>
              <p:cNvPr id="94" name="직사각형 93"/>
              <p:cNvSpPr/>
              <p:nvPr/>
            </p:nvSpPr>
            <p:spPr bwMode="auto">
              <a:xfrm>
                <a:off x="7103096" y="1765191"/>
                <a:ext cx="1094526" cy="216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 algn="ctr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1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고객관리</a:t>
                </a:r>
              </a:p>
            </p:txBody>
          </p:sp>
          <p:sp>
            <p:nvSpPr>
              <p:cNvPr id="95" name="직사각형 94"/>
              <p:cNvSpPr/>
              <p:nvPr/>
            </p:nvSpPr>
            <p:spPr bwMode="auto">
              <a:xfrm>
                <a:off x="7103790" y="1981190"/>
                <a:ext cx="1093832" cy="698907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en-US" altLang="ko-KR" sz="10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71" name="직사각형 70"/>
            <p:cNvSpPr/>
            <p:nvPr/>
          </p:nvSpPr>
          <p:spPr bwMode="auto">
            <a:xfrm>
              <a:off x="8380352" y="1754340"/>
              <a:ext cx="1487796" cy="21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업무 시스템</a:t>
              </a: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8381046" y="1970339"/>
              <a:ext cx="1486853" cy="107006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8466523" y="2085910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모집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9163999" y="2085333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8473435" y="2377578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발급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9163999" y="2377578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매출</a:t>
              </a:r>
              <a:r>
                <a:rPr kumimoji="1" lang="en-US" altLang="ko-KR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  <a:endPara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77" name="그룹 76"/>
            <p:cNvGrpSpPr/>
            <p:nvPr/>
          </p:nvGrpSpPr>
          <p:grpSpPr>
            <a:xfrm>
              <a:off x="7001496" y="2771500"/>
              <a:ext cx="1094526" cy="914906"/>
              <a:chOff x="7103096" y="1765191"/>
              <a:chExt cx="1094526" cy="914906"/>
            </a:xfrm>
          </p:grpSpPr>
          <p:sp>
            <p:nvSpPr>
              <p:cNvPr id="92" name="직사각형 91"/>
              <p:cNvSpPr/>
              <p:nvPr/>
            </p:nvSpPr>
            <p:spPr bwMode="auto">
              <a:xfrm>
                <a:off x="7103096" y="1765191"/>
                <a:ext cx="1094526" cy="216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 algn="ctr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b="1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CRM</a:t>
                </a:r>
                <a:endParaRPr kumimoji="1" lang="ko-KR" altLang="en-US" sz="1200" b="1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3" name="직사각형 92"/>
              <p:cNvSpPr/>
              <p:nvPr/>
            </p:nvSpPr>
            <p:spPr bwMode="auto">
              <a:xfrm>
                <a:off x="7103790" y="1981190"/>
                <a:ext cx="1093832" cy="698907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en-US" altLang="ko-KR" sz="10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78" name="직사각형 77"/>
            <p:cNvSpPr/>
            <p:nvPr/>
          </p:nvSpPr>
          <p:spPr bwMode="auto">
            <a:xfrm>
              <a:off x="7186855" y="3064325"/>
              <a:ext cx="720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캠페인</a:t>
              </a:r>
              <a:endPara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직사각형 78"/>
            <p:cNvSpPr/>
            <p:nvPr/>
          </p:nvSpPr>
          <p:spPr bwMode="auto">
            <a:xfrm>
              <a:off x="8473435" y="2691881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담</a:t>
              </a: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직사각형 79"/>
            <p:cNvSpPr/>
            <p:nvPr/>
          </p:nvSpPr>
          <p:spPr bwMode="auto">
            <a:xfrm>
              <a:off x="9177824" y="2691881"/>
              <a:ext cx="612000" cy="23388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,,,</a:t>
              </a:r>
              <a:endPara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원통형 80"/>
            <p:cNvSpPr/>
            <p:nvPr/>
          </p:nvSpPr>
          <p:spPr bwMode="auto">
            <a:xfrm>
              <a:off x="8527100" y="3227228"/>
              <a:ext cx="540000" cy="389723"/>
            </a:xfrm>
            <a:prstGeom prst="can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W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원통형 81"/>
            <p:cNvSpPr/>
            <p:nvPr/>
          </p:nvSpPr>
          <p:spPr bwMode="auto">
            <a:xfrm>
              <a:off x="9270749" y="3225039"/>
              <a:ext cx="540000" cy="389723"/>
            </a:xfrm>
            <a:prstGeom prst="can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rt</a:t>
              </a:r>
              <a:endPara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3" name="원통형 82"/>
            <p:cNvSpPr/>
            <p:nvPr/>
          </p:nvSpPr>
          <p:spPr bwMode="auto">
            <a:xfrm>
              <a:off x="7182055" y="2337456"/>
              <a:ext cx="756000" cy="288000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접촉이력</a:t>
              </a:r>
            </a:p>
          </p:txBody>
        </p:sp>
        <p:sp>
          <p:nvSpPr>
            <p:cNvPr id="84" name="원통형 83"/>
            <p:cNvSpPr/>
            <p:nvPr/>
          </p:nvSpPr>
          <p:spPr bwMode="auto">
            <a:xfrm>
              <a:off x="7174595" y="2034532"/>
              <a:ext cx="756000" cy="288000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kumimoji="1" lang="en-US" altLang="ko-KR" sz="9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</a:t>
              </a:r>
              <a:endParaRPr kumimoji="1" lang="ko-KR" altLang="en-US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5" name="연결선: 구부러짐 84"/>
            <p:cNvCxnSpPr>
              <a:stCxn id="69" idx="3"/>
              <a:endCxn id="95" idx="1"/>
            </p:cNvCxnSpPr>
            <p:nvPr/>
          </p:nvCxnSpPr>
          <p:spPr bwMode="auto">
            <a:xfrm flipV="1">
              <a:off x="6721701" y="2330644"/>
              <a:ext cx="280489" cy="503155"/>
            </a:xfrm>
            <a:prstGeom prst="curved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6" name="연결선: 구부러짐 85"/>
            <p:cNvCxnSpPr>
              <a:stCxn id="69" idx="3"/>
              <a:endCxn id="92" idx="1"/>
            </p:cNvCxnSpPr>
            <p:nvPr/>
          </p:nvCxnSpPr>
          <p:spPr bwMode="auto">
            <a:xfrm>
              <a:off x="6721701" y="2833799"/>
              <a:ext cx="279795" cy="45701"/>
            </a:xfrm>
            <a:prstGeom prst="curved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7" name="연결선: 구부러짐 86"/>
            <p:cNvCxnSpPr>
              <a:stCxn id="95" idx="3"/>
              <a:endCxn id="72" idx="1"/>
            </p:cNvCxnSpPr>
            <p:nvPr/>
          </p:nvCxnSpPr>
          <p:spPr bwMode="auto">
            <a:xfrm>
              <a:off x="8096022" y="2330644"/>
              <a:ext cx="285024" cy="174726"/>
            </a:xfrm>
            <a:prstGeom prst="curved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8" name="연결선: 구부러짐 87"/>
            <p:cNvCxnSpPr>
              <a:stCxn id="95" idx="3"/>
              <a:endCxn id="81" idx="2"/>
            </p:cNvCxnSpPr>
            <p:nvPr/>
          </p:nvCxnSpPr>
          <p:spPr bwMode="auto">
            <a:xfrm>
              <a:off x="8096022" y="2330644"/>
              <a:ext cx="431078" cy="1091446"/>
            </a:xfrm>
            <a:prstGeom prst="curved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9" name="직선 화살표 연결선 88"/>
            <p:cNvCxnSpPr/>
            <p:nvPr/>
          </p:nvCxnSpPr>
          <p:spPr bwMode="auto">
            <a:xfrm>
              <a:off x="7566507" y="2594010"/>
              <a:ext cx="0" cy="18000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90" name="직선 화살표 연결선 89"/>
            <p:cNvCxnSpPr/>
            <p:nvPr/>
          </p:nvCxnSpPr>
          <p:spPr bwMode="auto">
            <a:xfrm rot="5400000">
              <a:off x="8242711" y="3279160"/>
              <a:ext cx="0" cy="252000"/>
            </a:xfrm>
            <a:prstGeom prst="straightConnector1">
              <a:avLst/>
            </a:prstGeom>
            <a:solidFill>
              <a:schemeClr val="accent1"/>
            </a:solidFill>
            <a:ln w="31750" cap="flat" cmpd="sng" algn="ctr">
              <a:solidFill>
                <a:schemeClr val="tx1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91" name="연결선: 구부러짐 90"/>
            <p:cNvCxnSpPr>
              <a:stCxn id="81" idx="4"/>
              <a:endCxn id="82" idx="2"/>
            </p:cNvCxnSpPr>
            <p:nvPr/>
          </p:nvCxnSpPr>
          <p:spPr bwMode="auto">
            <a:xfrm flipV="1">
              <a:off x="9067100" y="3419901"/>
              <a:ext cx="203649" cy="2189"/>
            </a:xfrm>
            <a:prstGeom prst="curvedConnector3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sp>
        <p:nvSpPr>
          <p:cNvPr id="97" name="TextBox 96"/>
          <p:cNvSpPr txBox="1"/>
          <p:nvPr/>
        </p:nvSpPr>
        <p:spPr bwMode="auto">
          <a:xfrm>
            <a:off x="515800" y="5624410"/>
            <a:ext cx="4244280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단위 시스템 또는 채널 시스템별 고객정보 분산 관리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채널별 고객접촉 이력 분산 및 정보 연계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전사 고객정보 기반 마케팅 영업 활동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9" name="연결선: 구부러짐 8"/>
          <p:cNvCxnSpPr>
            <a:stCxn id="96" idx="4"/>
            <a:endCxn id="55" idx="2"/>
          </p:cNvCxnSpPr>
          <p:nvPr/>
        </p:nvCxnSpPr>
        <p:spPr bwMode="auto">
          <a:xfrm flipV="1">
            <a:off x="1886461" y="3956578"/>
            <a:ext cx="427042" cy="414588"/>
          </a:xfrm>
          <a:prstGeom prst="curvedConnector3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98" name="연결선: 구부러짐 97"/>
          <p:cNvCxnSpPr>
            <a:stCxn id="37" idx="4"/>
            <a:endCxn id="55" idx="3"/>
          </p:cNvCxnSpPr>
          <p:nvPr/>
        </p:nvCxnSpPr>
        <p:spPr bwMode="auto">
          <a:xfrm flipV="1">
            <a:off x="1876383" y="4160435"/>
            <a:ext cx="675962" cy="622339"/>
          </a:xfrm>
          <a:prstGeom prst="curvedConnector2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99" name="연결선: 구부러짐 98"/>
          <p:cNvCxnSpPr>
            <a:stCxn id="55" idx="3"/>
            <a:endCxn id="56" idx="3"/>
          </p:cNvCxnSpPr>
          <p:nvPr/>
        </p:nvCxnSpPr>
        <p:spPr bwMode="auto">
          <a:xfrm rot="16200000" flipH="1">
            <a:off x="2826233" y="3886547"/>
            <a:ext cx="12700" cy="547776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100" name="연결선: 구부러짐 99"/>
          <p:cNvCxnSpPr>
            <a:stCxn id="55" idx="3"/>
            <a:endCxn id="50" idx="1"/>
          </p:cNvCxnSpPr>
          <p:nvPr/>
        </p:nvCxnSpPr>
        <p:spPr bwMode="auto">
          <a:xfrm rot="16200000" flipH="1">
            <a:off x="2238307" y="4474472"/>
            <a:ext cx="914099" cy="286023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/>
            <a:tailEnd type="triangle"/>
          </a:ln>
          <a:effectLst/>
        </p:spPr>
      </p:cxnSp>
      <p:sp>
        <p:nvSpPr>
          <p:cNvPr id="103" name="TextBox 102"/>
          <p:cNvSpPr txBox="1"/>
          <p:nvPr/>
        </p:nvSpPr>
        <p:spPr bwMode="auto">
          <a:xfrm>
            <a:off x="1944401" y="4365048"/>
            <a:ext cx="587291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b="0" dirty="0">
                <a:solidFill>
                  <a:srgbClr val="FF0000"/>
                </a:solidFill>
                <a:latin typeface="맑은 고딕"/>
                <a:ea typeface="맑은 고딕"/>
              </a:rPr>
              <a:t>불일치</a:t>
            </a:r>
          </a:p>
        </p:txBody>
      </p:sp>
      <p:sp>
        <p:nvSpPr>
          <p:cNvPr id="105" name="TextBox 104"/>
          <p:cNvSpPr txBox="1"/>
          <p:nvPr/>
        </p:nvSpPr>
        <p:spPr bwMode="auto">
          <a:xfrm>
            <a:off x="1680311" y="3789040"/>
            <a:ext cx="587291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b="0">
                <a:solidFill>
                  <a:srgbClr val="FF0000"/>
                </a:solidFill>
                <a:latin typeface="맑은 고딕"/>
                <a:ea typeface="맑은 고딕"/>
              </a:rPr>
              <a:t>동기화 지연</a:t>
            </a:r>
            <a:endParaRPr lang="ko-KR" altLang="en-US" sz="1000" b="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106" name="TextBox 105"/>
          <p:cNvSpPr txBox="1"/>
          <p:nvPr/>
        </p:nvSpPr>
        <p:spPr bwMode="auto">
          <a:xfrm>
            <a:off x="2211440" y="4768166"/>
            <a:ext cx="587291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b="0">
                <a:solidFill>
                  <a:srgbClr val="FF0000"/>
                </a:solidFill>
                <a:latin typeface="맑은 고딕"/>
                <a:ea typeface="맑은 고딕"/>
              </a:rPr>
              <a:t>개인고객</a:t>
            </a:r>
            <a:endParaRPr lang="ko-KR" altLang="en-US" sz="1000" b="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5" name="그룹 12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2361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roach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정보 통합을 위해서는 현행 시스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의 영향도 분석과 프로세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부분까지 종합 검토가 필요함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통합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roach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" name="화살표: 오각형 5"/>
          <p:cNvSpPr/>
          <p:nvPr/>
        </p:nvSpPr>
        <p:spPr bwMode="auto">
          <a:xfrm>
            <a:off x="395286" y="2619342"/>
            <a:ext cx="1121232" cy="827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행 고객번호 체계 분석</a:t>
            </a:r>
          </a:p>
        </p:txBody>
      </p:sp>
      <p:sp>
        <p:nvSpPr>
          <p:cNvPr id="37" name="화살표: 오각형 36"/>
          <p:cNvSpPr/>
          <p:nvPr/>
        </p:nvSpPr>
        <p:spPr bwMode="auto">
          <a:xfrm>
            <a:off x="2216695" y="2620384"/>
            <a:ext cx="1296144" cy="8259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번호 체계 </a:t>
            </a: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방안 수립 </a:t>
            </a:r>
          </a:p>
        </p:txBody>
      </p:sp>
      <p:sp>
        <p:nvSpPr>
          <p:cNvPr id="38" name="화살표: 오각형 37"/>
          <p:cNvSpPr/>
          <p:nvPr/>
        </p:nvSpPr>
        <p:spPr bwMode="auto">
          <a:xfrm>
            <a:off x="3772799" y="2619342"/>
            <a:ext cx="1180200" cy="827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번호 체계 </a:t>
            </a: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 영향도 분석</a:t>
            </a:r>
          </a:p>
        </p:txBody>
      </p:sp>
      <p:sp>
        <p:nvSpPr>
          <p:cNvPr id="39" name="화살표: 오각형 38"/>
          <p:cNvSpPr/>
          <p:nvPr/>
        </p:nvSpPr>
        <p:spPr bwMode="auto">
          <a:xfrm>
            <a:off x="5807515" y="2837502"/>
            <a:ext cx="2169822" cy="391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 설계</a:t>
            </a:r>
          </a:p>
        </p:txBody>
      </p:sp>
      <p:sp>
        <p:nvSpPr>
          <p:cNvPr id="40" name="화살표: 오각형 39"/>
          <p:cNvSpPr/>
          <p:nvPr/>
        </p:nvSpPr>
        <p:spPr bwMode="auto">
          <a:xfrm>
            <a:off x="5807515" y="4443612"/>
            <a:ext cx="945271" cy="391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제영역 </a:t>
            </a: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</a:p>
        </p:txBody>
      </p:sp>
      <p:sp>
        <p:nvSpPr>
          <p:cNvPr id="41" name="화살표: 오각형 40"/>
          <p:cNvSpPr/>
          <p:nvPr/>
        </p:nvSpPr>
        <p:spPr bwMode="auto">
          <a:xfrm>
            <a:off x="6937304" y="4443612"/>
            <a:ext cx="1040034" cy="391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통합 개념 모델 설계</a:t>
            </a:r>
          </a:p>
        </p:txBody>
      </p:sp>
      <p:sp>
        <p:nvSpPr>
          <p:cNvPr id="42" name="화살표: 오각형 41"/>
          <p:cNvSpPr/>
          <p:nvPr/>
        </p:nvSpPr>
        <p:spPr bwMode="auto">
          <a:xfrm>
            <a:off x="8841432" y="3359003"/>
            <a:ext cx="767335" cy="827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통합 요건정의</a:t>
            </a:r>
          </a:p>
        </p:txBody>
      </p:sp>
      <p:cxnSp>
        <p:nvCxnSpPr>
          <p:cNvPr id="13" name="연결선: 꺾임 12"/>
          <p:cNvCxnSpPr>
            <a:stCxn id="6" idx="3"/>
            <a:endCxn id="37" idx="1"/>
          </p:cNvCxnSpPr>
          <p:nvPr/>
        </p:nvCxnSpPr>
        <p:spPr bwMode="auto">
          <a:xfrm>
            <a:off x="1516518" y="3032858"/>
            <a:ext cx="700177" cy="52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3" name="연결선: 꺾임 42"/>
          <p:cNvCxnSpPr>
            <a:stCxn id="37" idx="3"/>
            <a:endCxn id="38" idx="1"/>
          </p:cNvCxnSpPr>
          <p:nvPr/>
        </p:nvCxnSpPr>
        <p:spPr bwMode="auto">
          <a:xfrm flipV="1">
            <a:off x="3512839" y="3032858"/>
            <a:ext cx="259960" cy="52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4" name="연결선: 꺾임 43"/>
          <p:cNvCxnSpPr>
            <a:stCxn id="38" idx="3"/>
            <a:endCxn id="39" idx="1"/>
          </p:cNvCxnSpPr>
          <p:nvPr/>
        </p:nvCxnSpPr>
        <p:spPr bwMode="auto">
          <a:xfrm>
            <a:off x="4952999" y="3032858"/>
            <a:ext cx="854516" cy="52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5" name="연결선: 꺾임 44"/>
          <p:cNvCxnSpPr>
            <a:stCxn id="38" idx="3"/>
            <a:endCxn id="40" idx="1"/>
          </p:cNvCxnSpPr>
          <p:nvPr/>
        </p:nvCxnSpPr>
        <p:spPr bwMode="auto">
          <a:xfrm>
            <a:off x="4952999" y="3032858"/>
            <a:ext cx="854516" cy="160663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8" name="연결선: 꺾임 47"/>
          <p:cNvCxnSpPr>
            <a:stCxn id="40" idx="3"/>
            <a:endCxn id="41" idx="1"/>
          </p:cNvCxnSpPr>
          <p:nvPr/>
        </p:nvCxnSpPr>
        <p:spPr bwMode="auto">
          <a:xfrm>
            <a:off x="6752786" y="4639488"/>
            <a:ext cx="18451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2" name="화살표: 오각형 39"/>
          <p:cNvSpPr/>
          <p:nvPr/>
        </p:nvSpPr>
        <p:spPr bwMode="auto">
          <a:xfrm>
            <a:off x="6869199" y="5244383"/>
            <a:ext cx="1108137" cy="391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구성방안  정의</a:t>
            </a:r>
          </a:p>
        </p:txBody>
      </p:sp>
      <p:cxnSp>
        <p:nvCxnSpPr>
          <p:cNvPr id="53" name="연결선: 꺾임 52"/>
          <p:cNvCxnSpPr>
            <a:stCxn id="38" idx="3"/>
            <a:endCxn id="52" idx="1"/>
          </p:cNvCxnSpPr>
          <p:nvPr/>
        </p:nvCxnSpPr>
        <p:spPr bwMode="auto">
          <a:xfrm>
            <a:off x="4952999" y="3032858"/>
            <a:ext cx="1916200" cy="2407401"/>
          </a:xfrm>
          <a:prstGeom prst="bentConnector3">
            <a:avLst>
              <a:gd name="adj1" fmla="val 22353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8" name="연결선: 꺾임 57"/>
          <p:cNvCxnSpPr>
            <a:stCxn id="39" idx="3"/>
            <a:endCxn id="42" idx="1"/>
          </p:cNvCxnSpPr>
          <p:nvPr/>
        </p:nvCxnSpPr>
        <p:spPr bwMode="auto">
          <a:xfrm>
            <a:off x="7977337" y="3033378"/>
            <a:ext cx="864095" cy="73914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1" name="연결선: 꺾임 60"/>
          <p:cNvCxnSpPr>
            <a:stCxn id="41" idx="3"/>
            <a:endCxn id="42" idx="1"/>
          </p:cNvCxnSpPr>
          <p:nvPr/>
        </p:nvCxnSpPr>
        <p:spPr bwMode="auto">
          <a:xfrm flipV="1">
            <a:off x="7977338" y="3772519"/>
            <a:ext cx="864094" cy="86696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4" name="연결선: 꺾임 63"/>
          <p:cNvCxnSpPr>
            <a:stCxn id="52" idx="3"/>
            <a:endCxn id="42" idx="1"/>
          </p:cNvCxnSpPr>
          <p:nvPr/>
        </p:nvCxnSpPr>
        <p:spPr bwMode="auto">
          <a:xfrm flipV="1">
            <a:off x="7977336" y="3772519"/>
            <a:ext cx="864096" cy="166774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6" name="화살표: 오각형 75"/>
          <p:cNvSpPr/>
          <p:nvPr/>
        </p:nvSpPr>
        <p:spPr bwMode="auto">
          <a:xfrm>
            <a:off x="395286" y="2004023"/>
            <a:ext cx="1382793" cy="504000"/>
          </a:xfrm>
          <a:prstGeom prst="homePlat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77" name="화살표: 오각형 76"/>
          <p:cNvSpPr/>
          <p:nvPr/>
        </p:nvSpPr>
        <p:spPr bwMode="auto">
          <a:xfrm>
            <a:off x="5385047" y="2004023"/>
            <a:ext cx="4248474" cy="504000"/>
          </a:xfrm>
          <a:prstGeom prst="homePlat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To-Be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설계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화살표: 오각형 101"/>
          <p:cNvSpPr/>
          <p:nvPr/>
        </p:nvSpPr>
        <p:spPr bwMode="auto">
          <a:xfrm>
            <a:off x="1778078" y="2004023"/>
            <a:ext cx="3606969" cy="504000"/>
          </a:xfrm>
          <a:prstGeom prst="homePlate">
            <a:avLst/>
          </a:prstGeom>
          <a:solidFill>
            <a:srgbClr val="1B3A87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과제 상세화</a:t>
            </a:r>
          </a:p>
        </p:txBody>
      </p:sp>
      <p:sp>
        <p:nvSpPr>
          <p:cNvPr id="104" name="TextBox 103"/>
          <p:cNvSpPr txBox="1"/>
          <p:nvPr/>
        </p:nvSpPr>
        <p:spPr bwMode="auto">
          <a:xfrm>
            <a:off x="297750" y="3588199"/>
            <a:ext cx="1480330" cy="7190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고객범위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고객번호 관리 체계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및 프로세스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데이터 이슈 분석</a:t>
            </a:r>
          </a:p>
        </p:txBody>
      </p:sp>
      <p:sp>
        <p:nvSpPr>
          <p:cNvPr id="105" name="TextBox 104"/>
          <p:cNvSpPr txBox="1"/>
          <p:nvPr/>
        </p:nvSpPr>
        <p:spPr bwMode="auto">
          <a:xfrm>
            <a:off x="2176525" y="3588199"/>
            <a:ext cx="1480330" cy="557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>
                <a:solidFill>
                  <a:srgbClr val="000000"/>
                </a:solidFill>
                <a:latin typeface="맑은 고딕"/>
                <a:ea typeface="맑은 고딕"/>
              </a:rPr>
              <a:t>고객번호체계 및 고객정보통합 개선 방안 수립</a:t>
            </a:r>
            <a:endParaRPr lang="ko-KR" altLang="en-US" sz="105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06" name="TextBox 105"/>
          <p:cNvSpPr txBox="1"/>
          <p:nvPr/>
        </p:nvSpPr>
        <p:spPr bwMode="auto">
          <a:xfrm>
            <a:off x="3753445" y="3588199"/>
            <a:ext cx="1480330" cy="557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AS-IS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프로세스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어플리케이션 영향 분석</a:t>
            </a:r>
          </a:p>
        </p:txBody>
      </p:sp>
      <p:sp>
        <p:nvSpPr>
          <p:cNvPr id="107" name="화살표: 오각형 38"/>
          <p:cNvSpPr/>
          <p:nvPr/>
        </p:nvSpPr>
        <p:spPr bwMode="auto">
          <a:xfrm>
            <a:off x="5807515" y="3575442"/>
            <a:ext cx="2169822" cy="391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어플리케이션 정의</a:t>
            </a:r>
          </a:p>
        </p:txBody>
      </p:sp>
      <p:cxnSp>
        <p:nvCxnSpPr>
          <p:cNvPr id="109" name="연결선: 꺾임 108"/>
          <p:cNvCxnSpPr>
            <a:stCxn id="38" idx="3"/>
            <a:endCxn id="107" idx="1"/>
          </p:cNvCxnSpPr>
          <p:nvPr/>
        </p:nvCxnSpPr>
        <p:spPr bwMode="auto">
          <a:xfrm>
            <a:off x="4952999" y="3032858"/>
            <a:ext cx="854516" cy="73846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2" name="연결선: 꺾임 111"/>
          <p:cNvCxnSpPr>
            <a:stCxn id="107" idx="3"/>
            <a:endCxn id="42" idx="1"/>
          </p:cNvCxnSpPr>
          <p:nvPr/>
        </p:nvCxnSpPr>
        <p:spPr bwMode="auto">
          <a:xfrm>
            <a:off x="7977337" y="3771318"/>
            <a:ext cx="864095" cy="120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4" name="TextBox 133"/>
          <p:cNvSpPr txBox="1"/>
          <p:nvPr/>
        </p:nvSpPr>
        <p:spPr bwMode="auto">
          <a:xfrm>
            <a:off x="5815086" y="3289162"/>
            <a:ext cx="2579093" cy="2342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고객 데이터 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Life Cycle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프로세스 설계</a:t>
            </a:r>
          </a:p>
        </p:txBody>
      </p:sp>
      <p:sp>
        <p:nvSpPr>
          <p:cNvPr id="135" name="TextBox 134"/>
          <p:cNvSpPr txBox="1"/>
          <p:nvPr/>
        </p:nvSpPr>
        <p:spPr bwMode="auto">
          <a:xfrm>
            <a:off x="5830291" y="4023756"/>
            <a:ext cx="2579093" cy="3958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고객관리 어플리케이션 맵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컴포넌트 정의</a:t>
            </a:r>
          </a:p>
        </p:txBody>
      </p:sp>
      <p:sp>
        <p:nvSpPr>
          <p:cNvPr id="140" name="TextBox 139"/>
          <p:cNvSpPr txBox="1"/>
          <p:nvPr/>
        </p:nvSpPr>
        <p:spPr bwMode="auto">
          <a:xfrm>
            <a:off x="5807515" y="4887358"/>
            <a:ext cx="2579093" cy="3958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고객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계약 관련 주제 영역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개념모델 설계</a:t>
            </a:r>
          </a:p>
        </p:txBody>
      </p:sp>
      <p:sp>
        <p:nvSpPr>
          <p:cNvPr id="141" name="TextBox 140"/>
          <p:cNvSpPr txBox="1"/>
          <p:nvPr/>
        </p:nvSpPr>
        <p:spPr bwMode="auto">
          <a:xfrm>
            <a:off x="6875315" y="5697427"/>
            <a:ext cx="1390053" cy="3958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논리 시스템 구성 및 시스템 용량 산정</a:t>
            </a:r>
          </a:p>
        </p:txBody>
      </p:sp>
      <p:sp>
        <p:nvSpPr>
          <p:cNvPr id="142" name="TextBox 141"/>
          <p:cNvSpPr txBox="1"/>
          <p:nvPr/>
        </p:nvSpPr>
        <p:spPr bwMode="auto">
          <a:xfrm>
            <a:off x="8801964" y="4268089"/>
            <a:ext cx="884064" cy="2342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>
                <a:solidFill>
                  <a:srgbClr val="000000"/>
                </a:solidFill>
                <a:latin typeface="맑은 고딕"/>
                <a:ea typeface="맑은 고딕"/>
              </a:rPr>
              <a:t>요건정의서</a:t>
            </a:r>
            <a:endParaRPr lang="ko-KR" altLang="en-US" sz="105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69" name="그룹 6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012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회원은 고객 단위에서 본인고객과 가족카드고객이 구분되어 관리되고 있으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 단위에서 가족카드는 모두 본인회원에 귀속되어 관리되고 있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행 고객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원 운영체계 현황 분석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03497" y="1907143"/>
            <a:ext cx="9215655" cy="4330169"/>
            <a:chOff x="303497" y="1907143"/>
            <a:chExt cx="9430508" cy="4561858"/>
          </a:xfrm>
        </p:grpSpPr>
        <p:sp>
          <p:nvSpPr>
            <p:cNvPr id="37" name="직사각형 36"/>
            <p:cNvSpPr/>
            <p:nvPr/>
          </p:nvSpPr>
          <p:spPr bwMode="auto">
            <a:xfrm>
              <a:off x="461074" y="2373260"/>
              <a:ext cx="5297074" cy="738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458705" y="3211299"/>
              <a:ext cx="5297074" cy="738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39" name="직사각형 38"/>
            <p:cNvSpPr/>
            <p:nvPr/>
          </p:nvSpPr>
          <p:spPr bwMode="auto">
            <a:xfrm>
              <a:off x="461074" y="4049338"/>
              <a:ext cx="5297074" cy="738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40" name="Rectangle 31"/>
            <p:cNvSpPr>
              <a:spLocks noChangeArrowheads="1"/>
            </p:cNvSpPr>
            <p:nvPr/>
          </p:nvSpPr>
          <p:spPr bwMode="auto">
            <a:xfrm>
              <a:off x="1781115" y="250516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</a:t>
              </a:r>
            </a:p>
          </p:txBody>
        </p:sp>
        <p:sp>
          <p:nvSpPr>
            <p:cNvPr id="41" name="Rectangle 31"/>
            <p:cNvSpPr>
              <a:spLocks noChangeArrowheads="1"/>
            </p:cNvSpPr>
            <p:nvPr/>
          </p:nvSpPr>
          <p:spPr bwMode="auto">
            <a:xfrm>
              <a:off x="3170603" y="250516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B</a:t>
              </a:r>
            </a:p>
          </p:txBody>
        </p:sp>
        <p:sp>
          <p:nvSpPr>
            <p:cNvPr id="42" name="Rectangle 31"/>
            <p:cNvSpPr>
              <a:spLocks noChangeArrowheads="1"/>
            </p:cNvSpPr>
            <p:nvPr/>
          </p:nvSpPr>
          <p:spPr bwMode="auto">
            <a:xfrm>
              <a:off x="1383063" y="332908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a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43" name="Shape 117"/>
            <p:cNvCxnSpPr>
              <a:stCxn id="40" idx="2"/>
              <a:endCxn id="42" idx="0"/>
            </p:cNvCxnSpPr>
            <p:nvPr/>
          </p:nvCxnSpPr>
          <p:spPr bwMode="auto">
            <a:xfrm rot="5400000">
              <a:off x="1767267" y="2955240"/>
              <a:ext cx="349644" cy="39805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hape 117"/>
            <p:cNvCxnSpPr>
              <a:stCxn id="40" idx="2"/>
              <a:endCxn id="62" idx="0"/>
            </p:cNvCxnSpPr>
            <p:nvPr/>
          </p:nvCxnSpPr>
          <p:spPr bwMode="auto">
            <a:xfrm rot="16200000" flipH="1">
              <a:off x="2172273" y="2948286"/>
              <a:ext cx="349644" cy="411960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Rectangle 31"/>
            <p:cNvSpPr>
              <a:spLocks noChangeArrowheads="1"/>
            </p:cNvSpPr>
            <p:nvPr/>
          </p:nvSpPr>
          <p:spPr bwMode="auto">
            <a:xfrm>
              <a:off x="1383063" y="4167281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</a:t>
              </a:r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aa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46" name="Rectangle 31"/>
            <p:cNvSpPr>
              <a:spLocks noChangeArrowheads="1"/>
            </p:cNvSpPr>
            <p:nvPr/>
          </p:nvSpPr>
          <p:spPr bwMode="auto">
            <a:xfrm>
              <a:off x="2193171" y="4167281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</a:t>
              </a:r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ba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47" name="Rectangle 31"/>
            <p:cNvSpPr>
              <a:spLocks noChangeArrowheads="1"/>
            </p:cNvSpPr>
            <p:nvPr/>
          </p:nvSpPr>
          <p:spPr bwMode="auto">
            <a:xfrm>
              <a:off x="3170507" y="4167281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latinLnBrk="0"/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bb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48" name="직선 연결선 47"/>
            <p:cNvCxnSpPr>
              <a:stCxn id="45" idx="0"/>
              <a:endCxn id="42" idx="2"/>
            </p:cNvCxnSpPr>
            <p:nvPr/>
          </p:nvCxnSpPr>
          <p:spPr bwMode="auto">
            <a:xfrm flipV="1">
              <a:off x="1743063" y="3803364"/>
              <a:ext cx="0" cy="363917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꺾인 연결선 211"/>
            <p:cNvCxnSpPr>
              <a:stCxn id="46" idx="0"/>
              <a:endCxn id="62" idx="2"/>
            </p:cNvCxnSpPr>
            <p:nvPr/>
          </p:nvCxnSpPr>
          <p:spPr bwMode="auto">
            <a:xfrm rot="16200000" flipV="1">
              <a:off x="2371165" y="3985275"/>
              <a:ext cx="363917" cy="9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0" name="직사각형 49"/>
            <p:cNvSpPr/>
            <p:nvPr/>
          </p:nvSpPr>
          <p:spPr bwMode="auto">
            <a:xfrm>
              <a:off x="392835" y="2419959"/>
              <a:ext cx="682388" cy="64469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392835" y="3257998"/>
              <a:ext cx="682388" cy="64469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392835" y="4096037"/>
              <a:ext cx="682388" cy="64469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</a:t>
              </a:r>
            </a:p>
          </p:txBody>
        </p:sp>
        <p:cxnSp>
          <p:nvCxnSpPr>
            <p:cNvPr id="53" name="직선 연결선 52"/>
            <p:cNvCxnSpPr>
              <a:stCxn id="41" idx="2"/>
              <a:endCxn id="47" idx="0"/>
            </p:cNvCxnSpPr>
            <p:nvPr/>
          </p:nvCxnSpPr>
          <p:spPr bwMode="auto">
            <a:xfrm flipH="1">
              <a:off x="3530507" y="2979444"/>
              <a:ext cx="96" cy="1187837"/>
            </a:xfrm>
            <a:prstGeom prst="line">
              <a:avLst/>
            </a:prstGeom>
            <a:noFill/>
            <a:ln w="22225" cap="flat" cmpd="sng" algn="ctr">
              <a:solidFill>
                <a:schemeClr val="accent1">
                  <a:lumMod val="50000"/>
                </a:schemeClr>
              </a:solidFill>
              <a:prstDash val="sysDash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54" name="Rectangle 31"/>
            <p:cNvSpPr>
              <a:spLocks noChangeArrowheads="1"/>
            </p:cNvSpPr>
            <p:nvPr/>
          </p:nvSpPr>
          <p:spPr bwMode="auto">
            <a:xfrm>
              <a:off x="4083423" y="250516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</a:t>
              </a:r>
            </a:p>
          </p:txBody>
        </p:sp>
        <p:sp>
          <p:nvSpPr>
            <p:cNvPr id="55" name="Rectangle 31"/>
            <p:cNvSpPr>
              <a:spLocks noChangeArrowheads="1"/>
            </p:cNvSpPr>
            <p:nvPr/>
          </p:nvSpPr>
          <p:spPr bwMode="auto">
            <a:xfrm>
              <a:off x="4083327" y="4167281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latinLnBrk="0"/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bc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56" name="직선 연결선 55"/>
            <p:cNvCxnSpPr>
              <a:stCxn id="54" idx="2"/>
              <a:endCxn id="55" idx="0"/>
            </p:cNvCxnSpPr>
            <p:nvPr/>
          </p:nvCxnSpPr>
          <p:spPr bwMode="auto">
            <a:xfrm flipH="1">
              <a:off x="4443327" y="2979444"/>
              <a:ext cx="96" cy="1187837"/>
            </a:xfrm>
            <a:prstGeom prst="line">
              <a:avLst/>
            </a:prstGeom>
            <a:noFill/>
            <a:ln w="22225" cap="flat" cmpd="sng" algn="ctr">
              <a:solidFill>
                <a:schemeClr val="accent1">
                  <a:lumMod val="50000"/>
                </a:schemeClr>
              </a:solidFill>
              <a:prstDash val="sysDash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57" name="Rectangle 31"/>
            <p:cNvSpPr>
              <a:spLocks noChangeArrowheads="1"/>
            </p:cNvSpPr>
            <p:nvPr/>
          </p:nvSpPr>
          <p:spPr bwMode="auto">
            <a:xfrm>
              <a:off x="4883459" y="4167281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</a:t>
              </a:r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aa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58" name="Rectangle 31"/>
            <p:cNvSpPr>
              <a:spLocks noChangeArrowheads="1"/>
            </p:cNvSpPr>
            <p:nvPr/>
          </p:nvSpPr>
          <p:spPr bwMode="auto">
            <a:xfrm>
              <a:off x="4883459" y="332908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a</a:t>
              </a:r>
            </a:p>
          </p:txBody>
        </p:sp>
        <p:cxnSp>
          <p:nvCxnSpPr>
            <p:cNvPr id="59" name="꺾인 연결선 239"/>
            <p:cNvCxnSpPr>
              <a:stCxn id="58" idx="0"/>
              <a:endCxn id="54" idx="2"/>
            </p:cNvCxnSpPr>
            <p:nvPr/>
          </p:nvCxnSpPr>
          <p:spPr bwMode="auto">
            <a:xfrm rot="16200000" flipV="1">
              <a:off x="4668619" y="2754248"/>
              <a:ext cx="349644" cy="80003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직선 연결선 59"/>
            <p:cNvCxnSpPr>
              <a:stCxn id="57" idx="0"/>
              <a:endCxn id="58" idx="2"/>
            </p:cNvCxnSpPr>
            <p:nvPr/>
          </p:nvCxnSpPr>
          <p:spPr bwMode="auto">
            <a:xfrm flipV="1">
              <a:off x="5243459" y="3803364"/>
              <a:ext cx="0" cy="363917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꺾인 연결선 245"/>
            <p:cNvCxnSpPr>
              <a:stCxn id="47" idx="0"/>
              <a:endCxn id="62" idx="2"/>
            </p:cNvCxnSpPr>
            <p:nvPr/>
          </p:nvCxnSpPr>
          <p:spPr bwMode="auto">
            <a:xfrm rot="16200000" flipV="1">
              <a:off x="2859833" y="3496607"/>
              <a:ext cx="363917" cy="97743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2" name="Rectangle 31"/>
            <p:cNvSpPr>
              <a:spLocks noChangeArrowheads="1"/>
            </p:cNvSpPr>
            <p:nvPr/>
          </p:nvSpPr>
          <p:spPr bwMode="auto">
            <a:xfrm>
              <a:off x="2193075" y="3329088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  <a:r>
                <a:rPr kumimoji="1" lang="en-US" altLang="ko-KR" sz="10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b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63" name="꺾인 연결선 245"/>
            <p:cNvCxnSpPr>
              <a:stCxn id="55" idx="0"/>
              <a:endCxn id="62" idx="2"/>
            </p:cNvCxnSpPr>
            <p:nvPr/>
          </p:nvCxnSpPr>
          <p:spPr bwMode="auto">
            <a:xfrm rot="16200000" flipV="1">
              <a:off x="3316243" y="3040197"/>
              <a:ext cx="363917" cy="1890252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4" name="이등변 삼각형 63"/>
            <p:cNvSpPr/>
            <p:nvPr/>
          </p:nvSpPr>
          <p:spPr bwMode="auto">
            <a:xfrm rot="10800000">
              <a:off x="1393247" y="5697030"/>
              <a:ext cx="1530107" cy="12728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65" name="이등변 삼각형 64"/>
            <p:cNvSpPr/>
            <p:nvPr/>
          </p:nvSpPr>
          <p:spPr bwMode="auto">
            <a:xfrm rot="10800000">
              <a:off x="3175648" y="5697030"/>
              <a:ext cx="720000" cy="127279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66" name="이등변 삼각형 65"/>
            <p:cNvSpPr/>
            <p:nvPr/>
          </p:nvSpPr>
          <p:spPr bwMode="auto">
            <a:xfrm rot="10800000">
              <a:off x="4149148" y="5697030"/>
              <a:ext cx="1440000" cy="12728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67" name="직사각형 66"/>
            <p:cNvSpPr/>
            <p:nvPr/>
          </p:nvSpPr>
          <p:spPr bwMode="auto">
            <a:xfrm>
              <a:off x="1327055" y="5905917"/>
              <a:ext cx="1663200" cy="50622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보유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본인고객</a:t>
              </a: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3116547" y="5905917"/>
              <a:ext cx="838800" cy="50622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Only</a:t>
              </a:r>
            </a:p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4043647" y="5905917"/>
              <a:ext cx="1652400" cy="50622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 보유 고객이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규 본인카드 발급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461074" y="4887377"/>
              <a:ext cx="5297074" cy="738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392835" y="4934076"/>
              <a:ext cx="682388" cy="64469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</a:t>
              </a: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1327055" y="2327552"/>
              <a:ext cx="1663200" cy="35433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3116547" y="2327552"/>
              <a:ext cx="838800" cy="35433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4043647" y="2327552"/>
              <a:ext cx="1652400" cy="35433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buFont typeface="Arial" charset="0"/>
                <a:buNone/>
              </a:pPr>
              <a:endPara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5" name="Rectangle 31"/>
            <p:cNvSpPr>
              <a:spLocks noChangeArrowheads="1"/>
            </p:cNvSpPr>
            <p:nvPr/>
          </p:nvSpPr>
          <p:spPr bwMode="auto">
            <a:xfrm>
              <a:off x="1383063" y="5019285"/>
              <a:ext cx="1530108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소유자실명번호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</a:t>
              </a:r>
            </a:p>
          </p:txBody>
        </p:sp>
        <p:sp>
          <p:nvSpPr>
            <p:cNvPr id="76" name="Rectangle 31"/>
            <p:cNvSpPr>
              <a:spLocks noChangeArrowheads="1"/>
            </p:cNvSpPr>
            <p:nvPr/>
          </p:nvSpPr>
          <p:spPr bwMode="auto">
            <a:xfrm>
              <a:off x="3170507" y="5019285"/>
              <a:ext cx="720000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소유자</a:t>
              </a:r>
              <a:endPara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B</a:t>
              </a:r>
            </a:p>
          </p:txBody>
        </p:sp>
        <p:sp>
          <p:nvSpPr>
            <p:cNvPr id="77" name="Rectangle 31"/>
            <p:cNvSpPr>
              <a:spLocks noChangeArrowheads="1"/>
            </p:cNvSpPr>
            <p:nvPr/>
          </p:nvSpPr>
          <p:spPr bwMode="auto">
            <a:xfrm>
              <a:off x="4083327" y="5019285"/>
              <a:ext cx="1520132" cy="47427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5996" tIns="35996" rIns="35996" bIns="35996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소유자실명번호</a:t>
              </a:r>
              <a:r>
                <a:rPr kumimoji="1" lang="en-US" altLang="ko-KR" sz="1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</a:t>
              </a: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303497" y="2256264"/>
              <a:ext cx="5568192" cy="421273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79" name="직사각형 78"/>
            <p:cNvSpPr/>
            <p:nvPr/>
          </p:nvSpPr>
          <p:spPr bwMode="auto">
            <a:xfrm>
              <a:off x="303497" y="1907143"/>
              <a:ext cx="5568192" cy="3477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algn="ctr" eaLnBrk="0" latinLnBrk="0" hangingPunct="0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회원 구성</a:t>
              </a:r>
            </a:p>
          </p:txBody>
        </p:sp>
        <p:sp>
          <p:nvSpPr>
            <p:cNvPr id="80" name="직사각형 79"/>
            <p:cNvSpPr/>
            <p:nvPr/>
          </p:nvSpPr>
          <p:spPr bwMode="auto">
            <a:xfrm>
              <a:off x="5980871" y="2256264"/>
              <a:ext cx="3753134" cy="421273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72000" rIns="54000" bIns="10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  <a:endPara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 단위의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View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에서는 카드 실 소유주의 단위로 구분되어 관리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가 모두 소지자에게 귀속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lvl="1" indent="-174625" defTabSz="914297" eaLnBrk="0" latinLnBrk="0" hangingPunct="0"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  <a:endPara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 단위의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View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에서는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NH_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용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 NH_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체크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 BC(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용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체크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)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를 기반으로 회원번호가 분류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가 모두 본인회원에게 귀속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lvl="1" indent="-174625" defTabSz="914297" eaLnBrk="0" latinLnBrk="0" hangingPunct="0"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</a:t>
              </a:r>
              <a:endPara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View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에서는 모든 카드번호 단위로 관리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lvl="1" indent="-174625" defTabSz="914297" eaLnBrk="0" latinLnBrk="0" hangingPunct="0">
                <a:buFont typeface="Wingdings" pitchFamily="2" charset="2"/>
                <a:buChar char="§"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</a:t>
              </a:r>
              <a:endPara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를 소지하고 있는 고객의 실제 실명번호이며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와 매치되어 관리됨</a:t>
              </a: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endPara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357188" lvl="1" indent="-174625" defTabSz="914297" eaLnBrk="0" latinLnBrk="0" hangingPunct="0">
                <a:buFont typeface="맑은 고딕" pitchFamily="50" charset="-127"/>
                <a:buChar char="–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번호와 일치하지 않는 실명번호 존재</a:t>
              </a: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</a:pPr>
              <a:endPara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</a:pPr>
              <a:endPara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/>
              <a:endPara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81" name="직사각형 80"/>
            <p:cNvSpPr/>
            <p:nvPr/>
          </p:nvSpPr>
          <p:spPr bwMode="auto">
            <a:xfrm>
              <a:off x="5980871" y="1907143"/>
              <a:ext cx="3753134" cy="3477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algn="ctr" eaLnBrk="0" latinLnBrk="0" hangingPunct="0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회원 상세설명 및 시사점</a:t>
              </a:r>
            </a:p>
          </p:txBody>
        </p:sp>
      </p:grpSp>
      <p:grpSp>
        <p:nvGrpSpPr>
          <p:cNvPr id="94" name="그룹 9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3" name="그룹 10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982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데이터는 고객번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번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번호로 구분되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각 번호의 상하구조는 회원번호를 중심으로 이루어짐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행 회원 데이터 관리 현황 분석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267519" y="1829554"/>
            <a:ext cx="9582026" cy="4553676"/>
            <a:chOff x="136525" y="1127827"/>
            <a:chExt cx="9632950" cy="4619767"/>
          </a:xfrm>
        </p:grpSpPr>
        <p:sp>
          <p:nvSpPr>
            <p:cNvPr id="150" name="직사각형 149"/>
            <p:cNvSpPr/>
            <p:nvPr/>
          </p:nvSpPr>
          <p:spPr bwMode="auto">
            <a:xfrm>
              <a:off x="432399" y="1582548"/>
              <a:ext cx="1620216" cy="450060"/>
            </a:xfrm>
            <a:prstGeom prst="rect">
              <a:avLst/>
            </a:prstGeom>
            <a:solidFill>
              <a:srgbClr val="041C4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</a:t>
              </a: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32399" y="2962321"/>
              <a:ext cx="1620216" cy="450060"/>
            </a:xfrm>
            <a:prstGeom prst="rect">
              <a:avLst/>
            </a:prstGeom>
            <a:solidFill>
              <a:srgbClr val="041C4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 err="1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432399" y="4630124"/>
              <a:ext cx="1620216" cy="450060"/>
            </a:xfrm>
            <a:prstGeom prst="rect">
              <a:avLst/>
            </a:prstGeom>
            <a:solidFill>
              <a:srgbClr val="041C4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번호</a:t>
              </a:r>
            </a:p>
          </p:txBody>
        </p:sp>
        <p:cxnSp>
          <p:nvCxnSpPr>
            <p:cNvPr id="153" name="직선 화살표 연결선 152"/>
            <p:cNvCxnSpPr>
              <a:stCxn id="152" idx="0"/>
              <a:endCxn id="151" idx="2"/>
            </p:cNvCxnSpPr>
            <p:nvPr/>
          </p:nvCxnSpPr>
          <p:spPr bwMode="auto">
            <a:xfrm flipV="1">
              <a:off x="1242507" y="3412381"/>
              <a:ext cx="0" cy="1217743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4" name="직선 화살표 연결선 153"/>
            <p:cNvCxnSpPr>
              <a:stCxn id="151" idx="0"/>
              <a:endCxn id="150" idx="2"/>
            </p:cNvCxnSpPr>
            <p:nvPr/>
          </p:nvCxnSpPr>
          <p:spPr bwMode="auto">
            <a:xfrm flipV="1">
              <a:off x="1242507" y="2032608"/>
              <a:ext cx="0" cy="929713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55" name="그룹 154"/>
            <p:cNvGrpSpPr/>
            <p:nvPr/>
          </p:nvGrpSpPr>
          <p:grpSpPr>
            <a:xfrm>
              <a:off x="2052615" y="1610294"/>
              <a:ext cx="450060" cy="1152000"/>
              <a:chOff x="2252640" y="1410568"/>
              <a:chExt cx="450060" cy="1152000"/>
            </a:xfrm>
          </p:grpSpPr>
          <p:cxnSp>
            <p:nvCxnSpPr>
              <p:cNvPr id="214" name="직선 화살표 연결선 213"/>
              <p:cNvCxnSpPr/>
              <p:nvPr/>
            </p:nvCxnSpPr>
            <p:spPr bwMode="auto">
              <a:xfrm>
                <a:off x="2252640" y="1660653"/>
                <a:ext cx="270036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/>
                <a:tailEnd type="oval"/>
              </a:ln>
              <a:effectLst/>
            </p:spPr>
          </p:cxnSp>
          <p:cxnSp>
            <p:nvCxnSpPr>
              <p:cNvPr id="215" name="직선 연결선 214"/>
              <p:cNvCxnSpPr/>
              <p:nvPr/>
            </p:nvCxnSpPr>
            <p:spPr bwMode="auto">
              <a:xfrm>
                <a:off x="2522676" y="1412962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6" name="직선 연결선 215"/>
              <p:cNvCxnSpPr/>
              <p:nvPr/>
            </p:nvCxnSpPr>
            <p:spPr bwMode="auto">
              <a:xfrm>
                <a:off x="2522676" y="2549211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7" name="직선 연결선 216"/>
              <p:cNvCxnSpPr/>
              <p:nvPr/>
            </p:nvCxnSpPr>
            <p:spPr bwMode="auto">
              <a:xfrm>
                <a:off x="2522676" y="1410568"/>
                <a:ext cx="0" cy="115200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6" name="TextBox 45"/>
            <p:cNvSpPr txBox="1"/>
            <p:nvPr/>
          </p:nvSpPr>
          <p:spPr>
            <a:xfrm>
              <a:off x="2464039" y="1492536"/>
              <a:ext cx="1838878" cy="1358247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/>
              <a:r>
                <a:rPr kumimoji="1"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고객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RM</a:t>
              </a:r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RM</a:t>
              </a:r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대표고객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기업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명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영문명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…</a:t>
              </a:r>
              <a:endParaRPr kumimoji="1"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grpSp>
          <p:nvGrpSpPr>
            <p:cNvPr id="157" name="그룹 156"/>
            <p:cNvGrpSpPr/>
            <p:nvPr/>
          </p:nvGrpSpPr>
          <p:grpSpPr>
            <a:xfrm>
              <a:off x="2052615" y="2979158"/>
              <a:ext cx="450060" cy="1304411"/>
              <a:chOff x="2252640" y="1404539"/>
              <a:chExt cx="450060" cy="1304411"/>
            </a:xfrm>
          </p:grpSpPr>
          <p:cxnSp>
            <p:nvCxnSpPr>
              <p:cNvPr id="210" name="직선 화살표 연결선 209"/>
              <p:cNvCxnSpPr/>
              <p:nvPr/>
            </p:nvCxnSpPr>
            <p:spPr bwMode="auto">
              <a:xfrm>
                <a:off x="2252640" y="1660137"/>
                <a:ext cx="270036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/>
                <a:tailEnd type="oval"/>
              </a:ln>
              <a:effectLst/>
            </p:spPr>
          </p:cxnSp>
          <p:cxnSp>
            <p:nvCxnSpPr>
              <p:cNvPr id="211" name="직선 연결선 210"/>
              <p:cNvCxnSpPr/>
              <p:nvPr/>
            </p:nvCxnSpPr>
            <p:spPr bwMode="auto">
              <a:xfrm>
                <a:off x="2522676" y="1404539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2" name="직선 연결선 211"/>
              <p:cNvCxnSpPr/>
              <p:nvPr/>
            </p:nvCxnSpPr>
            <p:spPr bwMode="auto">
              <a:xfrm>
                <a:off x="2522676" y="2708950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3" name="직선 연결선 212"/>
              <p:cNvCxnSpPr/>
              <p:nvPr/>
            </p:nvCxnSpPr>
            <p:spPr bwMode="auto">
              <a:xfrm>
                <a:off x="2522676" y="1408745"/>
                <a:ext cx="0" cy="1298382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58" name="그룹 157"/>
            <p:cNvGrpSpPr/>
            <p:nvPr/>
          </p:nvGrpSpPr>
          <p:grpSpPr>
            <a:xfrm>
              <a:off x="2052615" y="4633845"/>
              <a:ext cx="450060" cy="691505"/>
              <a:chOff x="2252640" y="1216153"/>
              <a:chExt cx="450060" cy="691505"/>
            </a:xfrm>
          </p:grpSpPr>
          <p:cxnSp>
            <p:nvCxnSpPr>
              <p:cNvPr id="206" name="직선 화살표 연결선 205"/>
              <p:cNvCxnSpPr/>
              <p:nvPr/>
            </p:nvCxnSpPr>
            <p:spPr bwMode="auto">
              <a:xfrm>
                <a:off x="2252640" y="1469260"/>
                <a:ext cx="270036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/>
                <a:tailEnd type="oval"/>
              </a:ln>
              <a:effectLst/>
            </p:spPr>
          </p:cxnSp>
          <p:cxnSp>
            <p:nvCxnSpPr>
              <p:cNvPr id="207" name="직선 연결선 206"/>
              <p:cNvCxnSpPr/>
              <p:nvPr/>
            </p:nvCxnSpPr>
            <p:spPr bwMode="auto">
              <a:xfrm>
                <a:off x="2522676" y="1222503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8" name="직선 연결선 207"/>
              <p:cNvCxnSpPr/>
              <p:nvPr/>
            </p:nvCxnSpPr>
            <p:spPr bwMode="auto">
              <a:xfrm>
                <a:off x="2522676" y="1907658"/>
                <a:ext cx="180024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9" name="직선 연결선 208"/>
              <p:cNvCxnSpPr/>
              <p:nvPr/>
            </p:nvCxnSpPr>
            <p:spPr bwMode="auto">
              <a:xfrm>
                <a:off x="2522676" y="1216153"/>
                <a:ext cx="0" cy="685155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9" name="TextBox 58"/>
            <p:cNvSpPr txBox="1"/>
            <p:nvPr/>
          </p:nvSpPr>
          <p:spPr>
            <a:xfrm>
              <a:off x="2464039" y="2878780"/>
              <a:ext cx="1838878" cy="1358247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/>
              <a:r>
                <a:rPr kumimoji="1" lang="ko-KR" altLang="en-US" sz="9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고객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연계카드고객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계통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계열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신용체크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기업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…</a:t>
              </a:r>
            </a:p>
          </p:txBody>
        </p:sp>
        <p:sp>
          <p:nvSpPr>
            <p:cNvPr id="160" name="TextBox 59"/>
            <p:cNvSpPr txBox="1"/>
            <p:nvPr/>
          </p:nvSpPr>
          <p:spPr>
            <a:xfrm>
              <a:off x="2464039" y="4529857"/>
              <a:ext cx="1838878" cy="1217737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/>
              <a:r>
                <a:rPr kumimoji="1"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고유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본인카드고유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모카드번호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소지자카드고객번호</a:t>
              </a:r>
              <a:endParaRPr kumimoji="1"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ko-KR" altLang="en-US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기업구분코드</a:t>
              </a:r>
              <a:endParaRPr kumimoji="1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9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…</a:t>
              </a:r>
              <a:endParaRPr kumimoji="1"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61" name="직사각형 160"/>
            <p:cNvSpPr/>
            <p:nvPr/>
          </p:nvSpPr>
          <p:spPr bwMode="auto">
            <a:xfrm>
              <a:off x="2502675" y="4567601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2502675" y="5113402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2502675" y="5267949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2502675" y="2904538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2502675" y="3068991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66" name="직사각형 165"/>
            <p:cNvSpPr/>
            <p:nvPr/>
          </p:nvSpPr>
          <p:spPr bwMode="auto">
            <a:xfrm>
              <a:off x="2502675" y="1534395"/>
              <a:ext cx="1620216" cy="150805"/>
            </a:xfrm>
            <a:prstGeom prst="rect">
              <a:avLst/>
            </a:prstGeom>
            <a:noFill/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3994" tIns="10799" rIns="53994" bIns="10799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defTabSz="914297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cxnSp>
          <p:nvCxnSpPr>
            <p:cNvPr id="167" name="구부러진 연결선 67"/>
            <p:cNvCxnSpPr>
              <a:stCxn id="162" idx="3"/>
              <a:endCxn id="164" idx="3"/>
            </p:cNvCxnSpPr>
            <p:nvPr/>
          </p:nvCxnSpPr>
          <p:spPr bwMode="auto">
            <a:xfrm flipV="1">
              <a:off x="4122891" y="2979941"/>
              <a:ext cx="12700" cy="2208864"/>
            </a:xfrm>
            <a:prstGeom prst="curvedConnector3">
              <a:avLst>
                <a:gd name="adj1" fmla="val 1800000"/>
              </a:avLst>
            </a:prstGeom>
            <a:noFill/>
            <a:ln w="63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8" name="구부러진 연결선 68"/>
            <p:cNvCxnSpPr>
              <a:stCxn id="165" idx="3"/>
              <a:endCxn id="166" idx="3"/>
            </p:cNvCxnSpPr>
            <p:nvPr/>
          </p:nvCxnSpPr>
          <p:spPr bwMode="auto">
            <a:xfrm flipV="1">
              <a:off x="4122891" y="1609798"/>
              <a:ext cx="12700" cy="1534596"/>
            </a:xfrm>
            <a:prstGeom prst="curvedConnector3">
              <a:avLst>
                <a:gd name="adj1" fmla="val 1800000"/>
              </a:avLst>
            </a:prstGeom>
            <a:noFill/>
            <a:ln w="63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170" name="그룹 169"/>
            <p:cNvGrpSpPr/>
            <p:nvPr/>
          </p:nvGrpSpPr>
          <p:grpSpPr>
            <a:xfrm>
              <a:off x="6028675" y="3827606"/>
              <a:ext cx="229609" cy="101146"/>
              <a:chOff x="5294891" y="4451804"/>
              <a:chExt cx="229609" cy="101146"/>
            </a:xfrm>
          </p:grpSpPr>
          <p:cxnSp>
            <p:nvCxnSpPr>
              <p:cNvPr id="200" name="직선 연결선 199"/>
              <p:cNvCxnSpPr/>
              <p:nvPr/>
            </p:nvCxnSpPr>
            <p:spPr bwMode="auto">
              <a:xfrm>
                <a:off x="5294891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1" name="직선 연결선 200"/>
              <p:cNvCxnSpPr/>
              <p:nvPr/>
            </p:nvCxnSpPr>
            <p:spPr bwMode="auto">
              <a:xfrm>
                <a:off x="5524500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2" name="직선 연결선 201"/>
              <p:cNvCxnSpPr/>
              <p:nvPr/>
            </p:nvCxnSpPr>
            <p:spPr bwMode="auto">
              <a:xfrm flipH="1">
                <a:off x="5294891" y="4552950"/>
                <a:ext cx="229609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71" name="TextBox 94"/>
            <p:cNvSpPr txBox="1"/>
            <p:nvPr/>
          </p:nvSpPr>
          <p:spPr>
            <a:xfrm>
              <a:off x="5356547" y="3928751"/>
              <a:ext cx="976788" cy="530802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1 – BC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중앙회</a:t>
              </a:r>
              <a:endParaRPr kumimoji="1" lang="en-US" altLang="ko-KR" sz="7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2 – BC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조합</a:t>
              </a:r>
              <a:endParaRPr kumimoji="1" lang="en-US" altLang="ko-KR" sz="7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6 – NH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중앙회</a:t>
              </a:r>
              <a:endParaRPr kumimoji="1" lang="en-US" altLang="ko-KR" sz="7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7 – NH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조합</a:t>
              </a:r>
            </a:p>
          </p:txBody>
        </p:sp>
        <p:sp>
          <p:nvSpPr>
            <p:cNvPr id="172" name="TextBox 95"/>
            <p:cNvSpPr txBox="1"/>
            <p:nvPr/>
          </p:nvSpPr>
          <p:spPr>
            <a:xfrm>
              <a:off x="6116966" y="3928752"/>
              <a:ext cx="976788" cy="312231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 – 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</a:t>
              </a:r>
              <a:endParaRPr kumimoji="1" lang="en-US" altLang="ko-KR" sz="7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latinLnBrk="0"/>
              <a:r>
                <a:rPr kumimoji="1" lang="en-US" altLang="ko-KR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2 – </a:t>
              </a:r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법인</a:t>
              </a:r>
            </a:p>
          </p:txBody>
        </p:sp>
        <p:sp>
          <p:nvSpPr>
            <p:cNvPr id="173" name="TextBox 96"/>
            <p:cNvSpPr txBox="1"/>
            <p:nvPr/>
          </p:nvSpPr>
          <p:spPr>
            <a:xfrm>
              <a:off x="7111923" y="3928752"/>
              <a:ext cx="976788" cy="202946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</a:t>
              </a:r>
            </a:p>
          </p:txBody>
        </p:sp>
        <p:sp>
          <p:nvSpPr>
            <p:cNvPr id="174" name="TextBox 97"/>
            <p:cNvSpPr txBox="1"/>
            <p:nvPr/>
          </p:nvSpPr>
          <p:spPr>
            <a:xfrm>
              <a:off x="7854754" y="3928752"/>
              <a:ext cx="976788" cy="202946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/>
              <a:r>
                <a:rPr kumimoji="1" lang="ko-KR" altLang="en-US" sz="7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일련번호</a:t>
              </a: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136525" y="1476948"/>
              <a:ext cx="4502150" cy="421273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/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  <p:sp>
          <p:nvSpPr>
            <p:cNvPr id="176" name="직사각형 175"/>
            <p:cNvSpPr/>
            <p:nvPr/>
          </p:nvSpPr>
          <p:spPr bwMode="auto">
            <a:xfrm>
              <a:off x="136525" y="1127827"/>
              <a:ext cx="4502150" cy="3477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algn="ctr" eaLnBrk="0" latinLnBrk="0" hangingPunct="0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</a:t>
              </a: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 데이터 현황</a:t>
              </a:r>
            </a:p>
          </p:txBody>
        </p:sp>
        <p:sp>
          <p:nvSpPr>
            <p:cNvPr id="177" name="직사각형 176"/>
            <p:cNvSpPr/>
            <p:nvPr/>
          </p:nvSpPr>
          <p:spPr bwMode="auto">
            <a:xfrm>
              <a:off x="4816475" y="1476948"/>
              <a:ext cx="4750558" cy="421273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72000" rIns="54000" bIns="10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tabLst>
                  <a:tab pos="87304" algn="l"/>
                </a:tabLst>
              </a:pPr>
              <a:endPara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4816475" y="1127827"/>
              <a:ext cx="4750558" cy="347700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algn="ctr" eaLnBrk="0" latinLnBrk="0" hangingPunct="0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데이터 현황 상세설명 및 시사점</a:t>
              </a:r>
            </a:p>
          </p:txBody>
        </p:sp>
        <p:sp>
          <p:nvSpPr>
            <p:cNvPr id="179" name="TextBox 115"/>
            <p:cNvSpPr txBox="1"/>
            <p:nvPr/>
          </p:nvSpPr>
          <p:spPr>
            <a:xfrm>
              <a:off x="5162236" y="2502441"/>
              <a:ext cx="3372974" cy="2810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88900" indent="-88900" eaLnBrk="0" latinLnBrk="0" hangingPunct="0"/>
              <a:r>
                <a:rPr lang="ko-KR" altLang="en-US" sz="1200" kern="0" dirty="0" err="1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0" name="직사각형 179"/>
            <p:cNvSpPr/>
            <p:nvPr/>
          </p:nvSpPr>
          <p:spPr bwMode="auto">
            <a:xfrm>
              <a:off x="184919" y="1512218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1" name="직사각형 180"/>
            <p:cNvSpPr/>
            <p:nvPr/>
          </p:nvSpPr>
          <p:spPr bwMode="auto">
            <a:xfrm>
              <a:off x="184919" y="2862489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2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2" name="직사각형 181"/>
            <p:cNvSpPr/>
            <p:nvPr/>
          </p:nvSpPr>
          <p:spPr bwMode="auto">
            <a:xfrm>
              <a:off x="4919187" y="1564914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4919187" y="2512200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2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4" name="TextBox 120"/>
            <p:cNvSpPr txBox="1"/>
            <p:nvPr/>
          </p:nvSpPr>
          <p:spPr>
            <a:xfrm>
              <a:off x="5162236" y="1555034"/>
              <a:ext cx="3372974" cy="2810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88900" indent="-88900" eaLnBrk="0" latinLnBrk="0" hangingPunct="0"/>
              <a:r>
                <a:rPr lang="ko-KR" altLang="en-US" sz="12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5" name="TextBox 121"/>
            <p:cNvSpPr txBox="1"/>
            <p:nvPr/>
          </p:nvSpPr>
          <p:spPr>
            <a:xfrm>
              <a:off x="5162236" y="4534617"/>
              <a:ext cx="3372974" cy="2810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88900" indent="-88900" eaLnBrk="0" latinLnBrk="0" hangingPunct="0"/>
              <a:r>
                <a:rPr lang="ko-KR" altLang="en-US" sz="12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번호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4919187" y="4544376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3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7" name="직사각형 186"/>
            <p:cNvSpPr/>
            <p:nvPr/>
          </p:nvSpPr>
          <p:spPr bwMode="auto">
            <a:xfrm>
              <a:off x="184919" y="4488089"/>
              <a:ext cx="270036" cy="25647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eaLnBrk="0" fontAlgn="t" latinLnBrk="0" hangingPunct="0">
                <a:spcBef>
                  <a:spcPct val="50000"/>
                </a:spcBef>
                <a:spcAft>
                  <a:spcPct val="5000"/>
                </a:spcAft>
                <a:buFont typeface="Arial" charset="0"/>
                <a:buNone/>
              </a:pPr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3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8" name="TextBox 71"/>
            <p:cNvSpPr txBox="1"/>
            <p:nvPr/>
          </p:nvSpPr>
          <p:spPr>
            <a:xfrm>
              <a:off x="5560319" y="3621797"/>
              <a:ext cx="4050540" cy="267854"/>
            </a:xfrm>
            <a:prstGeom prst="rect">
              <a:avLst/>
            </a:prstGeom>
            <a:noFill/>
          </p:spPr>
          <p:txBody>
            <a:bodyPr wrap="square" lIns="91430" tIns="45714" rIns="91430" bIns="45714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/>
              <a:r>
                <a:rPr kumimoji="1"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XX               X          XXXXXXXXX     XXX</a:t>
              </a:r>
              <a:endPara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grpSp>
          <p:nvGrpSpPr>
            <p:cNvPr id="189" name="그룹 188"/>
            <p:cNvGrpSpPr/>
            <p:nvPr/>
          </p:nvGrpSpPr>
          <p:grpSpPr>
            <a:xfrm>
              <a:off x="5622238" y="3827606"/>
              <a:ext cx="229609" cy="101146"/>
              <a:chOff x="5294891" y="4451804"/>
              <a:chExt cx="229609" cy="101146"/>
            </a:xfrm>
          </p:grpSpPr>
          <p:cxnSp>
            <p:nvCxnSpPr>
              <p:cNvPr id="197" name="직선 연결선 196"/>
              <p:cNvCxnSpPr/>
              <p:nvPr/>
            </p:nvCxnSpPr>
            <p:spPr bwMode="auto">
              <a:xfrm>
                <a:off x="5294891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8" name="직선 연결선 197"/>
              <p:cNvCxnSpPr/>
              <p:nvPr/>
            </p:nvCxnSpPr>
            <p:spPr bwMode="auto">
              <a:xfrm>
                <a:off x="5524500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9" name="직선 연결선 198"/>
              <p:cNvCxnSpPr/>
              <p:nvPr/>
            </p:nvCxnSpPr>
            <p:spPr bwMode="auto">
              <a:xfrm flipH="1">
                <a:off x="5294891" y="4552950"/>
                <a:ext cx="229609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0" name="그룹 189"/>
            <p:cNvGrpSpPr/>
            <p:nvPr/>
          </p:nvGrpSpPr>
          <p:grpSpPr>
            <a:xfrm>
              <a:off x="6494430" y="3827606"/>
              <a:ext cx="229609" cy="101146"/>
              <a:chOff x="5294891" y="4451804"/>
              <a:chExt cx="229609" cy="101146"/>
            </a:xfrm>
          </p:grpSpPr>
          <p:cxnSp>
            <p:nvCxnSpPr>
              <p:cNvPr id="194" name="직선 연결선 193"/>
              <p:cNvCxnSpPr/>
              <p:nvPr/>
            </p:nvCxnSpPr>
            <p:spPr bwMode="auto">
              <a:xfrm>
                <a:off x="5294891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5" name="직선 연결선 194"/>
              <p:cNvCxnSpPr/>
              <p:nvPr/>
            </p:nvCxnSpPr>
            <p:spPr bwMode="auto">
              <a:xfrm>
                <a:off x="5524500" y="4451804"/>
                <a:ext cx="0" cy="101146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6" name="직선 연결선 195"/>
              <p:cNvCxnSpPr/>
              <p:nvPr/>
            </p:nvCxnSpPr>
            <p:spPr bwMode="auto">
              <a:xfrm flipH="1">
                <a:off x="5294891" y="4552950"/>
                <a:ext cx="229609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91" name="TextBox 124"/>
            <p:cNvSpPr txBox="1"/>
            <p:nvPr/>
          </p:nvSpPr>
          <p:spPr>
            <a:xfrm>
              <a:off x="5176523" y="1820331"/>
              <a:ext cx="4089752" cy="56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번호의 상위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Level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로 관리되는 번호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한명에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대하여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한개의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고객번호가 부여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는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9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자리로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채번됨</a:t>
              </a:r>
              <a:endPara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92" name="TextBox 125"/>
            <p:cNvSpPr txBox="1"/>
            <p:nvPr/>
          </p:nvSpPr>
          <p:spPr>
            <a:xfrm>
              <a:off x="5176523" y="2772723"/>
              <a:ext cx="4583016" cy="874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번호의 하위 개념으로 한 개의 고객번호에 대해 최대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3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 회원번호 부여가 가능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NH_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용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 NH_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체크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 BC(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용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체크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) Group(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계통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용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체크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)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을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기준으로 새로운 회원번호가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채번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번호는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15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자리로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채번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93" name="TextBox 126"/>
            <p:cNvSpPr txBox="1"/>
            <p:nvPr/>
          </p:nvSpPr>
          <p:spPr>
            <a:xfrm>
              <a:off x="5176523" y="4791654"/>
              <a:ext cx="4592952" cy="874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번호 하위에 카드번호가 부여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의 경우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는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본인회원번호가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채번되나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소지자카드고객번호가 가족회원번호로 </a:t>
              </a:r>
              <a:r>
                <a:rPr lang="ko-KR" altLang="en-US" sz="10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채번됨</a:t>
              </a:r>
              <a:endPara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buFont typeface="Wingdings" pitchFamily="2" charset="2"/>
                <a:buChar char="§"/>
                <a:tabLst>
                  <a:tab pos="87304" algn="l"/>
                </a:tabLst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카드 또는 법인카드의 경우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카드원장의 소지자카드고객번호를 이용하여 실 소지자의 고객정보를 파악 가능함</a:t>
              </a:r>
            </a:p>
          </p:txBody>
        </p:sp>
      </p:grpSp>
      <p:grpSp>
        <p:nvGrpSpPr>
          <p:cNvPr id="99" name="그룹 9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8" name="그룹 10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318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의 특수성 고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의 조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모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의 특수성에 대한 이해를 바탕으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혁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원에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진할 것임  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272480" y="1382624"/>
            <a:ext cx="4392488" cy="315803"/>
            <a:chOff x="525530" y="1601029"/>
            <a:chExt cx="4068000" cy="315803"/>
          </a:xfrm>
        </p:grpSpPr>
        <p:sp>
          <p:nvSpPr>
            <p:cNvPr id="44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90488" indent="-90488" latinLnBrk="0">
                <a:spcBef>
                  <a:spcPct val="30000"/>
                </a:spcBef>
              </a:pPr>
              <a:r>
                <a:rPr lang="en-US" altLang="ko-KR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특수성 이해</a:t>
              </a:r>
            </a:p>
          </p:txBody>
        </p:sp>
        <p:cxnSp>
          <p:nvCxnSpPr>
            <p:cNvPr id="45" name="직선 연결선 44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46" name="그룹 45"/>
          <p:cNvGrpSpPr/>
          <p:nvPr/>
        </p:nvGrpSpPr>
        <p:grpSpPr>
          <a:xfrm>
            <a:off x="6033120" y="1382624"/>
            <a:ext cx="2880320" cy="315803"/>
            <a:chOff x="525530" y="1601029"/>
            <a:chExt cx="4068000" cy="315803"/>
          </a:xfrm>
        </p:grpSpPr>
        <p:sp>
          <p:nvSpPr>
            <p:cNvPr id="47" name="Text Box 29"/>
            <p:cNvSpPr txBox="1">
              <a:spLocks noChangeArrowheads="1"/>
            </p:cNvSpPr>
            <p:nvPr/>
          </p:nvSpPr>
          <p:spPr bwMode="auto">
            <a:xfrm>
              <a:off x="920920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90488" indent="-90488" latinLnBrk="0">
                <a:spcBef>
                  <a:spcPct val="30000"/>
                </a:spcBef>
              </a:pPr>
              <a:r>
                <a:rPr lang="ko-KR" altLang="en-US" dirty="0">
                  <a:solidFill>
                    <a:srgbClr val="000000"/>
                  </a:solidFill>
                  <a:latin typeface="맑은 고딕"/>
                  <a:ea typeface="맑은 고딕"/>
                </a:rPr>
                <a:t>프로젝트 추진 기본 전략</a:t>
              </a:r>
            </a:p>
          </p:txBody>
        </p:sp>
        <p:cxnSp>
          <p:nvCxnSpPr>
            <p:cNvPr id="48" name="직선 연결선 47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49" name="직사각형 48"/>
          <p:cNvSpPr/>
          <p:nvPr/>
        </p:nvSpPr>
        <p:spPr bwMode="auto">
          <a:xfrm>
            <a:off x="272480" y="1895464"/>
            <a:ext cx="4392488" cy="38706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300" dirty="0">
                <a:latin typeface="맑은 고딕" pitchFamily="50" charset="-127"/>
                <a:ea typeface="맑은 고딕" pitchFamily="50" charset="-127"/>
              </a:rPr>
              <a:t>조직 및 비즈니스 모델의 특수성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72480" y="4156504"/>
            <a:ext cx="4392488" cy="3888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업무 프로세스 </a:t>
            </a:r>
            <a:r>
              <a:rPr kumimoji="1" lang="ko-KR" altLang="en-US" sz="1300" dirty="0">
                <a:latin typeface="맑은 고딕" pitchFamily="50" charset="-127"/>
                <a:ea typeface="맑은 고딕" pitchFamily="50" charset="-127"/>
              </a:rPr>
              <a:t>및 </a:t>
            </a:r>
            <a:r>
              <a:rPr kumimoji="1" lang="en-US" altLang="ko-KR" sz="1300" dirty="0"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300" dirty="0">
                <a:latin typeface="맑은 고딕" pitchFamily="50" charset="-127"/>
                <a:ea typeface="맑은 고딕" pitchFamily="50" charset="-127"/>
              </a:rPr>
              <a:t>시스템의 특수성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272480" y="2282527"/>
            <a:ext cx="4392488" cy="1722566"/>
          </a:xfrm>
          <a:prstGeom prst="rect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272480" y="4545304"/>
            <a:ext cx="4392488" cy="16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3490737" y="4684246"/>
            <a:ext cx="1044954" cy="132964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구사항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과부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효과성과 안정성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동시 요구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2664006" y="3391707"/>
            <a:ext cx="819969" cy="1453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2664005" y="2636414"/>
            <a:ext cx="819969" cy="1453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491874" y="2388688"/>
            <a:ext cx="1481314" cy="6708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겸영은행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사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3054377" y="2388688"/>
            <a:ext cx="1481314" cy="6708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BC</a:t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ual Brand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491874" y="3194284"/>
            <a:ext cx="1481314" cy="6708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의</a:t>
            </a:r>
            <a:b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spc="-8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ual </a:t>
            </a:r>
            <a:r>
              <a:rPr kumimoji="1" lang="ko-KR" altLang="en-US" sz="1200" b="0" spc="-8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사업자 체계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396765" y="2388688"/>
            <a:ext cx="864560" cy="14764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협동조합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금융그룹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체성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Identity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054377" y="3194284"/>
            <a:ext cx="1481314" cy="6708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금융그룹 차원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트폴리오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정</a:t>
            </a:r>
            <a:endParaRPr kumimoji="1" lang="ko-KR" altLang="en-US" sz="1200" b="0" spc="-8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1" name="꺾인 연결선 60"/>
          <p:cNvCxnSpPr>
            <a:stCxn id="59" idx="3"/>
            <a:endCxn id="56" idx="1"/>
          </p:cNvCxnSpPr>
          <p:nvPr/>
        </p:nvCxnSpPr>
        <p:spPr bwMode="auto">
          <a:xfrm flipV="1">
            <a:off x="1261325" y="2724127"/>
            <a:ext cx="230549" cy="4027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2" name="꺾인 연결선 61"/>
          <p:cNvCxnSpPr>
            <a:stCxn id="59" idx="3"/>
            <a:endCxn id="58" idx="1"/>
          </p:cNvCxnSpPr>
          <p:nvPr/>
        </p:nvCxnSpPr>
        <p:spPr bwMode="auto">
          <a:xfrm>
            <a:off x="1261325" y="3126925"/>
            <a:ext cx="230549" cy="4027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3" name="직사각형 62"/>
          <p:cNvSpPr/>
          <p:nvPr/>
        </p:nvSpPr>
        <p:spPr bwMode="auto">
          <a:xfrm>
            <a:off x="396765" y="4684246"/>
            <a:ext cx="2788356" cy="597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독자카드 출범 이후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사업의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급격한 성장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396765" y="5387654"/>
            <a:ext cx="2788356" cy="597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기간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성장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역량 개선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필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5" name="꺾인 연결선 64"/>
          <p:cNvCxnSpPr>
            <a:stCxn id="63" idx="3"/>
            <a:endCxn id="53" idx="1"/>
          </p:cNvCxnSpPr>
          <p:nvPr/>
        </p:nvCxnSpPr>
        <p:spPr bwMode="auto">
          <a:xfrm>
            <a:off x="3185121" y="4983046"/>
            <a:ext cx="305616" cy="36602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8" name="꺾인 연결선 67"/>
          <p:cNvCxnSpPr>
            <a:stCxn id="64" idx="3"/>
            <a:endCxn id="53" idx="1"/>
          </p:cNvCxnSpPr>
          <p:nvPr/>
        </p:nvCxnSpPr>
        <p:spPr bwMode="auto">
          <a:xfrm flipV="1">
            <a:off x="3185121" y="5349069"/>
            <a:ext cx="305616" cy="33738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80" name="직사각형 79"/>
          <p:cNvSpPr/>
          <p:nvPr/>
        </p:nvSpPr>
        <p:spPr bwMode="auto">
          <a:xfrm>
            <a:off x="5529528" y="2924944"/>
            <a:ext cx="4103421" cy="64268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36000" rIns="36000" bIns="36000" rtlCol="0" anchor="ctr"/>
          <a:lstStyle/>
          <a:p>
            <a:pPr marL="360363" indent="-276225" latinLnBrk="0">
              <a:lnSpc>
                <a:spcPct val="110000"/>
              </a:lnSpc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kumimoji="1" lang="en-US" altLang="ko-KR" sz="1300" dirty="0"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300" dirty="0">
                <a:latin typeface="맑은 고딕" pitchFamily="50" charset="-127"/>
                <a:ea typeface="맑은 고딕" pitchFamily="50" charset="-127"/>
              </a:rPr>
              <a:t>만의 개선 또는 업무의 부분적 개선이 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아닌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전사 </a:t>
            </a:r>
            <a:r>
              <a:rPr kumimoji="1" lang="ko-KR" altLang="en-US" sz="1300" i="1" dirty="0">
                <a:latin typeface="맑은 고딕" pitchFamily="50" charset="-127"/>
                <a:ea typeface="맑은 고딕" pitchFamily="50" charset="-127"/>
              </a:rPr>
              <a:t>혁신 차원의 추진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5529528" y="2018439"/>
            <a:ext cx="41034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1"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전사적 혁신을 </a:t>
            </a:r>
            <a:r>
              <a:rPr kumimoji="1" lang="ko-KR" altLang="en-US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추구하되</a:t>
            </a:r>
            <a:r>
              <a:rPr kumimoji="1" lang="en-US" altLang="ko-KR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NH</a:t>
            </a:r>
            <a:r>
              <a:rPr kumimoji="1"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농협카드의 특수성을 </a:t>
            </a:r>
            <a:r>
              <a:rPr kumimoji="1" lang="ko-KR" altLang="en-US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고려한 </a:t>
            </a:r>
            <a:r>
              <a:rPr kumimoji="1"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신중하고 </a:t>
            </a:r>
            <a:r>
              <a:rPr kumimoji="1" lang="ko-KR" altLang="en-US" sz="1400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체계적인 차세대 시스템 구축 추진</a:t>
            </a:r>
            <a:r>
              <a:rPr kumimoji="1"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5529528" y="3740365"/>
            <a:ext cx="4103421" cy="64268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36000" rIns="36000" bIns="36000" rtlCol="0" anchor="ctr"/>
          <a:lstStyle/>
          <a:p>
            <a:pPr marL="360363" indent="-276225" latinLnBrk="0">
              <a:lnSpc>
                <a:spcPct val="110000"/>
              </a:lnSpc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kumimoji="1" lang="en-US" altLang="ko-KR" sz="1300" dirty="0">
                <a:latin typeface="맑은 고딕" pitchFamily="50" charset="-127"/>
                <a:ea typeface="맑은 고딕" pitchFamily="50" charset="-127"/>
              </a:rPr>
              <a:t>Best Practice 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기반의 현업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>/IT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 담당자 토론 등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지속적인</a:t>
            </a:r>
            <a:r>
              <a:rPr kumimoji="1" lang="en-US" altLang="ko-KR" sz="1300" i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혁신 </a:t>
            </a:r>
            <a:r>
              <a:rPr kumimoji="1" lang="ko-KR" altLang="en-US" sz="1300" i="1" dirty="0">
                <a:latin typeface="맑은 고딕" pitchFamily="50" charset="-127"/>
                <a:ea typeface="맑은 고딕" pitchFamily="50" charset="-127"/>
              </a:rPr>
              <a:t>필요성 공감대 </a:t>
            </a: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형성 노력</a:t>
            </a:r>
            <a:endParaRPr kumimoji="1" lang="ko-KR" altLang="en-US" sz="1300" i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5529528" y="5371208"/>
            <a:ext cx="4103421" cy="64268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36000" rIns="36000" bIns="36000" rtlCol="0" anchor="ctr"/>
          <a:lstStyle/>
          <a:p>
            <a:pPr marL="360363" indent="-276225" latinLnBrk="0">
              <a:lnSpc>
                <a:spcPct val="110000"/>
              </a:lnSpc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>NH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농협카드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신한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삼성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>/KB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국민카드 등의 주요 카드사 유관 프로젝트 기 경험인력 위주 투입</a:t>
            </a:r>
            <a:endParaRPr kumimoji="1" lang="ko-KR" altLang="en-US" sz="13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5529528" y="4555786"/>
            <a:ext cx="4103421" cy="64268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36000" rIns="36000" bIns="36000" rtlCol="0" anchor="ctr"/>
          <a:lstStyle/>
          <a:p>
            <a:pPr marL="360363" indent="-276225" latinLnBrk="0">
              <a:lnSpc>
                <a:spcPct val="110000"/>
              </a:lnSpc>
              <a:spcBef>
                <a:spcPct val="50000"/>
              </a:spcBef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차세대 </a:t>
            </a:r>
            <a:r>
              <a:rPr kumimoji="1" lang="en-US" altLang="ko-KR" sz="1300" i="1" dirty="0" smtClean="0">
                <a:latin typeface="맑은 고딕" pitchFamily="50" charset="-127"/>
                <a:ea typeface="맑은 고딕" pitchFamily="50" charset="-127"/>
              </a:rPr>
              <a:t>Master Plan </a:t>
            </a:r>
            <a:r>
              <a:rPr kumimoji="1" lang="ko-KR" altLang="en-US" sz="1300" i="1" dirty="0" smtClean="0">
                <a:latin typeface="맑은 고딕" pitchFamily="50" charset="-127"/>
                <a:ea typeface="맑은 고딕" pitchFamily="50" charset="-127"/>
              </a:rPr>
              <a:t>전략 방향성 기반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으로</a:t>
            </a:r>
            <a: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dirty="0" smtClean="0"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업무 프로세스 정립 및 </a:t>
            </a:r>
            <a:r>
              <a:rPr kumimoji="1" lang="en-US" altLang="ko-KR" sz="1300" dirty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300" dirty="0" smtClean="0">
                <a:latin typeface="맑은 고딕" pitchFamily="50" charset="-127"/>
                <a:ea typeface="맑은 고딕" pitchFamily="50" charset="-127"/>
              </a:rPr>
              <a:t>아키텍처 수립</a:t>
            </a:r>
            <a:endParaRPr kumimoji="1" lang="ko-KR" altLang="en-US" sz="13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Isosceles Triangle 16"/>
          <p:cNvSpPr/>
          <p:nvPr/>
        </p:nvSpPr>
        <p:spPr>
          <a:xfrm rot="5400000">
            <a:off x="3597032" y="3897232"/>
            <a:ext cx="2988000" cy="252000"/>
          </a:xfrm>
          <a:prstGeom prst="triangle">
            <a:avLst/>
          </a:prstGeom>
          <a:solidFill>
            <a:sysClr val="window" lastClr="FFFFFF">
              <a:lumMod val="7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49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정보 관리가 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명번호 등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루어지고 있으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통합 및 개인정보보호 관점에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이 필요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행 회원 데이터 현황 분석 결과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97749" y="1952816"/>
            <a:ext cx="9335771" cy="4284496"/>
            <a:chOff x="654714" y="1718772"/>
            <a:chExt cx="8708874" cy="4410468"/>
          </a:xfrm>
        </p:grpSpPr>
        <p:sp>
          <p:nvSpPr>
            <p:cNvPr id="87" name="직사각형 86"/>
            <p:cNvSpPr/>
            <p:nvPr/>
          </p:nvSpPr>
          <p:spPr bwMode="auto">
            <a:xfrm>
              <a:off x="1983564" y="1718772"/>
              <a:ext cx="3600000" cy="468000"/>
            </a:xfrm>
            <a:prstGeom prst="rect">
              <a:avLst/>
            </a:prstGeom>
            <a:solidFill>
              <a:srgbClr val="1B3A87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NH</a:t>
              </a:r>
              <a:r>
                <a:rPr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농협카드 현황</a:t>
              </a: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5763588" y="1718772"/>
              <a:ext cx="3600000" cy="468000"/>
            </a:xfrm>
            <a:prstGeom prst="rect">
              <a:avLst/>
            </a:prstGeom>
            <a:solidFill>
              <a:srgbClr val="1B3A87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Key Findings</a:t>
              </a:r>
              <a:endPara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654714" y="2266968"/>
              <a:ext cx="118837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기준</a:t>
              </a:r>
              <a:endParaRPr lang="en-US" altLang="ko-KR" sz="120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algn="ctr" eaLnBrk="0" latinLnBrk="0" hangingPunct="0"/>
              <a:r>
                <a:rPr lang="ko-KR" altLang="en-US" sz="120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정의</a:t>
              </a: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654714" y="3254392"/>
              <a:ext cx="118837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회원</a:t>
              </a:r>
              <a:endParaRPr lang="en-US" altLang="ko-KR" sz="120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654714" y="4241816"/>
              <a:ext cx="118837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법인회원</a:t>
              </a:r>
              <a:endParaRPr lang="en-US" altLang="ko-KR" sz="120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654714" y="5229240"/>
              <a:ext cx="118837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사업자</a:t>
              </a: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1983564" y="2266968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현재 </a:t>
              </a:r>
              <a:r>
                <a:rPr lang="en-US" altLang="ko-KR" sz="11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NH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농협카드분사의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 분석단위는 고객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 등이 주요 회원분석단위로 분석이 이루어지고 있음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5763588" y="2266968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 통합이 필요하며 아울러서 고객 정보보안에 대한 이슈도 도출이 필요함</a:t>
              </a: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1983564" y="3254392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회원은 가족카드의 소지자인 가족회원의 고객번호와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회원사회원번호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+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실명번호별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분석이 이루어지고 있음</a:t>
              </a:r>
            </a:p>
          </p:txBody>
        </p:sp>
        <p:sp>
          <p:nvSpPr>
            <p:cNvPr id="96" name="직사각형 95"/>
            <p:cNvSpPr/>
            <p:nvPr/>
          </p:nvSpPr>
          <p:spPr bwMode="auto">
            <a:xfrm>
              <a:off x="5763588" y="3254392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통합시에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가족회원을 고려하여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MP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수행</a:t>
              </a:r>
            </a:p>
          </p:txBody>
        </p:sp>
        <p:sp>
          <p:nvSpPr>
            <p:cNvPr id="97" name="직사각형 96"/>
            <p:cNvSpPr/>
            <p:nvPr/>
          </p:nvSpPr>
          <p:spPr bwMode="auto">
            <a:xfrm>
              <a:off x="1983564" y="4241816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기업카드와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형법인카드의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경우 결제계좌 단위의 구분코드인 업체번호를 추가적으로 관리하고 있으며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형법인카드는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해당 속성정보로 개인의 실명번호를 관리하고 있음</a:t>
              </a: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5763588" y="4241816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법인은 기업카드와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형법인카드를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서로 분리하여 분석이 필요함</a:t>
              </a: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1983564" y="5229240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사업자는 기업회원에 분류되어 있으나 업체번호가 존재하지 않아 법인회원과 체계가 상이하고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회원의 체계와 동일함</a:t>
              </a:r>
            </a:p>
          </p:txBody>
        </p:sp>
        <p:sp>
          <p:nvSpPr>
            <p:cNvPr id="100" name="직사각형 99"/>
            <p:cNvSpPr/>
            <p:nvPr/>
          </p:nvSpPr>
          <p:spPr bwMode="auto">
            <a:xfrm>
              <a:off x="5763588" y="5229240"/>
              <a:ext cx="3600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177800" indent="-177800" eaLnBrk="0" latinLnBrk="0" hangingPunct="0"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사업자의 기업회원으로 분류보다는 별도의 개인사업자로 분리가 필요함</a:t>
              </a: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654714" y="1718772"/>
              <a:ext cx="1188000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 hangingPunct="0">
                <a:buFont typeface="Arial" charset="0"/>
                <a:buNone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구분</a:t>
              </a:r>
            </a:p>
          </p:txBody>
        </p:sp>
      </p:grpSp>
      <p:grpSp>
        <p:nvGrpSpPr>
          <p:cNvPr id="50" name="그룹 4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5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59" name="그룹 5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6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9016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 고객범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류체계로 인한 이슈를 해결하기 위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, 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 방안을 수립하고 의사결정을 진행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번호 체계 개선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1049744" y="1896066"/>
            <a:ext cx="4137521" cy="432000"/>
          </a:xfrm>
          <a:prstGeom prst="rect">
            <a:avLst/>
          </a:prstGeom>
          <a:solidFill>
            <a:srgbClr val="1B3A87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54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1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안 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-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현행 고객번호체계 유지 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 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선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lang="ko-KR" altLang="en-US" sz="12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91000" y="2407637"/>
            <a:ext cx="594290" cy="1777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54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2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내용</a:t>
            </a:r>
            <a:endParaRPr lang="ko-KR" altLang="en-US" sz="120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1049744" y="2407636"/>
            <a:ext cx="4137521" cy="1777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10800" rIns="54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존 고객번호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번호 분리 구성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기능</a:t>
            </a:r>
            <a:r>
              <a:rPr lang="en-US" altLang="ko-KR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화면</a:t>
            </a:r>
            <a:r>
              <a:rPr lang="en-US" altLang="ko-KR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</a:t>
            </a:r>
            <a:r>
              <a:rPr lang="ko-KR" altLang="en-US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요구에 적합한 고객 </a:t>
            </a:r>
            <a:r>
              <a:rPr lang="en-US" altLang="ko-KR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1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선</a:t>
            </a:r>
            <a:endParaRPr lang="en-US" altLang="ko-KR" sz="1100" u="sng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85738" indent="-93663" eaLnBrk="0" latinLnBrk="0" hangingPunct="0">
              <a:lnSpc>
                <a:spcPct val="150000"/>
              </a:lnSpc>
              <a:buFont typeface="맑은 고딕" panose="020B0503020000020004" pitchFamily="50" charset="-127"/>
              <a:buChar char="-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전환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: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번호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고객번호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회원사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 회원번호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anose="05000000000000000000" pitchFamily="2" charset="2"/>
            </a:endParaRPr>
          </a:p>
          <a:p>
            <a:pPr marL="185738" indent="-93663" eaLnBrk="0" latinLnBrk="0" hangingPunct="0">
              <a:lnSpc>
                <a:spcPct val="150000"/>
              </a:lnSpc>
              <a:buFont typeface="맑은 고딕" panose="020B0503020000020004" pitchFamily="50" charset="-127"/>
              <a:buChar char="-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View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전환 시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Key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anose="05000000000000000000" pitchFamily="2" charset="2"/>
              </a:rPr>
              <a:t>전환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5370224" y="1896066"/>
            <a:ext cx="4137521" cy="432000"/>
          </a:xfrm>
          <a:prstGeom prst="rect">
            <a:avLst/>
          </a:prstGeom>
          <a:solidFill>
            <a:srgbClr val="1B3A87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54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2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안 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–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일 고객번호 통합 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구조 개선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lang="ko-KR" altLang="en-US" sz="12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291000" y="4298473"/>
            <a:ext cx="594290" cy="1777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54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2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내용</a:t>
            </a:r>
            <a:endParaRPr lang="ko-KR" altLang="en-US" sz="120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5370223" y="2407636"/>
            <a:ext cx="4137521" cy="1777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10800" rIns="54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번호 기준 통합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 기준은 코드 분류체계로 유지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계통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계열구분코드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C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카드 대응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회원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원장은 유지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바젤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대손충당금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인지세 처리 등 기존 업무처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상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번호 유지 영역 선별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370223" y="4298473"/>
            <a:ext cx="4137521" cy="1777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10800" rIns="54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키 구조 재설계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마이그레이션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필수 요구 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카드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은행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일 키 구조로 고객정보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일화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기준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는 코드분류로 대응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대표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ccount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모델 구성으로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통합 청구 용이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기준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통합한도 관리 용이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향후 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번호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(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위탁사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증가 시 단일 고객번호 적용하며 계통구분코드 추가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1049744" y="4298473"/>
            <a:ext cx="4137521" cy="1777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10800" rIns="54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기준 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, 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 기준 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커스터마이징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요구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사이한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키값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간 데이터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view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전환 시 추가 인덱스 구성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oin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증가로 속도 저하 예상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향후 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원사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회원번호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u="sng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위탁사</a:t>
            </a:r>
            <a:r>
              <a:rPr lang="en-US" altLang="ko-KR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</a:t>
            </a:r>
            <a:r>
              <a:rPr lang="ko-KR" altLang="en-US" sz="11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증가 시 복잡도 증가</a:t>
            </a:r>
            <a:endParaRPr lang="en-US" altLang="ko-KR" sz="1100" u="sng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6" name="직선 연결선 5"/>
          <p:cNvCxnSpPr/>
          <p:nvPr/>
        </p:nvCxnSpPr>
        <p:spPr bwMode="auto">
          <a:xfrm>
            <a:off x="1049744" y="4241704"/>
            <a:ext cx="846522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45" name="직선 연결선 44"/>
          <p:cNvCxnSpPr/>
          <p:nvPr/>
        </p:nvCxnSpPr>
        <p:spPr bwMode="auto">
          <a:xfrm rot="16200000">
            <a:off x="3455285" y="4231096"/>
            <a:ext cx="364691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35" name="그룹 3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3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5" name="그룹 6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6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900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5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/>
              <a:t>통합 고객 기본정보는 </a:t>
            </a:r>
            <a:r>
              <a:rPr lang="ko-KR" altLang="en-US" dirty="0" err="1"/>
              <a:t>부점</a:t>
            </a:r>
            <a:r>
              <a:rPr lang="en-US" altLang="ko-KR" dirty="0"/>
              <a:t>, </a:t>
            </a:r>
            <a:r>
              <a:rPr lang="ko-KR" altLang="en-US" dirty="0"/>
              <a:t>주소</a:t>
            </a:r>
            <a:r>
              <a:rPr lang="en-US" altLang="ko-KR" dirty="0"/>
              <a:t>, </a:t>
            </a:r>
            <a:r>
              <a:rPr lang="ko-KR" altLang="en-US" dirty="0"/>
              <a:t>계약기본</a:t>
            </a:r>
            <a:r>
              <a:rPr lang="en-US" altLang="ko-KR" dirty="0"/>
              <a:t>, </a:t>
            </a:r>
            <a:r>
              <a:rPr lang="ko-KR" altLang="en-US" dirty="0"/>
              <a:t>상품 등과 관계를 가지며</a:t>
            </a:r>
            <a:r>
              <a:rPr lang="en-US" altLang="ko-KR" dirty="0"/>
              <a:t>, </a:t>
            </a:r>
            <a:r>
              <a:rPr lang="ko-KR" altLang="en-US" dirty="0"/>
              <a:t>고객 기본 정보에 대한 통합과 함께</a:t>
            </a:r>
            <a:r>
              <a:rPr lang="en-US" altLang="ko-KR" dirty="0"/>
              <a:t> </a:t>
            </a:r>
            <a:r>
              <a:rPr lang="ko-KR" altLang="en-US" dirty="0"/>
              <a:t>실적</a:t>
            </a:r>
            <a:r>
              <a:rPr lang="en-US" altLang="ko-KR" dirty="0"/>
              <a:t>, </a:t>
            </a:r>
            <a:r>
              <a:rPr lang="ko-KR" altLang="en-US" dirty="0"/>
              <a:t>마케팅 및 다양한 선호정보와의 연관관계를 포함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통합 모델링 방향성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4438124" y="2304596"/>
            <a:ext cx="990491" cy="2401884"/>
          </a:xfrm>
          <a:prstGeom prst="roundRect">
            <a:avLst/>
          </a:prstGeom>
          <a:solidFill>
            <a:srgbClr val="00206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0800" rIns="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0" latinLnBrk="0" hangingPunct="0"/>
            <a:endParaRPr lang="en-US" altLang="ko-KR" sz="11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0" latinLnBrk="0" hangingPunct="0"/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고객대표번호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0" latinLnBrk="0" hangingPunct="0"/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국가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0" latinLnBrk="0" hangingPunct="0"/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국적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0" latinLnBrk="0" hangingPunct="0"/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언어</a:t>
            </a:r>
            <a:endParaRPr lang="ko-KR" altLang="en-US" sz="11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2176717" y="3321421"/>
            <a:ext cx="744170" cy="4217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주소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2176717" y="3803092"/>
            <a:ext cx="744170" cy="4217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상품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2176717" y="4284763"/>
            <a:ext cx="744170" cy="4217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말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176717" y="2358079"/>
            <a:ext cx="744170" cy="4217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마케팅 메시지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2176717" y="2839750"/>
            <a:ext cx="744170" cy="4217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실적정보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2433919" y="4994512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인 프로파일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3852162" y="4994512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인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번호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5270406" y="4994512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업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번호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6688650" y="4994512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업 프로파일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433919" y="5642584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인 선호정보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6688650" y="5642584"/>
            <a:ext cx="744170" cy="5227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업 선호정보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5713211" y="35058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계약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5713211" y="42312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0800" rIns="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05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05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점</a:t>
            </a:r>
            <a:endParaRPr lang="ko-KR" altLang="en-US" sz="105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6758894" y="3505880"/>
            <a:ext cx="744170" cy="475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계약기본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6758894" y="4231280"/>
            <a:ext cx="744170" cy="475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점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5713211" y="27804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3288441" y="35058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상품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3288441" y="42312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말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6" name="꺾인 연결선 5"/>
          <p:cNvCxnSpPr>
            <a:stCxn id="37" idx="1"/>
            <a:endCxn id="62" idx="3"/>
          </p:cNvCxnSpPr>
          <p:nvPr/>
        </p:nvCxnSpPr>
        <p:spPr bwMode="auto">
          <a:xfrm rot="10800000">
            <a:off x="4070571" y="3018080"/>
            <a:ext cx="367554" cy="48745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3" name="꺾인 연결선 62"/>
          <p:cNvCxnSpPr>
            <a:stCxn id="37" idx="1"/>
            <a:endCxn id="60" idx="3"/>
          </p:cNvCxnSpPr>
          <p:nvPr/>
        </p:nvCxnSpPr>
        <p:spPr bwMode="auto">
          <a:xfrm rot="10800000" flipV="1">
            <a:off x="4070571" y="3505538"/>
            <a:ext cx="367554" cy="2379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4" name="꺾인 연결선 63"/>
          <p:cNvCxnSpPr>
            <a:stCxn id="37" idx="1"/>
            <a:endCxn id="61" idx="3"/>
          </p:cNvCxnSpPr>
          <p:nvPr/>
        </p:nvCxnSpPr>
        <p:spPr bwMode="auto">
          <a:xfrm rot="10800000" flipV="1">
            <a:off x="4070571" y="3505538"/>
            <a:ext cx="367554" cy="9633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5" name="꺾인 연결선 64"/>
          <p:cNvCxnSpPr/>
          <p:nvPr/>
        </p:nvCxnSpPr>
        <p:spPr bwMode="auto">
          <a:xfrm rot="10800000">
            <a:off x="2920888" y="2492896"/>
            <a:ext cx="1517237" cy="63971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6" name="꺾인 연결선 65"/>
          <p:cNvCxnSpPr/>
          <p:nvPr/>
        </p:nvCxnSpPr>
        <p:spPr bwMode="auto">
          <a:xfrm rot="10800000">
            <a:off x="2920888" y="2938196"/>
            <a:ext cx="1517239" cy="18524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1" name="직선 화살표 연결선 20"/>
          <p:cNvCxnSpPr>
            <a:stCxn id="41" idx="3"/>
            <a:endCxn id="62" idx="1"/>
          </p:cNvCxnSpPr>
          <p:nvPr/>
        </p:nvCxnSpPr>
        <p:spPr bwMode="auto">
          <a:xfrm flipV="1">
            <a:off x="2920887" y="3018080"/>
            <a:ext cx="367554" cy="51420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7" name="직선 화살표 연결선 66"/>
          <p:cNvCxnSpPr>
            <a:stCxn id="42" idx="3"/>
            <a:endCxn id="60" idx="1"/>
          </p:cNvCxnSpPr>
          <p:nvPr/>
        </p:nvCxnSpPr>
        <p:spPr bwMode="auto">
          <a:xfrm flipV="1">
            <a:off x="2920887" y="3743480"/>
            <a:ext cx="367554" cy="27047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9" name="직선 화살표 연결선 68"/>
          <p:cNvCxnSpPr>
            <a:stCxn id="43" idx="3"/>
            <a:endCxn id="61" idx="1"/>
          </p:cNvCxnSpPr>
          <p:nvPr/>
        </p:nvCxnSpPr>
        <p:spPr bwMode="auto">
          <a:xfrm flipV="1">
            <a:off x="2920887" y="4468880"/>
            <a:ext cx="367554" cy="267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2" name="꺾인 연결선 71"/>
          <p:cNvCxnSpPr>
            <a:stCxn id="37" idx="3"/>
            <a:endCxn id="59" idx="1"/>
          </p:cNvCxnSpPr>
          <p:nvPr/>
        </p:nvCxnSpPr>
        <p:spPr bwMode="auto">
          <a:xfrm flipV="1">
            <a:off x="5428615" y="3018080"/>
            <a:ext cx="284595" cy="48745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5" name="꺾인 연결선 74"/>
          <p:cNvCxnSpPr>
            <a:stCxn id="37" idx="3"/>
            <a:endCxn id="55" idx="1"/>
          </p:cNvCxnSpPr>
          <p:nvPr/>
        </p:nvCxnSpPr>
        <p:spPr bwMode="auto">
          <a:xfrm>
            <a:off x="5428615" y="3505538"/>
            <a:ext cx="284595" cy="2379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8" name="꺾인 연결선 77"/>
          <p:cNvCxnSpPr>
            <a:stCxn id="37" idx="3"/>
            <a:endCxn id="56" idx="1"/>
          </p:cNvCxnSpPr>
          <p:nvPr/>
        </p:nvCxnSpPr>
        <p:spPr bwMode="auto">
          <a:xfrm>
            <a:off x="5428615" y="3505538"/>
            <a:ext cx="284595" cy="9633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1" name="꺾인 연결선 80"/>
          <p:cNvCxnSpPr>
            <a:stCxn id="37" idx="2"/>
            <a:endCxn id="47" idx="0"/>
          </p:cNvCxnSpPr>
          <p:nvPr/>
        </p:nvCxnSpPr>
        <p:spPr bwMode="auto">
          <a:xfrm rot="5400000">
            <a:off x="4434793" y="4495935"/>
            <a:ext cx="288032" cy="70912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4" name="꺾인 연결선 83"/>
          <p:cNvCxnSpPr>
            <a:stCxn id="37" idx="2"/>
            <a:endCxn id="48" idx="0"/>
          </p:cNvCxnSpPr>
          <p:nvPr/>
        </p:nvCxnSpPr>
        <p:spPr bwMode="auto">
          <a:xfrm rot="16200000" flipH="1">
            <a:off x="5143914" y="4495935"/>
            <a:ext cx="288032" cy="70912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7" name="꺾인 연결선 86"/>
          <p:cNvCxnSpPr>
            <a:stCxn id="48" idx="3"/>
            <a:endCxn id="51" idx="1"/>
          </p:cNvCxnSpPr>
          <p:nvPr/>
        </p:nvCxnSpPr>
        <p:spPr bwMode="auto">
          <a:xfrm>
            <a:off x="6014577" y="5255872"/>
            <a:ext cx="674075" cy="6480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0" name="꺾인 연결선 89"/>
          <p:cNvCxnSpPr>
            <a:stCxn id="47" idx="1"/>
            <a:endCxn id="50" idx="3"/>
          </p:cNvCxnSpPr>
          <p:nvPr/>
        </p:nvCxnSpPr>
        <p:spPr bwMode="auto">
          <a:xfrm rot="10800000" flipV="1">
            <a:off x="3178090" y="5255872"/>
            <a:ext cx="674074" cy="6480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4" name="직선 화살표 연결선 93"/>
          <p:cNvCxnSpPr>
            <a:stCxn id="48" idx="3"/>
            <a:endCxn id="49" idx="1"/>
          </p:cNvCxnSpPr>
          <p:nvPr/>
        </p:nvCxnSpPr>
        <p:spPr bwMode="auto">
          <a:xfrm>
            <a:off x="6014577" y="5255872"/>
            <a:ext cx="67407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5" name="직선 화살표 연결선 94"/>
          <p:cNvCxnSpPr>
            <a:stCxn id="47" idx="1"/>
            <a:endCxn id="46" idx="3"/>
          </p:cNvCxnSpPr>
          <p:nvPr/>
        </p:nvCxnSpPr>
        <p:spPr bwMode="auto">
          <a:xfrm flipH="1">
            <a:off x="3178089" y="5255872"/>
            <a:ext cx="67407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8" name="직선 화살표 연결선 97"/>
          <p:cNvCxnSpPr>
            <a:stCxn id="57" idx="1"/>
            <a:endCxn id="55" idx="3"/>
          </p:cNvCxnSpPr>
          <p:nvPr/>
        </p:nvCxnSpPr>
        <p:spPr bwMode="auto">
          <a:xfrm flipH="1">
            <a:off x="6495341" y="3743480"/>
            <a:ext cx="26355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2" name="직선 화살표 연결선 101"/>
          <p:cNvCxnSpPr>
            <a:stCxn id="58" idx="1"/>
            <a:endCxn id="56" idx="3"/>
          </p:cNvCxnSpPr>
          <p:nvPr/>
        </p:nvCxnSpPr>
        <p:spPr bwMode="auto">
          <a:xfrm flipH="1">
            <a:off x="6495341" y="4468880"/>
            <a:ext cx="26355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6" name="직사각형 105"/>
          <p:cNvSpPr/>
          <p:nvPr/>
        </p:nvSpPr>
        <p:spPr bwMode="auto">
          <a:xfrm>
            <a:off x="7631325" y="1885281"/>
            <a:ext cx="1930187" cy="9120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카드업무에 관계된 모든 관계자간의 관계를 정의할 수 있음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가족카드 대표자 등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7631325" y="2996952"/>
            <a:ext cx="1930187" cy="95738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상품 및 서비스 계약과 관련된 당사자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신청자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보증인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취급자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승인권자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자 등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에 대한 정보요건에 대응함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7631325" y="4447535"/>
            <a:ext cx="1930187" cy="54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과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ending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된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점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정보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농축협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점으로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취급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7631325" y="5236396"/>
            <a:ext cx="1930187" cy="69067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업만이 가지는 정보요건을 정의하기 위하여 별도로 구분함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5687211" y="1916832"/>
            <a:ext cx="1930187" cy="51482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보유 상품 관계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채움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BC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도 상품속성으로 취급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347984" y="1885281"/>
            <a:ext cx="1754715" cy="16157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집주소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사주소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전자주소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PC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의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P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임시주소 등 새로운 주소유형이 발생해도 데이터 구조의 변경 없이 데이터의 추가만으로 대응 가능한 유연한 구조임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47984" y="3573016"/>
            <a:ext cx="1754715" cy="18601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이 보유하고 있거나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ccess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가능한 통신 단말기의 종류와 카드거래 가능여부 또는 통신 서비스와 연계된 카드서비스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ex. SMS)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를 위한 통신기기의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Specific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한 정보요건에 대응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47984" y="5589240"/>
            <a:ext cx="1754715" cy="6852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t" anchorCtr="0" compatLnSpc="1">
            <a:prstTxWarp prst="textNoShape">
              <a:avLst/>
            </a:prstTxWarp>
          </a:bodyPr>
          <a:lstStyle/>
          <a:p>
            <a:pPr marL="92075" indent="-92075" eaLnBrk="0" latinLnBrk="0" hangingPunct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인만이 가지는 정보요건을 정의하기 위하여 별도로 구분함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3288441" y="2780480"/>
            <a:ext cx="782130" cy="475200"/>
          </a:xfrm>
          <a:prstGeom prst="roundRect">
            <a:avLst/>
          </a:prstGeom>
          <a:solidFill>
            <a:srgbClr val="D6EBF6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_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주소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88" name="그룹 8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015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6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비 패턴에 최적화된 상품 추천을 위해서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월간의 평균 소비 패턴 분석이 필요하며 가맹점별로 서비스를 나열하여 혜택을 산출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통합 모델링 원칙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7" name="Rectangle 30"/>
          <p:cNvSpPr/>
          <p:nvPr/>
        </p:nvSpPr>
        <p:spPr bwMode="gray">
          <a:xfrm>
            <a:off x="272480" y="1969640"/>
            <a:ext cx="1764000" cy="6666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72000" rIns="72000" anchor="ctr"/>
          <a:lstStyle/>
          <a:p>
            <a:pPr marL="228600" indent="-228600" eaLnBrk="0" hangingPunct="0">
              <a:buFont typeface="+mj-lt"/>
              <a:buAutoNum type="arabicPeriod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 중심의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통합적인 모델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구조</a:t>
            </a:r>
            <a:endParaRPr lang="ko-KR" altLang="en-US" sz="12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Rectangle 30"/>
          <p:cNvSpPr/>
          <p:nvPr/>
        </p:nvSpPr>
        <p:spPr bwMode="gray">
          <a:xfrm>
            <a:off x="2171740" y="1969640"/>
            <a:ext cx="1764000" cy="6666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72000" rIns="72000" anchor="ctr"/>
          <a:lstStyle/>
          <a:p>
            <a:pPr marL="228600" indent="-228600" eaLnBrk="0" hangingPunct="0">
              <a:buFont typeface="+mj-lt"/>
              <a:buAutoNum type="arabicPeriod" startAt="2"/>
            </a:pPr>
            <a:r>
              <a:rPr lang="ko-KR" altLang="en-US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유연하고 확장</a:t>
            </a:r>
            <a:r>
              <a:rPr lang="en-US" altLang="ko-KR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능한 객체화된</a:t>
            </a:r>
            <a:r>
              <a:rPr lang="en-US" altLang="ko-KR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델 구조</a:t>
            </a:r>
            <a:endParaRPr lang="ko-KR" altLang="en-US" sz="12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Rectangle 30"/>
          <p:cNvSpPr/>
          <p:nvPr/>
        </p:nvSpPr>
        <p:spPr bwMode="gray">
          <a:xfrm>
            <a:off x="4071000" y="1969640"/>
            <a:ext cx="1764000" cy="6666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72000" rIns="72000" anchor="ctr"/>
          <a:lstStyle/>
          <a:p>
            <a:pPr marL="228600" indent="-228600" eaLnBrk="0" hangingPunct="0">
              <a:buFont typeface="+mj-lt"/>
              <a:buAutoNum type="arabicPeriod" startAt="3"/>
            </a:pPr>
            <a:r>
              <a:rPr lang="ko-KR" altLang="en-US" sz="1200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중복성을</a:t>
            </a: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최소화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하는 정규화된 모델</a:t>
            </a:r>
            <a:r>
              <a:rPr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구조</a:t>
            </a:r>
            <a:endParaRPr lang="ko-KR" altLang="en-US" sz="12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Rectangle 30"/>
          <p:cNvSpPr/>
          <p:nvPr/>
        </p:nvSpPr>
        <p:spPr bwMode="gray">
          <a:xfrm>
            <a:off x="5970260" y="1969640"/>
            <a:ext cx="1764000" cy="6666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72000" rIns="72000" anchor="ctr"/>
          <a:lstStyle/>
          <a:p>
            <a:pPr marL="228600" indent="-228600" eaLnBrk="0" hangingPunct="0">
              <a:buFont typeface="+mj-lt"/>
              <a:buAutoNum type="arabicPeriod" startAt="4"/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력 관리 및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추적성이</a:t>
            </a: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용이한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델 구조</a:t>
            </a:r>
            <a:endParaRPr lang="ko-KR" altLang="en-US" sz="12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Rectangle 30"/>
          <p:cNvSpPr/>
          <p:nvPr/>
        </p:nvSpPr>
        <p:spPr bwMode="gray">
          <a:xfrm>
            <a:off x="7869520" y="1969640"/>
            <a:ext cx="1764000" cy="6666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72000" rIns="72000" anchor="ctr"/>
          <a:lstStyle/>
          <a:p>
            <a:pPr marL="228600" indent="-228600" eaLnBrk="0" hangingPunct="0">
              <a:buFont typeface="+mj-lt"/>
              <a:buAutoNum type="arabicPeriod" startAt="5"/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Record </a:t>
            </a: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별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권한관리를 고려한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델 구조</a:t>
            </a:r>
            <a:endParaRPr lang="ko-KR" altLang="en-US" sz="12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272480" y="2751900"/>
            <a:ext cx="1764000" cy="2357129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72000" rIns="54000" bIns="108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정보기반의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비즈니스 활동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활용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목적을 분석하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정보항목 도출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비즈니스 활용 목적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별 우선순위를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부여하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정보항목 관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항목 선정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정보항목별 관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준 정의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고객정보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표준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Rule)</a:t>
            </a:r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바탕" pitchFamily="18" charset="-127"/>
              <a:cs typeface="Arial" charset="0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171740" y="2751900"/>
            <a:ext cx="1764000" cy="2357129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72000" rIns="54000" bIns="108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공통속성과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별속성을 구분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계층적 모델 구조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숙성화된 데이터 및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관점 필요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정보를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usiness rule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로 정의하고 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엔티티화한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관계 구조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타사 사례 및 참조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모델에서 제시하는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구조 및 항목 반영</a:t>
            </a:r>
            <a:endParaRPr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71000" y="2751900"/>
            <a:ext cx="1764000" cy="2357129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72000" rIns="54000" bIns="108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동일한 의미를 갖는</a:t>
            </a:r>
            <a:r>
              <a: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항목은 모든 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엔티티에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동일한 항목으로 정의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표준화를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준수한 일관된 명명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규칙 적용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정합성 및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오류 방지를 위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중복 최소화 및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 정규화</a:t>
            </a:r>
            <a:endParaRPr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970260" y="2751900"/>
            <a:ext cx="1764000" cy="2357129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72000" rIns="54000" bIns="108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데이터의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등록자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등록일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변경자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변경일시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관리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Ownership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반영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주요 정보 항목으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되는 데이터는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코드화 하여 데이터의 변경 이력 관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일부는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Record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위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7869520" y="2751900"/>
            <a:ext cx="1764000" cy="2357129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72000" rIns="54000" bIns="108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174625" indent="-174625" defTabSz="914297" eaLnBrk="0" latinLnBrk="0" hangingPunct="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채널 별로 공유의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범위를 제한해야 할 경우를 대비하여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시스템 관리를 위한 항목 정의</a:t>
            </a:r>
            <a:endParaRPr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2" name="TextBox 51"/>
          <p:cNvSpPr txBox="1"/>
          <p:nvPr/>
        </p:nvSpPr>
        <p:spPr bwMode="auto">
          <a:xfrm>
            <a:off x="3610940" y="5230835"/>
            <a:ext cx="2664370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업무적 요건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357188" y="5517232"/>
            <a:ext cx="2232000" cy="648072"/>
            <a:chOff x="357188" y="5517232"/>
            <a:chExt cx="2232000" cy="648072"/>
          </a:xfrm>
        </p:grpSpPr>
        <p:sp>
          <p:nvSpPr>
            <p:cNvPr id="4" name="타원 3"/>
            <p:cNvSpPr/>
            <p:nvPr/>
          </p:nvSpPr>
          <p:spPr bwMode="auto">
            <a:xfrm>
              <a:off x="357188" y="5517232"/>
              <a:ext cx="2232000" cy="64807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" name="TextBox 4"/>
            <p:cNvSpPr txBox="1"/>
            <p:nvPr/>
          </p:nvSpPr>
          <p:spPr bwMode="auto">
            <a:xfrm>
              <a:off x="388027" y="5620251"/>
              <a:ext cx="2170323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상품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업무 프로세스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i="1" dirty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변경 시 확장 용이</a:t>
              </a:r>
              <a:endPara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2683791" y="5517232"/>
            <a:ext cx="2232000" cy="648072"/>
            <a:chOff x="2716607" y="5517232"/>
            <a:chExt cx="2232000" cy="648072"/>
          </a:xfrm>
        </p:grpSpPr>
        <p:sp>
          <p:nvSpPr>
            <p:cNvPr id="53" name="타원 52"/>
            <p:cNvSpPr/>
            <p:nvPr/>
          </p:nvSpPr>
          <p:spPr bwMode="auto">
            <a:xfrm>
              <a:off x="2716607" y="5517232"/>
              <a:ext cx="2232000" cy="64807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TextBox 53"/>
            <p:cNvSpPr txBox="1"/>
            <p:nvPr/>
          </p:nvSpPr>
          <p:spPr bwMode="auto">
            <a:xfrm>
              <a:off x="2747446" y="5620251"/>
              <a:ext cx="2170323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다양한 관점 즉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접촉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점으로 정보 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View </a:t>
              </a: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제공</a:t>
              </a:r>
              <a:endPara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5010394" y="5517232"/>
            <a:ext cx="2232000" cy="648072"/>
            <a:chOff x="5026802" y="5517232"/>
            <a:chExt cx="2232000" cy="648072"/>
          </a:xfrm>
        </p:grpSpPr>
        <p:sp>
          <p:nvSpPr>
            <p:cNvPr id="55" name="타원 54"/>
            <p:cNvSpPr/>
            <p:nvPr/>
          </p:nvSpPr>
          <p:spPr bwMode="auto">
            <a:xfrm>
              <a:off x="5026802" y="5517232"/>
              <a:ext cx="2232000" cy="64807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TextBox 55"/>
            <p:cNvSpPr txBox="1"/>
            <p:nvPr/>
          </p:nvSpPr>
          <p:spPr bwMode="auto">
            <a:xfrm>
              <a:off x="5057641" y="5620251"/>
              <a:ext cx="2170323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모든 접점에서 고객관련 업무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처리를 위한 공통 정보 관리</a:t>
              </a:r>
              <a:endPara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7336997" y="5517232"/>
            <a:ext cx="2232000" cy="648072"/>
            <a:chOff x="7336997" y="5517232"/>
            <a:chExt cx="2232000" cy="648072"/>
          </a:xfrm>
        </p:grpSpPr>
        <p:sp>
          <p:nvSpPr>
            <p:cNvPr id="57" name="타원 56"/>
            <p:cNvSpPr/>
            <p:nvPr/>
          </p:nvSpPr>
          <p:spPr bwMode="auto">
            <a:xfrm>
              <a:off x="7336997" y="5517232"/>
              <a:ext cx="2232000" cy="64807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TextBox 57"/>
            <p:cNvSpPr txBox="1"/>
            <p:nvPr/>
          </p:nvSpPr>
          <p:spPr bwMode="auto">
            <a:xfrm>
              <a:off x="7367836" y="5620251"/>
              <a:ext cx="2170323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고객정보 획득 및 활용에</a:t>
              </a:r>
              <a: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i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용의한 형태로 항목정의</a:t>
              </a:r>
              <a:endPara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67" name="그룹 6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6" name="그룹 7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490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7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주제 영역은 개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SOHO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업회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집인을 포함하는 통합고객 개념의 모델을 정의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주제 영역 개념 데이터 모델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16496" y="2318766"/>
            <a:ext cx="1260870" cy="646188"/>
            <a:chOff x="847851" y="2182899"/>
            <a:chExt cx="1260870" cy="646188"/>
          </a:xfrm>
        </p:grpSpPr>
        <p:sp>
          <p:nvSpPr>
            <p:cNvPr id="37" name="직사각형 36"/>
            <p:cNvSpPr/>
            <p:nvPr/>
          </p:nvSpPr>
          <p:spPr bwMode="auto">
            <a:xfrm>
              <a:off x="847851" y="2182899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회원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848544" y="2418964"/>
              <a:ext cx="1260071" cy="4101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416496" y="3132819"/>
            <a:ext cx="1260870" cy="646465"/>
            <a:chOff x="847851" y="2996952"/>
            <a:chExt cx="1260870" cy="646465"/>
          </a:xfrm>
        </p:grpSpPr>
        <p:sp>
          <p:nvSpPr>
            <p:cNvPr id="40" name="직사각형 39"/>
            <p:cNvSpPr/>
            <p:nvPr/>
          </p:nvSpPr>
          <p:spPr bwMode="auto">
            <a:xfrm>
              <a:off x="847851" y="2996952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OHO</a:t>
              </a:r>
              <a:r>
                <a:rPr kumimoji="1" lang="ko-KR" altLang="en-US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848544" y="3233017"/>
              <a:ext cx="1260071" cy="4104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416496" y="3996915"/>
            <a:ext cx="1260870" cy="646465"/>
            <a:chOff x="847851" y="3933690"/>
            <a:chExt cx="1260870" cy="646465"/>
          </a:xfrm>
        </p:grpSpPr>
        <p:sp>
          <p:nvSpPr>
            <p:cNvPr id="43" name="직사각형 42"/>
            <p:cNvSpPr/>
            <p:nvPr/>
          </p:nvSpPr>
          <p:spPr bwMode="auto">
            <a:xfrm>
              <a:off x="847851" y="3933690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법인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공공</a:t>
              </a:r>
              <a:r>
                <a:rPr kumimoji="1" lang="ko-KR" altLang="en-US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848544" y="4169755"/>
              <a:ext cx="1260071" cy="4104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5" name="그룹 44"/>
          <p:cNvGrpSpPr/>
          <p:nvPr/>
        </p:nvGrpSpPr>
        <p:grpSpPr>
          <a:xfrm>
            <a:off x="416496" y="5302815"/>
            <a:ext cx="1260870" cy="646465"/>
            <a:chOff x="847851" y="3933690"/>
            <a:chExt cx="1260870" cy="646465"/>
          </a:xfrm>
        </p:grpSpPr>
        <p:sp>
          <p:nvSpPr>
            <p:cNvPr id="46" name="직사각형 45"/>
            <p:cNvSpPr/>
            <p:nvPr/>
          </p:nvSpPr>
          <p:spPr bwMode="auto">
            <a:xfrm>
              <a:off x="847851" y="3933690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맹점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848544" y="4169755"/>
              <a:ext cx="1260071" cy="4104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8" name="그룹 47"/>
          <p:cNvGrpSpPr/>
          <p:nvPr/>
        </p:nvGrpSpPr>
        <p:grpSpPr>
          <a:xfrm>
            <a:off x="1929357" y="5302815"/>
            <a:ext cx="1260870" cy="646465"/>
            <a:chOff x="847851" y="3933690"/>
            <a:chExt cx="1260870" cy="646465"/>
          </a:xfrm>
        </p:grpSpPr>
        <p:sp>
          <p:nvSpPr>
            <p:cNvPr id="49" name="직사각형 48"/>
            <p:cNvSpPr/>
            <p:nvPr/>
          </p:nvSpPr>
          <p:spPr bwMode="auto">
            <a:xfrm>
              <a:off x="847851" y="3933690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모집인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 bwMode="auto">
            <a:xfrm>
              <a:off x="848544" y="4169755"/>
              <a:ext cx="1260071" cy="4104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2231516" y="3254870"/>
            <a:ext cx="1260870" cy="646465"/>
            <a:chOff x="847851" y="2996952"/>
            <a:chExt cx="1260870" cy="646465"/>
          </a:xfrm>
        </p:grpSpPr>
        <p:sp>
          <p:nvSpPr>
            <p:cNvPr id="52" name="직사각형 51"/>
            <p:cNvSpPr/>
            <p:nvPr/>
          </p:nvSpPr>
          <p:spPr bwMode="auto">
            <a:xfrm>
              <a:off x="847851" y="2996952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848544" y="3233017"/>
              <a:ext cx="1260071" cy="4104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4" name="그룹 53"/>
          <p:cNvGrpSpPr/>
          <p:nvPr/>
        </p:nvGrpSpPr>
        <p:grpSpPr>
          <a:xfrm>
            <a:off x="3044751" y="2440817"/>
            <a:ext cx="1260870" cy="646188"/>
            <a:chOff x="847851" y="2182899"/>
            <a:chExt cx="1260870" cy="646188"/>
          </a:xfrm>
        </p:grpSpPr>
        <p:sp>
          <p:nvSpPr>
            <p:cNvPr id="55" name="직사각형 54"/>
            <p:cNvSpPr/>
            <p:nvPr/>
          </p:nvSpPr>
          <p:spPr bwMode="auto">
            <a:xfrm>
              <a:off x="847851" y="2182899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관계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848544" y="2418964"/>
              <a:ext cx="1260071" cy="4101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8" name="직사각형 57"/>
          <p:cNvSpPr/>
          <p:nvPr/>
        </p:nvSpPr>
        <p:spPr bwMode="auto">
          <a:xfrm>
            <a:off x="4520186" y="2440817"/>
            <a:ext cx="1260870" cy="2360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변경이력</a:t>
            </a:r>
            <a:endParaRPr kumimoji="1" lang="ko-KR" altLang="en-US" sz="12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520879" y="2676882"/>
            <a:ext cx="1260071" cy="41012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3809630" y="3847778"/>
            <a:ext cx="1260870" cy="646188"/>
            <a:chOff x="847851" y="2182899"/>
            <a:chExt cx="1260870" cy="646188"/>
          </a:xfrm>
        </p:grpSpPr>
        <p:sp>
          <p:nvSpPr>
            <p:cNvPr id="61" name="직사각형 60"/>
            <p:cNvSpPr/>
            <p:nvPr/>
          </p:nvSpPr>
          <p:spPr bwMode="auto">
            <a:xfrm>
              <a:off x="847851" y="2182899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고객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848544" y="2418964"/>
              <a:ext cx="1260071" cy="4101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3" name="그룹 62"/>
          <p:cNvGrpSpPr/>
          <p:nvPr/>
        </p:nvGrpSpPr>
        <p:grpSpPr>
          <a:xfrm>
            <a:off x="5493023" y="3847778"/>
            <a:ext cx="1260870" cy="646188"/>
            <a:chOff x="847851" y="2182899"/>
            <a:chExt cx="1260870" cy="646188"/>
          </a:xfrm>
        </p:grpSpPr>
        <p:sp>
          <p:nvSpPr>
            <p:cNvPr id="64" name="직사각형 63"/>
            <p:cNvSpPr/>
            <p:nvPr/>
          </p:nvSpPr>
          <p:spPr bwMode="auto">
            <a:xfrm>
              <a:off x="847851" y="2182899"/>
              <a:ext cx="1260870" cy="2360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은행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RM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848544" y="2418964"/>
              <a:ext cx="1260071" cy="4101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4" name="꺾인 연결선 13"/>
          <p:cNvCxnSpPr>
            <a:stCxn id="38" idx="3"/>
            <a:endCxn id="53" idx="1"/>
          </p:cNvCxnSpPr>
          <p:nvPr/>
        </p:nvCxnSpPr>
        <p:spPr bwMode="auto">
          <a:xfrm>
            <a:off x="1677260" y="2759893"/>
            <a:ext cx="554949" cy="936242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6" name="꺾인 연결선 65"/>
          <p:cNvCxnSpPr>
            <a:stCxn id="41" idx="3"/>
            <a:endCxn id="53" idx="1"/>
          </p:cNvCxnSpPr>
          <p:nvPr/>
        </p:nvCxnSpPr>
        <p:spPr bwMode="auto">
          <a:xfrm>
            <a:off x="1677260" y="3574084"/>
            <a:ext cx="554949" cy="122051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7" name="꺾인 연결선 66"/>
          <p:cNvCxnSpPr>
            <a:stCxn id="44" idx="3"/>
            <a:endCxn id="53" idx="1"/>
          </p:cNvCxnSpPr>
          <p:nvPr/>
        </p:nvCxnSpPr>
        <p:spPr bwMode="auto">
          <a:xfrm flipV="1">
            <a:off x="1677260" y="3696135"/>
            <a:ext cx="554949" cy="74204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2" name="꺾인 연결선 71"/>
          <p:cNvCxnSpPr>
            <a:stCxn id="56" idx="2"/>
            <a:endCxn id="61" idx="0"/>
          </p:cNvCxnSpPr>
          <p:nvPr/>
        </p:nvCxnSpPr>
        <p:spPr bwMode="auto">
          <a:xfrm rot="16200000" flipH="1">
            <a:off x="3677386" y="3085098"/>
            <a:ext cx="760773" cy="76458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5" name="꺾인 연결선 74"/>
          <p:cNvCxnSpPr>
            <a:stCxn id="59" idx="2"/>
            <a:endCxn id="61" idx="0"/>
          </p:cNvCxnSpPr>
          <p:nvPr/>
        </p:nvCxnSpPr>
        <p:spPr bwMode="auto">
          <a:xfrm rot="5400000">
            <a:off x="4415104" y="3111966"/>
            <a:ext cx="760773" cy="71085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8" name="꺾인 연결선 77"/>
          <p:cNvCxnSpPr>
            <a:stCxn id="46" idx="0"/>
            <a:endCxn id="62" idx="2"/>
          </p:cNvCxnSpPr>
          <p:nvPr/>
        </p:nvCxnSpPr>
        <p:spPr bwMode="auto">
          <a:xfrm rot="5400000" flipH="1" flipV="1">
            <a:off x="2339221" y="3201677"/>
            <a:ext cx="808849" cy="339342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1" name="꺾인 연결선 80"/>
          <p:cNvCxnSpPr>
            <a:stCxn id="49" idx="0"/>
            <a:endCxn id="62" idx="2"/>
          </p:cNvCxnSpPr>
          <p:nvPr/>
        </p:nvCxnSpPr>
        <p:spPr bwMode="auto">
          <a:xfrm rot="5400000" flipH="1" flipV="1">
            <a:off x="3095651" y="3958108"/>
            <a:ext cx="808849" cy="188056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2" name="직선 연결선 91"/>
          <p:cNvCxnSpPr>
            <a:stCxn id="65" idx="1"/>
            <a:endCxn id="62" idx="3"/>
          </p:cNvCxnSpPr>
          <p:nvPr/>
        </p:nvCxnSpPr>
        <p:spPr bwMode="auto">
          <a:xfrm flipH="1">
            <a:off x="5070394" y="4288905"/>
            <a:ext cx="42332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5" name="직선 연결선 94"/>
          <p:cNvCxnSpPr/>
          <p:nvPr/>
        </p:nvCxnSpPr>
        <p:spPr bwMode="auto">
          <a:xfrm>
            <a:off x="6897216" y="2318766"/>
            <a:ext cx="0" cy="3708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99" name="그룹 98"/>
          <p:cNvGrpSpPr/>
          <p:nvPr/>
        </p:nvGrpSpPr>
        <p:grpSpPr>
          <a:xfrm>
            <a:off x="7185247" y="2440817"/>
            <a:ext cx="2448273" cy="3012451"/>
            <a:chOff x="7185247" y="2440817"/>
            <a:chExt cx="2448273" cy="3012451"/>
          </a:xfrm>
        </p:grpSpPr>
        <p:sp>
          <p:nvSpPr>
            <p:cNvPr id="96" name="직사각형 95"/>
            <p:cNvSpPr/>
            <p:nvPr/>
          </p:nvSpPr>
          <p:spPr bwMode="auto">
            <a:xfrm>
              <a:off x="7185247" y="2440817"/>
              <a:ext cx="2448273" cy="31907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핵심 변화 사항</a:t>
              </a:r>
              <a:endParaRPr kumimoji="1" lang="ko-KR" altLang="en-US" sz="12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7185247" y="3158261"/>
              <a:ext cx="2448000" cy="2295007"/>
            </a:xfrm>
            <a:prstGeom prst="rect">
              <a:avLst/>
            </a:prstGeom>
            <a:noFill/>
            <a:ln w="952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72000" rIns="54000" bIns="10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174625" indent="-174625" defTabSz="914297" eaLnBrk="0" latinLnBrk="0" hangingPunct="0"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개인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SOHO,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법인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공공회원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</a:t>
              </a:r>
              <a:b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맹점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모집인을 포함하는 통합고객 개념</a:t>
              </a:r>
              <a:endPara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은행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RM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과 연계 또는 별도 채널을 통한 일반 고객 통합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/>
              </a:r>
              <a:b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모델</a:t>
              </a:r>
              <a:endPara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정보 변경 이력 관리</a:t>
              </a:r>
              <a:endPara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174625" indent="-174625" defTabSz="914297" eaLnBrk="0" latinLnBrk="0" hangingPunct="0"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고객간의 관계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가족회원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계열사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…)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를 별도로 관리</a:t>
              </a:r>
              <a:endPara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바탕" pitchFamily="18" charset="-127"/>
                <a:cs typeface="Arial" charset="0"/>
              </a:endParaRPr>
            </a:p>
          </p:txBody>
        </p:sp>
      </p:grpSp>
      <p:grpSp>
        <p:nvGrpSpPr>
          <p:cNvPr id="84" name="그룹 8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4" name="그룹 9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cxnSp>
        <p:nvCxnSpPr>
          <p:cNvPr id="68" name="꺾인 연결선 67"/>
          <p:cNvCxnSpPr>
            <a:stCxn id="62" idx="1"/>
            <a:endCxn id="53" idx="2"/>
          </p:cNvCxnSpPr>
          <p:nvPr/>
        </p:nvCxnSpPr>
        <p:spPr bwMode="auto">
          <a:xfrm rot="10800000">
            <a:off x="2862245" y="3901335"/>
            <a:ext cx="948078" cy="387570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3876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8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고객기본정보</a:t>
            </a:r>
            <a:r>
              <a:rPr lang="en-US" altLang="ko-KR" dirty="0"/>
              <a:t>, </a:t>
            </a:r>
            <a:r>
              <a:rPr lang="ko-KR" altLang="en-US" dirty="0"/>
              <a:t>접촉정보</a:t>
            </a:r>
            <a:r>
              <a:rPr lang="en-US" altLang="ko-KR" dirty="0"/>
              <a:t>, </a:t>
            </a:r>
            <a:r>
              <a:rPr lang="ko-KR" altLang="en-US" dirty="0"/>
              <a:t>계약정보</a:t>
            </a:r>
            <a:r>
              <a:rPr lang="en-US" altLang="ko-KR" dirty="0"/>
              <a:t>, </a:t>
            </a:r>
            <a:r>
              <a:rPr lang="ko-KR" altLang="en-US" dirty="0"/>
              <a:t>이력정보를 통합하여 관리하며 정보분석계에 </a:t>
            </a:r>
            <a:r>
              <a:rPr lang="en-US" altLang="ko-KR" dirty="0"/>
              <a:t>DM</a:t>
            </a:r>
            <a:r>
              <a:rPr lang="en-US" altLang="ko-KR" b="0" baseline="30000" dirty="0"/>
              <a:t>1)</a:t>
            </a:r>
            <a:r>
              <a:rPr lang="en-US" altLang="ko-KR" dirty="0"/>
              <a:t>/DW</a:t>
            </a:r>
            <a:r>
              <a:rPr lang="en-US" altLang="ko-KR" b="0" baseline="30000" dirty="0"/>
              <a:t>2)</a:t>
            </a:r>
            <a:r>
              <a:rPr lang="ko-KR" altLang="en-US" dirty="0"/>
              <a:t>를 구성하여 분석 성능 및 데이터 정합성을 확보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통합 시스템 구성도 예시 </a:t>
              </a: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7. </a:t>
            </a:r>
            <a:r>
              <a:rPr lang="ko-KR" altLang="en-US" sz="1200" kern="0" dirty="0">
                <a:solidFill>
                  <a:srgbClr val="FFFFFF"/>
                </a:solidFill>
              </a:rPr>
              <a:t>고객서비스 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37" name="직선 연결선 36"/>
          <p:cNvCxnSpPr/>
          <p:nvPr/>
        </p:nvCxnSpPr>
        <p:spPr bwMode="auto">
          <a:xfrm>
            <a:off x="6350470" y="3611002"/>
            <a:ext cx="5603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38" name="직선 연결선 37"/>
          <p:cNvCxnSpPr/>
          <p:nvPr/>
        </p:nvCxnSpPr>
        <p:spPr bwMode="auto">
          <a:xfrm>
            <a:off x="2216620" y="4440077"/>
            <a:ext cx="5603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39" name="직선 연결선 38"/>
          <p:cNvCxnSpPr/>
          <p:nvPr/>
        </p:nvCxnSpPr>
        <p:spPr bwMode="auto">
          <a:xfrm>
            <a:off x="2216620" y="2966165"/>
            <a:ext cx="56036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40" name="Rectangle 7"/>
          <p:cNvSpPr>
            <a:spLocks noChangeArrowheads="1"/>
          </p:cNvSpPr>
          <p:nvPr/>
        </p:nvSpPr>
        <p:spPr bwMode="auto">
          <a:xfrm>
            <a:off x="1436255" y="2269731"/>
            <a:ext cx="935037" cy="29523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널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41" name="Rectangle 20"/>
          <p:cNvSpPr>
            <a:spLocks noChangeArrowheads="1"/>
          </p:cNvSpPr>
          <p:nvPr/>
        </p:nvSpPr>
        <p:spPr bwMode="auto">
          <a:xfrm>
            <a:off x="5707293" y="2269731"/>
            <a:ext cx="829928" cy="2734144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t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Rectangle 46"/>
          <p:cNvSpPr>
            <a:spLocks noChangeArrowheads="1"/>
          </p:cNvSpPr>
          <p:nvPr/>
        </p:nvSpPr>
        <p:spPr bwMode="auto">
          <a:xfrm>
            <a:off x="2570884" y="3454919"/>
            <a:ext cx="2997488" cy="1812506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코어 시스템</a:t>
            </a:r>
          </a:p>
        </p:txBody>
      </p:sp>
      <p:sp>
        <p:nvSpPr>
          <p:cNvPr id="43" name="AutoShape 61"/>
          <p:cNvSpPr>
            <a:spLocks noChangeArrowheads="1"/>
          </p:cNvSpPr>
          <p:nvPr/>
        </p:nvSpPr>
        <p:spPr bwMode="auto">
          <a:xfrm>
            <a:off x="344488" y="2269731"/>
            <a:ext cx="936000" cy="136154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kumimoji="1" lang="ko-KR" altLang="ko-KR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순서도: 자기 디스크 43"/>
          <p:cNvSpPr/>
          <p:nvPr/>
        </p:nvSpPr>
        <p:spPr bwMode="auto">
          <a:xfrm>
            <a:off x="5816666" y="2593304"/>
            <a:ext cx="584134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</a:t>
            </a:r>
          </a:p>
        </p:txBody>
      </p:sp>
      <p:sp>
        <p:nvSpPr>
          <p:cNvPr id="45" name="순서도: 자기 디스크 44"/>
          <p:cNvSpPr/>
          <p:nvPr/>
        </p:nvSpPr>
        <p:spPr bwMode="auto">
          <a:xfrm>
            <a:off x="5816666" y="3119319"/>
            <a:ext cx="584134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endParaRPr kumimoji="1" lang="ko-KR" altLang="en-US" sz="105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순서도: 자기 디스크 45"/>
          <p:cNvSpPr/>
          <p:nvPr/>
        </p:nvSpPr>
        <p:spPr bwMode="auto">
          <a:xfrm>
            <a:off x="5816666" y="3645332"/>
            <a:ext cx="584134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</a:t>
            </a:r>
          </a:p>
        </p:txBody>
      </p:sp>
      <p:sp>
        <p:nvSpPr>
          <p:cNvPr id="47" name="순서도: 자기 디스크 46"/>
          <p:cNvSpPr/>
          <p:nvPr/>
        </p:nvSpPr>
        <p:spPr bwMode="auto">
          <a:xfrm>
            <a:off x="5816666" y="4232511"/>
            <a:ext cx="584134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</a:p>
        </p:txBody>
      </p:sp>
      <p:sp>
        <p:nvSpPr>
          <p:cNvPr id="48" name="Rectangle 39"/>
          <p:cNvSpPr>
            <a:spLocks noChangeArrowheads="1"/>
          </p:cNvSpPr>
          <p:nvPr/>
        </p:nvSpPr>
        <p:spPr bwMode="auto">
          <a:xfrm>
            <a:off x="2660233" y="3740853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영업지원</a:t>
            </a:r>
          </a:p>
        </p:txBody>
      </p:sp>
      <p:sp>
        <p:nvSpPr>
          <p:cNvPr id="49" name="Rectangle 40"/>
          <p:cNvSpPr>
            <a:spLocks noChangeArrowheads="1"/>
          </p:cNvSpPr>
          <p:nvPr/>
        </p:nvSpPr>
        <p:spPr bwMode="auto">
          <a:xfrm>
            <a:off x="3635483" y="3740853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회원관리</a:t>
            </a:r>
          </a:p>
        </p:txBody>
      </p:sp>
      <p:sp>
        <p:nvSpPr>
          <p:cNvPr id="50" name="Rectangle 41"/>
          <p:cNvSpPr>
            <a:spLocks noChangeArrowheads="1"/>
          </p:cNvSpPr>
          <p:nvPr/>
        </p:nvSpPr>
        <p:spPr bwMode="auto">
          <a:xfrm>
            <a:off x="4579954" y="3740853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매출관리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39"/>
          <p:cNvSpPr>
            <a:spLocks noChangeArrowheads="1"/>
          </p:cNvSpPr>
          <p:nvPr/>
        </p:nvSpPr>
        <p:spPr bwMode="auto">
          <a:xfrm>
            <a:off x="2660233" y="4624821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청구관리</a:t>
            </a:r>
          </a:p>
        </p:txBody>
      </p:sp>
      <p:sp>
        <p:nvSpPr>
          <p:cNvPr id="52" name="Rectangle 40"/>
          <p:cNvSpPr>
            <a:spLocks noChangeArrowheads="1"/>
          </p:cNvSpPr>
          <p:nvPr/>
        </p:nvSpPr>
        <p:spPr bwMode="auto">
          <a:xfrm>
            <a:off x="3635483" y="4618845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신용관리</a:t>
            </a:r>
          </a:p>
        </p:txBody>
      </p:sp>
      <p:sp>
        <p:nvSpPr>
          <p:cNvPr id="53" name="Rectangle 41"/>
          <p:cNvSpPr>
            <a:spLocks noChangeArrowheads="1"/>
          </p:cNvSpPr>
          <p:nvPr/>
        </p:nvSpPr>
        <p:spPr bwMode="auto">
          <a:xfrm>
            <a:off x="2660233" y="4035509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심사발급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Rectangle 39"/>
          <p:cNvSpPr>
            <a:spLocks noChangeArrowheads="1"/>
          </p:cNvSpPr>
          <p:nvPr/>
        </p:nvSpPr>
        <p:spPr bwMode="auto">
          <a:xfrm>
            <a:off x="3635483" y="4033518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가맹점관리</a:t>
            </a:r>
          </a:p>
        </p:txBody>
      </p:sp>
      <p:sp>
        <p:nvSpPr>
          <p:cNvPr id="55" name="Rectangle 40"/>
          <p:cNvSpPr>
            <a:spLocks noChangeArrowheads="1"/>
          </p:cNvSpPr>
          <p:nvPr/>
        </p:nvSpPr>
        <p:spPr bwMode="auto">
          <a:xfrm>
            <a:off x="4579954" y="4033518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국제관리</a:t>
            </a:r>
          </a:p>
        </p:txBody>
      </p:sp>
      <p:sp>
        <p:nvSpPr>
          <p:cNvPr id="56" name="Rectangle 41"/>
          <p:cNvSpPr>
            <a:spLocks noChangeArrowheads="1"/>
          </p:cNvSpPr>
          <p:nvPr/>
        </p:nvSpPr>
        <p:spPr bwMode="auto">
          <a:xfrm>
            <a:off x="4579954" y="4618845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입금관리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Rectangle 39"/>
          <p:cNvSpPr>
            <a:spLocks noChangeArrowheads="1"/>
          </p:cNvSpPr>
          <p:nvPr/>
        </p:nvSpPr>
        <p:spPr bwMode="auto">
          <a:xfrm>
            <a:off x="2660233" y="4919476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채권관리</a:t>
            </a:r>
          </a:p>
        </p:txBody>
      </p:sp>
      <p:sp>
        <p:nvSpPr>
          <p:cNvPr id="58" name="Rectangle 40"/>
          <p:cNvSpPr>
            <a:spLocks noChangeArrowheads="1"/>
          </p:cNvSpPr>
          <p:nvPr/>
        </p:nvSpPr>
        <p:spPr bwMode="auto">
          <a:xfrm>
            <a:off x="2660233" y="4330165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제휴</a:t>
            </a:r>
          </a:p>
        </p:txBody>
      </p:sp>
      <p:sp>
        <p:nvSpPr>
          <p:cNvPr id="59" name="Rectangle 41"/>
          <p:cNvSpPr>
            <a:spLocks noChangeArrowheads="1"/>
          </p:cNvSpPr>
          <p:nvPr/>
        </p:nvSpPr>
        <p:spPr bwMode="auto">
          <a:xfrm>
            <a:off x="3635483" y="4326182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포인트</a:t>
            </a: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세이브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Rectangle 39"/>
          <p:cNvSpPr>
            <a:spLocks noChangeArrowheads="1"/>
          </p:cNvSpPr>
          <p:nvPr/>
        </p:nvSpPr>
        <p:spPr bwMode="auto">
          <a:xfrm>
            <a:off x="4579954" y="4326182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금융관리</a:t>
            </a:r>
          </a:p>
        </p:txBody>
      </p:sp>
      <p:sp>
        <p:nvSpPr>
          <p:cNvPr id="61" name="Rectangle 40"/>
          <p:cNvSpPr>
            <a:spLocks noChangeArrowheads="1"/>
          </p:cNvSpPr>
          <p:nvPr/>
        </p:nvSpPr>
        <p:spPr bwMode="auto">
          <a:xfrm>
            <a:off x="3635483" y="4911509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자산유동화</a:t>
            </a:r>
          </a:p>
        </p:txBody>
      </p:sp>
      <p:sp>
        <p:nvSpPr>
          <p:cNvPr id="62" name="Rectangle 41"/>
          <p:cNvSpPr>
            <a:spLocks noChangeArrowheads="1"/>
          </p:cNvSpPr>
          <p:nvPr/>
        </p:nvSpPr>
        <p:spPr bwMode="auto">
          <a:xfrm>
            <a:off x="4579954" y="4911510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구판매카드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Rectangle 17"/>
          <p:cNvSpPr>
            <a:spLocks noChangeArrowheads="1"/>
          </p:cNvSpPr>
          <p:nvPr/>
        </p:nvSpPr>
        <p:spPr bwMode="auto">
          <a:xfrm>
            <a:off x="1550942" y="3154606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량송신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17"/>
          <p:cNvSpPr>
            <a:spLocks noChangeArrowheads="1"/>
          </p:cNvSpPr>
          <p:nvPr/>
        </p:nvSpPr>
        <p:spPr bwMode="auto">
          <a:xfrm>
            <a:off x="1550942" y="2573207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17"/>
          <p:cNvSpPr>
            <a:spLocks noChangeArrowheads="1"/>
          </p:cNvSpPr>
          <p:nvPr/>
        </p:nvSpPr>
        <p:spPr bwMode="auto">
          <a:xfrm>
            <a:off x="1550942" y="3736004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S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Rectangle 17"/>
          <p:cNvSpPr>
            <a:spLocks noChangeArrowheads="1"/>
          </p:cNvSpPr>
          <p:nvPr/>
        </p:nvSpPr>
        <p:spPr bwMode="auto">
          <a:xfrm>
            <a:off x="1550942" y="2863907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터넷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Rectangle 17"/>
          <p:cNvSpPr>
            <a:spLocks noChangeArrowheads="1"/>
          </p:cNvSpPr>
          <p:nvPr/>
        </p:nvSpPr>
        <p:spPr bwMode="auto">
          <a:xfrm>
            <a:off x="1550942" y="4026703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바일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Rectangle 17"/>
          <p:cNvSpPr>
            <a:spLocks noChangeArrowheads="1"/>
          </p:cNvSpPr>
          <p:nvPr/>
        </p:nvSpPr>
        <p:spPr bwMode="auto">
          <a:xfrm>
            <a:off x="1550942" y="4317403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MS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Rectangle 17"/>
          <p:cNvSpPr>
            <a:spLocks noChangeArrowheads="1"/>
          </p:cNvSpPr>
          <p:nvPr/>
        </p:nvSpPr>
        <p:spPr bwMode="auto">
          <a:xfrm>
            <a:off x="1550942" y="3445305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-Mail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Rectangle 17"/>
          <p:cNvSpPr>
            <a:spLocks noChangeArrowheads="1"/>
          </p:cNvSpPr>
          <p:nvPr/>
        </p:nvSpPr>
        <p:spPr bwMode="auto">
          <a:xfrm>
            <a:off x="1550942" y="4608102"/>
            <a:ext cx="705663" cy="23818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털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Rectangle 17"/>
          <p:cNvSpPr>
            <a:spLocks noChangeArrowheads="1"/>
          </p:cNvSpPr>
          <p:nvPr/>
        </p:nvSpPr>
        <p:spPr bwMode="auto">
          <a:xfrm>
            <a:off x="1550942" y="4899718"/>
            <a:ext cx="705663" cy="2372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단말</a:t>
            </a:r>
            <a:endParaRPr kumimoji="1" lang="ko-KR" altLang="ko-KR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AutoShape 61"/>
          <p:cNvSpPr>
            <a:spLocks noChangeArrowheads="1"/>
          </p:cNvSpPr>
          <p:nvPr/>
        </p:nvSpPr>
        <p:spPr bwMode="auto">
          <a:xfrm>
            <a:off x="344488" y="3950465"/>
            <a:ext cx="936000" cy="127162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endParaRPr kumimoji="1" lang="ko-KR" altLang="ko-KR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Rectangle 42"/>
          <p:cNvSpPr>
            <a:spLocks noChangeArrowheads="1"/>
          </p:cNvSpPr>
          <p:nvPr/>
        </p:nvSpPr>
        <p:spPr bwMode="auto">
          <a:xfrm>
            <a:off x="452488" y="4201848"/>
            <a:ext cx="720000" cy="265606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국내승인</a:t>
            </a:r>
          </a:p>
        </p:txBody>
      </p:sp>
      <p:sp>
        <p:nvSpPr>
          <p:cNvPr id="74" name="Rectangle 42"/>
          <p:cNvSpPr>
            <a:spLocks noChangeArrowheads="1"/>
          </p:cNvSpPr>
          <p:nvPr/>
        </p:nvSpPr>
        <p:spPr bwMode="auto">
          <a:xfrm>
            <a:off x="452488" y="4521225"/>
            <a:ext cx="720000" cy="265606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해외승인</a:t>
            </a:r>
          </a:p>
        </p:txBody>
      </p:sp>
      <p:sp>
        <p:nvSpPr>
          <p:cNvPr id="75" name="Rectangle 42"/>
          <p:cNvSpPr>
            <a:spLocks noChangeArrowheads="1"/>
          </p:cNvSpPr>
          <p:nvPr/>
        </p:nvSpPr>
        <p:spPr bwMode="auto">
          <a:xfrm>
            <a:off x="452488" y="4840603"/>
            <a:ext cx="720000" cy="265606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금융승인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AutoShape 61"/>
          <p:cNvSpPr>
            <a:spLocks noChangeArrowheads="1"/>
          </p:cNvSpPr>
          <p:nvPr/>
        </p:nvSpPr>
        <p:spPr bwMode="auto">
          <a:xfrm>
            <a:off x="344488" y="5412746"/>
            <a:ext cx="936000" cy="82655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대외계</a:t>
            </a:r>
            <a:endParaRPr kumimoji="1" lang="ko-KR" altLang="ko-KR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Rectangle 42"/>
          <p:cNvSpPr>
            <a:spLocks noChangeArrowheads="1"/>
          </p:cNvSpPr>
          <p:nvPr/>
        </p:nvSpPr>
        <p:spPr bwMode="auto">
          <a:xfrm>
            <a:off x="452488" y="5795565"/>
            <a:ext cx="720000" cy="265606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대외 </a:t>
            </a: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8" name="직선 연결선 77"/>
          <p:cNvCxnSpPr>
            <a:stCxn id="72" idx="2"/>
            <a:endCxn id="76" idx="0"/>
          </p:cNvCxnSpPr>
          <p:nvPr/>
        </p:nvCxnSpPr>
        <p:spPr bwMode="auto">
          <a:xfrm>
            <a:off x="812488" y="5222092"/>
            <a:ext cx="0" cy="19065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9" name="Rectangle 37"/>
          <p:cNvSpPr>
            <a:spLocks noChangeArrowheads="1"/>
          </p:cNvSpPr>
          <p:nvPr/>
        </p:nvSpPr>
        <p:spPr bwMode="auto">
          <a:xfrm>
            <a:off x="2570884" y="2269731"/>
            <a:ext cx="1800225" cy="106125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고객통합</a:t>
            </a:r>
            <a:endParaRPr kumimoji="1" lang="en-US" altLang="ko-KR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순서도: 자기 디스크 79"/>
          <p:cNvSpPr/>
          <p:nvPr/>
        </p:nvSpPr>
        <p:spPr bwMode="auto">
          <a:xfrm>
            <a:off x="2642869" y="2522380"/>
            <a:ext cx="720100" cy="329235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기본</a:t>
            </a:r>
          </a:p>
        </p:txBody>
      </p:sp>
      <p:sp>
        <p:nvSpPr>
          <p:cNvPr id="81" name="순서도: 자기 디스크 80"/>
          <p:cNvSpPr/>
          <p:nvPr/>
        </p:nvSpPr>
        <p:spPr bwMode="auto">
          <a:xfrm>
            <a:off x="3509644" y="2522380"/>
            <a:ext cx="720100" cy="329235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접촉</a:t>
            </a:r>
          </a:p>
        </p:txBody>
      </p:sp>
      <p:sp>
        <p:nvSpPr>
          <p:cNvPr id="82" name="순서도: 자기 디스크 81"/>
          <p:cNvSpPr/>
          <p:nvPr/>
        </p:nvSpPr>
        <p:spPr bwMode="auto">
          <a:xfrm>
            <a:off x="2642869" y="2909245"/>
            <a:ext cx="720100" cy="329235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약정보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순서도: 자기 디스크 82"/>
          <p:cNvSpPr/>
          <p:nvPr/>
        </p:nvSpPr>
        <p:spPr bwMode="auto">
          <a:xfrm>
            <a:off x="3509644" y="2909245"/>
            <a:ext cx="720100" cy="329235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력정보</a:t>
            </a:r>
          </a:p>
        </p:txBody>
      </p:sp>
      <p:sp>
        <p:nvSpPr>
          <p:cNvPr id="84" name="Rectangle 37"/>
          <p:cNvSpPr>
            <a:spLocks noChangeArrowheads="1"/>
          </p:cNvSpPr>
          <p:nvPr/>
        </p:nvSpPr>
        <p:spPr bwMode="auto">
          <a:xfrm>
            <a:off x="4455103" y="2269731"/>
            <a:ext cx="1115372" cy="10612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kumimoji="1"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Rectangle 40"/>
          <p:cNvSpPr>
            <a:spLocks noChangeArrowheads="1"/>
          </p:cNvSpPr>
          <p:nvPr/>
        </p:nvSpPr>
        <p:spPr bwMode="auto">
          <a:xfrm>
            <a:off x="4567356" y="2671036"/>
            <a:ext cx="868290" cy="483796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</a:t>
            </a:r>
            <a:b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ctory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Rectangle 46"/>
          <p:cNvSpPr>
            <a:spLocks noChangeArrowheads="1"/>
          </p:cNvSpPr>
          <p:nvPr/>
        </p:nvSpPr>
        <p:spPr bwMode="auto">
          <a:xfrm>
            <a:off x="2570884" y="5412836"/>
            <a:ext cx="2997488" cy="826467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영지원</a:t>
            </a:r>
            <a:endParaRPr kumimoji="1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Rectangle 39"/>
          <p:cNvSpPr>
            <a:spLocks noChangeArrowheads="1"/>
          </p:cNvSpPr>
          <p:nvPr/>
        </p:nvSpPr>
        <p:spPr bwMode="auto">
          <a:xfrm>
            <a:off x="2660233" y="5648352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재무관리</a:t>
            </a:r>
          </a:p>
        </p:txBody>
      </p:sp>
      <p:sp>
        <p:nvSpPr>
          <p:cNvPr id="88" name="Rectangle 40"/>
          <p:cNvSpPr>
            <a:spLocks noChangeArrowheads="1"/>
          </p:cNvSpPr>
          <p:nvPr/>
        </p:nvSpPr>
        <p:spPr bwMode="auto">
          <a:xfrm>
            <a:off x="3635483" y="5640385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LM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Rectangle 41"/>
          <p:cNvSpPr>
            <a:spLocks noChangeArrowheads="1"/>
          </p:cNvSpPr>
          <p:nvPr/>
        </p:nvSpPr>
        <p:spPr bwMode="auto">
          <a:xfrm>
            <a:off x="4520952" y="5640386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ML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39"/>
          <p:cNvSpPr>
            <a:spLocks noChangeArrowheads="1"/>
          </p:cNvSpPr>
          <p:nvPr/>
        </p:nvSpPr>
        <p:spPr bwMode="auto">
          <a:xfrm>
            <a:off x="2660233" y="5951116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감사</a:t>
            </a: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통제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Rectangle 40"/>
          <p:cNvSpPr>
            <a:spLocks noChangeArrowheads="1"/>
          </p:cNvSpPr>
          <p:nvPr/>
        </p:nvSpPr>
        <p:spPr bwMode="auto">
          <a:xfrm>
            <a:off x="3635483" y="5943150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APM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Rectangle 41"/>
          <p:cNvSpPr>
            <a:spLocks noChangeArrowheads="1"/>
          </p:cNvSpPr>
          <p:nvPr/>
        </p:nvSpPr>
        <p:spPr bwMode="auto">
          <a:xfrm>
            <a:off x="4579954" y="5943151"/>
            <a:ext cx="86829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FDS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오른쪽 화살표 497"/>
          <p:cNvSpPr/>
          <p:nvPr/>
        </p:nvSpPr>
        <p:spPr bwMode="auto">
          <a:xfrm>
            <a:off x="5514927" y="3932278"/>
            <a:ext cx="276273" cy="762976"/>
          </a:xfrm>
          <a:prstGeom prst="rightArrow">
            <a:avLst>
              <a:gd name="adj1" fmla="val 56547"/>
              <a:gd name="adj2" fmla="val 50000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ts val="11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L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Rectangle 37"/>
          <p:cNvSpPr>
            <a:spLocks noChangeArrowheads="1"/>
          </p:cNvSpPr>
          <p:nvPr/>
        </p:nvSpPr>
        <p:spPr bwMode="auto">
          <a:xfrm>
            <a:off x="6681240" y="2269731"/>
            <a:ext cx="2916000" cy="40450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분석계</a:t>
            </a:r>
            <a:endParaRPr kumimoji="1"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Rectangle 22"/>
          <p:cNvSpPr>
            <a:spLocks noChangeArrowheads="1"/>
          </p:cNvSpPr>
          <p:nvPr/>
        </p:nvSpPr>
        <p:spPr bwMode="auto">
          <a:xfrm>
            <a:off x="6775219" y="2575806"/>
            <a:ext cx="925223" cy="3241384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Mart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순서도: 자기 디스크 95"/>
          <p:cNvSpPr/>
          <p:nvPr/>
        </p:nvSpPr>
        <p:spPr bwMode="auto">
          <a:xfrm>
            <a:off x="6937625" y="2862243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분석</a:t>
            </a:r>
          </a:p>
        </p:txBody>
      </p:sp>
      <p:sp>
        <p:nvSpPr>
          <p:cNvPr id="97" name="순서도: 자기 디스크 96"/>
          <p:cNvSpPr/>
          <p:nvPr/>
        </p:nvSpPr>
        <p:spPr bwMode="auto">
          <a:xfrm>
            <a:off x="6937625" y="3439737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RM</a:t>
            </a:r>
            <a:endParaRPr kumimoji="1" lang="ko-KR" altLang="en-US" sz="105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순서도: 자기 디스크 97"/>
          <p:cNvSpPr/>
          <p:nvPr/>
        </p:nvSpPr>
        <p:spPr bwMode="auto">
          <a:xfrm>
            <a:off x="6937625" y="4000933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분석</a:t>
            </a:r>
          </a:p>
        </p:txBody>
      </p:sp>
      <p:sp>
        <p:nvSpPr>
          <p:cNvPr id="99" name="순서도: 자기 디스크 98"/>
          <p:cNvSpPr/>
          <p:nvPr/>
        </p:nvSpPr>
        <p:spPr bwMode="auto">
          <a:xfrm>
            <a:off x="6937625" y="4537042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분석</a:t>
            </a:r>
            <a:endParaRPr kumimoji="1" lang="ko-KR" altLang="en-US" sz="105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Rectangle 40"/>
          <p:cNvSpPr>
            <a:spLocks noChangeArrowheads="1"/>
          </p:cNvSpPr>
          <p:nvPr/>
        </p:nvSpPr>
        <p:spPr bwMode="auto">
          <a:xfrm>
            <a:off x="7808480" y="4103418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DS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)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Rectangle 40"/>
          <p:cNvSpPr>
            <a:spLocks noChangeArrowheads="1"/>
          </p:cNvSpPr>
          <p:nvPr/>
        </p:nvSpPr>
        <p:spPr bwMode="auto">
          <a:xfrm>
            <a:off x="8709096" y="4103418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OLAP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Rectangle 40"/>
          <p:cNvSpPr>
            <a:spLocks noChangeArrowheads="1"/>
          </p:cNvSpPr>
          <p:nvPr/>
        </p:nvSpPr>
        <p:spPr bwMode="auto">
          <a:xfrm>
            <a:off x="7808480" y="4423901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마이닝</a:t>
            </a: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툴</a:t>
            </a:r>
          </a:p>
        </p:txBody>
      </p:sp>
      <p:sp>
        <p:nvSpPr>
          <p:cNvPr id="103" name="Rectangle 40"/>
          <p:cNvSpPr>
            <a:spLocks noChangeArrowheads="1"/>
          </p:cNvSpPr>
          <p:nvPr/>
        </p:nvSpPr>
        <p:spPr bwMode="auto">
          <a:xfrm>
            <a:off x="8709096" y="4423901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MS</a:t>
            </a:r>
            <a:r>
              <a:rPr lang="en-US" altLang="ko-KR" sz="1050" b="0" baseline="30000" noProof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en-US" altLang="ko-KR" sz="105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Rectangle 22"/>
          <p:cNvSpPr>
            <a:spLocks noChangeArrowheads="1"/>
          </p:cNvSpPr>
          <p:nvPr/>
        </p:nvSpPr>
        <p:spPr bwMode="auto">
          <a:xfrm>
            <a:off x="7760005" y="2575806"/>
            <a:ext cx="1669583" cy="1422384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Ware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순서도: 자기 디스크 104"/>
          <p:cNvSpPr/>
          <p:nvPr/>
        </p:nvSpPr>
        <p:spPr bwMode="auto">
          <a:xfrm>
            <a:off x="7868521" y="2895373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약영역</a:t>
            </a:r>
          </a:p>
        </p:txBody>
      </p:sp>
      <p:sp>
        <p:nvSpPr>
          <p:cNvPr id="106" name="순서도: 자기 디스크 105"/>
          <p:cNvSpPr/>
          <p:nvPr/>
        </p:nvSpPr>
        <p:spPr bwMode="auto">
          <a:xfrm>
            <a:off x="8709096" y="2895373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영역</a:t>
            </a:r>
          </a:p>
        </p:txBody>
      </p:sp>
      <p:sp>
        <p:nvSpPr>
          <p:cNvPr id="107" name="순서도: 자기 디스크 106"/>
          <p:cNvSpPr/>
          <p:nvPr/>
        </p:nvSpPr>
        <p:spPr bwMode="auto">
          <a:xfrm>
            <a:off x="7868521" y="3404023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edback </a:t>
            </a:r>
            <a:b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역</a:t>
            </a:r>
          </a:p>
        </p:txBody>
      </p:sp>
      <p:cxnSp>
        <p:nvCxnSpPr>
          <p:cNvPr id="108" name="직선 연결선 107"/>
          <p:cNvCxnSpPr>
            <a:stCxn id="43" idx="2"/>
            <a:endCxn id="72" idx="0"/>
          </p:cNvCxnSpPr>
          <p:nvPr/>
        </p:nvCxnSpPr>
        <p:spPr bwMode="auto">
          <a:xfrm>
            <a:off x="812488" y="3631277"/>
            <a:ext cx="0" cy="31919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9" name="오른쪽 화살표 707"/>
          <p:cNvSpPr/>
          <p:nvPr/>
        </p:nvSpPr>
        <p:spPr bwMode="auto">
          <a:xfrm>
            <a:off x="5514927" y="2458366"/>
            <a:ext cx="276273" cy="762976"/>
          </a:xfrm>
          <a:prstGeom prst="rightArrow">
            <a:avLst>
              <a:gd name="adj1" fmla="val 56547"/>
              <a:gd name="adj2" fmla="val 50000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lnSpc>
                <a:spcPts val="11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L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순서도: 자기 디스크 109"/>
          <p:cNvSpPr/>
          <p:nvPr/>
        </p:nvSpPr>
        <p:spPr bwMode="auto">
          <a:xfrm>
            <a:off x="6937625" y="5126607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순서도: 자기 디스크 110"/>
          <p:cNvSpPr/>
          <p:nvPr/>
        </p:nvSpPr>
        <p:spPr bwMode="auto">
          <a:xfrm>
            <a:off x="8702925" y="3432972"/>
            <a:ext cx="600411" cy="44506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Rectangle 40"/>
          <p:cNvSpPr>
            <a:spLocks noChangeArrowheads="1"/>
          </p:cNvSpPr>
          <p:nvPr/>
        </p:nvSpPr>
        <p:spPr bwMode="auto">
          <a:xfrm>
            <a:off x="8709096" y="4744384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eporting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Rectangle 40"/>
          <p:cNvSpPr>
            <a:spLocks noChangeArrowheads="1"/>
          </p:cNvSpPr>
          <p:nvPr/>
        </p:nvSpPr>
        <p:spPr bwMode="auto">
          <a:xfrm>
            <a:off x="7808480" y="4744384"/>
            <a:ext cx="723970" cy="257337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5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shboard</a:t>
            </a:r>
            <a:endParaRPr kumimoji="1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4" name="꺾인 연결선 713"/>
          <p:cNvCxnSpPr>
            <a:stCxn id="72" idx="3"/>
            <a:endCxn id="40" idx="1"/>
          </p:cNvCxnSpPr>
          <p:nvPr/>
        </p:nvCxnSpPr>
        <p:spPr bwMode="auto">
          <a:xfrm flipV="1">
            <a:off x="1280488" y="3745912"/>
            <a:ext cx="155767" cy="840367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5" name="꺾인 연결선 715"/>
          <p:cNvCxnSpPr>
            <a:stCxn id="43" idx="3"/>
            <a:endCxn id="40" idx="1"/>
          </p:cNvCxnSpPr>
          <p:nvPr/>
        </p:nvCxnSpPr>
        <p:spPr bwMode="auto">
          <a:xfrm>
            <a:off x="1280488" y="2950505"/>
            <a:ext cx="155767" cy="79540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6" name="꺾인 연결선 720"/>
          <p:cNvCxnSpPr>
            <a:stCxn id="79" idx="2"/>
            <a:endCxn id="42" idx="0"/>
          </p:cNvCxnSpPr>
          <p:nvPr/>
        </p:nvCxnSpPr>
        <p:spPr bwMode="auto">
          <a:xfrm rot="16200000" flipH="1">
            <a:off x="3708348" y="3093638"/>
            <a:ext cx="123929" cy="598631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7" name="꺾인 연결선 722"/>
          <p:cNvCxnSpPr>
            <a:stCxn id="84" idx="2"/>
            <a:endCxn id="42" idx="0"/>
          </p:cNvCxnSpPr>
          <p:nvPr/>
        </p:nvCxnSpPr>
        <p:spPr bwMode="auto">
          <a:xfrm rot="5400000">
            <a:off x="4479245" y="2921374"/>
            <a:ext cx="123929" cy="943161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8" name="직선 연결선 117"/>
          <p:cNvCxnSpPr>
            <a:stCxn id="42" idx="2"/>
            <a:endCxn id="86" idx="0"/>
          </p:cNvCxnSpPr>
          <p:nvPr/>
        </p:nvCxnSpPr>
        <p:spPr bwMode="auto">
          <a:xfrm>
            <a:off x="4069628" y="5267425"/>
            <a:ext cx="0" cy="14541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19" name="모서리가 둥근 직사각형 726"/>
          <p:cNvSpPr/>
          <p:nvPr/>
        </p:nvSpPr>
        <p:spPr bwMode="auto">
          <a:xfrm>
            <a:off x="273050" y="1907143"/>
            <a:ext cx="2146300" cy="278573"/>
          </a:xfrm>
          <a:prstGeom prst="round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고객정보 획득</a:t>
            </a:r>
          </a:p>
        </p:txBody>
      </p:sp>
      <p:sp>
        <p:nvSpPr>
          <p:cNvPr id="120" name="모서리가 둥근 직사각형 727"/>
          <p:cNvSpPr/>
          <p:nvPr/>
        </p:nvSpPr>
        <p:spPr bwMode="auto">
          <a:xfrm>
            <a:off x="2463800" y="1907143"/>
            <a:ext cx="4073420" cy="278573"/>
          </a:xfrm>
          <a:prstGeom prst="round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고객정보 통합</a:t>
            </a:r>
          </a:p>
        </p:txBody>
      </p:sp>
      <p:sp>
        <p:nvSpPr>
          <p:cNvPr id="121" name="모서리가 둥근 직사각형 728"/>
          <p:cNvSpPr/>
          <p:nvPr/>
        </p:nvSpPr>
        <p:spPr bwMode="auto">
          <a:xfrm>
            <a:off x="6600825" y="1907143"/>
            <a:ext cx="3012969" cy="278573"/>
          </a:xfrm>
          <a:prstGeom prst="round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>
                <a:latin typeface="맑은 고딕" pitchFamily="50" charset="-127"/>
                <a:ea typeface="맑은 고딕" pitchFamily="50" charset="-127"/>
              </a:rPr>
              <a:t>고객정보 활용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Rectangle 42"/>
          <p:cNvSpPr>
            <a:spLocks noChangeArrowheads="1"/>
          </p:cNvSpPr>
          <p:nvPr/>
        </p:nvSpPr>
        <p:spPr bwMode="auto">
          <a:xfrm>
            <a:off x="452488" y="2520380"/>
            <a:ext cx="720000" cy="228358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인고객</a:t>
            </a:r>
          </a:p>
        </p:txBody>
      </p:sp>
      <p:sp>
        <p:nvSpPr>
          <p:cNvPr id="123" name="Rectangle 42"/>
          <p:cNvSpPr>
            <a:spLocks noChangeArrowheads="1"/>
          </p:cNvSpPr>
          <p:nvPr/>
        </p:nvSpPr>
        <p:spPr bwMode="auto">
          <a:xfrm>
            <a:off x="452488" y="2794967"/>
            <a:ext cx="720000" cy="228358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법인고객</a:t>
            </a:r>
          </a:p>
        </p:txBody>
      </p:sp>
      <p:sp>
        <p:nvSpPr>
          <p:cNvPr id="124" name="Rectangle 42"/>
          <p:cNvSpPr>
            <a:spLocks noChangeArrowheads="1"/>
          </p:cNvSpPr>
          <p:nvPr/>
        </p:nvSpPr>
        <p:spPr bwMode="auto">
          <a:xfrm>
            <a:off x="452488" y="3069555"/>
            <a:ext cx="720000" cy="228358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가맹점</a:t>
            </a:r>
          </a:p>
        </p:txBody>
      </p:sp>
      <p:sp>
        <p:nvSpPr>
          <p:cNvPr id="125" name="Rectangle 42"/>
          <p:cNvSpPr>
            <a:spLocks noChangeArrowheads="1"/>
          </p:cNvSpPr>
          <p:nvPr/>
        </p:nvSpPr>
        <p:spPr bwMode="auto">
          <a:xfrm>
            <a:off x="452488" y="3347744"/>
            <a:ext cx="720000" cy="228358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7001933" y="5135388"/>
            <a:ext cx="2611861" cy="11896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r"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1) DM (Data Mart) 2) DW (Data Warehouse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3) ETL (Extraction, Transformation, Load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4) ALM (Asset Liability Management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5) AML (Anti Money Laundering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6) RAPM (Risk Adjustment Performance Management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7) FDS (Fraud Detection System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8) ODS (Operational Data Store)</a:t>
            </a:r>
          </a:p>
          <a:p>
            <a:pPr algn="r"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9) OLAP (On-Line Analytical Processing)</a:t>
            </a:r>
            <a:b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10) CMS (Campaign Management System)</a:t>
            </a:r>
            <a:endParaRPr lang="ko-KR" altLang="en-US" sz="8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4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4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4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dirty="0"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4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8" name="그룹 14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135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경영관리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카드 책임경영체계 강화를 위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분사대비 카드회계체계 수립</a:t>
            </a:r>
            <a:r>
              <a:rPr lang="en-US" altLang="ko-KR" dirty="0" smtClean="0"/>
              <a:t>, </a:t>
            </a:r>
            <a:r>
              <a:rPr lang="ko-KR" altLang="en-US" dirty="0" smtClean="0"/>
              <a:t> 상품</a:t>
            </a:r>
            <a:r>
              <a:rPr lang="en-US" altLang="ko-KR" dirty="0" smtClean="0"/>
              <a:t> </a:t>
            </a:r>
            <a:r>
              <a:rPr lang="ko-KR" altLang="en-US" dirty="0" smtClean="0"/>
              <a:t>손익분석 고도화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성과기반의 경영계획</a:t>
            </a:r>
            <a:r>
              <a:rPr lang="en-US" altLang="ko-KR" dirty="0" smtClean="0"/>
              <a:t>/</a:t>
            </a:r>
            <a:r>
              <a:rPr lang="ko-KR" altLang="en-US" dirty="0" smtClean="0"/>
              <a:t>성과관리 체계 구현 과제를 도출함</a:t>
            </a:r>
            <a:endParaRPr lang="ko-KR" altLang="en-US" dirty="0"/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4" name="그룹 63"/>
          <p:cNvGrpSpPr/>
          <p:nvPr/>
        </p:nvGrpSpPr>
        <p:grpSpPr>
          <a:xfrm>
            <a:off x="287917" y="1412776"/>
            <a:ext cx="9325984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1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2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5" name="직사각형 8"/>
            <p:cNvSpPr/>
            <p:nvPr/>
          </p:nvSpPr>
          <p:spPr bwMode="auto">
            <a:xfrm>
              <a:off x="2350611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6" name="직사각형 9"/>
            <p:cNvSpPr/>
            <p:nvPr/>
          </p:nvSpPr>
          <p:spPr bwMode="auto">
            <a:xfrm>
              <a:off x="3381956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7" name="직사각형 10"/>
            <p:cNvSpPr/>
            <p:nvPr/>
          </p:nvSpPr>
          <p:spPr bwMode="auto">
            <a:xfrm>
              <a:off x="4413303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8" name="직사각형 11"/>
            <p:cNvSpPr/>
            <p:nvPr/>
          </p:nvSpPr>
          <p:spPr bwMode="auto">
            <a:xfrm>
              <a:off x="5444650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9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85" name="직사각형 84"/>
          <p:cNvSpPr/>
          <p:nvPr/>
        </p:nvSpPr>
        <p:spPr bwMode="auto">
          <a:xfrm>
            <a:off x="488503" y="2536502"/>
            <a:ext cx="3312000" cy="3588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488503" y="2893934"/>
            <a:ext cx="3312000" cy="325685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361950" indent="-180975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6081486" y="2893934"/>
            <a:ext cx="3378987" cy="325685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사다리꼴 54"/>
          <p:cNvSpPr/>
          <p:nvPr/>
        </p:nvSpPr>
        <p:spPr bwMode="auto">
          <a:xfrm>
            <a:off x="291400" y="2136100"/>
            <a:ext cx="9334604" cy="28087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5682481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5682481 w 9334604"/>
              <a:gd name="connsiteY2" fmla="*/ 4592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80657 h 280657"/>
              <a:gd name="connsiteX1" fmla="*/ 4689407 w 9334604"/>
              <a:gd name="connsiteY1" fmla="*/ 0 h 280657"/>
              <a:gd name="connsiteX2" fmla="*/ 6879456 w 9334604"/>
              <a:gd name="connsiteY2" fmla="*/ 7654 h 280657"/>
              <a:gd name="connsiteX3" fmla="*/ 9334604 w 9334604"/>
              <a:gd name="connsiteY3" fmla="*/ 278244 h 280657"/>
              <a:gd name="connsiteX4" fmla="*/ 0 w 9334604"/>
              <a:gd name="connsiteY4" fmla="*/ 280657 h 280657"/>
              <a:gd name="connsiteX0" fmla="*/ 0 w 9334604"/>
              <a:gd name="connsiteY0" fmla="*/ 274533 h 274533"/>
              <a:gd name="connsiteX1" fmla="*/ 5873682 w 9334604"/>
              <a:gd name="connsiteY1" fmla="*/ 0 h 274533"/>
              <a:gd name="connsiteX2" fmla="*/ 6879456 w 9334604"/>
              <a:gd name="connsiteY2" fmla="*/ 1530 h 274533"/>
              <a:gd name="connsiteX3" fmla="*/ 9334604 w 9334604"/>
              <a:gd name="connsiteY3" fmla="*/ 272120 h 274533"/>
              <a:gd name="connsiteX4" fmla="*/ 0 w 9334604"/>
              <a:gd name="connsiteY4" fmla="*/ 274533 h 274533"/>
              <a:gd name="connsiteX0" fmla="*/ 0 w 9334604"/>
              <a:gd name="connsiteY0" fmla="*/ 273003 h 273003"/>
              <a:gd name="connsiteX1" fmla="*/ 2339907 w 9334604"/>
              <a:gd name="connsiteY1" fmla="*/ 4594 h 273003"/>
              <a:gd name="connsiteX2" fmla="*/ 6879456 w 9334604"/>
              <a:gd name="connsiteY2" fmla="*/ 0 h 273003"/>
              <a:gd name="connsiteX3" fmla="*/ 9334604 w 9334604"/>
              <a:gd name="connsiteY3" fmla="*/ 270590 h 273003"/>
              <a:gd name="connsiteX4" fmla="*/ 0 w 9334604"/>
              <a:gd name="connsiteY4" fmla="*/ 273003 h 273003"/>
              <a:gd name="connsiteX0" fmla="*/ 0 w 9334604"/>
              <a:gd name="connsiteY0" fmla="*/ 268409 h 268409"/>
              <a:gd name="connsiteX1" fmla="*/ 2339907 w 9334604"/>
              <a:gd name="connsiteY1" fmla="*/ 0 h 268409"/>
              <a:gd name="connsiteX2" fmla="*/ 3367906 w 9334604"/>
              <a:gd name="connsiteY2" fmla="*/ 1530 h 268409"/>
              <a:gd name="connsiteX3" fmla="*/ 9334604 w 9334604"/>
              <a:gd name="connsiteY3" fmla="*/ 265996 h 268409"/>
              <a:gd name="connsiteX4" fmla="*/ 0 w 9334604"/>
              <a:gd name="connsiteY4" fmla="*/ 268409 h 268409"/>
              <a:gd name="connsiteX0" fmla="*/ 0 w 9334604"/>
              <a:gd name="connsiteY0" fmla="*/ 266879 h 266879"/>
              <a:gd name="connsiteX1" fmla="*/ 1135947 w 9334604"/>
              <a:gd name="connsiteY1" fmla="*/ 2144 h 266879"/>
              <a:gd name="connsiteX2" fmla="*/ 3367906 w 9334604"/>
              <a:gd name="connsiteY2" fmla="*/ 0 h 266879"/>
              <a:gd name="connsiteX3" fmla="*/ 9334604 w 9334604"/>
              <a:gd name="connsiteY3" fmla="*/ 264466 h 266879"/>
              <a:gd name="connsiteX4" fmla="*/ 0 w 9334604"/>
              <a:gd name="connsiteY4" fmla="*/ 266879 h 266879"/>
              <a:gd name="connsiteX0" fmla="*/ 0 w 9334604"/>
              <a:gd name="connsiteY0" fmla="*/ 264735 h 264735"/>
              <a:gd name="connsiteX1" fmla="*/ 1135947 w 9334604"/>
              <a:gd name="connsiteY1" fmla="*/ 0 h 264735"/>
              <a:gd name="connsiteX2" fmla="*/ 2224906 w 9334604"/>
              <a:gd name="connsiteY2" fmla="*/ 1530 h 264735"/>
              <a:gd name="connsiteX3" fmla="*/ 9334604 w 9334604"/>
              <a:gd name="connsiteY3" fmla="*/ 262322 h 264735"/>
              <a:gd name="connsiteX4" fmla="*/ 0 w 9334604"/>
              <a:gd name="connsiteY4" fmla="*/ 264735 h 264735"/>
              <a:gd name="connsiteX0" fmla="*/ 0 w 9334604"/>
              <a:gd name="connsiteY0" fmla="*/ 264735 h 264735"/>
              <a:gd name="connsiteX1" fmla="*/ 1135947 w 9334604"/>
              <a:gd name="connsiteY1" fmla="*/ 0 h 264735"/>
              <a:gd name="connsiteX2" fmla="*/ 9159106 w 9334604"/>
              <a:gd name="connsiteY2" fmla="*/ 1530 h 264735"/>
              <a:gd name="connsiteX3" fmla="*/ 9334604 w 9334604"/>
              <a:gd name="connsiteY3" fmla="*/ 262322 h 264735"/>
              <a:gd name="connsiteX4" fmla="*/ 0 w 9334604"/>
              <a:gd name="connsiteY4" fmla="*/ 264735 h 264735"/>
              <a:gd name="connsiteX0" fmla="*/ 0 w 9334604"/>
              <a:gd name="connsiteY0" fmla="*/ 270859 h 270859"/>
              <a:gd name="connsiteX1" fmla="*/ 8222547 w 9334604"/>
              <a:gd name="connsiteY1" fmla="*/ 0 h 270859"/>
              <a:gd name="connsiteX2" fmla="*/ 9159106 w 9334604"/>
              <a:gd name="connsiteY2" fmla="*/ 7654 h 270859"/>
              <a:gd name="connsiteX3" fmla="*/ 9334604 w 9334604"/>
              <a:gd name="connsiteY3" fmla="*/ 268446 h 270859"/>
              <a:gd name="connsiteX4" fmla="*/ 0 w 9334604"/>
              <a:gd name="connsiteY4" fmla="*/ 270859 h 270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0859">
                <a:moveTo>
                  <a:pt x="0" y="270859"/>
                </a:moveTo>
                <a:lnTo>
                  <a:pt x="8222547" y="0"/>
                </a:lnTo>
                <a:lnTo>
                  <a:pt x="9159106" y="7654"/>
                </a:lnTo>
                <a:lnTo>
                  <a:pt x="9334604" y="268446"/>
                </a:lnTo>
                <a:lnTo>
                  <a:pt x="0" y="270859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3999072" y="2782116"/>
            <a:ext cx="1958155" cy="35885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 방향성</a:t>
            </a:r>
          </a:p>
        </p:txBody>
      </p:sp>
      <p:sp>
        <p:nvSpPr>
          <p:cNvPr id="99" name="오른쪽 화살표 109"/>
          <p:cNvSpPr/>
          <p:nvPr/>
        </p:nvSpPr>
        <p:spPr bwMode="auto">
          <a:xfrm>
            <a:off x="3967946" y="3212976"/>
            <a:ext cx="1989282" cy="2921590"/>
          </a:xfrm>
          <a:prstGeom prst="rightArrow">
            <a:avLst>
              <a:gd name="adj1" fmla="val 65385"/>
              <a:gd name="adj2" fmla="val 12921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Ins="18000" rtlCol="0" anchor="ctr">
            <a:noAutofit/>
          </a:bodyPr>
          <a:lstStyle/>
          <a:p>
            <a:pPr marL="0" marR="0" indent="0" algn="ctr" defTabSz="914400" eaLnBrk="0" latinLnBrk="0" hangingPunct="0">
              <a:lnSpc>
                <a:spcPct val="100000"/>
              </a:lnSpc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</a:pPr>
            <a:endParaRPr lang="ko-KR" alt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3823861" y="3284984"/>
            <a:ext cx="2281267" cy="2592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266700" indent="-85725" latinLnBrk="0">
              <a:lnSpc>
                <a:spcPct val="150000"/>
              </a:lnSpc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정보 정합성 제고</a:t>
            </a:r>
            <a:endParaRPr kumimoji="1" lang="en-US" altLang="ko-KR" sz="1300" i="1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6700" indent="-85725" latinLnBrk="0">
              <a:lnSpc>
                <a:spcPct val="150000"/>
              </a:lnSpc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 회계체계 구현</a:t>
            </a:r>
            <a:endParaRPr kumimoji="1" lang="en-US" altLang="ko-KR" sz="1300" i="1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6700" indent="-85725" latinLnBrk="0">
              <a:lnSpc>
                <a:spcPct val="150000"/>
              </a:lnSpc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손익 사전</a:t>
            </a:r>
            <a:r>
              <a:rPr kumimoji="1" lang="en-US" altLang="ko-KR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후 관리</a:t>
            </a:r>
            <a:r>
              <a:rPr kumimoji="1" lang="en-US" altLang="ko-KR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 강화</a:t>
            </a:r>
            <a:endParaRPr kumimoji="1" lang="en-US" altLang="ko-KR" sz="1300" i="1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6700" indent="-85725" latinLnBrk="0">
              <a:lnSpc>
                <a:spcPct val="150000"/>
              </a:lnSpc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3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기반의 경영관리 체계 마련</a:t>
            </a:r>
            <a:endParaRPr kumimoji="1" lang="en-US" altLang="ko-KR" sz="1300" i="1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직선 연결선 100"/>
          <p:cNvCxnSpPr/>
          <p:nvPr/>
        </p:nvCxnSpPr>
        <p:spPr bwMode="auto">
          <a:xfrm>
            <a:off x="3999071" y="3140968"/>
            <a:ext cx="190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3" name="TextBox 102"/>
          <p:cNvSpPr txBox="1"/>
          <p:nvPr/>
        </p:nvSpPr>
        <p:spPr bwMode="auto">
          <a:xfrm>
            <a:off x="1489495" y="3009704"/>
            <a:ext cx="2300833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거래내역과 회계정보간 처리기준 및 프로세스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미정립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계 데이터 정합성 미흡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3" name="TextBox 52"/>
          <p:cNvSpPr txBox="1"/>
          <p:nvPr/>
        </p:nvSpPr>
        <p:spPr bwMode="auto">
          <a:xfrm>
            <a:off x="6090614" y="4502554"/>
            <a:ext cx="3347648" cy="837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274638" latinLnBrk="0">
              <a:spcBef>
                <a:spcPts val="5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손익분석체계 고도화</a:t>
            </a:r>
            <a:endParaRPr lang="en-US" altLang="ko-KR" sz="120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사업조직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모집채널 분석 고도화</a:t>
            </a: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사전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사후 분석기준을 </a:t>
            </a:r>
            <a:b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반영할 수 있는 관리기능 개선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6160594" y="4522684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6090614" y="5305482"/>
            <a:ext cx="3347648" cy="8498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274638" latinLnBrk="0">
              <a:spcBef>
                <a:spcPts val="5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경영계획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성과관리 체계 구현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경영계획 및 성과지표 관리체계 설계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지예산 및 비용관리 프로세스 정립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수료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산출 필요 데이터 마트 설계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6160594" y="5325612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화살표: 오각형 106"/>
          <p:cNvSpPr/>
          <p:nvPr/>
        </p:nvSpPr>
        <p:spPr bwMode="auto">
          <a:xfrm rot="5400000">
            <a:off x="662021" y="2956856"/>
            <a:ext cx="702660" cy="816567"/>
          </a:xfrm>
          <a:prstGeom prst="homePlate">
            <a:avLst>
              <a:gd name="adj" fmla="val 1704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화살표: 오각형 106"/>
          <p:cNvSpPr/>
          <p:nvPr/>
        </p:nvSpPr>
        <p:spPr bwMode="auto">
          <a:xfrm rot="5400000">
            <a:off x="662021" y="4536456"/>
            <a:ext cx="702660" cy="816567"/>
          </a:xfrm>
          <a:prstGeom prst="homePlate">
            <a:avLst>
              <a:gd name="adj" fmla="val 1704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손익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화살표: 오각형 106"/>
          <p:cNvSpPr/>
          <p:nvPr/>
        </p:nvSpPr>
        <p:spPr bwMode="auto">
          <a:xfrm rot="5400000">
            <a:off x="662021" y="5302809"/>
            <a:ext cx="702660" cy="816567"/>
          </a:xfrm>
          <a:prstGeom prst="homePlate">
            <a:avLst>
              <a:gd name="adj" fmla="val 1704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계획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과관리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6" name="직선 연결선 65"/>
          <p:cNvCxnSpPr/>
          <p:nvPr/>
        </p:nvCxnSpPr>
        <p:spPr bwMode="auto">
          <a:xfrm>
            <a:off x="1503318" y="5279037"/>
            <a:ext cx="2160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74" name="TextBox 73"/>
          <p:cNvSpPr txBox="1"/>
          <p:nvPr/>
        </p:nvSpPr>
        <p:spPr bwMode="auto">
          <a:xfrm>
            <a:off x="1490266" y="4603367"/>
            <a:ext cx="2300833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조직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채널 손익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미산출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사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사후 분석기준과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손익 데이터간 기준 불일치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0" name="TextBox 79"/>
          <p:cNvSpPr txBox="1"/>
          <p:nvPr/>
        </p:nvSpPr>
        <p:spPr bwMode="auto">
          <a:xfrm>
            <a:off x="1490266" y="5316799"/>
            <a:ext cx="2300833" cy="8134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가치동인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및 성과지표 연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미흡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ts val="1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지예산관리 및 비용관리 체계 프로세스 미흡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수료 산출 필요 데이터의 분산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6081485" y="2535082"/>
            <a:ext cx="3378991" cy="35885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예상 개선과제</a:t>
            </a: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 bwMode="auto">
          <a:xfrm>
            <a:off x="6090614" y="2923258"/>
            <a:ext cx="3347648" cy="837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274638" latinLnBrk="0">
              <a:spcBef>
                <a:spcPts val="5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회계 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정합성 제고를 위한 영업회계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도입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영업회계 도입을 통한 매출과 회계간의 불일치 제거</a:t>
            </a:r>
          </a:p>
          <a:p>
            <a:pPr marL="536575" lvl="1" indent="-173038" latinLnBrk="0">
              <a:spcBef>
                <a:spcPts val="50"/>
              </a:spcBef>
              <a:buFont typeface="맑은 고딕" panose="020B0503020000020004" pitchFamily="50" charset="-127"/>
              <a:buChar char="-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매뉴얼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기반의 회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처리</a:t>
            </a:r>
            <a:endParaRPr lang="ko-KR" altLang="en-US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6156168" y="2943388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6090614" y="3737682"/>
            <a:ext cx="3347648" cy="837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361950" indent="-361950" latinLnBrk="0">
              <a:spcBef>
                <a:spcPct val="30000"/>
              </a:spcBef>
              <a:buFont typeface="Wingdings" pitchFamily="2" charset="2"/>
              <a:buChar char="§"/>
              <a:defRPr sz="1200">
                <a:solidFill>
                  <a:srgbClr val="000000"/>
                </a:solidFill>
                <a:latin typeface="맑은 고딕"/>
                <a:ea typeface="맑은 고딕"/>
              </a:defRPr>
            </a:lvl1pPr>
            <a:lvl2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  <a:defRPr sz="1200" b="0">
                <a:solidFill>
                  <a:srgbClr val="000000"/>
                </a:solidFill>
                <a:latin typeface="맑은 고딕"/>
                <a:ea typeface="맑은 고딕"/>
              </a:defRPr>
            </a:lvl2pPr>
          </a:lstStyle>
          <a:p>
            <a:pPr indent="-274638">
              <a:spcBef>
                <a:spcPts val="50"/>
              </a:spcBef>
            </a:pPr>
            <a:r>
              <a:rPr lang="ko-KR" altLang="en-US" dirty="0" smtClean="0"/>
              <a:t>카드분사 독립 회계체계 수립</a:t>
            </a:r>
            <a:endParaRPr lang="en-US" altLang="ko-KR" dirty="0" smtClean="0"/>
          </a:p>
          <a:p>
            <a:pPr marL="536575" lvl="1" indent="-173038">
              <a:spcBef>
                <a:spcPts val="50"/>
              </a:spcBef>
            </a:pPr>
            <a:r>
              <a:rPr lang="ko-KR" altLang="en-US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수익 카드분사 이관 및 </a:t>
            </a:r>
            <a:r>
              <a:rPr lang="ko-KR" altLang="en-US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대행수수료 회계상 </a:t>
            </a:r>
            <a:r>
              <a:rPr lang="ko-KR" altLang="en-US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영</a:t>
            </a:r>
          </a:p>
          <a:p>
            <a:pPr marL="536575" lvl="1" indent="-173038">
              <a:spcBef>
                <a:spcPts val="50"/>
              </a:spcBef>
            </a:pPr>
            <a:r>
              <a:rPr lang="ko-KR" altLang="en-US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의 독립 재무제표 산출</a:t>
            </a:r>
          </a:p>
        </p:txBody>
      </p:sp>
      <p:cxnSp>
        <p:nvCxnSpPr>
          <p:cNvPr id="102" name="직선 연결선 101"/>
          <p:cNvCxnSpPr/>
          <p:nvPr/>
        </p:nvCxnSpPr>
        <p:spPr bwMode="auto">
          <a:xfrm>
            <a:off x="1503318" y="3717032"/>
            <a:ext cx="2160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107" name="화살표: 오각형 106"/>
          <p:cNvSpPr/>
          <p:nvPr/>
        </p:nvSpPr>
        <p:spPr bwMode="auto">
          <a:xfrm rot="5400000">
            <a:off x="662021" y="3746656"/>
            <a:ext cx="702660" cy="816567"/>
          </a:xfrm>
          <a:prstGeom prst="homePlate">
            <a:avLst>
              <a:gd name="adj" fmla="val 1704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lIns="36000" tIns="0" rIns="3600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TextBox 112"/>
          <p:cNvSpPr txBox="1"/>
          <p:nvPr/>
        </p:nvSpPr>
        <p:spPr bwMode="auto">
          <a:xfrm>
            <a:off x="1490266" y="3820308"/>
            <a:ext cx="2300833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점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농축협 카드수수료 체계 도입을 위한 회계모델 필요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분사의 독립 재무제표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미산출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65" name="직선 연결선 64"/>
          <p:cNvCxnSpPr/>
          <p:nvPr/>
        </p:nvCxnSpPr>
        <p:spPr bwMode="auto">
          <a:xfrm>
            <a:off x="1503318" y="4551921"/>
            <a:ext cx="2160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96" name="직사각형 95"/>
          <p:cNvSpPr/>
          <p:nvPr/>
        </p:nvSpPr>
        <p:spPr bwMode="auto">
          <a:xfrm>
            <a:off x="6156168" y="3757812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87704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회계 </a:t>
            </a:r>
            <a:r>
              <a:rPr lang="ko-KR" altLang="en-US" dirty="0"/>
              <a:t>정합성 </a:t>
            </a:r>
            <a:r>
              <a:rPr lang="ko-KR" altLang="en-US" dirty="0" smtClean="0"/>
              <a:t>제고를 위한 영업회계 도입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err="1" smtClean="0"/>
              <a:t>기간계</a:t>
            </a:r>
            <a:r>
              <a:rPr lang="ko-KR" altLang="en-US" dirty="0" smtClean="0"/>
              <a:t> 시스템의 </a:t>
            </a:r>
            <a:r>
              <a:rPr lang="ko-KR" altLang="en-US" dirty="0"/>
              <a:t>회계처리 효율성을 높이고 분개 </a:t>
            </a:r>
            <a:r>
              <a:rPr lang="ko-KR" altLang="en-US" dirty="0" err="1"/>
              <a:t>로직</a:t>
            </a:r>
            <a:r>
              <a:rPr lang="ko-KR" altLang="en-US" dirty="0"/>
              <a:t> </a:t>
            </a:r>
            <a:r>
              <a:rPr lang="ko-KR" altLang="en-US" dirty="0" smtClean="0"/>
              <a:t>및 </a:t>
            </a:r>
            <a:r>
              <a:rPr lang="ko-KR" altLang="en-US" dirty="0"/>
              <a:t>프로세스를 </a:t>
            </a:r>
            <a:r>
              <a:rPr lang="ko-KR" altLang="en-US" dirty="0" smtClean="0"/>
              <a:t>개선하여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카드거래내역과 회계정보간의 데이터 정합성을 </a:t>
            </a:r>
            <a:r>
              <a:rPr lang="ko-KR" altLang="en-US" dirty="0" smtClean="0"/>
              <a:t>높임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업회계 도입을 통합 매출과 회계간의 불일치 제거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발생주의 회계처리 및 매뉴얼 기반 회계처리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거래내역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개내역 간 대사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검증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회계와 상품수익성분석 정보의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사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검증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 신설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변경 요건에 대해 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Rule 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반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개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발생주의 회계처리 및 매뉴얼 기반 회계처리 적용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73741" y="5685178"/>
            <a:ext cx="4355168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개처리 및 분개내역 관리 일원화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매뉴얼기반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회계처리로 수기 회계 처리 오류 최소화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단계별 대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검증으로 거래내역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재무회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회계간 정합성 제고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418244" y="5685178"/>
            <a:ext cx="4344132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각 카드업무시스템에 분개처리 분산 및 현금주의 회계처리로 수익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비용 대응 미흡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기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회계처리로 인한 오류 발생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계정보 대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검증 부재로 회계정보의 정합성 저하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7" name="이등변 삼각형 36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7740858" y="4799163"/>
            <a:ext cx="1771442" cy="79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5283650" y="3268871"/>
            <a:ext cx="970385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업무시스템</a:t>
            </a:r>
          </a:p>
        </p:txBody>
      </p:sp>
      <p:grpSp>
        <p:nvGrpSpPr>
          <p:cNvPr id="39" name="그룹 38"/>
          <p:cNvGrpSpPr/>
          <p:nvPr/>
        </p:nvGrpSpPr>
        <p:grpSpPr>
          <a:xfrm>
            <a:off x="5415657" y="3527283"/>
            <a:ext cx="648072" cy="1576323"/>
            <a:chOff x="5430171" y="3527283"/>
            <a:chExt cx="648072" cy="1728000"/>
          </a:xfrm>
        </p:grpSpPr>
        <p:sp>
          <p:nvSpPr>
            <p:cNvPr id="40" name="직사각형 39"/>
            <p:cNvSpPr/>
            <p:nvPr/>
          </p:nvSpPr>
          <p:spPr bwMode="auto">
            <a:xfrm>
              <a:off x="5430171" y="3527283"/>
              <a:ext cx="648072" cy="172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 bwMode="auto">
            <a:xfrm>
              <a:off x="5484207" y="3558054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</a:t>
              </a:r>
            </a:p>
          </p:txBody>
        </p:sp>
        <p:sp>
          <p:nvSpPr>
            <p:cNvPr id="51" name="직사각형 50"/>
            <p:cNvSpPr/>
            <p:nvPr/>
          </p:nvSpPr>
          <p:spPr bwMode="auto">
            <a:xfrm>
              <a:off x="5484207" y="3836822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매출매입</a:t>
              </a: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5484207" y="4115590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손익배분</a:t>
              </a: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5484207" y="4394358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포인트</a:t>
              </a: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5484207" y="4673126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정산</a:t>
              </a: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5484207" y="4951893"/>
              <a:ext cx="540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결제</a:t>
              </a:r>
            </a:p>
          </p:txBody>
        </p:sp>
      </p:grpSp>
      <p:sp>
        <p:nvSpPr>
          <p:cNvPr id="56" name="직사각형 55"/>
          <p:cNvSpPr/>
          <p:nvPr/>
        </p:nvSpPr>
        <p:spPr bwMode="auto">
          <a:xfrm>
            <a:off x="6386656" y="4799163"/>
            <a:ext cx="1297671" cy="79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 bwMode="auto">
          <a:xfrm>
            <a:off x="6723828" y="5079851"/>
            <a:ext cx="530790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회계</a:t>
            </a:r>
            <a:r>
              <a:rPr lang="en-US" altLang="ko-KR" sz="9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원장</a:t>
            </a:r>
          </a:p>
        </p:txBody>
      </p:sp>
      <p:sp>
        <p:nvSpPr>
          <p:cNvPr id="59" name="TextBox 58"/>
          <p:cNvSpPr txBox="1"/>
          <p:nvPr/>
        </p:nvSpPr>
        <p:spPr bwMode="auto">
          <a:xfrm>
            <a:off x="6366362" y="5369411"/>
            <a:ext cx="1361386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수익성분석시스템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6386657" y="3482831"/>
            <a:ext cx="3125644" cy="11900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 bwMode="auto">
          <a:xfrm>
            <a:off x="6489122" y="3811030"/>
            <a:ext cx="692484" cy="264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거래내역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거래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9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8879310" y="3811030"/>
            <a:ext cx="322686" cy="264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개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Rule</a:t>
            </a:r>
            <a:endParaRPr lang="ko-KR" altLang="en-US" sz="9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63" name="Picture 36" descr="Server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492" y="3509305"/>
            <a:ext cx="338757" cy="353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63"/>
          <p:cNvSpPr txBox="1"/>
          <p:nvPr/>
        </p:nvSpPr>
        <p:spPr bwMode="auto">
          <a:xfrm>
            <a:off x="7487144" y="3828287"/>
            <a:ext cx="902094" cy="264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분개처리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발생주의포함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9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65" name="Picture 28" descr="Database Sm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322" y="3572959"/>
            <a:ext cx="284084" cy="24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8" descr="Database Sm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093" y="3572959"/>
            <a:ext cx="284084" cy="24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8" descr="Database Sm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149" y="4264602"/>
            <a:ext cx="284084" cy="24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Box 67"/>
          <p:cNvSpPr txBox="1"/>
          <p:nvPr/>
        </p:nvSpPr>
        <p:spPr bwMode="auto">
          <a:xfrm>
            <a:off x="7653542" y="4474955"/>
            <a:ext cx="568083" cy="1594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개내역</a:t>
            </a:r>
          </a:p>
        </p:txBody>
      </p:sp>
      <p:sp>
        <p:nvSpPr>
          <p:cNvPr id="69" name="TextBox 68"/>
          <p:cNvSpPr txBox="1"/>
          <p:nvPr/>
        </p:nvSpPr>
        <p:spPr bwMode="auto">
          <a:xfrm>
            <a:off x="6788947" y="4082902"/>
            <a:ext cx="684449" cy="193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대사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검증 </a:t>
            </a:r>
          </a:p>
        </p:txBody>
      </p:sp>
      <p:cxnSp>
        <p:nvCxnSpPr>
          <p:cNvPr id="70" name="직선 화살표 연결선 69"/>
          <p:cNvCxnSpPr>
            <a:stCxn id="64" idx="2"/>
            <a:endCxn id="67" idx="0"/>
          </p:cNvCxnSpPr>
          <p:nvPr/>
        </p:nvCxnSpPr>
        <p:spPr bwMode="auto">
          <a:xfrm>
            <a:off x="7938191" y="4092293"/>
            <a:ext cx="0" cy="1723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1" name="직선 화살표 연결선 70"/>
          <p:cNvCxnSpPr>
            <a:stCxn id="66" idx="1"/>
            <a:endCxn id="63" idx="3"/>
          </p:cNvCxnSpPr>
          <p:nvPr/>
        </p:nvCxnSpPr>
        <p:spPr bwMode="auto">
          <a:xfrm flipH="1" flipV="1">
            <a:off x="8100250" y="3685963"/>
            <a:ext cx="807844" cy="75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2" name="직선 화살표 연결선 71"/>
          <p:cNvCxnSpPr/>
          <p:nvPr/>
        </p:nvCxnSpPr>
        <p:spPr bwMode="auto">
          <a:xfrm>
            <a:off x="7023207" y="3758716"/>
            <a:ext cx="680840" cy="5456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1B3A87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73" name="TextBox 72"/>
          <p:cNvSpPr txBox="1"/>
          <p:nvPr/>
        </p:nvSpPr>
        <p:spPr bwMode="auto">
          <a:xfrm>
            <a:off x="8272854" y="4087570"/>
            <a:ext cx="640613" cy="4482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재무회계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관리회계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대사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검증</a:t>
            </a:r>
          </a:p>
        </p:txBody>
      </p:sp>
      <p:sp>
        <p:nvSpPr>
          <p:cNvPr id="74" name="TextBox 73"/>
          <p:cNvSpPr txBox="1"/>
          <p:nvPr/>
        </p:nvSpPr>
        <p:spPr bwMode="auto">
          <a:xfrm>
            <a:off x="7369103" y="3268871"/>
            <a:ext cx="1061430" cy="208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회계시스템</a:t>
            </a:r>
          </a:p>
        </p:txBody>
      </p:sp>
      <p:pic>
        <p:nvPicPr>
          <p:cNvPr id="75" name="Picture 28" descr="Database Sm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1250" y="4871031"/>
            <a:ext cx="284084" cy="24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8" descr="Database Sm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743" y="4871031"/>
            <a:ext cx="284084" cy="24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TextBox 76"/>
          <p:cNvSpPr txBox="1"/>
          <p:nvPr/>
        </p:nvSpPr>
        <p:spPr bwMode="auto">
          <a:xfrm>
            <a:off x="7812456" y="5076423"/>
            <a:ext cx="554256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</a:t>
            </a:r>
            <a:r>
              <a:rPr lang="en-US" altLang="ko-KR" sz="9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원장</a:t>
            </a:r>
          </a:p>
        </p:txBody>
      </p:sp>
      <p:pic>
        <p:nvPicPr>
          <p:cNvPr id="78" name="Picture 22" descr="group policy user&amp;com_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6746" y="4828396"/>
            <a:ext cx="37659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TextBox 78"/>
          <p:cNvSpPr txBox="1"/>
          <p:nvPr/>
        </p:nvSpPr>
        <p:spPr bwMode="auto">
          <a:xfrm>
            <a:off x="8827595" y="5106577"/>
            <a:ext cx="689860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매뉴얼 기반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수기입력</a:t>
            </a:r>
          </a:p>
        </p:txBody>
      </p:sp>
      <p:cxnSp>
        <p:nvCxnSpPr>
          <p:cNvPr id="80" name="직선 화살표 연결선 79"/>
          <p:cNvCxnSpPr>
            <a:stCxn id="78" idx="1"/>
            <a:endCxn id="76" idx="3"/>
          </p:cNvCxnSpPr>
          <p:nvPr/>
        </p:nvCxnSpPr>
        <p:spPr bwMode="auto">
          <a:xfrm flipH="1">
            <a:off x="8234827" y="4990396"/>
            <a:ext cx="761919" cy="11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1" name="원형 화살표 80"/>
          <p:cNvSpPr/>
          <p:nvPr/>
        </p:nvSpPr>
        <p:spPr bwMode="auto">
          <a:xfrm rot="7550930">
            <a:off x="7043093" y="4600678"/>
            <a:ext cx="216000" cy="216000"/>
          </a:xfrm>
          <a:prstGeom prst="circularArrow">
            <a:avLst>
              <a:gd name="adj1" fmla="val 12500"/>
              <a:gd name="adj2" fmla="val 1134735"/>
              <a:gd name="adj3" fmla="val 20457681"/>
              <a:gd name="adj4" fmla="val 1286674"/>
              <a:gd name="adj5" fmla="val 125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 bwMode="auto">
          <a:xfrm>
            <a:off x="8063785" y="5369411"/>
            <a:ext cx="1136792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시스템</a:t>
            </a:r>
          </a:p>
        </p:txBody>
      </p:sp>
      <p:cxnSp>
        <p:nvCxnSpPr>
          <p:cNvPr id="83" name="꺾인 연결선 82"/>
          <p:cNvCxnSpPr>
            <a:stCxn id="68" idx="1"/>
            <a:endCxn id="75" idx="0"/>
          </p:cNvCxnSpPr>
          <p:nvPr/>
        </p:nvCxnSpPr>
        <p:spPr bwMode="auto">
          <a:xfrm rot="10800000" flipV="1">
            <a:off x="7003292" y="4554679"/>
            <a:ext cx="650250" cy="31635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rgbClr val="1B3A87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4" name="직선 화살표 연결선 83"/>
          <p:cNvCxnSpPr/>
          <p:nvPr/>
        </p:nvCxnSpPr>
        <p:spPr bwMode="auto">
          <a:xfrm flipH="1" flipV="1">
            <a:off x="7150393" y="5012621"/>
            <a:ext cx="80629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5" name="직선 화살표 연결선 84"/>
          <p:cNvCxnSpPr>
            <a:endCxn id="65" idx="1"/>
          </p:cNvCxnSpPr>
          <p:nvPr/>
        </p:nvCxnSpPr>
        <p:spPr bwMode="auto">
          <a:xfrm flipV="1">
            <a:off x="6063729" y="3693465"/>
            <a:ext cx="629593" cy="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6" name="원형 화살표 85"/>
          <p:cNvSpPr/>
          <p:nvPr/>
        </p:nvSpPr>
        <p:spPr bwMode="auto">
          <a:xfrm rot="7550930">
            <a:off x="8072705" y="4124858"/>
            <a:ext cx="216000" cy="216000"/>
          </a:xfrm>
          <a:prstGeom prst="circularArrow">
            <a:avLst>
              <a:gd name="adj1" fmla="val 12500"/>
              <a:gd name="adj2" fmla="val 1134735"/>
              <a:gd name="adj3" fmla="val 20457681"/>
              <a:gd name="adj4" fmla="val 1286674"/>
              <a:gd name="adj5" fmla="val 125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8" name="꺾인 연결선 127"/>
          <p:cNvCxnSpPr>
            <a:stCxn id="68" idx="2"/>
            <a:endCxn id="76" idx="0"/>
          </p:cNvCxnSpPr>
          <p:nvPr/>
        </p:nvCxnSpPr>
        <p:spPr bwMode="auto">
          <a:xfrm rot="16200000" flipH="1">
            <a:off x="7896870" y="4675115"/>
            <a:ext cx="236629" cy="155201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0" name="TextBox 129"/>
          <p:cNvSpPr txBox="1"/>
          <p:nvPr/>
        </p:nvSpPr>
        <p:spPr bwMode="auto">
          <a:xfrm>
            <a:off x="504137" y="3268871"/>
            <a:ext cx="970385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업무시스템</a:t>
            </a:r>
          </a:p>
        </p:txBody>
      </p:sp>
      <p:sp>
        <p:nvSpPr>
          <p:cNvPr id="131" name="TextBox 130"/>
          <p:cNvSpPr txBox="1"/>
          <p:nvPr/>
        </p:nvSpPr>
        <p:spPr bwMode="auto">
          <a:xfrm>
            <a:off x="2402260" y="3268871"/>
            <a:ext cx="970385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시스템</a:t>
            </a:r>
          </a:p>
        </p:txBody>
      </p:sp>
      <p:sp>
        <p:nvSpPr>
          <p:cNvPr id="132" name="TextBox 131"/>
          <p:cNvSpPr txBox="1"/>
          <p:nvPr/>
        </p:nvSpPr>
        <p:spPr bwMode="auto">
          <a:xfrm>
            <a:off x="3739672" y="3564135"/>
            <a:ext cx="713904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수익성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0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00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시스템</a:t>
            </a:r>
          </a:p>
        </p:txBody>
      </p:sp>
      <p:grpSp>
        <p:nvGrpSpPr>
          <p:cNvPr id="133" name="그룹 132"/>
          <p:cNvGrpSpPr/>
          <p:nvPr/>
        </p:nvGrpSpPr>
        <p:grpSpPr>
          <a:xfrm>
            <a:off x="599052" y="3573016"/>
            <a:ext cx="3960000" cy="1764000"/>
            <a:chOff x="541471" y="3724885"/>
            <a:chExt cx="3763457" cy="1576323"/>
          </a:xfrm>
        </p:grpSpPr>
        <p:grpSp>
          <p:nvGrpSpPr>
            <p:cNvPr id="134" name="그룹 133"/>
            <p:cNvGrpSpPr/>
            <p:nvPr/>
          </p:nvGrpSpPr>
          <p:grpSpPr>
            <a:xfrm>
              <a:off x="541471" y="3724885"/>
              <a:ext cx="648072" cy="1576323"/>
              <a:chOff x="5430171" y="3527283"/>
              <a:chExt cx="648072" cy="1728000"/>
            </a:xfrm>
          </p:grpSpPr>
          <p:sp>
            <p:nvSpPr>
              <p:cNvPr id="147" name="직사각형 146"/>
              <p:cNvSpPr/>
              <p:nvPr/>
            </p:nvSpPr>
            <p:spPr bwMode="auto">
              <a:xfrm>
                <a:off x="5430171" y="3527283"/>
                <a:ext cx="648072" cy="1728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8" name="직사각형 147"/>
              <p:cNvSpPr/>
              <p:nvPr/>
            </p:nvSpPr>
            <p:spPr bwMode="auto">
              <a:xfrm>
                <a:off x="5484207" y="3558054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승인</a:t>
                </a:r>
              </a:p>
            </p:txBody>
          </p:sp>
          <p:sp>
            <p:nvSpPr>
              <p:cNvPr id="149" name="직사각형 148"/>
              <p:cNvSpPr/>
              <p:nvPr/>
            </p:nvSpPr>
            <p:spPr bwMode="auto">
              <a:xfrm>
                <a:off x="5484207" y="3836822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0" tIns="36000" rIns="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매출매입</a:t>
                </a:r>
              </a:p>
            </p:txBody>
          </p:sp>
          <p:sp>
            <p:nvSpPr>
              <p:cNvPr id="150" name="직사각형 149"/>
              <p:cNvSpPr/>
              <p:nvPr/>
            </p:nvSpPr>
            <p:spPr bwMode="auto">
              <a:xfrm>
                <a:off x="5484207" y="4115590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손익배분</a:t>
                </a:r>
              </a:p>
            </p:txBody>
          </p:sp>
          <p:sp>
            <p:nvSpPr>
              <p:cNvPr id="151" name="직사각형 150"/>
              <p:cNvSpPr/>
              <p:nvPr/>
            </p:nvSpPr>
            <p:spPr bwMode="auto">
              <a:xfrm>
                <a:off x="5484207" y="4394358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포인트</a:t>
                </a:r>
              </a:p>
            </p:txBody>
          </p:sp>
          <p:sp>
            <p:nvSpPr>
              <p:cNvPr id="152" name="직사각형 151"/>
              <p:cNvSpPr/>
              <p:nvPr/>
            </p:nvSpPr>
            <p:spPr bwMode="auto">
              <a:xfrm>
                <a:off x="5484207" y="4673126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제휴정산</a:t>
                </a:r>
              </a:p>
            </p:txBody>
          </p:sp>
          <p:sp>
            <p:nvSpPr>
              <p:cNvPr id="153" name="직사각형 152"/>
              <p:cNvSpPr/>
              <p:nvPr/>
            </p:nvSpPr>
            <p:spPr bwMode="auto">
              <a:xfrm>
                <a:off x="5484207" y="4951893"/>
                <a:ext cx="540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0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결제</a:t>
                </a:r>
              </a:p>
            </p:txBody>
          </p:sp>
        </p:grpSp>
        <p:sp>
          <p:nvSpPr>
            <p:cNvPr id="135" name="TextBox 134"/>
            <p:cNvSpPr txBox="1"/>
            <p:nvPr/>
          </p:nvSpPr>
          <p:spPr bwMode="auto">
            <a:xfrm>
              <a:off x="3610826" y="4415275"/>
              <a:ext cx="530790" cy="3497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리회계</a:t>
              </a:r>
              <a:r>
                <a:rPr lang="en-US" altLang="ko-KR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장</a:t>
              </a:r>
            </a:p>
          </p:txBody>
        </p:sp>
        <p:pic>
          <p:nvPicPr>
            <p:cNvPr id="136" name="Picture 28" descr="Database Sm"/>
            <p:cNvPicPr preferRelativeResize="0"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8248" y="4206455"/>
              <a:ext cx="284084" cy="241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7" name="Picture 28" descr="Database Sm"/>
            <p:cNvPicPr preferRelativeResize="0"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1132" y="4655684"/>
              <a:ext cx="284084" cy="241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8" name="TextBox 137"/>
            <p:cNvSpPr txBox="1"/>
            <p:nvPr/>
          </p:nvSpPr>
          <p:spPr bwMode="auto">
            <a:xfrm>
              <a:off x="2442845" y="4861076"/>
              <a:ext cx="554256" cy="3497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카드회계</a:t>
              </a:r>
              <a:r>
                <a:rPr lang="en-US" altLang="ko-KR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장</a:t>
              </a:r>
            </a:p>
          </p:txBody>
        </p:sp>
        <p:pic>
          <p:nvPicPr>
            <p:cNvPr id="139" name="Picture 22" descr="group policy user&amp;com_s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4505" y="3794318"/>
              <a:ext cx="376590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0" name="TextBox 139"/>
            <p:cNvSpPr txBox="1"/>
            <p:nvPr/>
          </p:nvSpPr>
          <p:spPr bwMode="auto">
            <a:xfrm>
              <a:off x="2401384" y="4072499"/>
              <a:ext cx="657800" cy="3497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수기입력</a:t>
              </a:r>
              <a:r>
                <a:rPr lang="en-US" altLang="ko-KR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</a:br>
              <a:r>
                <a:rPr lang="en-US" altLang="ko-KR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오류 발생</a:t>
              </a:r>
              <a:r>
                <a:rPr lang="en-US" altLang="ko-KR" sz="900" i="1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)</a:t>
              </a: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2294887" y="3733195"/>
              <a:ext cx="879335" cy="1565928"/>
            </a:xfrm>
            <a:prstGeom prst="rect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2" name="직선 화살표 연결선 141"/>
            <p:cNvCxnSpPr>
              <a:stCxn id="140" idx="2"/>
              <a:endCxn id="137" idx="0"/>
            </p:cNvCxnSpPr>
            <p:nvPr/>
          </p:nvCxnSpPr>
          <p:spPr bwMode="auto">
            <a:xfrm flipH="1">
              <a:off x="2723174" y="4422201"/>
              <a:ext cx="7110" cy="23348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rgbClr val="C00000"/>
              </a:solidFill>
              <a:prstDash val="sysDot"/>
              <a:round/>
              <a:headEnd type="none" w="sm" len="sm"/>
              <a:tailEnd type="triangle"/>
            </a:ln>
            <a:effectLst/>
          </p:spPr>
        </p:cxnSp>
        <p:sp>
          <p:nvSpPr>
            <p:cNvPr id="143" name="직사각형 142"/>
            <p:cNvSpPr/>
            <p:nvPr/>
          </p:nvSpPr>
          <p:spPr bwMode="auto">
            <a:xfrm>
              <a:off x="3425593" y="4058589"/>
              <a:ext cx="879335" cy="773413"/>
            </a:xfrm>
            <a:prstGeom prst="rect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4" name="직선 화살표 연결선 143"/>
            <p:cNvCxnSpPr>
              <a:stCxn id="141" idx="3"/>
            </p:cNvCxnSpPr>
            <p:nvPr/>
          </p:nvCxnSpPr>
          <p:spPr bwMode="auto">
            <a:xfrm flipV="1">
              <a:off x="3174222" y="4515852"/>
              <a:ext cx="251371" cy="30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45" name="직선 화살표 연결선 144"/>
            <p:cNvCxnSpPr>
              <a:stCxn id="147" idx="3"/>
            </p:cNvCxnSpPr>
            <p:nvPr/>
          </p:nvCxnSpPr>
          <p:spPr bwMode="auto">
            <a:xfrm>
              <a:off x="1189543" y="4513047"/>
              <a:ext cx="1105344" cy="280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46" name="직사각형 145"/>
            <p:cNvSpPr/>
            <p:nvPr/>
          </p:nvSpPr>
          <p:spPr bwMode="auto">
            <a:xfrm>
              <a:off x="1437412" y="3726073"/>
              <a:ext cx="605484" cy="15730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영업회계시스템 부재</a:t>
              </a:r>
              <a:endParaRPr kumimoji="1" lang="ko-KR" altLang="en-US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7" name="TextBox 56"/>
          <p:cNvSpPr txBox="1"/>
          <p:nvPr/>
        </p:nvSpPr>
        <p:spPr bwMode="auto">
          <a:xfrm>
            <a:off x="7194492" y="4635227"/>
            <a:ext cx="625740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대사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검증 </a:t>
            </a:r>
          </a:p>
        </p:txBody>
      </p:sp>
      <p:grpSp>
        <p:nvGrpSpPr>
          <p:cNvPr id="110" name="그룹 10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9" name="그룹 11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141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합성 제고를 위한 영업회계 도입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처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효율성을 높이고 분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거래내역과 회계정보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합성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높이는 방향으로 추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방안 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3" name="직사각형 82"/>
          <p:cNvSpPr/>
          <p:nvPr/>
        </p:nvSpPr>
        <p:spPr bwMode="gray">
          <a:xfrm>
            <a:off x="398464" y="2712236"/>
            <a:ext cx="1854200" cy="30930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계정보 정합성 개선을 위한 영업회계 도입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gray">
          <a:xfrm>
            <a:off x="2519364" y="2712237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상품수익성 분개 </a:t>
            </a:r>
            <a:r>
              <a:rPr lang="ko-KR" altLang="en-US" sz="12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석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gray">
          <a:xfrm>
            <a:off x="2519364" y="3092384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 분개 방식 결정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gray">
          <a:xfrm>
            <a:off x="2519364" y="3472531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 원장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7" name="꺾인 연결선 86"/>
          <p:cNvCxnSpPr>
            <a:stCxn id="83" idx="3"/>
            <a:endCxn id="84" idx="1"/>
          </p:cNvCxnSpPr>
          <p:nvPr/>
        </p:nvCxnSpPr>
        <p:spPr bwMode="gray">
          <a:xfrm flipV="1">
            <a:off x="2252664" y="2856237"/>
            <a:ext cx="266700" cy="140251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8" name="꺾인 연결선 96"/>
          <p:cNvCxnSpPr>
            <a:stCxn id="83" idx="3"/>
            <a:endCxn id="85" idx="1"/>
          </p:cNvCxnSpPr>
          <p:nvPr/>
        </p:nvCxnSpPr>
        <p:spPr bwMode="gray">
          <a:xfrm flipV="1">
            <a:off x="2252664" y="3236384"/>
            <a:ext cx="266700" cy="102236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9" name="꺾인 연결선 88"/>
          <p:cNvCxnSpPr>
            <a:stCxn id="83" idx="3"/>
            <a:endCxn id="86" idx="1"/>
          </p:cNvCxnSpPr>
          <p:nvPr/>
        </p:nvCxnSpPr>
        <p:spPr bwMode="gray">
          <a:xfrm flipV="1">
            <a:off x="2252664" y="3616531"/>
            <a:ext cx="266700" cy="64221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90" name="직사각형 89"/>
          <p:cNvSpPr/>
          <p:nvPr/>
        </p:nvSpPr>
        <p:spPr bwMode="gray">
          <a:xfrm>
            <a:off x="6095999" y="3105081"/>
            <a:ext cx="3420000" cy="270018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36000" rIns="36000" bIns="36000" rtlCol="0" anchor="ctr"/>
          <a:lstStyle/>
          <a:p>
            <a:pPr marL="171450" indent="-171450" algn="l" latinLnBrk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I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 내에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개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Rule)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 포함 여부 결정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 latinLnBrk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정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잔액 대사 수행 여부 및 대사 차액 처리 방향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 latinLnBrk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/S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에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/L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사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증 프로세스 도입 및 영업회계 수행</a:t>
            </a:r>
            <a:endParaRPr lang="en-US" altLang="ko-KR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0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회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수익성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원천을 영업회계로 일원화 추진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46075" indent="-171450" algn="l" latinLnBrk="0">
              <a:spcBef>
                <a:spcPts val="300"/>
              </a:spcBef>
              <a:spcAft>
                <a:spcPts val="0"/>
              </a:spcAft>
              <a:buFontTx/>
              <a:buChar char="-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 필요정보 외에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 분석을 위한 비용 귀속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부 필요 속성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적재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latinLnBrk="0">
              <a:spcBef>
                <a:spcPts val="300"/>
              </a:spcBef>
              <a:spcAft>
                <a:spcPts val="300"/>
              </a:spcAft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이등변 삼각형 93"/>
          <p:cNvSpPr/>
          <p:nvPr/>
        </p:nvSpPr>
        <p:spPr bwMode="auto">
          <a:xfrm rot="5400000">
            <a:off x="5406831" y="4088794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398464" y="2123721"/>
            <a:ext cx="1854000" cy="288147"/>
            <a:chOff x="398464" y="2123721"/>
            <a:chExt cx="1854000" cy="288147"/>
          </a:xfrm>
        </p:grpSpPr>
        <p:sp>
          <p:nvSpPr>
            <p:cNvPr id="91" name="TextBox 90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 과제</a:t>
              </a:r>
            </a:p>
          </p:txBody>
        </p:sp>
        <p:cxnSp>
          <p:nvCxnSpPr>
            <p:cNvPr id="95" name="직선 연결선 94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96" name="직사각형 95"/>
          <p:cNvSpPr/>
          <p:nvPr/>
        </p:nvSpPr>
        <p:spPr bwMode="gray">
          <a:xfrm>
            <a:off x="2519364" y="3852678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시간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량거래 회계처리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gray">
          <a:xfrm>
            <a:off x="2519364" y="4232825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FRS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계처리 설계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gray">
          <a:xfrm>
            <a:off x="2519364" y="4993119"/>
            <a:ext cx="3204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내역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회계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사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증 설계</a:t>
            </a:r>
            <a:endParaRPr lang="ko-KR" altLang="en-US" sz="1200" b="0" baseline="300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gray">
          <a:xfrm>
            <a:off x="2519364" y="5517264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 분개엔진 등 기능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0" name="꺾인 연결선 99"/>
          <p:cNvCxnSpPr>
            <a:stCxn id="83" idx="3"/>
            <a:endCxn id="96" idx="1"/>
          </p:cNvCxnSpPr>
          <p:nvPr/>
        </p:nvCxnSpPr>
        <p:spPr bwMode="gray">
          <a:xfrm flipV="1">
            <a:off x="2252664" y="3996678"/>
            <a:ext cx="266700" cy="2620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1" name="꺾인 연결선 100"/>
          <p:cNvCxnSpPr>
            <a:stCxn id="83" idx="3"/>
            <a:endCxn id="97" idx="1"/>
          </p:cNvCxnSpPr>
          <p:nvPr/>
        </p:nvCxnSpPr>
        <p:spPr bwMode="gray">
          <a:xfrm>
            <a:off x="2252664" y="4258750"/>
            <a:ext cx="266700" cy="11807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2" name="꺾인 연결선 101"/>
          <p:cNvCxnSpPr>
            <a:stCxn id="83" idx="3"/>
            <a:endCxn id="98" idx="1"/>
          </p:cNvCxnSpPr>
          <p:nvPr/>
        </p:nvCxnSpPr>
        <p:spPr bwMode="gray">
          <a:xfrm>
            <a:off x="2252664" y="4258750"/>
            <a:ext cx="266700" cy="95036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3" name="꺾인 연결선 102"/>
          <p:cNvCxnSpPr>
            <a:stCxn id="83" idx="3"/>
            <a:endCxn id="99" idx="1"/>
          </p:cNvCxnSpPr>
          <p:nvPr/>
        </p:nvCxnSpPr>
        <p:spPr bwMode="gray">
          <a:xfrm>
            <a:off x="2252664" y="4258750"/>
            <a:ext cx="266700" cy="140251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4" name="직사각형 103"/>
          <p:cNvSpPr/>
          <p:nvPr/>
        </p:nvSpPr>
        <p:spPr bwMode="gray">
          <a:xfrm>
            <a:off x="2519364" y="4612972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회계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처리 설계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5" name="꺾인 연결선 104"/>
          <p:cNvCxnSpPr>
            <a:stCxn id="83" idx="3"/>
            <a:endCxn id="104" idx="1"/>
          </p:cNvCxnSpPr>
          <p:nvPr/>
        </p:nvCxnSpPr>
        <p:spPr bwMode="gray">
          <a:xfrm>
            <a:off x="2252664" y="4258750"/>
            <a:ext cx="266700" cy="49822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63" name="그룹 6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2" name="그룹 7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45" name="그룹 44"/>
          <p:cNvGrpSpPr/>
          <p:nvPr/>
        </p:nvGrpSpPr>
        <p:grpSpPr>
          <a:xfrm>
            <a:off x="2519364" y="2123721"/>
            <a:ext cx="3204000" cy="288147"/>
            <a:chOff x="398464" y="2123721"/>
            <a:chExt cx="1854000" cy="288147"/>
          </a:xfrm>
        </p:grpSpPr>
        <p:sp>
          <p:nvSpPr>
            <p:cNvPr id="46" name="TextBox 45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부 추진 사항</a:t>
              </a:r>
            </a:p>
          </p:txBody>
        </p:sp>
        <p:cxnSp>
          <p:nvCxnSpPr>
            <p:cNvPr id="48" name="직선 연결선 47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49" name="그룹 48"/>
          <p:cNvGrpSpPr/>
          <p:nvPr/>
        </p:nvGrpSpPr>
        <p:grpSpPr>
          <a:xfrm>
            <a:off x="6096000" y="2123721"/>
            <a:ext cx="3321496" cy="288147"/>
            <a:chOff x="398464" y="2123721"/>
            <a:chExt cx="1854000" cy="288147"/>
          </a:xfrm>
        </p:grpSpPr>
        <p:sp>
          <p:nvSpPr>
            <p:cNvPr id="50" name="TextBox 49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검토 항목</a:t>
              </a:r>
              <a:endPara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1" name="직선 연결선 50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94347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합성 제고를 위한 영업회계 도입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분석을 기반으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시스템의 구조와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능 설계를 위한 핵심 내용에 집중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에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행함 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roach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0" name="오각형 59"/>
          <p:cNvSpPr/>
          <p:nvPr/>
        </p:nvSpPr>
        <p:spPr bwMode="gray">
          <a:xfrm>
            <a:off x="803633" y="1973943"/>
            <a:ext cx="1584321" cy="310439"/>
          </a:xfrm>
          <a:prstGeom prst="homePlate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100" dirty="0" smtClean="0"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61" name="오각형 60"/>
          <p:cNvSpPr/>
          <p:nvPr/>
        </p:nvSpPr>
        <p:spPr bwMode="gray">
          <a:xfrm>
            <a:off x="2405789" y="1973943"/>
            <a:ext cx="1032434" cy="310439"/>
          </a:xfrm>
          <a:prstGeom prst="homePlate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</a:t>
            </a:r>
          </a:p>
        </p:txBody>
      </p:sp>
      <p:sp>
        <p:nvSpPr>
          <p:cNvPr id="63" name="오각형 62"/>
          <p:cNvSpPr/>
          <p:nvPr/>
        </p:nvSpPr>
        <p:spPr bwMode="gray">
          <a:xfrm>
            <a:off x="3456057" y="1973943"/>
            <a:ext cx="1572425" cy="310439"/>
          </a:xfrm>
          <a:prstGeom prst="homePlate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100" dirty="0" smtClean="0">
                <a:latin typeface="맑은 고딕" pitchFamily="50" charset="-127"/>
                <a:ea typeface="맑은 고딕" pitchFamily="50" charset="-127"/>
              </a:rPr>
              <a:t>설계</a:t>
            </a:r>
          </a:p>
        </p:txBody>
      </p:sp>
      <p:sp>
        <p:nvSpPr>
          <p:cNvPr id="41" name="오각형 40"/>
          <p:cNvSpPr/>
          <p:nvPr/>
        </p:nvSpPr>
        <p:spPr bwMode="gray">
          <a:xfrm>
            <a:off x="286432" y="2760587"/>
            <a:ext cx="434057" cy="1462311"/>
          </a:xfrm>
          <a:prstGeom prst="homePlate">
            <a:avLst>
              <a:gd name="adj" fmla="val 17789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스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오각형 41"/>
          <p:cNvSpPr/>
          <p:nvPr/>
        </p:nvSpPr>
        <p:spPr bwMode="gray">
          <a:xfrm>
            <a:off x="286432" y="4670225"/>
            <a:ext cx="434057" cy="1462311"/>
          </a:xfrm>
          <a:prstGeom prst="homePlate">
            <a:avLst>
              <a:gd name="adj" fmla="val 15474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건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</a:t>
            </a:r>
          </a:p>
        </p:txBody>
      </p:sp>
      <p:sp>
        <p:nvSpPr>
          <p:cNvPr id="43" name="직사각형 42"/>
          <p:cNvSpPr/>
          <p:nvPr/>
        </p:nvSpPr>
        <p:spPr bwMode="gray">
          <a:xfrm>
            <a:off x="803633" y="2760586"/>
            <a:ext cx="945273" cy="146231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 및 관련 시스템 분석</a:t>
            </a:r>
          </a:p>
        </p:txBody>
      </p:sp>
      <p:sp>
        <p:nvSpPr>
          <p:cNvPr id="44" name="직사각형 43"/>
          <p:cNvSpPr/>
          <p:nvPr/>
        </p:nvSpPr>
        <p:spPr bwMode="gray">
          <a:xfrm>
            <a:off x="1865885" y="2760586"/>
            <a:ext cx="453909" cy="146231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슈 및 개선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회 분석</a:t>
            </a:r>
          </a:p>
        </p:txBody>
      </p:sp>
      <p:sp>
        <p:nvSpPr>
          <p:cNvPr id="45" name="직사각형 44"/>
          <p:cNvSpPr/>
          <p:nvPr/>
        </p:nvSpPr>
        <p:spPr bwMode="gray">
          <a:xfrm>
            <a:off x="2436773" y="2760586"/>
            <a:ext cx="902307" cy="146231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성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</a:t>
            </a:r>
            <a:endParaRPr lang="ko-KR" altLang="en-US" sz="11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gray">
          <a:xfrm>
            <a:off x="3456058" y="2760587"/>
            <a:ext cx="1572426" cy="146231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 시스템 구조 설계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gray">
          <a:xfrm>
            <a:off x="803634" y="4670225"/>
            <a:ext cx="2652423" cy="14616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개 </a:t>
            </a: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Rule)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석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 분개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리 및 오류 파악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gray">
          <a:xfrm>
            <a:off x="3585453" y="4670225"/>
            <a:ext cx="1443030" cy="14616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엔진 기능 설계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9" name="꺾인 연결선 69"/>
          <p:cNvCxnSpPr>
            <a:stCxn id="57" idx="3"/>
            <a:endCxn id="58" idx="1"/>
          </p:cNvCxnSpPr>
          <p:nvPr/>
        </p:nvCxnSpPr>
        <p:spPr bwMode="gray">
          <a:xfrm>
            <a:off x="3456057" y="5401032"/>
            <a:ext cx="129396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5" name="직선 화살표 연결선 64"/>
          <p:cNvCxnSpPr>
            <a:stCxn id="43" idx="3"/>
          </p:cNvCxnSpPr>
          <p:nvPr/>
        </p:nvCxnSpPr>
        <p:spPr bwMode="gray">
          <a:xfrm>
            <a:off x="1748906" y="3491741"/>
            <a:ext cx="11697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6" name="직선 화살표 연결선 65"/>
          <p:cNvCxnSpPr>
            <a:stCxn id="44" idx="3"/>
          </p:cNvCxnSpPr>
          <p:nvPr/>
        </p:nvCxnSpPr>
        <p:spPr bwMode="gray">
          <a:xfrm>
            <a:off x="2319795" y="3491741"/>
            <a:ext cx="11697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7" name="직선 화살표 연결선 66"/>
          <p:cNvCxnSpPr>
            <a:stCxn id="45" idx="3"/>
          </p:cNvCxnSpPr>
          <p:nvPr/>
        </p:nvCxnSpPr>
        <p:spPr bwMode="gray">
          <a:xfrm>
            <a:off x="3339080" y="3491741"/>
            <a:ext cx="116978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8" name="직선 화살표 연결선 200"/>
          <p:cNvCxnSpPr/>
          <p:nvPr/>
        </p:nvCxnSpPr>
        <p:spPr bwMode="gray">
          <a:xfrm rot="5400000" flipH="1" flipV="1">
            <a:off x="2980851" y="3436939"/>
            <a:ext cx="418299" cy="199021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9" name="꺾인 연결선 68"/>
          <p:cNvCxnSpPr>
            <a:stCxn id="43" idx="2"/>
          </p:cNvCxnSpPr>
          <p:nvPr/>
        </p:nvCxnSpPr>
        <p:spPr bwMode="gray">
          <a:xfrm rot="16200000" flipH="1">
            <a:off x="1479394" y="4019773"/>
            <a:ext cx="447328" cy="853576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70" name="직선 화살표 연결선 69"/>
          <p:cNvCxnSpPr/>
          <p:nvPr/>
        </p:nvCxnSpPr>
        <p:spPr bwMode="gray">
          <a:xfrm>
            <a:off x="4305300" y="4241800"/>
            <a:ext cx="1668" cy="4284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71" name="그룹 70"/>
          <p:cNvGrpSpPr/>
          <p:nvPr/>
        </p:nvGrpSpPr>
        <p:grpSpPr>
          <a:xfrm>
            <a:off x="803633" y="2359516"/>
            <a:ext cx="4224850" cy="259413"/>
            <a:chOff x="1177924" y="2175349"/>
            <a:chExt cx="5183998" cy="259413"/>
          </a:xfrm>
        </p:grpSpPr>
        <p:cxnSp>
          <p:nvCxnSpPr>
            <p:cNvPr id="72" name="직선 연결선 71"/>
            <p:cNvCxnSpPr/>
            <p:nvPr/>
          </p:nvCxnSpPr>
          <p:spPr bwMode="gray">
            <a:xfrm>
              <a:off x="1177924" y="2365215"/>
              <a:ext cx="518399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3" name="직선 연결선 72"/>
            <p:cNvCxnSpPr/>
            <p:nvPr/>
          </p:nvCxnSpPr>
          <p:spPr bwMode="gray">
            <a:xfrm>
              <a:off x="1177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4" name="직선 연결선 73"/>
            <p:cNvCxnSpPr/>
            <p:nvPr/>
          </p:nvCxnSpPr>
          <p:spPr bwMode="gray">
            <a:xfrm>
              <a:off x="1753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5" name="직선 연결선 74"/>
            <p:cNvCxnSpPr/>
            <p:nvPr/>
          </p:nvCxnSpPr>
          <p:spPr bwMode="gray">
            <a:xfrm>
              <a:off x="2329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6" name="직선 연결선 75"/>
            <p:cNvCxnSpPr/>
            <p:nvPr/>
          </p:nvCxnSpPr>
          <p:spPr bwMode="gray">
            <a:xfrm>
              <a:off x="2905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7" name="직선 연결선 76"/>
            <p:cNvCxnSpPr/>
            <p:nvPr/>
          </p:nvCxnSpPr>
          <p:spPr bwMode="gray">
            <a:xfrm>
              <a:off x="3481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8" name="직선 연결선 77"/>
            <p:cNvCxnSpPr/>
            <p:nvPr/>
          </p:nvCxnSpPr>
          <p:spPr bwMode="gray">
            <a:xfrm>
              <a:off x="4057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79" name="직선 연결선 78"/>
            <p:cNvCxnSpPr/>
            <p:nvPr/>
          </p:nvCxnSpPr>
          <p:spPr bwMode="gray">
            <a:xfrm>
              <a:off x="4633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0" name="직선 연결선 79"/>
            <p:cNvCxnSpPr/>
            <p:nvPr/>
          </p:nvCxnSpPr>
          <p:spPr bwMode="gray">
            <a:xfrm>
              <a:off x="5209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1" name="직선 연결선 80"/>
            <p:cNvCxnSpPr/>
            <p:nvPr/>
          </p:nvCxnSpPr>
          <p:spPr bwMode="gray">
            <a:xfrm>
              <a:off x="6361922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82" name="TextBox 81"/>
            <p:cNvSpPr txBox="1"/>
            <p:nvPr/>
          </p:nvSpPr>
          <p:spPr bwMode="gray">
            <a:xfrm>
              <a:off x="1288266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1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6" name="TextBox 105"/>
            <p:cNvSpPr txBox="1"/>
            <p:nvPr/>
          </p:nvSpPr>
          <p:spPr bwMode="gray">
            <a:xfrm>
              <a:off x="1871309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2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TextBox 106"/>
            <p:cNvSpPr txBox="1"/>
            <p:nvPr/>
          </p:nvSpPr>
          <p:spPr bwMode="gray">
            <a:xfrm>
              <a:off x="2454351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3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TextBox 107"/>
            <p:cNvSpPr txBox="1"/>
            <p:nvPr/>
          </p:nvSpPr>
          <p:spPr bwMode="gray">
            <a:xfrm>
              <a:off x="3037395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4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TextBox 108"/>
            <p:cNvSpPr txBox="1"/>
            <p:nvPr/>
          </p:nvSpPr>
          <p:spPr bwMode="gray">
            <a:xfrm>
              <a:off x="3620438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5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TextBox 109"/>
            <p:cNvSpPr txBox="1"/>
            <p:nvPr/>
          </p:nvSpPr>
          <p:spPr bwMode="gray">
            <a:xfrm>
              <a:off x="4203481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6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TextBox 110"/>
            <p:cNvSpPr txBox="1"/>
            <p:nvPr/>
          </p:nvSpPr>
          <p:spPr bwMode="gray">
            <a:xfrm>
              <a:off x="4742074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7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2" name="TextBox 111"/>
            <p:cNvSpPr txBox="1"/>
            <p:nvPr/>
          </p:nvSpPr>
          <p:spPr bwMode="gray">
            <a:xfrm>
              <a:off x="5952612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9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TextBox 112"/>
            <p:cNvSpPr txBox="1"/>
            <p:nvPr/>
          </p:nvSpPr>
          <p:spPr bwMode="gray">
            <a:xfrm>
              <a:off x="5312417" y="2175349"/>
              <a:ext cx="288739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8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4" name="직선 연결선 113"/>
            <p:cNvCxnSpPr/>
            <p:nvPr/>
          </p:nvCxnSpPr>
          <p:spPr bwMode="gray">
            <a:xfrm>
              <a:off x="5785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2107375"/>
              </p:ext>
            </p:extLst>
          </p:nvPr>
        </p:nvGraphicFramePr>
        <p:xfrm>
          <a:off x="5268334" y="1985340"/>
          <a:ext cx="4365187" cy="4147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6254"/>
                <a:gridCol w="3088933"/>
              </a:tblGrid>
              <a:tr h="3079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업무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68771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s-Is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영업회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세스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 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련 시스템 분석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개 처리 시스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시스템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카드회계시스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시스템간의 회계처리 프로세스 분석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→영업회계→카드회계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시스템 → 시점결산의 회계 프로세스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9276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슈 및 개선기회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에 따른 회계 프로세스 및 시스템 이슈  도출 및 개선기회 분석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9276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선방향성 및 과제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세화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 분석에 기반한 영업회계 개선방향성 수립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P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 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의 현행화 및 상세화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877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회계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조 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회계시스템의 분개 처리 범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Batch/Real-time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처리 대상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회계 원장체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증 프로세스 등 영업회계 시스템의 기본구조와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프로세스 설계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92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개 </a:t>
                      </a: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Rule)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개 처리시스템의 세부 </a:t>
                      </a:r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그램별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계정과목별  분개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le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 조사 및 회계처리 오류 내역 파악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9276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분개 엔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능 설계</a:t>
                      </a:r>
                      <a:endParaRPr kumimoji="1" lang="ko-KR" altLang="en-US" sz="900" b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회계시스템의 분개 엔진 기능 설계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94" name="그룹 9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3" name="그룹 10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8917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2172989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1211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플랜 및 차세대 구축 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rrier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거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차세대시스템 개발 시 발생할 수 있는 잠재 </a:t>
            </a:r>
            <a:r>
              <a:rPr lang="ko-KR" altLang="en-US" dirty="0" err="1"/>
              <a:t>리스크</a:t>
            </a:r>
            <a:r>
              <a:rPr lang="ko-KR" altLang="en-US" dirty="0"/>
              <a:t> 사전 제거 및 </a:t>
            </a:r>
            <a:r>
              <a:rPr lang="en-US" altLang="ko-KR" dirty="0"/>
              <a:t>On-Time &amp; On-Budget </a:t>
            </a:r>
            <a:r>
              <a:rPr lang="ko-KR" altLang="en-US" dirty="0"/>
              <a:t>개발을 달성하기 위해 명확한 </a:t>
            </a:r>
            <a:r>
              <a:rPr lang="en-US" altLang="ko-KR" dirty="0"/>
              <a:t>Insight</a:t>
            </a:r>
            <a:r>
              <a:rPr lang="ko-KR" altLang="en-US" dirty="0"/>
              <a:t>를 제시할 것임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70" name="직사각형 69"/>
          <p:cNvSpPr/>
          <p:nvPr/>
        </p:nvSpPr>
        <p:spPr bwMode="auto">
          <a:xfrm rot="16200000">
            <a:off x="709609" y="5457187"/>
            <a:ext cx="1188000" cy="90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1" name="Picture 12" descr="http://us.cdn3.123rf.com/168nwm/skvoor/skvoor0906/skvoor090600015/4985577-thinking-man-and-question-marks-3d-rendered-illustration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13280" y="2686676"/>
            <a:ext cx="937977" cy="967335"/>
          </a:xfrm>
          <a:prstGeom prst="rect">
            <a:avLst/>
          </a:prstGeom>
          <a:noFill/>
        </p:spPr>
      </p:pic>
      <p:grpSp>
        <p:nvGrpSpPr>
          <p:cNvPr id="72" name="그룹 71"/>
          <p:cNvGrpSpPr/>
          <p:nvPr/>
        </p:nvGrpSpPr>
        <p:grpSpPr>
          <a:xfrm>
            <a:off x="8065715" y="1462325"/>
            <a:ext cx="971720" cy="518215"/>
            <a:chOff x="8601575" y="3257256"/>
            <a:chExt cx="971720" cy="549603"/>
          </a:xfrm>
        </p:grpSpPr>
        <p:pic>
          <p:nvPicPr>
            <p:cNvPr id="73" name="Picture 10" descr="http://us.cdn4.123rf.com/168nwm/abluecup/abluecup1309/abluecup130900069/22175858-3d-small-thinking-person-3d-image-white-background.jp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888867" y="3257256"/>
              <a:ext cx="684428" cy="549603"/>
            </a:xfrm>
            <a:prstGeom prst="rect">
              <a:avLst/>
            </a:prstGeom>
            <a:noFill/>
          </p:spPr>
        </p:pic>
        <p:pic>
          <p:nvPicPr>
            <p:cNvPr id="74" name="그림 73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01575" y="3316000"/>
              <a:ext cx="445195" cy="445195"/>
            </a:xfrm>
            <a:prstGeom prst="rect">
              <a:avLst/>
            </a:prstGeom>
          </p:spPr>
        </p:pic>
      </p:grpSp>
      <p:sp>
        <p:nvSpPr>
          <p:cNvPr id="75" name="오른쪽 화살표 74"/>
          <p:cNvSpPr/>
          <p:nvPr/>
        </p:nvSpPr>
        <p:spPr bwMode="auto">
          <a:xfrm rot="16200000">
            <a:off x="-406392" y="3288841"/>
            <a:ext cx="3420000" cy="18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6" name="직선 연결선 75"/>
          <p:cNvCxnSpPr/>
          <p:nvPr/>
        </p:nvCxnSpPr>
        <p:spPr bwMode="auto">
          <a:xfrm>
            <a:off x="3789429" y="3295338"/>
            <a:ext cx="2304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7" name="직선 연결선 76"/>
          <p:cNvCxnSpPr/>
          <p:nvPr/>
        </p:nvCxnSpPr>
        <p:spPr bwMode="auto">
          <a:xfrm flipH="1" flipV="1">
            <a:off x="3795389" y="3282386"/>
            <a:ext cx="2" cy="18000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8" name="직선 연결선 77"/>
          <p:cNvCxnSpPr/>
          <p:nvPr/>
        </p:nvCxnSpPr>
        <p:spPr bwMode="auto">
          <a:xfrm>
            <a:off x="6059105" y="2018473"/>
            <a:ext cx="3168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9" name="직선 연결선 78"/>
          <p:cNvCxnSpPr/>
          <p:nvPr/>
        </p:nvCxnSpPr>
        <p:spPr bwMode="auto">
          <a:xfrm>
            <a:off x="1491643" y="5074024"/>
            <a:ext cx="2304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82" name="타원 81"/>
          <p:cNvSpPr/>
          <p:nvPr/>
        </p:nvSpPr>
        <p:spPr bwMode="auto">
          <a:xfrm>
            <a:off x="9225978" y="1924420"/>
            <a:ext cx="209437" cy="204300"/>
          </a:xfrm>
          <a:prstGeom prst="ellipse">
            <a:avLst/>
          </a:prstGeom>
          <a:solidFill>
            <a:schemeClr val="tx2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3" name="직선 연결선 82"/>
          <p:cNvCxnSpPr/>
          <p:nvPr/>
        </p:nvCxnSpPr>
        <p:spPr bwMode="auto">
          <a:xfrm flipH="1" flipV="1">
            <a:off x="6075218" y="2005947"/>
            <a:ext cx="2" cy="12960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84" name="TextBox 83"/>
          <p:cNvSpPr txBox="1"/>
          <p:nvPr/>
        </p:nvSpPr>
        <p:spPr bwMode="auto">
          <a:xfrm>
            <a:off x="272480" y="5363600"/>
            <a:ext cx="69211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</a:t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lan</a:t>
            </a:r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타원 84"/>
          <p:cNvSpPr/>
          <p:nvPr/>
        </p:nvSpPr>
        <p:spPr bwMode="auto">
          <a:xfrm>
            <a:off x="1199091" y="4955184"/>
            <a:ext cx="209437" cy="2043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타원 85"/>
          <p:cNvSpPr/>
          <p:nvPr/>
        </p:nvSpPr>
        <p:spPr bwMode="auto">
          <a:xfrm>
            <a:off x="1199091" y="6045664"/>
            <a:ext cx="209437" cy="2043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타원 86"/>
          <p:cNvSpPr/>
          <p:nvPr/>
        </p:nvSpPr>
        <p:spPr bwMode="auto">
          <a:xfrm>
            <a:off x="1199091" y="3163944"/>
            <a:ext cx="209437" cy="2043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8" name="직선 연결선 87"/>
          <p:cNvCxnSpPr/>
          <p:nvPr/>
        </p:nvCxnSpPr>
        <p:spPr bwMode="auto">
          <a:xfrm flipH="1" flipV="1">
            <a:off x="1503036" y="5057334"/>
            <a:ext cx="2" cy="11520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89" name="TextBox 88"/>
          <p:cNvSpPr txBox="1"/>
          <p:nvPr/>
        </p:nvSpPr>
        <p:spPr bwMode="auto">
          <a:xfrm>
            <a:off x="8876057" y="1426424"/>
            <a:ext cx="779898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</a:t>
            </a:r>
            <a:r>
              <a:rPr lang="en-US" altLang="ko-KR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n</a:t>
            </a:r>
            <a:endParaRPr lang="ko-KR" altLang="en-US" sz="1400" b="1" i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1552008" y="5121318"/>
            <a:ext cx="7883407" cy="1056651"/>
          </a:xfrm>
          <a:prstGeom prst="rect">
            <a:avLst/>
          </a:prstGeom>
          <a:pattFill prst="dkDnDiag">
            <a:fgClr>
              <a:srgbClr val="D8D8D8"/>
            </a:fgClr>
            <a:bgClr>
              <a:srgbClr val="FFFFFF"/>
            </a:bgClr>
          </a:patt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  <a:buClr>
                <a:srgbClr val="C0C0C0"/>
              </a:buClr>
            </a:pPr>
            <a:endParaRPr lang="ko-KR" altLang="en-US" dirty="0" err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 bwMode="auto">
          <a:xfrm>
            <a:off x="1412883" y="1517783"/>
            <a:ext cx="6647208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Plan</a:t>
            </a:r>
            <a:r>
              <a:rPr lang="ko-KR" altLang="en-US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 </a:t>
            </a:r>
            <a:r>
              <a:rPr lang="ko-KR" altLang="en-US" sz="1600" b="1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</a:t>
            </a:r>
            <a:r>
              <a:rPr lang="ko-KR" altLang="en-US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간의 </a:t>
            </a:r>
            <a:r>
              <a:rPr lang="en-US" altLang="ko-KR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rrier </a:t>
            </a:r>
            <a:r>
              <a:rPr lang="ko-KR" altLang="en-US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</a:t>
            </a:r>
            <a:r>
              <a:rPr lang="en-US" altLang="ko-KR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sight </a:t>
            </a:r>
            <a:r>
              <a:rPr lang="ko-KR" altLang="en-US" sz="16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</a:t>
            </a:r>
          </a:p>
        </p:txBody>
      </p:sp>
      <p:grpSp>
        <p:nvGrpSpPr>
          <p:cNvPr id="92" name="그룹 91"/>
          <p:cNvGrpSpPr/>
          <p:nvPr/>
        </p:nvGrpSpPr>
        <p:grpSpPr>
          <a:xfrm>
            <a:off x="1925435" y="5554615"/>
            <a:ext cx="7027474" cy="360000"/>
            <a:chOff x="2061477" y="5662345"/>
            <a:chExt cx="5777904" cy="360000"/>
          </a:xfrm>
        </p:grpSpPr>
        <p:sp>
          <p:nvSpPr>
            <p:cNvPr id="93" name="Rectangle 9"/>
            <p:cNvSpPr>
              <a:spLocks noChangeArrowheads="1"/>
            </p:cNvSpPr>
            <p:nvPr/>
          </p:nvSpPr>
          <p:spPr bwMode="auto">
            <a:xfrm>
              <a:off x="2061477" y="5662345"/>
              <a:ext cx="1865738" cy="3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>
                <a:spcBef>
                  <a:spcPct val="20000"/>
                </a:spcBef>
                <a:buClr>
                  <a:srgbClr val="1D1F6F"/>
                </a:buClr>
                <a:defRPr/>
              </a:pP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모델 수립</a:t>
              </a:r>
              <a:endPara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4017560" y="5662345"/>
              <a:ext cx="1865738" cy="3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>
                <a:spcBef>
                  <a:spcPct val="20000"/>
                </a:spcBef>
                <a:buClr>
                  <a:srgbClr val="1D1F6F"/>
                </a:buClr>
                <a:defRPr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전략과제 정의</a:t>
              </a:r>
              <a:endPara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5973643" y="5662345"/>
              <a:ext cx="1865738" cy="3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latinLnBrk="0">
                <a:spcBef>
                  <a:spcPct val="20000"/>
                </a:spcBef>
                <a:buClr>
                  <a:srgbClr val="1D1F6F"/>
                </a:buClr>
                <a:defRPr/>
              </a:pPr>
              <a:r>
                <a:rPr lang="en-US" altLang="ko-KR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Master Plan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수립</a:t>
              </a:r>
              <a:endPara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96" name="TextBox 95"/>
          <p:cNvSpPr txBox="1"/>
          <p:nvPr/>
        </p:nvSpPr>
        <p:spPr bwMode="auto">
          <a:xfrm>
            <a:off x="3693711" y="5196475"/>
            <a:ext cx="360000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b="1" i="1" dirty="0" smtClean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장기 정보전략계획 수립 완료 </a:t>
            </a:r>
            <a:r>
              <a:rPr lang="en-US" altLang="ko-KR" sz="1400" b="1" i="1" dirty="0" smtClean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y KPMG</a:t>
            </a:r>
            <a:endParaRPr lang="ko-KR" altLang="en-US" sz="1400" b="1" i="1" dirty="0" smtClean="0">
              <a:solidFill>
                <a:srgbClr val="1B3A87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사각형 설명선 96"/>
          <p:cNvSpPr/>
          <p:nvPr/>
        </p:nvSpPr>
        <p:spPr bwMode="auto">
          <a:xfrm>
            <a:off x="4107124" y="3679172"/>
            <a:ext cx="4086236" cy="1308236"/>
          </a:xfrm>
          <a:prstGeom prst="wedgeRectCallout">
            <a:avLst>
              <a:gd name="adj1" fmla="val -58451"/>
              <a:gd name="adj2" fmla="val -8342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ster Plan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이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에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용 가능한가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작 이후 추가 발생 가능 요건의 최소화 방안은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ster Plan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상을 충실히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영할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 있는 방안은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관점의 이슈 해결 방안은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lang="ko-KR" altLang="en-US" sz="13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사각형 설명선 105"/>
          <p:cNvSpPr/>
          <p:nvPr/>
        </p:nvSpPr>
        <p:spPr bwMode="auto">
          <a:xfrm>
            <a:off x="6320613" y="2140768"/>
            <a:ext cx="3301671" cy="1370120"/>
          </a:xfrm>
          <a:prstGeom prst="wedgeRectCallout">
            <a:avLst>
              <a:gd name="adj1" fmla="val -57107"/>
              <a:gd name="adj2" fmla="val -8378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동시 다발적 추진 과제 간 연계 요건 처리는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언어 및 기술구조 변경에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한 잠재 리스크 제거는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젝트 관리 관점에서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n-Time/On-Budget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방안은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</a:p>
        </p:txBody>
      </p:sp>
      <p:sp>
        <p:nvSpPr>
          <p:cNvPr id="107" name="TextBox 106"/>
          <p:cNvSpPr txBox="1"/>
          <p:nvPr/>
        </p:nvSpPr>
        <p:spPr bwMode="auto">
          <a:xfrm>
            <a:off x="1484156" y="3905275"/>
            <a:ext cx="2317195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rrier 1. </a:t>
            </a:r>
            <a:r>
              <a:rPr lang="ko-KR" altLang="en-US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혁신 및 요건상세화 달성</a:t>
            </a:r>
          </a:p>
        </p:txBody>
      </p:sp>
      <p:sp>
        <p:nvSpPr>
          <p:cNvPr id="108" name="TextBox 107"/>
          <p:cNvSpPr txBox="1"/>
          <p:nvPr/>
        </p:nvSpPr>
        <p:spPr bwMode="auto">
          <a:xfrm>
            <a:off x="3715116" y="2440449"/>
            <a:ext cx="239031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rrier 2. </a:t>
            </a:r>
            <a:r>
              <a:rPr lang="ko-KR" altLang="en-US" sz="1400" b="1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관련 리스크 제거</a:t>
            </a:r>
          </a:p>
        </p:txBody>
      </p:sp>
      <p:sp>
        <p:nvSpPr>
          <p:cNvPr id="109" name="왼쪽 대괄호 108"/>
          <p:cNvSpPr/>
          <p:nvPr/>
        </p:nvSpPr>
        <p:spPr bwMode="auto">
          <a:xfrm>
            <a:off x="1014608" y="5094912"/>
            <a:ext cx="157815" cy="1008000"/>
          </a:xfrm>
          <a:prstGeom prst="leftBracke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600" b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454869" y="4027353"/>
            <a:ext cx="32733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</a:t>
            </a:r>
            <a:endParaRPr lang="ko-KR" altLang="en-US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9" name="왼쪽 대괄호 128"/>
          <p:cNvSpPr/>
          <p:nvPr/>
        </p:nvSpPr>
        <p:spPr bwMode="auto">
          <a:xfrm>
            <a:off x="1014608" y="3257625"/>
            <a:ext cx="157815" cy="1800000"/>
          </a:xfrm>
          <a:prstGeom prst="leftBracke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600" b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2" name="TextBox 151"/>
          <p:cNvSpPr txBox="1"/>
          <p:nvPr/>
        </p:nvSpPr>
        <p:spPr bwMode="auto">
          <a:xfrm>
            <a:off x="295371" y="2361373"/>
            <a:ext cx="64633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</a:p>
        </p:txBody>
      </p:sp>
      <p:sp>
        <p:nvSpPr>
          <p:cNvPr id="155" name="왼쪽 대괄호 154"/>
          <p:cNvSpPr/>
          <p:nvPr/>
        </p:nvSpPr>
        <p:spPr bwMode="auto">
          <a:xfrm>
            <a:off x="1014608" y="2055107"/>
            <a:ext cx="157815" cy="1152000"/>
          </a:xfrm>
          <a:prstGeom prst="leftBracke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600" b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8" name="타원 157"/>
          <p:cNvSpPr/>
          <p:nvPr/>
        </p:nvSpPr>
        <p:spPr bwMode="auto">
          <a:xfrm>
            <a:off x="1199091" y="1913200"/>
            <a:ext cx="209437" cy="2043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9" name="직선 연결선 158"/>
          <p:cNvCxnSpPr>
            <a:stCxn id="158" idx="6"/>
          </p:cNvCxnSpPr>
          <p:nvPr/>
        </p:nvCxnSpPr>
        <p:spPr bwMode="auto">
          <a:xfrm>
            <a:off x="1408528" y="2015350"/>
            <a:ext cx="466310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238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정합성 제고를 위한 영업회계 도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카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시스템에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발생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거래내역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재하여 분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따라 재무 정보를 생성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및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 등 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으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체하는 기능을 설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8" name="TextBox 10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시스템 설계 예시</a:t>
              </a:r>
              <a:endPara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1" name="TextBox 1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6" name="직사각형 22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4" name="직사각형 273"/>
          <p:cNvSpPr/>
          <p:nvPr/>
        </p:nvSpPr>
        <p:spPr bwMode="auto">
          <a:xfrm>
            <a:off x="5907109" y="2377346"/>
            <a:ext cx="345600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거래 처리 데이터 집계</a:t>
            </a:r>
          </a:p>
        </p:txBody>
      </p:sp>
      <p:sp>
        <p:nvSpPr>
          <p:cNvPr id="275" name="TextBox 274"/>
          <p:cNvSpPr txBox="1"/>
          <p:nvPr/>
        </p:nvSpPr>
        <p:spPr bwMode="auto">
          <a:xfrm>
            <a:off x="5881709" y="2806064"/>
            <a:ext cx="3513691" cy="800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온라인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거래처리 데이터는 거래 처리 시점에 해당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거래내역을 영업회계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HUB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로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전송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대량작업 처리 데이터의 경우 일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이관 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필요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경우 손익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특성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요약작업 수행</a:t>
            </a:r>
          </a:p>
        </p:txBody>
      </p:sp>
      <p:sp>
        <p:nvSpPr>
          <p:cNvPr id="276" name="직사각형 275"/>
          <p:cNvSpPr/>
          <p:nvPr/>
        </p:nvSpPr>
        <p:spPr bwMode="auto">
          <a:xfrm>
            <a:off x="5918832" y="3756750"/>
            <a:ext cx="3456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화된 분개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동 적용</a:t>
            </a:r>
          </a:p>
        </p:txBody>
      </p:sp>
      <p:sp>
        <p:nvSpPr>
          <p:cNvPr id="277" name="TextBox 276"/>
          <p:cNvSpPr txBox="1"/>
          <p:nvPr/>
        </p:nvSpPr>
        <p:spPr bwMode="auto">
          <a:xfrm>
            <a:off x="5893432" y="4181664"/>
            <a:ext cx="3513691" cy="5805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영업회계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HUB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의 거래 데이터를 분개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Rule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을 적용하여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분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수행한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영업회계원장에 전표데이터 생성</a:t>
            </a:r>
          </a:p>
        </p:txBody>
      </p:sp>
      <p:sp>
        <p:nvSpPr>
          <p:cNvPr id="279" name="직사각형 278"/>
          <p:cNvSpPr/>
          <p:nvPr/>
        </p:nvSpPr>
        <p:spPr bwMode="auto">
          <a:xfrm>
            <a:off x="5929205" y="4985367"/>
            <a:ext cx="3456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적별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재무 데이터 생성 및 전송</a:t>
            </a:r>
          </a:p>
        </p:txBody>
      </p:sp>
      <p:sp>
        <p:nvSpPr>
          <p:cNvPr id="280" name="TextBox 279"/>
          <p:cNvSpPr txBox="1"/>
          <p:nvPr/>
        </p:nvSpPr>
        <p:spPr bwMode="auto">
          <a:xfrm>
            <a:off x="5903805" y="5422473"/>
            <a:ext cx="351369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분개 데이터를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계정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요약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에 의하여 요약한 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재무용 요약 분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데이터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생성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데이터 집계 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회계 전송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273379" y="2384504"/>
            <a:ext cx="4276893" cy="30796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20" tIns="42210" rIns="84420" bIns="42210" numCol="1" rtlCol="0" anchor="ctr" anchorCtr="0" compatLnSpc="1">
            <a:prstTxWarp prst="textNoShape">
              <a:avLst/>
            </a:prstTxWarp>
          </a:bodyPr>
          <a:lstStyle/>
          <a:p>
            <a:pPr defTabSz="844174"/>
            <a:endParaRPr lang="ko-KR" altLang="en-US" sz="923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406400" y="2384505"/>
            <a:ext cx="755756" cy="307967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20" tIns="42210" rIns="84420" bIns="4221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844174"/>
            <a:endParaRPr lang="ko-KR" altLang="en-US" sz="923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95603" y="2962262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endParaRPr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495603" y="3366238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매입</a:t>
            </a:r>
            <a:endParaRPr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5603" y="4174188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</a:t>
            </a:r>
            <a:endParaRPr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495603" y="4578163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휴정산</a:t>
            </a:r>
            <a:endParaRPr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95603" y="4982138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제</a:t>
            </a:r>
            <a:endParaRPr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495603" y="3770213"/>
            <a:ext cx="577980" cy="3402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손익배분</a:t>
            </a:r>
            <a:endParaRPr lang="en-US" altLang="ko-KR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TextBox 21"/>
          <p:cNvSpPr txBox="1">
            <a:spLocks noChangeArrowheads="1"/>
          </p:cNvSpPr>
          <p:nvPr/>
        </p:nvSpPr>
        <p:spPr bwMode="auto">
          <a:xfrm>
            <a:off x="366994" y="2412504"/>
            <a:ext cx="834685" cy="370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1393876" y="2808287"/>
            <a:ext cx="4058274" cy="25141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           </a:t>
            </a:r>
            <a:endParaRPr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모서리가 둥근 직사각형 33"/>
          <p:cNvSpPr/>
          <p:nvPr/>
        </p:nvSpPr>
        <p:spPr bwMode="auto">
          <a:xfrm>
            <a:off x="4548853" y="4674400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표</a:t>
            </a:r>
            <a:endParaRPr lang="en-US" altLang="ko-KR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환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4548853" y="3707822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</a:t>
            </a:r>
            <a:endParaRPr lang="en-US" altLang="ko-KR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약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2565712" y="3707822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개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</a:t>
            </a:r>
            <a:r>
              <a:rPr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pping Rule</a:t>
            </a:r>
            <a:r>
              <a:rPr lang="en-US" altLang="ko-KR" sz="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38" name="원통 37"/>
          <p:cNvSpPr/>
          <p:nvPr/>
        </p:nvSpPr>
        <p:spPr bwMode="auto">
          <a:xfrm>
            <a:off x="1589819" y="5024578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원통 38"/>
          <p:cNvSpPr/>
          <p:nvPr/>
        </p:nvSpPr>
        <p:spPr bwMode="auto">
          <a:xfrm>
            <a:off x="1589819" y="4872024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휴정산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원통 39"/>
          <p:cNvSpPr/>
          <p:nvPr/>
        </p:nvSpPr>
        <p:spPr bwMode="auto">
          <a:xfrm>
            <a:off x="1589819" y="4719470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인트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원통 40"/>
          <p:cNvSpPr/>
          <p:nvPr/>
        </p:nvSpPr>
        <p:spPr bwMode="auto">
          <a:xfrm>
            <a:off x="1589819" y="4566917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배분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원통 41"/>
          <p:cNvSpPr/>
          <p:nvPr/>
        </p:nvSpPr>
        <p:spPr bwMode="auto">
          <a:xfrm>
            <a:off x="1589819" y="4414363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매입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원통 42"/>
          <p:cNvSpPr/>
          <p:nvPr/>
        </p:nvSpPr>
        <p:spPr bwMode="auto">
          <a:xfrm>
            <a:off x="1589819" y="4261809"/>
            <a:ext cx="700582" cy="173674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 bwMode="auto">
          <a:xfrm>
            <a:off x="2565712" y="3006405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정보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Update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1548783" y="3006405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집데이터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hangingPunct="0">
              <a:defRPr/>
            </a:pPr>
            <a:r>
              <a:rPr lang="ko-KR" altLang="en-US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1548783" y="3707822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거래 이체</a:t>
            </a:r>
            <a: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 </a:t>
            </a:r>
            <a:r>
              <a:rPr lang="ko-KR" altLang="en-US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재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모서리가 둥근 직사각형 48"/>
          <p:cNvSpPr/>
          <p:nvPr/>
        </p:nvSpPr>
        <p:spPr bwMode="auto">
          <a:xfrm>
            <a:off x="3534603" y="4674400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목적별</a:t>
            </a:r>
            <a:endParaRPr lang="en-US" altLang="ko-KR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hangingPunct="0">
              <a:defRPr/>
            </a:pP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</a:t>
            </a:r>
            <a:endParaRPr lang="en-US" altLang="ko-KR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0" name="꺾인 연결선 49"/>
          <p:cNvCxnSpPr>
            <a:endCxn id="48" idx="1"/>
          </p:cNvCxnSpPr>
          <p:nvPr/>
        </p:nvCxnSpPr>
        <p:spPr bwMode="auto">
          <a:xfrm>
            <a:off x="1162050" y="3959225"/>
            <a:ext cx="386733" cy="597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꺾인 연결선 223"/>
          <p:cNvCxnSpPr>
            <a:stCxn id="47" idx="3"/>
            <a:endCxn id="46" idx="1"/>
          </p:cNvCxnSpPr>
          <p:nvPr/>
        </p:nvCxnSpPr>
        <p:spPr bwMode="auto">
          <a:xfrm>
            <a:off x="2335144" y="3258405"/>
            <a:ext cx="230568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2" name="꺾인 연결선 51"/>
          <p:cNvCxnSpPr>
            <a:stCxn id="48" idx="3"/>
            <a:endCxn id="36" idx="1"/>
          </p:cNvCxnSpPr>
          <p:nvPr/>
        </p:nvCxnSpPr>
        <p:spPr bwMode="auto">
          <a:xfrm>
            <a:off x="2335144" y="3959822"/>
            <a:ext cx="230568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5" name="꺾인 연결선 54"/>
          <p:cNvCxnSpPr>
            <a:stCxn id="36" idx="3"/>
            <a:endCxn id="35" idx="1"/>
          </p:cNvCxnSpPr>
          <p:nvPr/>
        </p:nvCxnSpPr>
        <p:spPr bwMode="auto">
          <a:xfrm>
            <a:off x="3352073" y="3959822"/>
            <a:ext cx="1196780" cy="1270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6" name="모서리가 둥근 직사각형 55"/>
          <p:cNvSpPr/>
          <p:nvPr/>
        </p:nvSpPr>
        <p:spPr bwMode="auto">
          <a:xfrm>
            <a:off x="3534603" y="3707822"/>
            <a:ext cx="786361" cy="50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정보 </a:t>
            </a:r>
            <a: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환처리</a:t>
            </a:r>
            <a: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직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8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7" name="꺾인 연결선 56"/>
          <p:cNvCxnSpPr>
            <a:stCxn id="56" idx="2"/>
            <a:endCxn id="49" idx="0"/>
          </p:cNvCxnSpPr>
          <p:nvPr/>
        </p:nvCxnSpPr>
        <p:spPr bwMode="auto">
          <a:xfrm>
            <a:off x="3927784" y="4211822"/>
            <a:ext cx="0" cy="462578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꺾인 연결선 296"/>
          <p:cNvCxnSpPr>
            <a:stCxn id="48" idx="0"/>
            <a:endCxn id="47" idx="2"/>
          </p:cNvCxnSpPr>
          <p:nvPr/>
        </p:nvCxnSpPr>
        <p:spPr bwMode="auto">
          <a:xfrm flipV="1">
            <a:off x="1941964" y="3510405"/>
            <a:ext cx="0" cy="197417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7" name="직사각형 76"/>
          <p:cNvSpPr/>
          <p:nvPr/>
        </p:nvSpPr>
        <p:spPr bwMode="auto">
          <a:xfrm>
            <a:off x="1273217" y="5665320"/>
            <a:ext cx="2095185" cy="44918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20" tIns="42210" rIns="84420" bIns="42210" numCol="1" rtlCol="0" anchor="ctr" anchorCtr="0" compatLnSpc="1">
            <a:prstTxWarp prst="textNoShape">
              <a:avLst/>
            </a:prstTxWarp>
          </a:bodyPr>
          <a:lstStyle/>
          <a:p>
            <a:pPr defTabSz="844174"/>
            <a:endParaRPr lang="ko-KR" altLang="en-US" sz="923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꺾인 연결선 90"/>
          <p:cNvCxnSpPr>
            <a:stCxn id="34" idx="2"/>
          </p:cNvCxnSpPr>
          <p:nvPr/>
        </p:nvCxnSpPr>
        <p:spPr bwMode="auto">
          <a:xfrm>
            <a:off x="4942034" y="5178400"/>
            <a:ext cx="0" cy="756669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4" name="원통 93"/>
          <p:cNvSpPr/>
          <p:nvPr/>
        </p:nvSpPr>
        <p:spPr bwMode="auto">
          <a:xfrm>
            <a:off x="2362201" y="5759936"/>
            <a:ext cx="910757" cy="263546"/>
          </a:xfrm>
          <a:prstGeom prst="can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43207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69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원장</a:t>
            </a:r>
            <a:endParaRPr lang="ko-KR" altLang="en-US" sz="969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215283" y="3005297"/>
            <a:ext cx="1013456" cy="553998"/>
          </a:xfrm>
          <a:prstGeom prst="rect">
            <a:avLst/>
          </a:prstGeom>
          <a:noFill/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 eaLnBrk="0" hangingPunct="0">
              <a:buFont typeface="Arial" panose="020B0604020202020204" pitchFamily="34" charset="0"/>
              <a:buChar char="•"/>
              <a:defRPr/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마스터</a:t>
            </a:r>
            <a:endParaRPr lang="en-US" altLang="ko-KR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5725" indent="-85725" algn="ctr" eaLnBrk="0" hangingPunct="0">
              <a:buFont typeface="Arial" panose="020B0604020202020204" pitchFamily="34" charset="0"/>
              <a:buChar char="•"/>
              <a:defRPr/>
            </a:pPr>
            <a:r>
              <a:rPr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매핑</a:t>
            </a:r>
            <a:r>
              <a:rPr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ule</a:t>
            </a:r>
          </a:p>
          <a:p>
            <a:pPr marL="85725" indent="-85725" algn="ctr" eaLnBrk="0" hangingPunct="0">
              <a:buFont typeface="Arial" panose="020B0604020202020204" pitchFamily="34" charset="0"/>
              <a:buChar char="•"/>
              <a:defRPr/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마스터</a:t>
            </a:r>
            <a:endParaRPr lang="en-US" altLang="ko-KR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5725" indent="-85725" algn="ctr" eaLnBrk="0" hangingPunct="0">
              <a:buFont typeface="Arial" panose="020B0604020202020204" pitchFamily="34" charset="0"/>
              <a:buChar char="•"/>
              <a:defRPr/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직마스터</a:t>
            </a:r>
            <a:endParaRPr lang="en-US" altLang="ko-KR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직선 화살표 연결선 102"/>
          <p:cNvCxnSpPr>
            <a:stCxn id="35" idx="2"/>
            <a:endCxn id="34" idx="0"/>
          </p:cNvCxnSpPr>
          <p:nvPr/>
        </p:nvCxnSpPr>
        <p:spPr bwMode="auto">
          <a:xfrm>
            <a:off x="4942034" y="4211822"/>
            <a:ext cx="0" cy="462578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2" name="TextBox 21"/>
          <p:cNvSpPr txBox="1">
            <a:spLocks noChangeArrowheads="1"/>
          </p:cNvSpPr>
          <p:nvPr/>
        </p:nvSpPr>
        <p:spPr bwMode="auto">
          <a:xfrm>
            <a:off x="2798290" y="2425463"/>
            <a:ext cx="1247863" cy="224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시스템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3445229" y="5665320"/>
            <a:ext cx="2095185" cy="44918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20" tIns="42210" rIns="84420" bIns="42210" numCol="1" rtlCol="0" anchor="ctr" anchorCtr="0" compatLnSpc="1">
            <a:prstTxWarp prst="textNoShape">
              <a:avLst/>
            </a:prstTxWarp>
          </a:bodyPr>
          <a:lstStyle/>
          <a:p>
            <a:pPr defTabSz="844174"/>
            <a:endParaRPr lang="ko-KR" altLang="en-US" sz="923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09" name="꺾인 연결선 208"/>
          <p:cNvCxnSpPr>
            <a:stCxn id="49" idx="2"/>
            <a:endCxn id="77" idx="0"/>
          </p:cNvCxnSpPr>
          <p:nvPr/>
        </p:nvCxnSpPr>
        <p:spPr bwMode="auto">
          <a:xfrm rot="5400000">
            <a:off x="2880837" y="4618373"/>
            <a:ext cx="486920" cy="1606974"/>
          </a:xfrm>
          <a:prstGeom prst="bentConnector3">
            <a:avLst>
              <a:gd name="adj1" fmla="val 71518"/>
            </a:avLst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2" name="원통 211"/>
          <p:cNvSpPr/>
          <p:nvPr/>
        </p:nvSpPr>
        <p:spPr bwMode="auto">
          <a:xfrm>
            <a:off x="4546947" y="5759936"/>
            <a:ext cx="910757" cy="263546"/>
          </a:xfrm>
          <a:prstGeom prst="can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43207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defTabSz="844174" eaLnBrk="1" hangingPunct="1">
              <a:spcBef>
                <a:spcPct val="50000"/>
              </a:spcBef>
            </a:pPr>
            <a:r>
              <a:rPr lang="ko-KR" altLang="en-US" sz="969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원장</a:t>
            </a:r>
            <a:endParaRPr lang="ko-KR" altLang="en-US" sz="969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3" name="TextBox 21"/>
          <p:cNvSpPr txBox="1">
            <a:spLocks noChangeArrowheads="1"/>
          </p:cNvSpPr>
          <p:nvPr/>
        </p:nvSpPr>
        <p:spPr bwMode="auto">
          <a:xfrm>
            <a:off x="1235116" y="5686428"/>
            <a:ext cx="1171650" cy="370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수익성분석시스템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4" name="TextBox 21"/>
          <p:cNvSpPr txBox="1">
            <a:spLocks noChangeArrowheads="1"/>
          </p:cNvSpPr>
          <p:nvPr/>
        </p:nvSpPr>
        <p:spPr bwMode="auto">
          <a:xfrm>
            <a:off x="3409417" y="5686428"/>
            <a:ext cx="1171650" cy="370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1" name="원통 280"/>
          <p:cNvSpPr/>
          <p:nvPr/>
        </p:nvSpPr>
        <p:spPr bwMode="auto">
          <a:xfrm>
            <a:off x="2608601" y="4261809"/>
            <a:ext cx="700582" cy="268110"/>
          </a:xfrm>
          <a:prstGeom prst="can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90" tIns="66472" rIns="83090" bIns="43207" numCol="1" rtlCol="0" anchor="ctr" anchorCtr="0" compatLnSpc="1">
            <a:prstTxWarp prst="textNoShape">
              <a:avLst/>
            </a:prstTxWarp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원장</a:t>
            </a:r>
            <a:endParaRPr lang="ko-KR" altLang="en-US" sz="9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0" name="직사각형 289"/>
          <p:cNvSpPr/>
          <p:nvPr/>
        </p:nvSpPr>
        <p:spPr bwMode="auto">
          <a:xfrm>
            <a:off x="2486344" y="4551663"/>
            <a:ext cx="1013456" cy="119011"/>
          </a:xfrm>
          <a:prstGeom prst="rect">
            <a:avLst/>
          </a:prstGeom>
          <a:noFill/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건별</a:t>
            </a:r>
            <a:r>
              <a:rPr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데이터</a:t>
            </a:r>
            <a:endParaRPr lang="en-US" altLang="ko-KR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456865" y="1970357"/>
            <a:ext cx="5004054" cy="288147"/>
            <a:chOff x="398464" y="2123721"/>
            <a:chExt cx="1854000" cy="288147"/>
          </a:xfrm>
        </p:grpSpPr>
        <p:sp>
          <p:nvSpPr>
            <p:cNvPr id="67" name="TextBox 66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시스템 구조 설계방안</a:t>
              </a:r>
            </a:p>
          </p:txBody>
        </p:sp>
        <p:cxnSp>
          <p:nvCxnSpPr>
            <p:cNvPr id="68" name="직선 연결선 67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79" name="그룹 78"/>
          <p:cNvGrpSpPr/>
          <p:nvPr/>
        </p:nvGrpSpPr>
        <p:grpSpPr>
          <a:xfrm>
            <a:off x="5949653" y="1970357"/>
            <a:ext cx="3350491" cy="288147"/>
            <a:chOff x="398464" y="2123721"/>
            <a:chExt cx="1854000" cy="288147"/>
          </a:xfrm>
        </p:grpSpPr>
        <p:sp>
          <p:nvSpPr>
            <p:cNvPr id="80" name="TextBox 79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상세화 </a:t>
              </a:r>
              <a:r>
                <a:rPr lang="en-US" altLang="ko-KR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oint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1" name="직선 연결선 80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3378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합성 제고를 위한 영업회계 도입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건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거래 데이터와 재무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 간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별 데이터 정합성 검증 체계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천거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적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능하게 하여 재무정보의 신뢰도를 제고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검증체계 확보방안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09" name="Text Box 4"/>
          <p:cNvSpPr txBox="1">
            <a:spLocks noChangeArrowheads="1"/>
          </p:cNvSpPr>
          <p:nvPr/>
        </p:nvSpPr>
        <p:spPr bwMode="gray">
          <a:xfrm>
            <a:off x="430218" y="6093296"/>
            <a:ext cx="4753572" cy="21602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marL="176213" indent="-176213" algn="l" latinLnBrk="0">
              <a:lnSpc>
                <a:spcPct val="70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altLang="ko-KR" sz="9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COA (Chart of Account)</a:t>
            </a:r>
          </a:p>
        </p:txBody>
      </p:sp>
      <p:sp>
        <p:nvSpPr>
          <p:cNvPr id="113" name="직사각형 112"/>
          <p:cNvSpPr/>
          <p:nvPr/>
        </p:nvSpPr>
        <p:spPr bwMode="gray">
          <a:xfrm>
            <a:off x="378396" y="2312912"/>
            <a:ext cx="1063245" cy="32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latin typeface="맑은 고딕" pitchFamily="50" charset="-127"/>
                <a:ea typeface="맑은 고딕" pitchFamily="50" charset="-127"/>
              </a:rPr>
              <a:t>기간계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gray">
          <a:xfrm>
            <a:off x="378396" y="2637509"/>
            <a:ext cx="1063245" cy="338377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Rectangle 4"/>
          <p:cNvSpPr>
            <a:spLocks noChangeArrowheads="1"/>
          </p:cNvSpPr>
          <p:nvPr/>
        </p:nvSpPr>
        <p:spPr bwMode="gray">
          <a:xfrm>
            <a:off x="506730" y="2810028"/>
            <a:ext cx="729552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업무</a:t>
            </a:r>
            <a: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sp>
        <p:nvSpPr>
          <p:cNvPr id="114" name="직사각형 113"/>
          <p:cNvSpPr/>
          <p:nvPr/>
        </p:nvSpPr>
        <p:spPr bwMode="gray">
          <a:xfrm>
            <a:off x="1399687" y="2312912"/>
            <a:ext cx="2527247" cy="32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영업회계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gray">
          <a:xfrm>
            <a:off x="1399687" y="2637509"/>
            <a:ext cx="2527247" cy="338377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ectangle 5"/>
          <p:cNvSpPr>
            <a:spLocks noChangeArrowheads="1"/>
          </p:cNvSpPr>
          <p:nvPr/>
        </p:nvSpPr>
        <p:spPr bwMode="gray">
          <a:xfrm>
            <a:off x="1638033" y="2810028"/>
            <a:ext cx="633306" cy="61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Hub</a:t>
            </a:r>
          </a:p>
        </p:txBody>
      </p:sp>
      <p:sp>
        <p:nvSpPr>
          <p:cNvPr id="85" name="Rectangle 6"/>
          <p:cNvSpPr>
            <a:spLocks noChangeArrowheads="1"/>
          </p:cNvSpPr>
          <p:nvPr/>
        </p:nvSpPr>
        <p:spPr bwMode="gray">
          <a:xfrm>
            <a:off x="2667393" y="3748400"/>
            <a:ext cx="626086" cy="61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원장</a:t>
            </a:r>
            <a:endParaRPr lang="en-US" altLang="ko-KR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8" name="AutoShape 9"/>
          <p:cNvCxnSpPr>
            <a:cxnSpLocks noChangeShapeType="1"/>
            <a:stCxn id="84" idx="3"/>
            <a:endCxn id="130" idx="1"/>
          </p:cNvCxnSpPr>
          <p:nvPr/>
        </p:nvCxnSpPr>
        <p:spPr bwMode="gray">
          <a:xfrm>
            <a:off x="2271339" y="3116028"/>
            <a:ext cx="396054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1" name="Text Box 12"/>
          <p:cNvSpPr txBox="1">
            <a:spLocks noChangeArrowheads="1"/>
          </p:cNvSpPr>
          <p:nvPr/>
        </p:nvSpPr>
        <p:spPr bwMode="gray">
          <a:xfrm>
            <a:off x="2249670" y="2922103"/>
            <a:ext cx="379932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거래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Oval 27"/>
          <p:cNvSpPr>
            <a:spLocks noChangeArrowheads="1"/>
          </p:cNvSpPr>
          <p:nvPr/>
        </p:nvSpPr>
        <p:spPr bwMode="gray">
          <a:xfrm>
            <a:off x="3440358" y="4543953"/>
            <a:ext cx="54000" cy="54000"/>
          </a:xfrm>
          <a:prstGeom prst="ellipse">
            <a:avLst/>
          </a:prstGeom>
          <a:solidFill>
            <a:srgbClr val="C00000"/>
          </a:solidFill>
          <a:ln w="952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  <a:extLst/>
        </p:spPr>
        <p:txBody>
          <a:bodyPr wrap="none" lIns="21600" tIns="46800" rIns="21600" bIns="46800" anchor="ctr"/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AutoShape 28"/>
          <p:cNvSpPr>
            <a:spLocks noChangeArrowheads="1"/>
          </p:cNvSpPr>
          <p:nvPr/>
        </p:nvSpPr>
        <p:spPr bwMode="gray">
          <a:xfrm>
            <a:off x="3154866" y="4774519"/>
            <a:ext cx="626086" cy="540000"/>
          </a:xfrm>
          <a:prstGeom prst="flowChartDocumen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</a:t>
            </a:r>
          </a:p>
        </p:txBody>
      </p:sp>
      <p:cxnSp>
        <p:nvCxnSpPr>
          <p:cNvPr id="102" name="AutoShape 29"/>
          <p:cNvCxnSpPr>
            <a:cxnSpLocks noChangeShapeType="1"/>
            <a:stCxn id="100" idx="4"/>
            <a:endCxn id="101" idx="0"/>
          </p:cNvCxnSpPr>
          <p:nvPr/>
        </p:nvCxnSpPr>
        <p:spPr bwMode="gray">
          <a:xfrm>
            <a:off x="3467358" y="4597953"/>
            <a:ext cx="551" cy="176566"/>
          </a:xfrm>
          <a:prstGeom prst="straightConnector1">
            <a:avLst/>
          </a:prstGeom>
          <a:noFill/>
          <a:ln w="9525">
            <a:solidFill>
              <a:srgbClr val="C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AutoShape 31"/>
          <p:cNvCxnSpPr>
            <a:cxnSpLocks noChangeShapeType="1"/>
            <a:stCxn id="130" idx="2"/>
            <a:endCxn id="85" idx="0"/>
          </p:cNvCxnSpPr>
          <p:nvPr/>
        </p:nvCxnSpPr>
        <p:spPr bwMode="gray">
          <a:xfrm>
            <a:off x="2980436" y="3422028"/>
            <a:ext cx="0" cy="32637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AutoShape 8"/>
          <p:cNvCxnSpPr>
            <a:cxnSpLocks noChangeShapeType="1"/>
            <a:stCxn id="83" idx="3"/>
            <a:endCxn id="84" idx="1"/>
          </p:cNvCxnSpPr>
          <p:nvPr/>
        </p:nvCxnSpPr>
        <p:spPr bwMode="gray">
          <a:xfrm>
            <a:off x="1236282" y="3116028"/>
            <a:ext cx="40175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Text Box 11"/>
          <p:cNvSpPr txBox="1">
            <a:spLocks noChangeArrowheads="1"/>
          </p:cNvSpPr>
          <p:nvPr/>
        </p:nvSpPr>
        <p:spPr bwMode="gray">
          <a:xfrm>
            <a:off x="1172790" y="2916390"/>
            <a:ext cx="456819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거래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직사각형 114"/>
          <p:cNvSpPr/>
          <p:nvPr/>
        </p:nvSpPr>
        <p:spPr bwMode="gray">
          <a:xfrm>
            <a:off x="3899698" y="2312912"/>
            <a:ext cx="1851152" cy="32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카드회계</a:t>
            </a: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상품수익성</a:t>
            </a: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분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석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직사각형 109"/>
          <p:cNvSpPr/>
          <p:nvPr/>
        </p:nvSpPr>
        <p:spPr bwMode="gray">
          <a:xfrm>
            <a:off x="3899698" y="2637510"/>
            <a:ext cx="1851152" cy="3383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7"/>
          <p:cNvSpPr>
            <a:spLocks noChangeArrowheads="1"/>
          </p:cNvSpPr>
          <p:nvPr/>
        </p:nvSpPr>
        <p:spPr bwMode="gray">
          <a:xfrm>
            <a:off x="4050672" y="3748400"/>
            <a:ext cx="641724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sp>
        <p:nvSpPr>
          <p:cNvPr id="92" name="Text Box 13"/>
          <p:cNvSpPr txBox="1">
            <a:spLocks noChangeArrowheads="1"/>
          </p:cNvSpPr>
          <p:nvPr/>
        </p:nvSpPr>
        <p:spPr bwMode="gray">
          <a:xfrm>
            <a:off x="3263862" y="3867275"/>
            <a:ext cx="697479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약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내역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Rectangle 20"/>
          <p:cNvSpPr>
            <a:spLocks noChangeArrowheads="1"/>
          </p:cNvSpPr>
          <p:nvPr/>
        </p:nvSpPr>
        <p:spPr bwMode="gray">
          <a:xfrm>
            <a:off x="4050672" y="5213584"/>
            <a:ext cx="641724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익성</a:t>
            </a:r>
            <a: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cxnSp>
        <p:nvCxnSpPr>
          <p:cNvPr id="95" name="AutoShape 22"/>
          <p:cNvCxnSpPr>
            <a:cxnSpLocks noChangeShapeType="1"/>
            <a:stCxn id="86" idx="3"/>
            <a:endCxn id="93" idx="3"/>
          </p:cNvCxnSpPr>
          <p:nvPr/>
        </p:nvCxnSpPr>
        <p:spPr bwMode="gray">
          <a:xfrm>
            <a:off x="4692396" y="4054400"/>
            <a:ext cx="12700" cy="1465184"/>
          </a:xfrm>
          <a:prstGeom prst="curvedConnector3">
            <a:avLst>
              <a:gd name="adj1" fmla="val 1800000"/>
            </a:avLst>
          </a:prstGeom>
          <a:noFill/>
          <a:ln w="9525">
            <a:solidFill>
              <a:srgbClr val="C00000"/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Oval 23"/>
          <p:cNvSpPr>
            <a:spLocks noChangeArrowheads="1"/>
          </p:cNvSpPr>
          <p:nvPr/>
        </p:nvSpPr>
        <p:spPr bwMode="gray">
          <a:xfrm>
            <a:off x="4894585" y="4755852"/>
            <a:ext cx="54000" cy="54000"/>
          </a:xfrm>
          <a:prstGeom prst="ellipse">
            <a:avLst/>
          </a:prstGeom>
          <a:solidFill>
            <a:srgbClr val="C00000"/>
          </a:solidFill>
          <a:ln w="9525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  <a:extLst/>
        </p:spPr>
        <p:txBody>
          <a:bodyPr wrap="none" lIns="21600" tIns="46800" rIns="21600" bIns="46800" anchor="ctr"/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AutoShape 24"/>
          <p:cNvSpPr>
            <a:spLocks noChangeArrowheads="1"/>
          </p:cNvSpPr>
          <p:nvPr/>
        </p:nvSpPr>
        <p:spPr bwMode="gray">
          <a:xfrm>
            <a:off x="5061760" y="4517628"/>
            <a:ext cx="626086" cy="540000"/>
          </a:xfrm>
          <a:prstGeom prst="flowChartDocumen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</a:t>
            </a:r>
          </a:p>
        </p:txBody>
      </p:sp>
      <p:cxnSp>
        <p:nvCxnSpPr>
          <p:cNvPr id="98" name="AutoShape 25"/>
          <p:cNvCxnSpPr>
            <a:cxnSpLocks noChangeShapeType="1"/>
            <a:stCxn id="96" idx="6"/>
            <a:endCxn id="97" idx="1"/>
          </p:cNvCxnSpPr>
          <p:nvPr/>
        </p:nvCxnSpPr>
        <p:spPr bwMode="gray">
          <a:xfrm>
            <a:off x="4948585" y="4782852"/>
            <a:ext cx="113175" cy="4776"/>
          </a:xfrm>
          <a:prstGeom prst="straightConnector1">
            <a:avLst/>
          </a:prstGeom>
          <a:noFill/>
          <a:ln w="9525">
            <a:solidFill>
              <a:srgbClr val="C0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AutoShape 10"/>
          <p:cNvCxnSpPr>
            <a:cxnSpLocks noChangeShapeType="1"/>
            <a:stCxn id="85" idx="3"/>
            <a:endCxn id="86" idx="1"/>
          </p:cNvCxnSpPr>
          <p:nvPr/>
        </p:nvCxnSpPr>
        <p:spPr bwMode="gray">
          <a:xfrm>
            <a:off x="3293479" y="4054400"/>
            <a:ext cx="75719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AutoShape 26"/>
          <p:cNvCxnSpPr>
            <a:cxnSpLocks noChangeShapeType="1"/>
            <a:stCxn id="86" idx="2"/>
            <a:endCxn id="85" idx="2"/>
          </p:cNvCxnSpPr>
          <p:nvPr/>
        </p:nvCxnSpPr>
        <p:spPr bwMode="gray">
          <a:xfrm rot="5400000">
            <a:off x="3675985" y="3664851"/>
            <a:ext cx="12700" cy="1391098"/>
          </a:xfrm>
          <a:prstGeom prst="curvedConnector3">
            <a:avLst>
              <a:gd name="adj1" fmla="val 1800000"/>
            </a:avLst>
          </a:prstGeom>
          <a:noFill/>
          <a:ln w="9525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AutoShape 21"/>
          <p:cNvCxnSpPr>
            <a:cxnSpLocks noChangeShapeType="1"/>
            <a:endCxn id="93" idx="1"/>
          </p:cNvCxnSpPr>
          <p:nvPr/>
        </p:nvCxnSpPr>
        <p:spPr bwMode="gray">
          <a:xfrm rot="16200000" flipH="1">
            <a:off x="2925702" y="4394614"/>
            <a:ext cx="1129602" cy="1120338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직사각형 122"/>
          <p:cNvSpPr/>
          <p:nvPr/>
        </p:nvSpPr>
        <p:spPr bwMode="auto">
          <a:xfrm>
            <a:off x="6094429" y="2314972"/>
            <a:ext cx="3310594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데이터 검증체계 마련</a:t>
            </a:r>
          </a:p>
        </p:txBody>
      </p:sp>
      <p:sp>
        <p:nvSpPr>
          <p:cNvPr id="124" name="TextBox 123"/>
          <p:cNvSpPr txBox="1"/>
          <p:nvPr/>
        </p:nvSpPr>
        <p:spPr bwMode="auto">
          <a:xfrm>
            <a:off x="6094428" y="2756390"/>
            <a:ext cx="3513691" cy="800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정합성 검증에 대한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명확히 하여 결산 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신속성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확보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효과적인 정합성 검증을 위한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COA</a:t>
            </a:r>
            <a:r>
              <a:rPr lang="en-US" altLang="ko-KR" sz="1100" b="0" baseline="30000" dirty="0">
                <a:solidFill>
                  <a:srgbClr val="000000"/>
                </a:solidFill>
                <a:latin typeface="맑은 고딕"/>
                <a:ea typeface="맑은 고딕"/>
              </a:rPr>
              <a:t>1)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설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계정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조직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상품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거래유형 등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</p:txBody>
      </p:sp>
      <p:sp>
        <p:nvSpPr>
          <p:cNvPr id="125" name="직사각형 124"/>
          <p:cNvSpPr/>
          <p:nvPr/>
        </p:nvSpPr>
        <p:spPr bwMode="auto">
          <a:xfrm>
            <a:off x="6094429" y="3861048"/>
            <a:ext cx="3310594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계별 데이터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인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및 검증 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성</a:t>
            </a: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6094429" y="4289766"/>
            <a:ext cx="3371678" cy="1409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데이터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Key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값을 참조하여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기간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거래 데이터 확인체계 마련</a:t>
            </a: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전표 생성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시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데이터와 전표번호 간의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Mapping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데이터 생성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전표번호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Mapping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를 참조하여 전표로부터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건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거래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조회로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세 정보 추적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단계별 주요 검증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Report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생성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127" name="AutoShape 22"/>
          <p:cNvCxnSpPr>
            <a:cxnSpLocks noChangeShapeType="1"/>
            <a:stCxn id="84" idx="2"/>
            <a:endCxn id="83" idx="2"/>
          </p:cNvCxnSpPr>
          <p:nvPr/>
        </p:nvCxnSpPr>
        <p:spPr bwMode="gray">
          <a:xfrm rot="5400000">
            <a:off x="1413096" y="2880438"/>
            <a:ext cx="12700" cy="1083180"/>
          </a:xfrm>
          <a:prstGeom prst="curvedConnector3">
            <a:avLst>
              <a:gd name="adj1" fmla="val 1800000"/>
            </a:avLst>
          </a:prstGeom>
          <a:noFill/>
          <a:ln w="12700">
            <a:solidFill>
              <a:srgbClr val="C00000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28" name="AutoShape 22"/>
          <p:cNvCxnSpPr>
            <a:cxnSpLocks noChangeShapeType="1"/>
            <a:stCxn id="130" idx="2"/>
            <a:endCxn id="84" idx="2"/>
          </p:cNvCxnSpPr>
          <p:nvPr/>
        </p:nvCxnSpPr>
        <p:spPr bwMode="gray">
          <a:xfrm rot="5400000">
            <a:off x="2467561" y="2909153"/>
            <a:ext cx="12700" cy="1025750"/>
          </a:xfrm>
          <a:prstGeom prst="curvedConnector3">
            <a:avLst>
              <a:gd name="adj1" fmla="val 1800000"/>
            </a:avLst>
          </a:prstGeom>
          <a:noFill/>
          <a:ln w="12700">
            <a:solidFill>
              <a:srgbClr val="C00000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30" name="Rectangle 6"/>
          <p:cNvSpPr>
            <a:spLocks noChangeArrowheads="1"/>
          </p:cNvSpPr>
          <p:nvPr/>
        </p:nvSpPr>
        <p:spPr bwMode="gray">
          <a:xfrm>
            <a:off x="2667393" y="2810028"/>
            <a:ext cx="626086" cy="61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 eaLnBrk="0" hangingPunct="0"/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개</a:t>
            </a: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  <a:endParaRPr lang="en-US" altLang="ko-KR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00330" y="1873852"/>
            <a:ext cx="5328000" cy="297848"/>
            <a:chOff x="400330" y="1873852"/>
            <a:chExt cx="5328000" cy="297848"/>
          </a:xfrm>
        </p:grpSpPr>
        <p:sp>
          <p:nvSpPr>
            <p:cNvPr id="60" name="TextBox 59"/>
            <p:cNvSpPr txBox="1"/>
            <p:nvPr/>
          </p:nvSpPr>
          <p:spPr bwMode="gray">
            <a:xfrm>
              <a:off x="400330" y="1873852"/>
              <a:ext cx="5328000" cy="2727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단계별 데이터 검증체계</a:t>
              </a:r>
            </a:p>
          </p:txBody>
        </p:sp>
        <p:cxnSp>
          <p:nvCxnSpPr>
            <p:cNvPr id="61" name="직선 연결선 60"/>
            <p:cNvCxnSpPr/>
            <p:nvPr/>
          </p:nvCxnSpPr>
          <p:spPr bwMode="auto">
            <a:xfrm>
              <a:off x="400330" y="2171700"/>
              <a:ext cx="532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67" name="Text Box 11"/>
          <p:cNvSpPr txBox="1">
            <a:spLocks noChangeArrowheads="1"/>
          </p:cNvSpPr>
          <p:nvPr/>
        </p:nvSpPr>
        <p:spPr bwMode="gray">
          <a:xfrm>
            <a:off x="3493709" y="4351523"/>
            <a:ext cx="918013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표번호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pping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Text Box 11"/>
          <p:cNvSpPr txBox="1">
            <a:spLocks noChangeArrowheads="1"/>
          </p:cNvSpPr>
          <p:nvPr/>
        </p:nvSpPr>
        <p:spPr bwMode="gray">
          <a:xfrm>
            <a:off x="1339449" y="3580446"/>
            <a:ext cx="1144093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건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데이터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Text Box 12"/>
          <p:cNvSpPr txBox="1">
            <a:spLocks noChangeArrowheads="1"/>
          </p:cNvSpPr>
          <p:nvPr/>
        </p:nvSpPr>
        <p:spPr bwMode="gray">
          <a:xfrm>
            <a:off x="3203914" y="2848239"/>
            <a:ext cx="769452" cy="556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1600" tIns="46800" rIns="21600" bIns="46800">
            <a:spAutoFit/>
          </a:bodyPr>
          <a:lstStyle>
            <a:lvl1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1pPr>
            <a:lvl2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2pPr>
            <a:lvl3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3pPr>
            <a:lvl4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4pPr>
            <a:lvl5pPr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5888" algn="l"/>
              </a:tabLst>
              <a:defRPr>
                <a:solidFill>
                  <a:schemeClr val="tx1"/>
                </a:solidFill>
                <a:latin typeface="Arial Unicode MS" panose="020B0604020202020204" pitchFamily="50" charset="-127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  <a:buSzTx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표번호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pping</a:t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역관리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9" name="그룹 11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3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7" name="그룹 13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69" name="그룹 68"/>
          <p:cNvGrpSpPr/>
          <p:nvPr/>
        </p:nvGrpSpPr>
        <p:grpSpPr>
          <a:xfrm>
            <a:off x="6126134" y="1873852"/>
            <a:ext cx="3308268" cy="297848"/>
            <a:chOff x="400330" y="1873852"/>
            <a:chExt cx="5328000" cy="297848"/>
          </a:xfrm>
        </p:grpSpPr>
        <p:sp>
          <p:nvSpPr>
            <p:cNvPr id="71" name="TextBox 70"/>
            <p:cNvSpPr txBox="1"/>
            <p:nvPr/>
          </p:nvSpPr>
          <p:spPr bwMode="gray">
            <a:xfrm>
              <a:off x="400330" y="1873852"/>
              <a:ext cx="5328000" cy="2727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상세화 </a:t>
              </a:r>
              <a:r>
                <a:rPr lang="en-US" altLang="ko-KR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oint</a:t>
              </a:r>
              <a:endParaRPr lang="ko-KR" altLang="en-US" sz="13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2" name="직선 연결선 71"/>
            <p:cNvCxnSpPr/>
            <p:nvPr/>
          </p:nvCxnSpPr>
          <p:spPr bwMode="auto">
            <a:xfrm>
              <a:off x="400330" y="2171700"/>
              <a:ext cx="532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1847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합성 제고를 위한 영업회계 도입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내용 개체 틀 84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무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천정보를 영업회계로 일원화되도록 구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gray">
          <a:xfrm>
            <a:off x="5278293" y="4725416"/>
            <a:ext cx="4111941" cy="11275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rgbClr val="1B3A87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gray">
          <a:xfrm>
            <a:off x="2869785" y="4717494"/>
            <a:ext cx="1820352" cy="11275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rgbClr val="1B3A87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2876535" y="2173000"/>
            <a:ext cx="4320000" cy="22255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rgbClr val="1B3A87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gray">
          <a:xfrm>
            <a:off x="480717" y="2158002"/>
            <a:ext cx="1764000" cy="22255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 bwMode="gray">
          <a:xfrm>
            <a:off x="652250" y="2279145"/>
            <a:ext cx="1420935" cy="1983305"/>
            <a:chOff x="716658" y="1473242"/>
            <a:chExt cx="1420935" cy="2336717"/>
          </a:xfrm>
        </p:grpSpPr>
        <p:sp>
          <p:nvSpPr>
            <p:cNvPr id="9" name="직사각형 8"/>
            <p:cNvSpPr/>
            <p:nvPr/>
          </p:nvSpPr>
          <p:spPr bwMode="gray">
            <a:xfrm>
              <a:off x="716658" y="1473242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</a:t>
              </a:r>
            </a:p>
          </p:txBody>
        </p:sp>
        <p:sp>
          <p:nvSpPr>
            <p:cNvPr id="10" name="직사각형 9"/>
            <p:cNvSpPr/>
            <p:nvPr/>
          </p:nvSpPr>
          <p:spPr bwMode="gray">
            <a:xfrm>
              <a:off x="716658" y="1868585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매출매입</a:t>
              </a:r>
            </a:p>
          </p:txBody>
        </p:sp>
        <p:sp>
          <p:nvSpPr>
            <p:cNvPr id="11" name="직사각형 10"/>
            <p:cNvSpPr/>
            <p:nvPr/>
          </p:nvSpPr>
          <p:spPr bwMode="gray">
            <a:xfrm>
              <a:off x="716658" y="2263928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배분</a:t>
              </a:r>
            </a:p>
          </p:txBody>
        </p:sp>
        <p:sp>
          <p:nvSpPr>
            <p:cNvPr id="12" name="직사각형 11"/>
            <p:cNvSpPr/>
            <p:nvPr/>
          </p:nvSpPr>
          <p:spPr bwMode="gray">
            <a:xfrm>
              <a:off x="716658" y="2659271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포인트</a:t>
              </a:r>
            </a:p>
          </p:txBody>
        </p:sp>
        <p:sp>
          <p:nvSpPr>
            <p:cNvPr id="13" name="직사각형 12"/>
            <p:cNvSpPr/>
            <p:nvPr/>
          </p:nvSpPr>
          <p:spPr bwMode="gray">
            <a:xfrm>
              <a:off x="716658" y="3054614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정산</a:t>
              </a:r>
            </a:p>
          </p:txBody>
        </p:sp>
        <p:sp>
          <p:nvSpPr>
            <p:cNvPr id="14" name="직사각형 13"/>
            <p:cNvSpPr/>
            <p:nvPr/>
          </p:nvSpPr>
          <p:spPr bwMode="gray">
            <a:xfrm>
              <a:off x="716658" y="3449959"/>
              <a:ext cx="1420935" cy="360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청구</a:t>
              </a:r>
              <a:r>
                <a:rPr lang="en-US" altLang="ko-KR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제</a:t>
              </a:r>
            </a:p>
          </p:txBody>
        </p:sp>
      </p:grpSp>
      <p:sp>
        <p:nvSpPr>
          <p:cNvPr id="15" name="TextBox 14"/>
          <p:cNvSpPr txBox="1"/>
          <p:nvPr/>
        </p:nvSpPr>
        <p:spPr bwMode="gray">
          <a:xfrm>
            <a:off x="846303" y="1924558"/>
            <a:ext cx="1149921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업무시스템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4461575" y="1924558"/>
            <a:ext cx="1149921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시스템</a:t>
            </a:r>
          </a:p>
        </p:txBody>
      </p:sp>
      <p:pic>
        <p:nvPicPr>
          <p:cNvPr id="17" name="Picture 36" descr="Server sm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9415" y="2341399"/>
            <a:ext cx="490236" cy="611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99818" y="2356676"/>
            <a:ext cx="572544" cy="58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직사각형 18"/>
          <p:cNvSpPr/>
          <p:nvPr/>
        </p:nvSpPr>
        <p:spPr bwMode="gray">
          <a:xfrm>
            <a:off x="3056300" y="2919717"/>
            <a:ext cx="10823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내역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0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1959" y="2356676"/>
            <a:ext cx="572544" cy="58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직사각형 20"/>
          <p:cNvSpPr/>
          <p:nvPr/>
        </p:nvSpPr>
        <p:spPr bwMode="gray">
          <a:xfrm>
            <a:off x="6239312" y="2919717"/>
            <a:ext cx="7393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2" name="직선 화살표 연결선 21"/>
          <p:cNvCxnSpPr>
            <a:stCxn id="18" idx="3"/>
            <a:endCxn id="17" idx="1"/>
          </p:cNvCxnSpPr>
          <p:nvPr/>
        </p:nvCxnSpPr>
        <p:spPr bwMode="gray">
          <a:xfrm>
            <a:off x="3872362" y="2646951"/>
            <a:ext cx="92705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3" name="직사각형 22"/>
          <p:cNvSpPr/>
          <p:nvPr/>
        </p:nvSpPr>
        <p:spPr bwMode="gray">
          <a:xfrm>
            <a:off x="4187570" y="2919717"/>
            <a:ext cx="17139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처리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생주의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회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" name="직선 화살표 연결선 23"/>
          <p:cNvCxnSpPr>
            <a:stCxn id="20" idx="1"/>
            <a:endCxn id="17" idx="3"/>
          </p:cNvCxnSpPr>
          <p:nvPr/>
        </p:nvCxnSpPr>
        <p:spPr bwMode="gray">
          <a:xfrm flipH="1">
            <a:off x="5289651" y="2646951"/>
            <a:ext cx="102230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25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58261" y="3472982"/>
            <a:ext cx="572544" cy="58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직선 화살표 연결선 25"/>
          <p:cNvCxnSpPr/>
          <p:nvPr/>
        </p:nvCxnSpPr>
        <p:spPr bwMode="gray">
          <a:xfrm flipH="1">
            <a:off x="5035716" y="3229132"/>
            <a:ext cx="0" cy="24385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7" name="직사각형 26"/>
          <p:cNvSpPr/>
          <p:nvPr/>
        </p:nvSpPr>
        <p:spPr bwMode="gray">
          <a:xfrm>
            <a:off x="4652812" y="4072993"/>
            <a:ext cx="742511" cy="153888"/>
          </a:xfrm>
          <a:prstGeom prst="rect">
            <a:avLst/>
          </a:prstGeom>
        </p:spPr>
        <p:txBody>
          <a:bodyPr wrap="none" tIns="0" bIns="0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내역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gray">
          <a:xfrm>
            <a:off x="3238787" y="5456854"/>
            <a:ext cx="10823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원장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관리회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gray">
          <a:xfrm>
            <a:off x="5718900" y="5456854"/>
            <a:ext cx="10310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원장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재무회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7878773" y="1907143"/>
            <a:ext cx="1258925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련 은행 시스템</a:t>
            </a:r>
          </a:p>
        </p:txBody>
      </p:sp>
      <p:sp>
        <p:nvSpPr>
          <p:cNvPr id="31" name="TextBox 30"/>
          <p:cNvSpPr txBox="1"/>
          <p:nvPr/>
        </p:nvSpPr>
        <p:spPr bwMode="gray">
          <a:xfrm>
            <a:off x="2974168" y="5852997"/>
            <a:ext cx="1611586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시스템</a:t>
            </a:r>
          </a:p>
        </p:txBody>
      </p:sp>
      <p:sp>
        <p:nvSpPr>
          <p:cNvPr id="32" name="TextBox 31"/>
          <p:cNvSpPr txBox="1"/>
          <p:nvPr/>
        </p:nvSpPr>
        <p:spPr bwMode="gray">
          <a:xfrm>
            <a:off x="6759305" y="5852997"/>
            <a:ext cx="1149921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시스템</a:t>
            </a:r>
          </a:p>
        </p:txBody>
      </p:sp>
      <p:pic>
        <p:nvPicPr>
          <p:cNvPr id="33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8154" y="4864742"/>
            <a:ext cx="572544" cy="58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직선 화살표 연결선 58"/>
          <p:cNvCxnSpPr>
            <a:stCxn id="27" idx="2"/>
            <a:endCxn id="33" idx="0"/>
          </p:cNvCxnSpPr>
          <p:nvPr/>
        </p:nvCxnSpPr>
        <p:spPr bwMode="gray">
          <a:xfrm rot="16200000" flipH="1">
            <a:off x="5310317" y="3940632"/>
            <a:ext cx="637861" cy="121035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35" name="직선 화살표 연결선 64"/>
          <p:cNvCxnSpPr>
            <a:stCxn id="27" idx="2"/>
            <a:endCxn id="36" idx="0"/>
          </p:cNvCxnSpPr>
          <p:nvPr/>
        </p:nvCxnSpPr>
        <p:spPr bwMode="gray">
          <a:xfrm rot="5400000">
            <a:off x="4083085" y="3923758"/>
            <a:ext cx="637861" cy="124410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36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493689" y="4864742"/>
            <a:ext cx="572544" cy="58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직선 화살표 연결선 36"/>
          <p:cNvCxnSpPr>
            <a:stCxn id="33" idx="1"/>
            <a:endCxn id="36" idx="3"/>
          </p:cNvCxnSpPr>
          <p:nvPr/>
        </p:nvCxnSpPr>
        <p:spPr bwMode="gray">
          <a:xfrm flipH="1">
            <a:off x="4066233" y="5155017"/>
            <a:ext cx="188192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38" name="Picture 22" descr="group policy user&amp;com_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06547" y="3298379"/>
            <a:ext cx="612000" cy="44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직선 화살표 연결선 38"/>
          <p:cNvCxnSpPr>
            <a:stCxn id="38" idx="0"/>
            <a:endCxn id="21" idx="2"/>
          </p:cNvCxnSpPr>
          <p:nvPr/>
        </p:nvCxnSpPr>
        <p:spPr bwMode="gray">
          <a:xfrm flipH="1" flipV="1">
            <a:off x="6608965" y="3165938"/>
            <a:ext cx="3582" cy="13244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40" name="직사각형 39"/>
          <p:cNvSpPr/>
          <p:nvPr/>
        </p:nvSpPr>
        <p:spPr bwMode="gray">
          <a:xfrm>
            <a:off x="479920" y="4717494"/>
            <a:ext cx="1764797" cy="112758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 bwMode="gray">
          <a:xfrm>
            <a:off x="1026579" y="5852997"/>
            <a:ext cx="688256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</a:t>
            </a:r>
          </a:p>
        </p:txBody>
      </p:sp>
      <p:cxnSp>
        <p:nvCxnSpPr>
          <p:cNvPr id="42" name="직선 화살표 연결선 41"/>
          <p:cNvCxnSpPr>
            <a:stCxn id="40" idx="0"/>
            <a:endCxn id="7" idx="2"/>
          </p:cNvCxnSpPr>
          <p:nvPr/>
        </p:nvCxnSpPr>
        <p:spPr bwMode="gray">
          <a:xfrm flipV="1">
            <a:off x="1362319" y="4383593"/>
            <a:ext cx="398" cy="33390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3" name="직선 화살표 연결선 42"/>
          <p:cNvCxnSpPr/>
          <p:nvPr/>
        </p:nvCxnSpPr>
        <p:spPr bwMode="gray">
          <a:xfrm flipV="1">
            <a:off x="2244717" y="4398591"/>
            <a:ext cx="583081" cy="28417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4" name="직선 화살표 연결선 43"/>
          <p:cNvCxnSpPr/>
          <p:nvPr/>
        </p:nvCxnSpPr>
        <p:spPr bwMode="gray">
          <a:xfrm>
            <a:off x="4042694" y="3242071"/>
            <a:ext cx="635500" cy="3262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 w="med" len="med"/>
          </a:ln>
          <a:effectLst/>
        </p:spPr>
      </p:cxnSp>
      <p:pic>
        <p:nvPicPr>
          <p:cNvPr id="45" name="그림 44" descr="1326691601_Refresh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gray">
          <a:xfrm>
            <a:off x="4184628" y="3274951"/>
            <a:ext cx="288000" cy="244442"/>
          </a:xfrm>
          <a:prstGeom prst="rect">
            <a:avLst/>
          </a:prstGeom>
        </p:spPr>
      </p:pic>
      <p:pic>
        <p:nvPicPr>
          <p:cNvPr id="46" name="그림 45" descr="1326691601_Refresh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gray">
          <a:xfrm>
            <a:off x="5352589" y="3434247"/>
            <a:ext cx="288000" cy="244442"/>
          </a:xfrm>
          <a:prstGeom prst="rect">
            <a:avLst/>
          </a:prstGeom>
        </p:spPr>
      </p:pic>
      <p:pic>
        <p:nvPicPr>
          <p:cNvPr id="47" name="그림 46" descr="1326691601_Refresh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gray">
          <a:xfrm>
            <a:off x="4104920" y="4814966"/>
            <a:ext cx="288000" cy="244442"/>
          </a:xfrm>
          <a:prstGeom prst="rect">
            <a:avLst/>
          </a:prstGeom>
        </p:spPr>
      </p:pic>
      <p:cxnSp>
        <p:nvCxnSpPr>
          <p:cNvPr id="48" name="직선 화살표 연결선 47"/>
          <p:cNvCxnSpPr/>
          <p:nvPr/>
        </p:nvCxnSpPr>
        <p:spPr bwMode="gray">
          <a:xfrm>
            <a:off x="2245009" y="2614695"/>
            <a:ext cx="10440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49" name="직사각형 48"/>
          <p:cNvSpPr/>
          <p:nvPr/>
        </p:nvSpPr>
        <p:spPr bwMode="gray">
          <a:xfrm>
            <a:off x="2184806" y="2595739"/>
            <a:ext cx="7425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tch/</a:t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al-time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0" name="꺾인 연결선 153"/>
          <p:cNvCxnSpPr>
            <a:stCxn id="53" idx="2"/>
            <a:endCxn id="51" idx="0"/>
          </p:cNvCxnSpPr>
          <p:nvPr/>
        </p:nvCxnSpPr>
        <p:spPr bwMode="gray">
          <a:xfrm flipH="1">
            <a:off x="8504483" y="4383593"/>
            <a:ext cx="3752" cy="47657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51" name="Picture 36" descr="Server sm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59365" y="4860164"/>
            <a:ext cx="490236" cy="611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직사각형 51"/>
          <p:cNvSpPr/>
          <p:nvPr/>
        </p:nvSpPr>
        <p:spPr bwMode="gray">
          <a:xfrm>
            <a:off x="8033842" y="5456854"/>
            <a:ext cx="941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B/S, P/L</a:t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gray">
          <a:xfrm>
            <a:off x="7626235" y="2158002"/>
            <a:ext cx="1764000" cy="222559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ts val="0"/>
              </a:spcBef>
              <a:buClr>
                <a:srgbClr val="C0C0C0"/>
              </a:buClr>
            </a:pP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4" name="꺾인 연결선 53"/>
          <p:cNvCxnSpPr>
            <a:stCxn id="33" idx="3"/>
            <a:endCxn id="59" idx="1"/>
          </p:cNvCxnSpPr>
          <p:nvPr/>
        </p:nvCxnSpPr>
        <p:spPr bwMode="gray">
          <a:xfrm flipV="1">
            <a:off x="6520698" y="3307242"/>
            <a:ext cx="1277070" cy="1847775"/>
          </a:xfrm>
          <a:prstGeom prst="bentConnector3">
            <a:avLst>
              <a:gd name="adj1" fmla="val 70884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55" name="그룹 54"/>
          <p:cNvGrpSpPr/>
          <p:nvPr/>
        </p:nvGrpSpPr>
        <p:grpSpPr bwMode="gray">
          <a:xfrm>
            <a:off x="7797768" y="2294777"/>
            <a:ext cx="1420935" cy="1963819"/>
            <a:chOff x="7797768" y="1478213"/>
            <a:chExt cx="1420935" cy="2313758"/>
          </a:xfrm>
        </p:grpSpPr>
        <p:sp>
          <p:nvSpPr>
            <p:cNvPr id="56" name="직사각형 55"/>
            <p:cNvSpPr/>
            <p:nvPr/>
          </p:nvSpPr>
          <p:spPr bwMode="gray">
            <a:xfrm>
              <a:off x="7797768" y="1478213"/>
              <a:ext cx="1420935" cy="684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지원시스템</a:t>
              </a:r>
              <a:r>
                <a:rPr lang="en-US" altLang="ko-KR" sz="10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금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가증권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산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무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IFRS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정자산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사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…)</a:t>
              </a:r>
              <a:endParaRPr lang="ko-KR" altLang="en-US" sz="8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직사각형 56"/>
            <p:cNvSpPr/>
            <p:nvPr/>
          </p:nvSpPr>
          <p:spPr bwMode="gray">
            <a:xfrm>
              <a:off x="7797768" y="3179971"/>
              <a:ext cx="1420935" cy="61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종합수익관리시스템</a:t>
              </a:r>
            </a:p>
          </p:txBody>
        </p:sp>
        <p:cxnSp>
          <p:nvCxnSpPr>
            <p:cNvPr id="58" name="직선 화살표 연결선 57"/>
            <p:cNvCxnSpPr>
              <a:stCxn id="57" idx="0"/>
              <a:endCxn id="59" idx="2"/>
            </p:cNvCxnSpPr>
            <p:nvPr/>
          </p:nvCxnSpPr>
          <p:spPr bwMode="gray">
            <a:xfrm flipV="1">
              <a:off x="8508236" y="2977092"/>
              <a:ext cx="0" cy="2028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59" name="직사각형 58"/>
            <p:cNvSpPr/>
            <p:nvPr/>
          </p:nvSpPr>
          <p:spPr bwMode="gray">
            <a:xfrm>
              <a:off x="7797768" y="2365092"/>
              <a:ext cx="1420935" cy="61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1B3A87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>
                <a:spcBef>
                  <a:spcPts val="0"/>
                </a:spcBef>
                <a:buClr>
                  <a:srgbClr val="C0C0C0"/>
                </a:buClr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재무회계시스템</a:t>
              </a:r>
            </a:p>
          </p:txBody>
        </p:sp>
        <p:cxnSp>
          <p:nvCxnSpPr>
            <p:cNvPr id="60" name="직선 화살표 연결선 59"/>
            <p:cNvCxnSpPr/>
            <p:nvPr/>
          </p:nvCxnSpPr>
          <p:spPr bwMode="gray">
            <a:xfrm>
              <a:off x="8508235" y="2162213"/>
              <a:ext cx="0" cy="20287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sp>
        <p:nvSpPr>
          <p:cNvPr id="61" name="직사각형 60"/>
          <p:cNvSpPr/>
          <p:nvPr/>
        </p:nvSpPr>
        <p:spPr bwMode="gray">
          <a:xfrm>
            <a:off x="674907" y="4814966"/>
            <a:ext cx="1420935" cy="3055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0"/>
              </a:spcBef>
              <a:buClr>
                <a:srgbClr val="C0C0C0"/>
              </a:buClr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코드</a:t>
            </a:r>
          </a:p>
        </p:txBody>
      </p:sp>
      <p:sp>
        <p:nvSpPr>
          <p:cNvPr id="62" name="직사각형 61"/>
          <p:cNvSpPr/>
          <p:nvPr/>
        </p:nvSpPr>
        <p:spPr bwMode="gray">
          <a:xfrm>
            <a:off x="664130" y="5177244"/>
            <a:ext cx="1420935" cy="30555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0"/>
              </a:spcBef>
              <a:buClr>
                <a:srgbClr val="C0C0C0"/>
              </a:buClr>
            </a:pP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코드</a:t>
            </a:r>
          </a:p>
        </p:txBody>
      </p:sp>
      <p:cxnSp>
        <p:nvCxnSpPr>
          <p:cNvPr id="63" name="직선 화살표 연결선 62"/>
          <p:cNvCxnSpPr>
            <a:stCxn id="40" idx="3"/>
            <a:endCxn id="5" idx="1"/>
          </p:cNvCxnSpPr>
          <p:nvPr/>
        </p:nvCxnSpPr>
        <p:spPr bwMode="gray">
          <a:xfrm>
            <a:off x="2244717" y="5281284"/>
            <a:ext cx="62506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4" name="직선 화살표 연결선 209"/>
          <p:cNvCxnSpPr>
            <a:stCxn id="41" idx="2"/>
            <a:endCxn id="32" idx="2"/>
          </p:cNvCxnSpPr>
          <p:nvPr/>
        </p:nvCxnSpPr>
        <p:spPr bwMode="gray">
          <a:xfrm rot="16200000" flipH="1">
            <a:off x="4352486" y="3128586"/>
            <a:ext cx="12700" cy="5963559"/>
          </a:xfrm>
          <a:prstGeom prst="bentConnector3">
            <a:avLst>
              <a:gd name="adj1" fmla="val 1070882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65" name="그룹 64"/>
          <p:cNvGrpSpPr/>
          <p:nvPr/>
        </p:nvGrpSpPr>
        <p:grpSpPr bwMode="gray">
          <a:xfrm>
            <a:off x="8322315" y="5996291"/>
            <a:ext cx="1044000" cy="275746"/>
            <a:chOff x="8382080" y="5987318"/>
            <a:chExt cx="1044000" cy="324882"/>
          </a:xfrm>
        </p:grpSpPr>
        <p:grpSp>
          <p:nvGrpSpPr>
            <p:cNvPr id="66" name="그룹 65"/>
            <p:cNvGrpSpPr/>
            <p:nvPr/>
          </p:nvGrpSpPr>
          <p:grpSpPr bwMode="gray">
            <a:xfrm>
              <a:off x="8431436" y="6022104"/>
              <a:ext cx="945289" cy="290096"/>
              <a:chOff x="8558325" y="6022104"/>
              <a:chExt cx="945289" cy="290096"/>
            </a:xfrm>
          </p:grpSpPr>
          <p:pic>
            <p:nvPicPr>
              <p:cNvPr id="68" name="그림 67" descr="1326691601_Refresh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 bwMode="gray">
              <a:xfrm>
                <a:off x="8558325" y="6049915"/>
                <a:ext cx="216000" cy="216000"/>
              </a:xfrm>
              <a:prstGeom prst="rect">
                <a:avLst/>
              </a:prstGeom>
            </p:spPr>
          </p:pic>
          <p:sp>
            <p:nvSpPr>
              <p:cNvPr id="69" name="직사각형 68"/>
              <p:cNvSpPr/>
              <p:nvPr/>
            </p:nvSpPr>
            <p:spPr bwMode="gray">
              <a:xfrm>
                <a:off x="8754691" y="6022104"/>
                <a:ext cx="748923" cy="2900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0"/>
                  </a:spcBef>
                  <a:buClr>
                    <a:srgbClr val="C0C0C0"/>
                  </a:buClr>
                </a:pPr>
                <a:r>
                  <a:rPr lang="ko-KR" altLang="en-US" sz="1000" b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대사</a:t>
                </a:r>
                <a:r>
                  <a:rPr lang="en-US" altLang="ko-KR" sz="1000" b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000" b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검증</a:t>
                </a:r>
                <a:endPara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67" name="직사각형 66"/>
            <p:cNvSpPr/>
            <p:nvPr/>
          </p:nvSpPr>
          <p:spPr bwMode="gray">
            <a:xfrm>
              <a:off x="8382080" y="5987318"/>
              <a:ext cx="1044000" cy="288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>
                <a:spcBef>
                  <a:spcPts val="0"/>
                </a:spcBef>
                <a:buClr>
                  <a:srgbClr val="C0C0C0"/>
                </a:buClr>
              </a:pPr>
              <a:endPara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73" name="Picture 22" descr="group policy user&amp;com_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59209" y="5182768"/>
            <a:ext cx="612000" cy="44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직사각형 73"/>
          <p:cNvSpPr/>
          <p:nvPr/>
        </p:nvSpPr>
        <p:spPr bwMode="gray">
          <a:xfrm>
            <a:off x="6709581" y="5578988"/>
            <a:ext cx="14157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동계리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매뉴얼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gray">
          <a:xfrm>
            <a:off x="6223636" y="3750539"/>
            <a:ext cx="73930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정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6" name="직선 화살표 연결선 75"/>
          <p:cNvCxnSpPr>
            <a:stCxn id="73" idx="1"/>
          </p:cNvCxnSpPr>
          <p:nvPr/>
        </p:nvCxnSpPr>
        <p:spPr bwMode="gray">
          <a:xfrm flipH="1" flipV="1">
            <a:off x="6608965" y="5251549"/>
            <a:ext cx="450244" cy="15466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0" name="직사각형 79"/>
          <p:cNvSpPr/>
          <p:nvPr/>
        </p:nvSpPr>
        <p:spPr bwMode="gray">
          <a:xfrm>
            <a:off x="6916008" y="4438315"/>
            <a:ext cx="101662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A Mapping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gray">
          <a:xfrm>
            <a:off x="3953173" y="4463918"/>
            <a:ext cx="728638" cy="15277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내역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gray">
          <a:xfrm>
            <a:off x="5238220" y="4463918"/>
            <a:ext cx="625286" cy="15277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>
              <a:spcBef>
                <a:spcPts val="0"/>
              </a:spcBef>
              <a:buClr>
                <a:srgbClr val="C0C0C0"/>
              </a:buClr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회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개 내역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8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89" name="TextBox 8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 중심의 회계시스템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미지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92" name="TextBox 9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6" name="그룹 11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5" name="그룹 12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5878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카드분사 </a:t>
            </a:r>
            <a:r>
              <a:rPr lang="ko-KR" altLang="en-US" dirty="0"/>
              <a:t>독립 </a:t>
            </a:r>
            <a:r>
              <a:rPr lang="ko-KR" altLang="en-US" dirty="0" smtClean="0"/>
              <a:t>회계체계 수립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영업점 및 농축협 카드수수료 체계 도입을 위해 카드손익을 카드분사로 집중하고</a:t>
            </a:r>
            <a:r>
              <a:rPr lang="en-US" altLang="ko-KR" dirty="0" smtClean="0"/>
              <a:t>,</a:t>
            </a:r>
            <a:r>
              <a:rPr lang="ko-KR" altLang="en-US" dirty="0" smtClean="0"/>
              <a:t>  카드분사의 독립 재무제표가 산출될 수 있도록 회계시스템을 개편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 및 수익 이관대상 농축협의 채권 및 회원  손익의 카드분사 이관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분사 독립 재무제표 산출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 채권 및 회원손익의 카드분사 이전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축협 업무대행수수료 체계 반영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은행 재무회계 및 은행 종수 데이터 집계로 카드분사 </a:t>
            </a:r>
            <a:r>
              <a:rPr kumimoji="0"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재무상태표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산출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15396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291268" y="5864998"/>
            <a:ext cx="4341681" cy="462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독립분사를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위한 카드계정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본부 집중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및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회계모델 구축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카드회계 계정체계 정비 및 카드회계 처리기준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비 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492696" y="5879512"/>
            <a:ext cx="4244280" cy="411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점 및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농축협에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카드수수료수익 집계로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확한 카드분사 재무제표가 산출되지 않음 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9" name="이등변 삼각형 38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5318371" y="3531456"/>
            <a:ext cx="324000" cy="143417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PL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7299672" y="369415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처리비용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7299672" y="385685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7299672" y="4019554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카드수수료비용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7299672" y="4182253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카드수수료비용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7299672" y="450765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판관비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7299672" y="4833049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퇴직급여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산재보험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7299672" y="506564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카드채권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7299672" y="5224804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용고정자산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7299672" y="5383963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자산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부채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7299672" y="554312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가증권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자산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7299672" y="5702279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내부자본금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입부채</a:t>
            </a:r>
          </a:p>
        </p:txBody>
      </p:sp>
      <p:grpSp>
        <p:nvGrpSpPr>
          <p:cNvPr id="61" name="그룹 60"/>
          <p:cNvGrpSpPr/>
          <p:nvPr/>
        </p:nvGrpSpPr>
        <p:grpSpPr>
          <a:xfrm>
            <a:off x="5313707" y="3243616"/>
            <a:ext cx="989345" cy="226591"/>
            <a:chOff x="10295181" y="3169543"/>
            <a:chExt cx="353302" cy="226591"/>
          </a:xfrm>
        </p:grpSpPr>
        <p:sp>
          <p:nvSpPr>
            <p:cNvPr id="62" name="TextBox 61"/>
            <p:cNvSpPr txBox="1"/>
            <p:nvPr/>
          </p:nvSpPr>
          <p:spPr bwMode="auto">
            <a:xfrm>
              <a:off x="10413053" y="3169543"/>
              <a:ext cx="117554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천</a:t>
              </a:r>
            </a:p>
          </p:txBody>
        </p:sp>
        <p:cxnSp>
          <p:nvCxnSpPr>
            <p:cNvPr id="63" name="직선 연결선 62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64" name="직사각형 63"/>
          <p:cNvSpPr/>
          <p:nvPr/>
        </p:nvSpPr>
        <p:spPr bwMode="auto">
          <a:xfrm>
            <a:off x="5691052" y="3531456"/>
            <a:ext cx="612000" cy="7833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grpSp>
        <p:nvGrpSpPr>
          <p:cNvPr id="65" name="그룹 64"/>
          <p:cNvGrpSpPr/>
          <p:nvPr/>
        </p:nvGrpSpPr>
        <p:grpSpPr>
          <a:xfrm>
            <a:off x="6367477" y="3243616"/>
            <a:ext cx="757264" cy="226591"/>
            <a:chOff x="10295181" y="3169543"/>
            <a:chExt cx="353302" cy="226591"/>
          </a:xfrm>
        </p:grpSpPr>
        <p:sp>
          <p:nvSpPr>
            <p:cNvPr id="66" name="TextBox 65"/>
            <p:cNvSpPr txBox="1"/>
            <p:nvPr/>
          </p:nvSpPr>
          <p:spPr bwMode="auto">
            <a:xfrm>
              <a:off x="10356877" y="3169543"/>
              <a:ext cx="229907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농협은행</a:t>
              </a:r>
            </a:p>
          </p:txBody>
        </p:sp>
        <p:cxnSp>
          <p:nvCxnSpPr>
            <p:cNvPr id="67" name="직선 연결선 66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68" name="직사각형 67"/>
          <p:cNvSpPr/>
          <p:nvPr/>
        </p:nvSpPr>
        <p:spPr bwMode="auto">
          <a:xfrm>
            <a:off x="6368741" y="3531457"/>
            <a:ext cx="756000" cy="45797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귀속사무소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5691052" y="4341087"/>
            <a:ext cx="612000" cy="3012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5691052" y="4674100"/>
            <a:ext cx="612000" cy="28920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종수</a:t>
            </a:r>
          </a:p>
        </p:txBody>
      </p:sp>
      <p:cxnSp>
        <p:nvCxnSpPr>
          <p:cNvPr id="71" name="직선 연결선 70"/>
          <p:cNvCxnSpPr/>
          <p:nvPr/>
        </p:nvCxnSpPr>
        <p:spPr bwMode="auto">
          <a:xfrm>
            <a:off x="5328946" y="5015274"/>
            <a:ext cx="424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72" name="그룹 71"/>
          <p:cNvGrpSpPr/>
          <p:nvPr/>
        </p:nvGrpSpPr>
        <p:grpSpPr>
          <a:xfrm>
            <a:off x="8822993" y="3243616"/>
            <a:ext cx="757264" cy="226591"/>
            <a:chOff x="10295181" y="3169543"/>
            <a:chExt cx="353302" cy="226591"/>
          </a:xfrm>
        </p:grpSpPr>
        <p:sp>
          <p:nvSpPr>
            <p:cNvPr id="73" name="TextBox 72"/>
            <p:cNvSpPr txBox="1"/>
            <p:nvPr/>
          </p:nvSpPr>
          <p:spPr bwMode="auto">
            <a:xfrm>
              <a:off x="10365124" y="3169543"/>
              <a:ext cx="213411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농축협</a:t>
              </a:r>
              <a:endParaRPr lang="ko-KR" altLang="en-US" sz="1000" baseline="3000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74" name="직선 연결선 73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75" name="직사각형 74"/>
          <p:cNvSpPr/>
          <p:nvPr/>
        </p:nvSpPr>
        <p:spPr bwMode="auto">
          <a:xfrm>
            <a:off x="8824257" y="3531457"/>
            <a:ext cx="756000" cy="45797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귀속사무소</a:t>
            </a: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</a:p>
        </p:txBody>
      </p:sp>
      <p:grpSp>
        <p:nvGrpSpPr>
          <p:cNvPr id="76" name="그룹 75"/>
          <p:cNvGrpSpPr/>
          <p:nvPr/>
        </p:nvGrpSpPr>
        <p:grpSpPr>
          <a:xfrm>
            <a:off x="7299348" y="3243616"/>
            <a:ext cx="1368324" cy="226591"/>
            <a:chOff x="10295181" y="3169543"/>
            <a:chExt cx="353302" cy="226591"/>
          </a:xfrm>
        </p:grpSpPr>
        <p:sp>
          <p:nvSpPr>
            <p:cNvPr id="77" name="TextBox 76"/>
            <p:cNvSpPr txBox="1"/>
            <p:nvPr/>
          </p:nvSpPr>
          <p:spPr bwMode="auto">
            <a:xfrm>
              <a:off x="10396221" y="3169543"/>
              <a:ext cx="151219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카드분사</a:t>
              </a:r>
            </a:p>
          </p:txBody>
        </p:sp>
        <p:cxnSp>
          <p:nvCxnSpPr>
            <p:cNvPr id="78" name="직선 연결선 77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cxnSp>
        <p:nvCxnSpPr>
          <p:cNvPr id="79" name="꺾인 연결선 78"/>
          <p:cNvCxnSpPr>
            <a:stCxn id="81" idx="1"/>
            <a:endCxn id="51" idx="1"/>
          </p:cNvCxnSpPr>
          <p:nvPr/>
        </p:nvCxnSpPr>
        <p:spPr bwMode="auto">
          <a:xfrm rot="10800000" flipV="1">
            <a:off x="7299672" y="3597744"/>
            <a:ext cx="12700" cy="325399"/>
          </a:xfrm>
          <a:prstGeom prst="bentConnector3">
            <a:avLst>
              <a:gd name="adj1" fmla="val 412504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0" name="직선 화살표 연결선 79"/>
          <p:cNvCxnSpPr>
            <a:stCxn id="68" idx="3"/>
          </p:cNvCxnSpPr>
          <p:nvPr/>
        </p:nvCxnSpPr>
        <p:spPr bwMode="auto">
          <a:xfrm>
            <a:off x="7124741" y="3760445"/>
            <a:ext cx="132515" cy="20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1" name="직사각형 80"/>
          <p:cNvSpPr/>
          <p:nvPr/>
        </p:nvSpPr>
        <p:spPr bwMode="auto">
          <a:xfrm>
            <a:off x="7299672" y="3531456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판수익</a:t>
            </a:r>
          </a:p>
        </p:txBody>
      </p:sp>
      <p:cxnSp>
        <p:nvCxnSpPr>
          <p:cNvPr id="82" name="꺾인 연결선 81"/>
          <p:cNvCxnSpPr>
            <a:stCxn id="81" idx="3"/>
            <a:endCxn id="51" idx="3"/>
          </p:cNvCxnSpPr>
          <p:nvPr/>
        </p:nvCxnSpPr>
        <p:spPr bwMode="auto">
          <a:xfrm>
            <a:off x="8667672" y="3597745"/>
            <a:ext cx="12700" cy="325399"/>
          </a:xfrm>
          <a:prstGeom prst="bentConnector3">
            <a:avLst>
              <a:gd name="adj1" fmla="val 250000"/>
            </a:avLst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3" name="직선 화살표 연결선 82"/>
          <p:cNvCxnSpPr>
            <a:stCxn id="75" idx="1"/>
          </p:cNvCxnSpPr>
          <p:nvPr/>
        </p:nvCxnSpPr>
        <p:spPr bwMode="auto">
          <a:xfrm flipH="1">
            <a:off x="8697417" y="3760445"/>
            <a:ext cx="12684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4" name="직사각형 83"/>
          <p:cNvSpPr/>
          <p:nvPr/>
        </p:nvSpPr>
        <p:spPr bwMode="auto">
          <a:xfrm>
            <a:off x="5691052" y="5066097"/>
            <a:ext cx="612000" cy="1321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5691052" y="5223924"/>
            <a:ext cx="612000" cy="29261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5691052" y="5542243"/>
            <a:ext cx="612000" cy="2926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기 집계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산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5318371" y="5064923"/>
            <a:ext cx="324000" cy="763846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BS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6368741" y="4027395"/>
            <a:ext cx="756000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ko-KR" altLang="en-US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</a:t>
            </a:r>
            <a:r>
              <a:rPr kumimoji="1"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수익</a:t>
            </a:r>
            <a:endParaRPr kumimoji="1" lang="en-US" altLang="ko-KR" sz="9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9" name="직선 화살표 연결선 88"/>
          <p:cNvCxnSpPr>
            <a:endCxn id="52" idx="1"/>
          </p:cNvCxnSpPr>
          <p:nvPr/>
        </p:nvCxnSpPr>
        <p:spPr bwMode="auto">
          <a:xfrm>
            <a:off x="7124741" y="4083449"/>
            <a:ext cx="174931" cy="239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0" name="직사각형 89"/>
          <p:cNvSpPr/>
          <p:nvPr/>
        </p:nvSpPr>
        <p:spPr bwMode="auto">
          <a:xfrm>
            <a:off x="6368741" y="5068854"/>
            <a:ext cx="756000" cy="1293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관</a:t>
            </a:r>
          </a:p>
        </p:txBody>
      </p:sp>
      <p:cxnSp>
        <p:nvCxnSpPr>
          <p:cNvPr id="91" name="직선 화살표 연결선 90"/>
          <p:cNvCxnSpPr>
            <a:stCxn id="90" idx="3"/>
            <a:endCxn id="56" idx="1"/>
          </p:cNvCxnSpPr>
          <p:nvPr/>
        </p:nvCxnSpPr>
        <p:spPr bwMode="auto">
          <a:xfrm flipV="1">
            <a:off x="7124741" y="5131934"/>
            <a:ext cx="174931" cy="16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2" name="직사각형 91"/>
          <p:cNvSpPr/>
          <p:nvPr/>
        </p:nvSpPr>
        <p:spPr bwMode="auto">
          <a:xfrm>
            <a:off x="8824257" y="5068854"/>
            <a:ext cx="756000" cy="1293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관</a:t>
            </a:r>
          </a:p>
        </p:txBody>
      </p:sp>
      <p:cxnSp>
        <p:nvCxnSpPr>
          <p:cNvPr id="93" name="직선 화살표 연결선 92"/>
          <p:cNvCxnSpPr>
            <a:stCxn id="92" idx="1"/>
            <a:endCxn id="56" idx="3"/>
          </p:cNvCxnSpPr>
          <p:nvPr/>
        </p:nvCxnSpPr>
        <p:spPr bwMode="auto">
          <a:xfrm flipH="1" flipV="1">
            <a:off x="8667672" y="5131934"/>
            <a:ext cx="156585" cy="16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4" name="직사각형 93"/>
          <p:cNvSpPr/>
          <p:nvPr/>
        </p:nvSpPr>
        <p:spPr bwMode="auto">
          <a:xfrm>
            <a:off x="7299672" y="434495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</a:t>
            </a:r>
          </a:p>
        </p:txBody>
      </p:sp>
      <p:sp>
        <p:nvSpPr>
          <p:cNvPr id="95" name="직사각형 94"/>
          <p:cNvSpPr/>
          <p:nvPr/>
        </p:nvSpPr>
        <p:spPr bwMode="auto">
          <a:xfrm>
            <a:off x="7299672" y="4670351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금이자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8839416" y="4126220"/>
            <a:ext cx="756000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 카드 수수료수익</a:t>
            </a:r>
            <a:endParaRPr kumimoji="1" lang="en-US" altLang="ko-KR" sz="9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7" name="직선 화살표 연결선 96"/>
          <p:cNvCxnSpPr/>
          <p:nvPr/>
        </p:nvCxnSpPr>
        <p:spPr bwMode="auto">
          <a:xfrm>
            <a:off x="8662016" y="4261329"/>
            <a:ext cx="174931" cy="239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8" name="왼쪽 대괄호 97"/>
          <p:cNvSpPr/>
          <p:nvPr/>
        </p:nvSpPr>
        <p:spPr bwMode="auto">
          <a:xfrm>
            <a:off x="7216201" y="434108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99" name="왼쪽 대괄호 98"/>
          <p:cNvSpPr/>
          <p:nvPr/>
        </p:nvSpPr>
        <p:spPr bwMode="auto">
          <a:xfrm>
            <a:off x="7216201" y="466425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0" name="왼쪽 대괄호 99"/>
          <p:cNvSpPr/>
          <p:nvPr/>
        </p:nvSpPr>
        <p:spPr bwMode="auto">
          <a:xfrm flipH="1">
            <a:off x="8683127" y="434108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1" name="왼쪽 대괄호 100"/>
          <p:cNvSpPr/>
          <p:nvPr/>
        </p:nvSpPr>
        <p:spPr bwMode="auto">
          <a:xfrm flipH="1">
            <a:off x="8683127" y="466425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85608" y="3531456"/>
            <a:ext cx="324000" cy="14341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L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2366909" y="369415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처리비용</a:t>
            </a:r>
          </a:p>
        </p:txBody>
      </p:sp>
      <p:sp>
        <p:nvSpPr>
          <p:cNvPr id="104" name="직사각형 103"/>
          <p:cNvSpPr/>
          <p:nvPr/>
        </p:nvSpPr>
        <p:spPr bwMode="auto">
          <a:xfrm>
            <a:off x="2366909" y="385685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2366909" y="4019554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카드수수료비용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2366909" y="4182253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카드수수료비용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2366909" y="450765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판관비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2366909" y="4833049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퇴직급여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산재보험</a:t>
            </a:r>
          </a:p>
        </p:txBody>
      </p:sp>
      <p:sp>
        <p:nvSpPr>
          <p:cNvPr id="109" name="직사각형 108"/>
          <p:cNvSpPr/>
          <p:nvPr/>
        </p:nvSpPr>
        <p:spPr bwMode="auto">
          <a:xfrm>
            <a:off x="2366909" y="5065645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카드채권</a:t>
            </a:r>
          </a:p>
        </p:txBody>
      </p:sp>
      <p:sp>
        <p:nvSpPr>
          <p:cNvPr id="110" name="직사각형 109"/>
          <p:cNvSpPr/>
          <p:nvPr/>
        </p:nvSpPr>
        <p:spPr bwMode="auto">
          <a:xfrm>
            <a:off x="2366909" y="5224804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용고정자산</a:t>
            </a:r>
          </a:p>
        </p:txBody>
      </p:sp>
      <p:sp>
        <p:nvSpPr>
          <p:cNvPr id="111" name="직사각형 110"/>
          <p:cNvSpPr/>
          <p:nvPr/>
        </p:nvSpPr>
        <p:spPr bwMode="auto">
          <a:xfrm>
            <a:off x="2366909" y="5383963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자산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부채</a:t>
            </a:r>
          </a:p>
        </p:txBody>
      </p:sp>
      <p:sp>
        <p:nvSpPr>
          <p:cNvPr id="112" name="직사각형 111"/>
          <p:cNvSpPr/>
          <p:nvPr/>
        </p:nvSpPr>
        <p:spPr bwMode="auto">
          <a:xfrm>
            <a:off x="2366909" y="554312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가증권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자산</a:t>
            </a:r>
          </a:p>
        </p:txBody>
      </p:sp>
      <p:sp>
        <p:nvSpPr>
          <p:cNvPr id="113" name="직사각형 112"/>
          <p:cNvSpPr/>
          <p:nvPr/>
        </p:nvSpPr>
        <p:spPr bwMode="auto">
          <a:xfrm>
            <a:off x="2366909" y="5702279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내부자본금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입부채</a:t>
            </a:r>
          </a:p>
        </p:txBody>
      </p:sp>
      <p:grpSp>
        <p:nvGrpSpPr>
          <p:cNvPr id="114" name="그룹 113"/>
          <p:cNvGrpSpPr/>
          <p:nvPr/>
        </p:nvGrpSpPr>
        <p:grpSpPr>
          <a:xfrm>
            <a:off x="380944" y="3243616"/>
            <a:ext cx="989345" cy="226591"/>
            <a:chOff x="10295181" y="3169543"/>
            <a:chExt cx="353302" cy="226591"/>
          </a:xfrm>
        </p:grpSpPr>
        <p:sp>
          <p:nvSpPr>
            <p:cNvPr id="115" name="TextBox 114"/>
            <p:cNvSpPr txBox="1"/>
            <p:nvPr/>
          </p:nvSpPr>
          <p:spPr bwMode="auto">
            <a:xfrm>
              <a:off x="10413053" y="3169543"/>
              <a:ext cx="117554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천</a:t>
              </a:r>
            </a:p>
          </p:txBody>
        </p:sp>
        <p:cxnSp>
          <p:nvCxnSpPr>
            <p:cNvPr id="116" name="직선 연결선 115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117" name="직사각형 116"/>
          <p:cNvSpPr/>
          <p:nvPr/>
        </p:nvSpPr>
        <p:spPr bwMode="auto">
          <a:xfrm>
            <a:off x="758289" y="3531456"/>
            <a:ext cx="612000" cy="7833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grpSp>
        <p:nvGrpSpPr>
          <p:cNvPr id="118" name="그룹 117"/>
          <p:cNvGrpSpPr/>
          <p:nvPr/>
        </p:nvGrpSpPr>
        <p:grpSpPr>
          <a:xfrm>
            <a:off x="1434714" y="3243616"/>
            <a:ext cx="757264" cy="226591"/>
            <a:chOff x="10295181" y="3169543"/>
            <a:chExt cx="353302" cy="226591"/>
          </a:xfrm>
        </p:grpSpPr>
        <p:sp>
          <p:nvSpPr>
            <p:cNvPr id="119" name="TextBox 118"/>
            <p:cNvSpPr txBox="1"/>
            <p:nvPr/>
          </p:nvSpPr>
          <p:spPr bwMode="auto">
            <a:xfrm>
              <a:off x="10356877" y="3169543"/>
              <a:ext cx="229907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농협은행</a:t>
              </a:r>
            </a:p>
          </p:txBody>
        </p:sp>
        <p:cxnSp>
          <p:nvCxnSpPr>
            <p:cNvPr id="120" name="직선 연결선 119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122" name="직사각형 121"/>
          <p:cNvSpPr/>
          <p:nvPr/>
        </p:nvSpPr>
        <p:spPr bwMode="auto">
          <a:xfrm>
            <a:off x="758289" y="4341087"/>
            <a:ext cx="612000" cy="3012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123" name="직사각형 122"/>
          <p:cNvSpPr/>
          <p:nvPr/>
        </p:nvSpPr>
        <p:spPr bwMode="auto">
          <a:xfrm>
            <a:off x="758289" y="4674100"/>
            <a:ext cx="612000" cy="28920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종수</a:t>
            </a:r>
          </a:p>
        </p:txBody>
      </p:sp>
      <p:cxnSp>
        <p:nvCxnSpPr>
          <p:cNvPr id="124" name="직선 연결선 123"/>
          <p:cNvCxnSpPr/>
          <p:nvPr/>
        </p:nvCxnSpPr>
        <p:spPr bwMode="auto">
          <a:xfrm>
            <a:off x="396183" y="5015274"/>
            <a:ext cx="424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125" name="그룹 124"/>
          <p:cNvGrpSpPr/>
          <p:nvPr/>
        </p:nvGrpSpPr>
        <p:grpSpPr>
          <a:xfrm>
            <a:off x="3890230" y="3243616"/>
            <a:ext cx="757264" cy="226591"/>
            <a:chOff x="10295181" y="3169543"/>
            <a:chExt cx="353302" cy="226591"/>
          </a:xfrm>
        </p:grpSpPr>
        <p:sp>
          <p:nvSpPr>
            <p:cNvPr id="126" name="TextBox 125"/>
            <p:cNvSpPr txBox="1"/>
            <p:nvPr/>
          </p:nvSpPr>
          <p:spPr bwMode="auto">
            <a:xfrm>
              <a:off x="10365124" y="3169543"/>
              <a:ext cx="213411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농축협</a:t>
              </a:r>
              <a:endParaRPr lang="ko-KR" altLang="en-US" sz="1000" baseline="3000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27" name="직선 연결선 126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29" name="그룹 128"/>
          <p:cNvGrpSpPr/>
          <p:nvPr/>
        </p:nvGrpSpPr>
        <p:grpSpPr>
          <a:xfrm>
            <a:off x="2366585" y="3243616"/>
            <a:ext cx="1368324" cy="226591"/>
            <a:chOff x="10295181" y="3169543"/>
            <a:chExt cx="353302" cy="226591"/>
          </a:xfrm>
        </p:grpSpPr>
        <p:sp>
          <p:nvSpPr>
            <p:cNvPr id="130" name="TextBox 129"/>
            <p:cNvSpPr txBox="1"/>
            <p:nvPr/>
          </p:nvSpPr>
          <p:spPr bwMode="auto">
            <a:xfrm>
              <a:off x="10396221" y="3169543"/>
              <a:ext cx="151219" cy="226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카드분사</a:t>
              </a:r>
            </a:p>
          </p:txBody>
        </p:sp>
        <p:cxnSp>
          <p:nvCxnSpPr>
            <p:cNvPr id="131" name="직선 연결선 130"/>
            <p:cNvCxnSpPr/>
            <p:nvPr/>
          </p:nvCxnSpPr>
          <p:spPr bwMode="auto">
            <a:xfrm>
              <a:off x="10295181" y="3393027"/>
              <a:ext cx="35330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134" name="직사각형 133"/>
          <p:cNvSpPr/>
          <p:nvPr/>
        </p:nvSpPr>
        <p:spPr bwMode="auto">
          <a:xfrm>
            <a:off x="2366909" y="3531456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판수익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758289" y="5066097"/>
            <a:ext cx="612000" cy="1321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sp>
        <p:nvSpPr>
          <p:cNvPr id="138" name="직사각형 137"/>
          <p:cNvSpPr/>
          <p:nvPr/>
        </p:nvSpPr>
        <p:spPr bwMode="auto">
          <a:xfrm>
            <a:off x="758289" y="5223924"/>
            <a:ext cx="612000" cy="29261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139" name="직사각형 138"/>
          <p:cNvSpPr/>
          <p:nvPr/>
        </p:nvSpPr>
        <p:spPr bwMode="auto">
          <a:xfrm>
            <a:off x="758289" y="5542243"/>
            <a:ext cx="612000" cy="2926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기 집계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산</a:t>
            </a:r>
          </a:p>
        </p:txBody>
      </p:sp>
      <p:sp>
        <p:nvSpPr>
          <p:cNvPr id="140" name="직사각형 139"/>
          <p:cNvSpPr/>
          <p:nvPr/>
        </p:nvSpPr>
        <p:spPr bwMode="auto">
          <a:xfrm>
            <a:off x="385608" y="5064923"/>
            <a:ext cx="324000" cy="76384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S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1435978" y="3531456"/>
            <a:ext cx="756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</a:t>
            </a: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드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수익 집계</a:t>
            </a:r>
            <a:endParaRPr kumimoji="1" lang="en-US" altLang="ko-KR" sz="9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1435978" y="5068854"/>
            <a:ext cx="756000" cy="129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 채권</a:t>
            </a:r>
            <a:endParaRPr kumimoji="1" lang="ko-KR" altLang="en-US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3" name="직선 화살표 연결선 142"/>
          <p:cNvCxnSpPr>
            <a:stCxn id="142" idx="3"/>
            <a:endCxn id="109" idx="1"/>
          </p:cNvCxnSpPr>
          <p:nvPr/>
        </p:nvCxnSpPr>
        <p:spPr bwMode="auto">
          <a:xfrm flipV="1">
            <a:off x="2191978" y="5131934"/>
            <a:ext cx="174931" cy="16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4" name="직사각형 143"/>
          <p:cNvSpPr/>
          <p:nvPr/>
        </p:nvSpPr>
        <p:spPr bwMode="auto">
          <a:xfrm>
            <a:off x="3891494" y="5068854"/>
            <a:ext cx="756000" cy="129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 채권</a:t>
            </a:r>
            <a:endParaRPr kumimoji="1" lang="ko-KR" altLang="en-US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5" name="직선 화살표 연결선 144"/>
          <p:cNvCxnSpPr>
            <a:stCxn id="144" idx="1"/>
            <a:endCxn id="109" idx="3"/>
          </p:cNvCxnSpPr>
          <p:nvPr/>
        </p:nvCxnSpPr>
        <p:spPr bwMode="auto">
          <a:xfrm flipH="1" flipV="1">
            <a:off x="3734909" y="5131934"/>
            <a:ext cx="156585" cy="16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6" name="직사각형 145"/>
          <p:cNvSpPr/>
          <p:nvPr/>
        </p:nvSpPr>
        <p:spPr bwMode="auto">
          <a:xfrm>
            <a:off x="2366909" y="4344952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</a:t>
            </a:r>
          </a:p>
        </p:txBody>
      </p:sp>
      <p:sp>
        <p:nvSpPr>
          <p:cNvPr id="147" name="직사각형 146"/>
          <p:cNvSpPr/>
          <p:nvPr/>
        </p:nvSpPr>
        <p:spPr bwMode="auto">
          <a:xfrm>
            <a:off x="2366909" y="4670351"/>
            <a:ext cx="1368000" cy="1325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금이자</a:t>
            </a:r>
          </a:p>
        </p:txBody>
      </p:sp>
      <p:sp>
        <p:nvSpPr>
          <p:cNvPr id="148" name="직사각형 147"/>
          <p:cNvSpPr/>
          <p:nvPr/>
        </p:nvSpPr>
        <p:spPr bwMode="auto">
          <a:xfrm>
            <a:off x="3906653" y="3531456"/>
            <a:ext cx="756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수익 집계</a:t>
            </a:r>
            <a:endParaRPr kumimoji="1" lang="en-US" altLang="ko-KR" sz="9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왼쪽 대괄호 148"/>
          <p:cNvSpPr/>
          <p:nvPr/>
        </p:nvSpPr>
        <p:spPr bwMode="auto">
          <a:xfrm>
            <a:off x="2283438" y="434108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50" name="왼쪽 대괄호 149"/>
          <p:cNvSpPr/>
          <p:nvPr/>
        </p:nvSpPr>
        <p:spPr bwMode="auto">
          <a:xfrm>
            <a:off x="2283438" y="466425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51" name="왼쪽 대괄호 150"/>
          <p:cNvSpPr/>
          <p:nvPr/>
        </p:nvSpPr>
        <p:spPr bwMode="auto">
          <a:xfrm flipH="1">
            <a:off x="3750364" y="434108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52" name="왼쪽 대괄호 151"/>
          <p:cNvSpPr/>
          <p:nvPr/>
        </p:nvSpPr>
        <p:spPr bwMode="auto">
          <a:xfrm flipH="1">
            <a:off x="3750364" y="4664257"/>
            <a:ext cx="72008" cy="297762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cxnSp>
        <p:nvCxnSpPr>
          <p:cNvPr id="153" name="꺾인 연결선 152"/>
          <p:cNvCxnSpPr>
            <a:endCxn id="134" idx="1"/>
          </p:cNvCxnSpPr>
          <p:nvPr/>
        </p:nvCxnSpPr>
        <p:spPr bwMode="auto">
          <a:xfrm>
            <a:off x="2195513" y="3595688"/>
            <a:ext cx="171396" cy="20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54" name="직선 화살표 연결선 153"/>
          <p:cNvCxnSpPr>
            <a:endCxn id="134" idx="3"/>
          </p:cNvCxnSpPr>
          <p:nvPr/>
        </p:nvCxnSpPr>
        <p:spPr bwMode="auto">
          <a:xfrm flipH="1">
            <a:off x="3734909" y="3595688"/>
            <a:ext cx="170341" cy="20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55" name="TextBox 154"/>
          <p:cNvSpPr txBox="1"/>
          <p:nvPr/>
        </p:nvSpPr>
        <p:spPr bwMode="auto">
          <a:xfrm>
            <a:off x="1420505" y="3789040"/>
            <a:ext cx="805276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영업점 </a:t>
            </a:r>
            <a: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손익배분 수행</a:t>
            </a:r>
          </a:p>
        </p:txBody>
      </p:sp>
      <p:sp>
        <p:nvSpPr>
          <p:cNvPr id="156" name="TextBox 155"/>
          <p:cNvSpPr txBox="1"/>
          <p:nvPr/>
        </p:nvSpPr>
        <p:spPr bwMode="auto">
          <a:xfrm>
            <a:off x="3875060" y="3789040"/>
            <a:ext cx="805276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농축협 </a:t>
            </a:r>
            <a: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손익배분 수행</a:t>
            </a:r>
          </a:p>
        </p:txBody>
      </p:sp>
      <p:grpSp>
        <p:nvGrpSpPr>
          <p:cNvPr id="166" name="그룹 16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6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6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6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7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7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7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7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7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75" name="그룹 17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466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립 회계체계 수립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계정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부 집중 등 독립분사 대비 회계모델을 구축하고 카드회계 정보 활용도 제고 및 회계관리 강화를 위한 계정체계 및 회계처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을 정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회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방안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3" name="직사각형 82"/>
          <p:cNvSpPr/>
          <p:nvPr/>
        </p:nvSpPr>
        <p:spPr bwMode="gray">
          <a:xfrm>
            <a:off x="398464" y="2528052"/>
            <a:ext cx="1854200" cy="10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립분사를 위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계정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부 집중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계모델 구축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gray">
          <a:xfrm>
            <a:off x="398464" y="5115464"/>
            <a:ext cx="1854200" cy="10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 처리기준 정비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gray">
          <a:xfrm>
            <a:off x="2519364" y="2528052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 카드계정의 카드분사 귀속요건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gray">
          <a:xfrm>
            <a:off x="2519364" y="2888052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카드계정의 카드분사 귀속요건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gray">
          <a:xfrm>
            <a:off x="2519364" y="3248052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부문 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/L, B/S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gray">
          <a:xfrm>
            <a:off x="2519364" y="5259180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회계처리 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립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gray">
          <a:xfrm>
            <a:off x="2519364" y="5623180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생주의 회계처리 기준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2" name="꺾인 연결선 91"/>
          <p:cNvCxnSpPr>
            <a:stCxn id="83" idx="3"/>
            <a:endCxn id="86" idx="1"/>
          </p:cNvCxnSpPr>
          <p:nvPr/>
        </p:nvCxnSpPr>
        <p:spPr bwMode="gray">
          <a:xfrm flipV="1">
            <a:off x="2252664" y="2672052"/>
            <a:ext cx="266700" cy="360000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3" name="꺾인 연결선 96"/>
          <p:cNvCxnSpPr>
            <a:stCxn id="83" idx="3"/>
            <a:endCxn id="87" idx="1"/>
          </p:cNvCxnSpPr>
          <p:nvPr/>
        </p:nvCxnSpPr>
        <p:spPr bwMode="gray">
          <a:xfrm>
            <a:off x="2252664" y="3032052"/>
            <a:ext cx="2667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4" name="꺾인 연결선 93"/>
          <p:cNvCxnSpPr>
            <a:stCxn id="83" idx="3"/>
            <a:endCxn id="88" idx="1"/>
          </p:cNvCxnSpPr>
          <p:nvPr/>
        </p:nvCxnSpPr>
        <p:spPr bwMode="gray">
          <a:xfrm>
            <a:off x="2252664" y="3032052"/>
            <a:ext cx="266700" cy="3600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5" name="꺾인 연결선 94"/>
          <p:cNvCxnSpPr>
            <a:stCxn id="106" idx="3"/>
            <a:endCxn id="110" idx="1"/>
          </p:cNvCxnSpPr>
          <p:nvPr/>
        </p:nvCxnSpPr>
        <p:spPr bwMode="gray">
          <a:xfrm flipV="1">
            <a:off x="2252664" y="4131874"/>
            <a:ext cx="266700" cy="18963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6" name="꺾인 연결선 105"/>
          <p:cNvCxnSpPr>
            <a:stCxn id="106" idx="3"/>
            <a:endCxn id="111" idx="1"/>
          </p:cNvCxnSpPr>
          <p:nvPr/>
        </p:nvCxnSpPr>
        <p:spPr bwMode="gray">
          <a:xfrm>
            <a:off x="2252664" y="4321506"/>
            <a:ext cx="266700" cy="17436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7" name="꺾인 연결선 96"/>
          <p:cNvCxnSpPr>
            <a:stCxn id="84" idx="3"/>
            <a:endCxn id="90" idx="1"/>
          </p:cNvCxnSpPr>
          <p:nvPr/>
        </p:nvCxnSpPr>
        <p:spPr bwMode="gray">
          <a:xfrm flipV="1">
            <a:off x="2252664" y="5403180"/>
            <a:ext cx="266700" cy="21628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98" name="꺾인 연결선 109"/>
          <p:cNvCxnSpPr>
            <a:stCxn id="84" idx="3"/>
            <a:endCxn id="91" idx="1"/>
          </p:cNvCxnSpPr>
          <p:nvPr/>
        </p:nvCxnSpPr>
        <p:spPr bwMode="gray">
          <a:xfrm>
            <a:off x="2252664" y="5619464"/>
            <a:ext cx="266700" cy="14771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99" name="직사각형 98"/>
          <p:cNvSpPr/>
          <p:nvPr/>
        </p:nvSpPr>
        <p:spPr bwMode="gray">
          <a:xfrm>
            <a:off x="6096000" y="2417822"/>
            <a:ext cx="3411537" cy="118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36000" rIns="36000" bIns="36000" rtlCol="0" anchor="ctr"/>
          <a:lstStyle/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 수수료 수익의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직별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배분 여부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카드계정 집중 여부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전략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격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ricing)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계 등 결정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/L, B/S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시스템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조직 단위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부문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별</a:t>
            </a:r>
            <a:endParaRPr lang="en-US" altLang="ko-KR" sz="11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직사각형 99"/>
          <p:cNvSpPr/>
          <p:nvPr/>
        </p:nvSpPr>
        <p:spPr bwMode="gray">
          <a:xfrm>
            <a:off x="6096000" y="5085184"/>
            <a:ext cx="3411537" cy="111773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동계리 표준화 및 자동계리의 수동계리 관리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동계리 표준 프로세스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뉴얼 작성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발생주의 회계 적용 가능 여부 결정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사결정 사항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 가계정의 잔액대사 연계 여부 결정</a:t>
            </a:r>
          </a:p>
        </p:txBody>
      </p:sp>
      <p:sp>
        <p:nvSpPr>
          <p:cNvPr id="104" name="이등변 삼각형 103"/>
          <p:cNvSpPr/>
          <p:nvPr/>
        </p:nvSpPr>
        <p:spPr bwMode="auto">
          <a:xfrm rot="5400000">
            <a:off x="5464962" y="2919816"/>
            <a:ext cx="972000" cy="19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직사각형 105"/>
          <p:cNvSpPr/>
          <p:nvPr/>
        </p:nvSpPr>
        <p:spPr bwMode="gray">
          <a:xfrm>
            <a:off x="398464" y="3817506"/>
            <a:ext cx="1854200" cy="10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회계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정체계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비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직사각형 109"/>
          <p:cNvSpPr/>
          <p:nvPr/>
        </p:nvSpPr>
        <p:spPr bwMode="gray">
          <a:xfrm>
            <a:off x="2519364" y="3987874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계정 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ierarchy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gray">
          <a:xfrm>
            <a:off x="2519364" y="4351874"/>
            <a:ext cx="3204000" cy="28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계정 세분화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gray">
          <a:xfrm>
            <a:off x="6096000" y="3880369"/>
            <a:ext cx="3411537" cy="97609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관리 등 미세경영관리 목적의 계정 세분화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지예산 계정 및 수수료 코드 참고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1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BC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열간 비교 가능성 제고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배분 수수료코드 정비와 연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이등변 삼각형 108"/>
          <p:cNvSpPr/>
          <p:nvPr/>
        </p:nvSpPr>
        <p:spPr bwMode="auto">
          <a:xfrm rot="5400000">
            <a:off x="5464962" y="4222162"/>
            <a:ext cx="972000" cy="19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이등변 삼각형 111"/>
          <p:cNvSpPr/>
          <p:nvPr/>
        </p:nvSpPr>
        <p:spPr bwMode="auto">
          <a:xfrm rot="5400000">
            <a:off x="5464962" y="5516364"/>
            <a:ext cx="972000" cy="19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3" name="직선 연결선 112"/>
          <p:cNvCxnSpPr/>
          <p:nvPr/>
        </p:nvCxnSpPr>
        <p:spPr bwMode="auto">
          <a:xfrm flipV="1">
            <a:off x="407777" y="3680746"/>
            <a:ext cx="91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114" name="직선 연결선 113"/>
          <p:cNvCxnSpPr/>
          <p:nvPr/>
        </p:nvCxnSpPr>
        <p:spPr bwMode="auto">
          <a:xfrm flipV="1">
            <a:off x="407777" y="4967230"/>
            <a:ext cx="91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69" name="그룹 6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8" name="그룹 7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50" name="그룹 49"/>
          <p:cNvGrpSpPr/>
          <p:nvPr/>
        </p:nvGrpSpPr>
        <p:grpSpPr>
          <a:xfrm>
            <a:off x="398464" y="1970357"/>
            <a:ext cx="1854200" cy="288147"/>
            <a:chOff x="398464" y="2123721"/>
            <a:chExt cx="1854000" cy="288147"/>
          </a:xfrm>
        </p:grpSpPr>
        <p:sp>
          <p:nvSpPr>
            <p:cNvPr id="51" name="TextBox 50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회계 과제</a:t>
              </a:r>
            </a:p>
          </p:txBody>
        </p:sp>
        <p:cxnSp>
          <p:nvCxnSpPr>
            <p:cNvPr id="52" name="직선 연결선 51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3" name="그룹 52"/>
          <p:cNvGrpSpPr/>
          <p:nvPr/>
        </p:nvGrpSpPr>
        <p:grpSpPr>
          <a:xfrm>
            <a:off x="2519404" y="1970357"/>
            <a:ext cx="3203960" cy="288147"/>
            <a:chOff x="398464" y="2123721"/>
            <a:chExt cx="1854000" cy="288147"/>
          </a:xfrm>
        </p:grpSpPr>
        <p:sp>
          <p:nvSpPr>
            <p:cNvPr id="54" name="TextBox 53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부 추진 사항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5" name="직선 연결선 54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6" name="그룹 55"/>
          <p:cNvGrpSpPr/>
          <p:nvPr/>
        </p:nvGrpSpPr>
        <p:grpSpPr>
          <a:xfrm>
            <a:off x="6095999" y="1970357"/>
            <a:ext cx="3411537" cy="288147"/>
            <a:chOff x="398464" y="2123721"/>
            <a:chExt cx="1854000" cy="288147"/>
          </a:xfrm>
        </p:grpSpPr>
        <p:sp>
          <p:nvSpPr>
            <p:cNvPr id="57" name="TextBox 56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검토 항목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8" name="직선 연결선 57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850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립 회계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정체계 및 회계처리 기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/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P/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산출 요건 등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SI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계에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업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뉴얼 이전 기본 모델 설계를 진행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회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roach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71918" y="2699996"/>
            <a:ext cx="655182" cy="3537315"/>
            <a:chOff x="318829" y="2556536"/>
            <a:chExt cx="756000" cy="3686473"/>
          </a:xfrm>
        </p:grpSpPr>
        <p:sp>
          <p:nvSpPr>
            <p:cNvPr id="84" name="오각형 83"/>
            <p:cNvSpPr/>
            <p:nvPr/>
          </p:nvSpPr>
          <p:spPr bwMode="gray">
            <a:xfrm>
              <a:off x="318829" y="5116792"/>
              <a:ext cx="756000" cy="1126217"/>
            </a:xfrm>
            <a:prstGeom prst="homePlate">
              <a:avLst>
                <a:gd name="adj" fmla="val 15447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계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오각형 84"/>
            <p:cNvSpPr/>
            <p:nvPr/>
          </p:nvSpPr>
          <p:spPr bwMode="gray">
            <a:xfrm>
              <a:off x="318829" y="2556536"/>
              <a:ext cx="756000" cy="1126217"/>
            </a:xfrm>
            <a:prstGeom prst="homePlate">
              <a:avLst>
                <a:gd name="adj" fmla="val 992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정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체계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재정비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오각형 85"/>
            <p:cNvSpPr/>
            <p:nvPr/>
          </p:nvSpPr>
          <p:spPr bwMode="gray">
            <a:xfrm>
              <a:off x="318829" y="3829275"/>
              <a:ext cx="756000" cy="1126217"/>
            </a:xfrm>
            <a:prstGeom prst="homePlate">
              <a:avLst>
                <a:gd name="adj" fmla="val 13767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계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처리기준 정비</a:t>
              </a:r>
              <a:endPara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7" name="오각형 86"/>
          <p:cNvSpPr/>
          <p:nvPr/>
        </p:nvSpPr>
        <p:spPr bwMode="gray">
          <a:xfrm>
            <a:off x="1003128" y="1923824"/>
            <a:ext cx="1603504" cy="30960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smtClean="0"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050" b="0" dirty="0" smtClean="0"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88" name="오각형 87"/>
          <p:cNvSpPr/>
          <p:nvPr/>
        </p:nvSpPr>
        <p:spPr bwMode="gray">
          <a:xfrm>
            <a:off x="2624683" y="1923824"/>
            <a:ext cx="1044934" cy="30960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</a:t>
            </a:r>
          </a:p>
        </p:txBody>
      </p:sp>
      <p:sp>
        <p:nvSpPr>
          <p:cNvPr id="89" name="오각형 88"/>
          <p:cNvSpPr/>
          <p:nvPr/>
        </p:nvSpPr>
        <p:spPr bwMode="gray">
          <a:xfrm>
            <a:off x="3687668" y="1923824"/>
            <a:ext cx="1591464" cy="30960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 smtClean="0"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050" b="0" dirty="0" smtClean="0">
                <a:latin typeface="맑은 고딕" pitchFamily="50" charset="-127"/>
                <a:ea typeface="맑은 고딕" pitchFamily="50" charset="-127"/>
              </a:rPr>
              <a:t>설계</a:t>
            </a:r>
          </a:p>
        </p:txBody>
      </p:sp>
      <p:sp>
        <p:nvSpPr>
          <p:cNvPr id="91" name="직사각형 90"/>
          <p:cNvSpPr/>
          <p:nvPr/>
        </p:nvSpPr>
        <p:spPr bwMode="gray">
          <a:xfrm>
            <a:off x="1263465" y="5156662"/>
            <a:ext cx="771728" cy="10806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/S, P/L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산출 체계 분석</a:t>
            </a:r>
          </a:p>
        </p:txBody>
      </p:sp>
      <p:sp>
        <p:nvSpPr>
          <p:cNvPr id="92" name="직사각형 91"/>
          <p:cNvSpPr/>
          <p:nvPr/>
        </p:nvSpPr>
        <p:spPr bwMode="gray">
          <a:xfrm>
            <a:off x="1003127" y="2699996"/>
            <a:ext cx="534502" cy="10806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행 계정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 분석</a:t>
            </a:r>
          </a:p>
        </p:txBody>
      </p:sp>
      <p:sp>
        <p:nvSpPr>
          <p:cNvPr id="93" name="직사각형 92"/>
          <p:cNvSpPr/>
          <p:nvPr/>
        </p:nvSpPr>
        <p:spPr bwMode="gray">
          <a:xfrm>
            <a:off x="2126957" y="2686812"/>
            <a:ext cx="386028" cy="354950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회 분석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gray">
          <a:xfrm>
            <a:off x="1263465" y="3921239"/>
            <a:ext cx="771728" cy="10806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행 회계 처리 기준 분석</a:t>
            </a:r>
          </a:p>
        </p:txBody>
      </p:sp>
      <p:sp>
        <p:nvSpPr>
          <p:cNvPr id="95" name="직사각형 94"/>
          <p:cNvSpPr/>
          <p:nvPr/>
        </p:nvSpPr>
        <p:spPr bwMode="gray">
          <a:xfrm>
            <a:off x="2635839" y="2686812"/>
            <a:ext cx="916287" cy="354950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방향성 및 과제 상세화</a:t>
            </a:r>
          </a:p>
        </p:txBody>
      </p:sp>
      <p:cxnSp>
        <p:nvCxnSpPr>
          <p:cNvPr id="96" name="직선 화살표 연결선 95"/>
          <p:cNvCxnSpPr>
            <a:stCxn id="92" idx="3"/>
          </p:cNvCxnSpPr>
          <p:nvPr/>
        </p:nvCxnSpPr>
        <p:spPr bwMode="gray">
          <a:xfrm>
            <a:off x="1537629" y="3240321"/>
            <a:ext cx="58932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7" name="직선 화살표 연결선 96"/>
          <p:cNvCxnSpPr>
            <a:stCxn id="94" idx="3"/>
            <a:endCxn id="93" idx="1"/>
          </p:cNvCxnSpPr>
          <p:nvPr/>
        </p:nvCxnSpPr>
        <p:spPr bwMode="gray">
          <a:xfrm flipV="1">
            <a:off x="2035193" y="4461563"/>
            <a:ext cx="91763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8" name="직선 화살표 연결선 97"/>
          <p:cNvCxnSpPr>
            <a:stCxn id="91" idx="3"/>
          </p:cNvCxnSpPr>
          <p:nvPr/>
        </p:nvCxnSpPr>
        <p:spPr bwMode="gray">
          <a:xfrm flipV="1">
            <a:off x="2035193" y="5694108"/>
            <a:ext cx="91763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9" name="직사각형 98"/>
          <p:cNvSpPr/>
          <p:nvPr/>
        </p:nvSpPr>
        <p:spPr bwMode="gray">
          <a:xfrm>
            <a:off x="3709884" y="2686812"/>
            <a:ext cx="463037" cy="10806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</a:t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</a:t>
            </a:r>
          </a:p>
        </p:txBody>
      </p:sp>
      <p:sp>
        <p:nvSpPr>
          <p:cNvPr id="100" name="직사각형 99"/>
          <p:cNvSpPr/>
          <p:nvPr/>
        </p:nvSpPr>
        <p:spPr bwMode="gray">
          <a:xfrm>
            <a:off x="4172920" y="3921239"/>
            <a:ext cx="1106211" cy="10806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계처리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 설계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수수료 귀속기준 설계 포함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직사각형 100"/>
          <p:cNvSpPr/>
          <p:nvPr/>
        </p:nvSpPr>
        <p:spPr bwMode="gray">
          <a:xfrm>
            <a:off x="4172920" y="5156662"/>
            <a:ext cx="1106211" cy="10806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/S, P/L </a:t>
            </a:r>
            <a:br>
              <a: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요건 설계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2" name="꺾인 연결선 101"/>
          <p:cNvCxnSpPr>
            <a:endCxn id="94" idx="1"/>
          </p:cNvCxnSpPr>
          <p:nvPr/>
        </p:nvCxnSpPr>
        <p:spPr bwMode="gray">
          <a:xfrm rot="16200000" flipH="1">
            <a:off x="850107" y="4048204"/>
            <a:ext cx="680917" cy="14580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3" name="꺾인 연결선 102"/>
          <p:cNvCxnSpPr>
            <a:endCxn id="91" idx="1"/>
          </p:cNvCxnSpPr>
          <p:nvPr/>
        </p:nvCxnSpPr>
        <p:spPr bwMode="gray">
          <a:xfrm rot="16200000" flipH="1">
            <a:off x="232394" y="4665915"/>
            <a:ext cx="1916340" cy="145803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4" name="직선 화살표 연결선 103"/>
          <p:cNvCxnSpPr>
            <a:stCxn id="93" idx="3"/>
            <a:endCxn id="95" idx="1"/>
          </p:cNvCxnSpPr>
          <p:nvPr/>
        </p:nvCxnSpPr>
        <p:spPr bwMode="gray">
          <a:xfrm>
            <a:off x="2512985" y="4461563"/>
            <a:ext cx="12285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5" name="직선 화살표 연결선 121"/>
          <p:cNvCxnSpPr>
            <a:stCxn id="95" idx="3"/>
            <a:endCxn id="99" idx="1"/>
          </p:cNvCxnSpPr>
          <p:nvPr/>
        </p:nvCxnSpPr>
        <p:spPr bwMode="gray">
          <a:xfrm flipV="1">
            <a:off x="3552126" y="3227137"/>
            <a:ext cx="157758" cy="12344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6" name="직선 화살표 연결선 121"/>
          <p:cNvCxnSpPr>
            <a:stCxn id="95" idx="3"/>
            <a:endCxn id="101" idx="1"/>
          </p:cNvCxnSpPr>
          <p:nvPr/>
        </p:nvCxnSpPr>
        <p:spPr bwMode="gray">
          <a:xfrm>
            <a:off x="3552126" y="4461563"/>
            <a:ext cx="620794" cy="1235424"/>
          </a:xfrm>
          <a:prstGeom prst="bentConnector3">
            <a:avLst>
              <a:gd name="adj1" fmla="val 12665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7" name="직선 화살표 연결선 121"/>
          <p:cNvCxnSpPr>
            <a:stCxn id="95" idx="3"/>
            <a:endCxn id="100" idx="1"/>
          </p:cNvCxnSpPr>
          <p:nvPr/>
        </p:nvCxnSpPr>
        <p:spPr bwMode="gray">
          <a:xfrm>
            <a:off x="3552126" y="4461563"/>
            <a:ext cx="620794" cy="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8" name="직선 화살표 연결선 107"/>
          <p:cNvCxnSpPr>
            <a:stCxn id="94" idx="2"/>
            <a:endCxn id="91" idx="0"/>
          </p:cNvCxnSpPr>
          <p:nvPr/>
        </p:nvCxnSpPr>
        <p:spPr bwMode="gray">
          <a:xfrm>
            <a:off x="1649330" y="5001888"/>
            <a:ext cx="0" cy="1547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9" name="직선 화살표 연결선 121"/>
          <p:cNvCxnSpPr>
            <a:stCxn id="99" idx="3"/>
            <a:endCxn id="100" idx="0"/>
          </p:cNvCxnSpPr>
          <p:nvPr/>
        </p:nvCxnSpPr>
        <p:spPr bwMode="gray">
          <a:xfrm>
            <a:off x="4172920" y="3227137"/>
            <a:ext cx="553106" cy="69410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2" name="직선 화살표 연결선 111"/>
          <p:cNvCxnSpPr>
            <a:stCxn id="100" idx="2"/>
            <a:endCxn id="101" idx="0"/>
          </p:cNvCxnSpPr>
          <p:nvPr/>
        </p:nvCxnSpPr>
        <p:spPr bwMode="gray">
          <a:xfrm>
            <a:off x="4726026" y="5001888"/>
            <a:ext cx="0" cy="1547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113" name="그룹 112"/>
          <p:cNvGrpSpPr/>
          <p:nvPr/>
        </p:nvGrpSpPr>
        <p:grpSpPr>
          <a:xfrm>
            <a:off x="1003129" y="2319365"/>
            <a:ext cx="4276003" cy="259413"/>
            <a:chOff x="1177924" y="2175349"/>
            <a:chExt cx="5183998" cy="259413"/>
          </a:xfrm>
        </p:grpSpPr>
        <p:cxnSp>
          <p:nvCxnSpPr>
            <p:cNvPr id="114" name="직선 연결선 113"/>
            <p:cNvCxnSpPr/>
            <p:nvPr/>
          </p:nvCxnSpPr>
          <p:spPr bwMode="gray">
            <a:xfrm>
              <a:off x="1177924" y="2365215"/>
              <a:ext cx="518399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5" name="직선 연결선 114"/>
            <p:cNvCxnSpPr/>
            <p:nvPr/>
          </p:nvCxnSpPr>
          <p:spPr bwMode="gray">
            <a:xfrm>
              <a:off x="1177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6" name="직선 연결선 115"/>
            <p:cNvCxnSpPr/>
            <p:nvPr/>
          </p:nvCxnSpPr>
          <p:spPr bwMode="gray">
            <a:xfrm>
              <a:off x="1753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7" name="직선 연결선 116"/>
            <p:cNvCxnSpPr/>
            <p:nvPr/>
          </p:nvCxnSpPr>
          <p:spPr bwMode="gray">
            <a:xfrm>
              <a:off x="2329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8" name="직선 연결선 117"/>
            <p:cNvCxnSpPr/>
            <p:nvPr/>
          </p:nvCxnSpPr>
          <p:spPr bwMode="gray">
            <a:xfrm>
              <a:off x="2905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19" name="직선 연결선 118"/>
            <p:cNvCxnSpPr/>
            <p:nvPr/>
          </p:nvCxnSpPr>
          <p:spPr bwMode="gray">
            <a:xfrm>
              <a:off x="3481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20" name="직선 연결선 119"/>
            <p:cNvCxnSpPr/>
            <p:nvPr/>
          </p:nvCxnSpPr>
          <p:spPr bwMode="gray">
            <a:xfrm>
              <a:off x="4057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21" name="직선 연결선 120"/>
            <p:cNvCxnSpPr/>
            <p:nvPr/>
          </p:nvCxnSpPr>
          <p:spPr bwMode="gray">
            <a:xfrm>
              <a:off x="4633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22" name="직선 연결선 121"/>
            <p:cNvCxnSpPr/>
            <p:nvPr/>
          </p:nvCxnSpPr>
          <p:spPr bwMode="gray">
            <a:xfrm>
              <a:off x="5209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23" name="직선 연결선 122"/>
            <p:cNvCxnSpPr/>
            <p:nvPr/>
          </p:nvCxnSpPr>
          <p:spPr bwMode="gray">
            <a:xfrm>
              <a:off x="6361922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24" name="TextBox 123"/>
            <p:cNvSpPr txBox="1"/>
            <p:nvPr/>
          </p:nvSpPr>
          <p:spPr bwMode="gray">
            <a:xfrm>
              <a:off x="1288266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1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5" name="TextBox 124"/>
            <p:cNvSpPr txBox="1"/>
            <p:nvPr/>
          </p:nvSpPr>
          <p:spPr bwMode="gray">
            <a:xfrm>
              <a:off x="1871309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2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TextBox 125"/>
            <p:cNvSpPr txBox="1"/>
            <p:nvPr/>
          </p:nvSpPr>
          <p:spPr bwMode="gray">
            <a:xfrm>
              <a:off x="2454352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3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7" name="TextBox 126"/>
            <p:cNvSpPr txBox="1"/>
            <p:nvPr/>
          </p:nvSpPr>
          <p:spPr bwMode="gray">
            <a:xfrm>
              <a:off x="3037395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4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8" name="TextBox 127"/>
            <p:cNvSpPr txBox="1"/>
            <p:nvPr/>
          </p:nvSpPr>
          <p:spPr bwMode="gray">
            <a:xfrm>
              <a:off x="3620438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5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9" name="TextBox 128"/>
            <p:cNvSpPr txBox="1"/>
            <p:nvPr/>
          </p:nvSpPr>
          <p:spPr bwMode="gray">
            <a:xfrm>
              <a:off x="4203481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6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0" name="TextBox 129"/>
            <p:cNvSpPr txBox="1"/>
            <p:nvPr/>
          </p:nvSpPr>
          <p:spPr bwMode="gray">
            <a:xfrm>
              <a:off x="4742074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7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1" name="TextBox 130"/>
            <p:cNvSpPr txBox="1"/>
            <p:nvPr/>
          </p:nvSpPr>
          <p:spPr bwMode="gray">
            <a:xfrm>
              <a:off x="5952612" y="2175349"/>
              <a:ext cx="242622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9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2" name="TextBox 131"/>
            <p:cNvSpPr txBox="1"/>
            <p:nvPr/>
          </p:nvSpPr>
          <p:spPr bwMode="gray">
            <a:xfrm>
              <a:off x="5312417" y="2175349"/>
              <a:ext cx="242621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8</a:t>
              </a:r>
              <a:endParaRPr lang="ko-KR" altLang="en-US" sz="900" b="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3" name="직선 연결선 132"/>
            <p:cNvCxnSpPr/>
            <p:nvPr/>
          </p:nvCxnSpPr>
          <p:spPr bwMode="gray">
            <a:xfrm>
              <a:off x="5785924" y="2295669"/>
              <a:ext cx="0" cy="1390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aphicFrame>
        <p:nvGraphicFramePr>
          <p:cNvPr id="7" name="표 6"/>
          <p:cNvGraphicFramePr>
            <a:graphicFrameLocks noGrp="1"/>
          </p:cNvGraphicFramePr>
          <p:nvPr>
            <p:extLst/>
          </p:nvPr>
        </p:nvGraphicFramePr>
        <p:xfrm>
          <a:off x="5511351" y="1911721"/>
          <a:ext cx="4122170" cy="4324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849"/>
                <a:gridCol w="2880321"/>
              </a:tblGrid>
              <a:tr h="3074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업무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505696">
                <a:tc>
                  <a:txBody>
                    <a:bodyPr/>
                    <a:lstStyle/>
                    <a:p>
                      <a:pPr algn="ctr" latinLnBrk="0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행 카드회계 계정체계 분석 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 계정체계 세분화 사항 분석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0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kumimoji="1" lang="ko-KR" altLang="en-US" sz="10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각종 손익배분코드</a:t>
                      </a:r>
                      <a:r>
                        <a:rPr kumimoji="1" lang="ko-KR" altLang="en-US" sz="10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고려</a:t>
                      </a:r>
                      <a:r>
                        <a:rPr kumimoji="1" lang="en-US" altLang="ko-KR" sz="10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10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8194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행 카드회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처리기준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과목별 발생주의 회계 적용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현황 및 </a:t>
                      </a:r>
                      <a:r>
                        <a:rPr lang="ko-KR" altLang="en-US" sz="100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통별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회계원칙 및 적용 현황 분석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5696">
                <a:tc>
                  <a:txBody>
                    <a:bodyPr/>
                    <a:lstStyle/>
                    <a:p>
                      <a:pPr algn="ctr" latinLnBrk="0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/S, P/L </a:t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산출 체계 분석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/S, P/L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성 항목별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발생 원천 분석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81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 및 개선기회 분석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 현황 분석 결과를 종합하여 이슈 및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기회 정의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8194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선방향성 및 과제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세화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방향성 도출 및 차세대 방향성 확정 및 과제 상세화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8194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정체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체계 상세화 및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erarchy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4820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계처리기준 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주의 회계처리 기준 도입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코드 분리 및 영업점 카드수수료 귀속 요건 설계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8194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/S, P/L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산출 요건 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부문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별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/S, P/L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 요건 설계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79" name="그룹 7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3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5" name="그룹 13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760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립 회계체계 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의 독립 재무제표가 산출되도록 회계시스템 개편을 검토하고</a:t>
            </a:r>
            <a:r>
              <a:rPr kumimoji="1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한 프로세스와 기능을 정의함</a:t>
            </a:r>
            <a:endParaRPr kumimoji="1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분사 재무제표 산출방안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1" name="TextBox 60"/>
          <p:cNvSpPr txBox="1"/>
          <p:nvPr/>
        </p:nvSpPr>
        <p:spPr bwMode="auto">
          <a:xfrm>
            <a:off x="1012428" y="2296728"/>
            <a:ext cx="354832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원천</a:t>
            </a:r>
          </a:p>
        </p:txBody>
      </p:sp>
      <p:cxnSp>
        <p:nvCxnSpPr>
          <p:cNvPr id="63" name="직선 연결선 62"/>
          <p:cNvCxnSpPr/>
          <p:nvPr/>
        </p:nvCxnSpPr>
        <p:spPr bwMode="auto">
          <a:xfrm>
            <a:off x="514603" y="2525201"/>
            <a:ext cx="12600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 bwMode="auto">
          <a:xfrm>
            <a:off x="1953971" y="2296728"/>
            <a:ext cx="636961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농협은행</a:t>
            </a:r>
          </a:p>
        </p:txBody>
      </p:sp>
      <p:cxnSp>
        <p:nvCxnSpPr>
          <p:cNvPr id="67" name="직선 연결선 66"/>
          <p:cNvCxnSpPr/>
          <p:nvPr/>
        </p:nvCxnSpPr>
        <p:spPr bwMode="auto">
          <a:xfrm>
            <a:off x="1835327" y="2525201"/>
            <a:ext cx="87425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4" name="TextBox 73"/>
          <p:cNvSpPr txBox="1"/>
          <p:nvPr/>
        </p:nvSpPr>
        <p:spPr bwMode="auto">
          <a:xfrm>
            <a:off x="5065310" y="2296728"/>
            <a:ext cx="495895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농축협</a:t>
            </a:r>
            <a:endParaRPr lang="ko-KR" altLang="en-US" sz="1100" baseline="300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75" name="직선 연결선 74"/>
          <p:cNvCxnSpPr/>
          <p:nvPr/>
        </p:nvCxnSpPr>
        <p:spPr bwMode="auto">
          <a:xfrm>
            <a:off x="4670213" y="2525201"/>
            <a:ext cx="11124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8" name="TextBox 77"/>
          <p:cNvSpPr txBox="1"/>
          <p:nvPr/>
        </p:nvSpPr>
        <p:spPr bwMode="auto">
          <a:xfrm>
            <a:off x="3382545" y="2296728"/>
            <a:ext cx="636962" cy="241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분사</a:t>
            </a:r>
          </a:p>
        </p:txBody>
      </p:sp>
      <p:cxnSp>
        <p:nvCxnSpPr>
          <p:cNvPr id="79" name="직선 연결선 78"/>
          <p:cNvCxnSpPr/>
          <p:nvPr/>
        </p:nvCxnSpPr>
        <p:spPr bwMode="auto">
          <a:xfrm>
            <a:off x="2911169" y="2525201"/>
            <a:ext cx="1579727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9" name="직사각형 38"/>
          <p:cNvSpPr/>
          <p:nvPr/>
        </p:nvSpPr>
        <p:spPr bwMode="auto">
          <a:xfrm>
            <a:off x="519988" y="2635457"/>
            <a:ext cx="510526" cy="215253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PL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2911544" y="2879651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처리비용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2911544" y="3123846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2911544" y="3368040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카드수수료비용</a:t>
            </a:r>
          </a:p>
        </p:txBody>
      </p:sp>
      <p:sp>
        <p:nvSpPr>
          <p:cNvPr id="43" name="직사각형 42"/>
          <p:cNvSpPr/>
          <p:nvPr/>
        </p:nvSpPr>
        <p:spPr bwMode="auto">
          <a:xfrm>
            <a:off x="2911544" y="3612234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카드수수료비용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911544" y="4100623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판관비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2911544" y="4589009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퇴직급여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산재보험</a:t>
            </a:r>
          </a:p>
        </p:txBody>
      </p:sp>
      <p:sp>
        <p:nvSpPr>
          <p:cNvPr id="46" name="직사각형 45"/>
          <p:cNvSpPr/>
          <p:nvPr/>
        </p:nvSpPr>
        <p:spPr bwMode="auto">
          <a:xfrm>
            <a:off x="2911544" y="4938110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카드채권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2911544" y="5176991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용고정자산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2911544" y="5415871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자산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타부채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2911544" y="5654752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유가증권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자산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2911544" y="5893630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내부자본금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입부채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1054396" y="2635457"/>
            <a:ext cx="706552" cy="117576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sp>
        <p:nvSpPr>
          <p:cNvPr id="68" name="직사각형 67"/>
          <p:cNvSpPr/>
          <p:nvPr/>
        </p:nvSpPr>
        <p:spPr bwMode="auto">
          <a:xfrm>
            <a:off x="1836786" y="2635459"/>
            <a:ext cx="872800" cy="68737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귀속사무소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1054396" y="3850626"/>
            <a:ext cx="706552" cy="4521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1054396" y="4350443"/>
            <a:ext cx="706552" cy="43406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종수</a:t>
            </a:r>
          </a:p>
        </p:txBody>
      </p:sp>
      <p:cxnSp>
        <p:nvCxnSpPr>
          <p:cNvPr id="71" name="직선 연결선 70"/>
          <p:cNvCxnSpPr/>
          <p:nvPr/>
        </p:nvCxnSpPr>
        <p:spPr bwMode="auto">
          <a:xfrm>
            <a:off x="532197" y="4862509"/>
            <a:ext cx="490430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6" name="직사각형 75"/>
          <p:cNvSpPr/>
          <p:nvPr/>
        </p:nvSpPr>
        <p:spPr bwMode="auto">
          <a:xfrm>
            <a:off x="4671673" y="2635459"/>
            <a:ext cx="1113408" cy="68737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귀속사무소</a:t>
            </a: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</a:p>
        </p:txBody>
      </p:sp>
      <p:cxnSp>
        <p:nvCxnSpPr>
          <p:cNvPr id="80" name="꺾인 연결선 79"/>
          <p:cNvCxnSpPr>
            <a:stCxn id="82" idx="1"/>
            <a:endCxn id="41" idx="1"/>
          </p:cNvCxnSpPr>
          <p:nvPr/>
        </p:nvCxnSpPr>
        <p:spPr bwMode="auto">
          <a:xfrm rot="10800000" flipV="1">
            <a:off x="2911544" y="2734948"/>
            <a:ext cx="14662" cy="488389"/>
          </a:xfrm>
          <a:prstGeom prst="bentConnector3">
            <a:avLst>
              <a:gd name="adj1" fmla="val 412504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1" name="직선 화살표 연결선 80"/>
          <p:cNvCxnSpPr>
            <a:stCxn id="68" idx="3"/>
          </p:cNvCxnSpPr>
          <p:nvPr/>
        </p:nvCxnSpPr>
        <p:spPr bwMode="auto">
          <a:xfrm>
            <a:off x="2709586" y="2979145"/>
            <a:ext cx="152988" cy="308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2" name="직사각형 81"/>
          <p:cNvSpPr/>
          <p:nvPr/>
        </p:nvSpPr>
        <p:spPr bwMode="auto">
          <a:xfrm>
            <a:off x="2911544" y="2635457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판수익</a:t>
            </a:r>
          </a:p>
        </p:txBody>
      </p:sp>
      <p:cxnSp>
        <p:nvCxnSpPr>
          <p:cNvPr id="83" name="꺾인 연결선 82"/>
          <p:cNvCxnSpPr>
            <a:stCxn id="82" idx="3"/>
            <a:endCxn id="41" idx="3"/>
          </p:cNvCxnSpPr>
          <p:nvPr/>
        </p:nvCxnSpPr>
        <p:spPr bwMode="auto">
          <a:xfrm>
            <a:off x="4490896" y="2734950"/>
            <a:ext cx="14662" cy="488389"/>
          </a:xfrm>
          <a:prstGeom prst="bentConnector3">
            <a:avLst>
              <a:gd name="adj1" fmla="val 250000"/>
            </a:avLst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4" name="직선 화살표 연결선 83"/>
          <p:cNvCxnSpPr>
            <a:stCxn id="76" idx="1"/>
          </p:cNvCxnSpPr>
          <p:nvPr/>
        </p:nvCxnSpPr>
        <p:spPr bwMode="auto">
          <a:xfrm flipH="1">
            <a:off x="4525237" y="2979146"/>
            <a:ext cx="146436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5" name="직사각형 84"/>
          <p:cNvSpPr/>
          <p:nvPr/>
        </p:nvSpPr>
        <p:spPr bwMode="auto">
          <a:xfrm>
            <a:off x="1054396" y="4938789"/>
            <a:ext cx="706552" cy="19830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회계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1054396" y="5175670"/>
            <a:ext cx="706552" cy="43918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1054396" y="5653433"/>
            <a:ext cx="706552" cy="43918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기 집계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산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519988" y="4937027"/>
            <a:ext cx="510526" cy="1169404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BS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836786" y="3379808"/>
            <a:ext cx="872800" cy="3782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 수익</a:t>
            </a:r>
            <a:endParaRPr kumimoji="1" lang="en-US" altLang="ko-KR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0" name="직선 화살표 연결선 89"/>
          <p:cNvCxnSpPr>
            <a:endCxn id="42" idx="1"/>
          </p:cNvCxnSpPr>
          <p:nvPr/>
        </p:nvCxnSpPr>
        <p:spPr bwMode="auto">
          <a:xfrm>
            <a:off x="2709586" y="3463939"/>
            <a:ext cx="201957" cy="359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1" name="직사각형 90"/>
          <p:cNvSpPr/>
          <p:nvPr/>
        </p:nvSpPr>
        <p:spPr bwMode="auto">
          <a:xfrm>
            <a:off x="1836786" y="4942927"/>
            <a:ext cx="872800" cy="1941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관</a:t>
            </a:r>
          </a:p>
        </p:txBody>
      </p:sp>
      <p:cxnSp>
        <p:nvCxnSpPr>
          <p:cNvPr id="92" name="직선 화살표 연결선 91"/>
          <p:cNvCxnSpPr>
            <a:stCxn id="91" idx="3"/>
            <a:endCxn id="46" idx="1"/>
          </p:cNvCxnSpPr>
          <p:nvPr/>
        </p:nvCxnSpPr>
        <p:spPr bwMode="auto">
          <a:xfrm flipV="1">
            <a:off x="2709586" y="5037603"/>
            <a:ext cx="201957" cy="240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3" name="직사각형 92"/>
          <p:cNvSpPr/>
          <p:nvPr/>
        </p:nvSpPr>
        <p:spPr bwMode="auto">
          <a:xfrm>
            <a:off x="4671673" y="4942927"/>
            <a:ext cx="1113408" cy="1941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B3A87"/>
            </a:solidFill>
            <a:prstDash val="sys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관</a:t>
            </a:r>
          </a:p>
        </p:txBody>
      </p:sp>
      <p:cxnSp>
        <p:nvCxnSpPr>
          <p:cNvPr id="94" name="직선 화살표 연결선 93"/>
          <p:cNvCxnSpPr>
            <a:stCxn id="93" idx="1"/>
            <a:endCxn id="46" idx="3"/>
          </p:cNvCxnSpPr>
          <p:nvPr/>
        </p:nvCxnSpPr>
        <p:spPr bwMode="auto">
          <a:xfrm flipH="1" flipV="1">
            <a:off x="4490896" y="5037602"/>
            <a:ext cx="180777" cy="24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5" name="직사각형 94"/>
          <p:cNvSpPr/>
          <p:nvPr/>
        </p:nvSpPr>
        <p:spPr bwMode="auto">
          <a:xfrm>
            <a:off x="2911544" y="3856427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2911544" y="4344816"/>
            <a:ext cx="1579352" cy="198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금이자</a:t>
            </a:r>
          </a:p>
        </p:txBody>
      </p:sp>
      <p:sp>
        <p:nvSpPr>
          <p:cNvPr id="97" name="직사각형 96"/>
          <p:cNvSpPr/>
          <p:nvPr/>
        </p:nvSpPr>
        <p:spPr bwMode="auto">
          <a:xfrm>
            <a:off x="4689174" y="3528134"/>
            <a:ext cx="1113408" cy="3782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카드 수수료 수익</a:t>
            </a:r>
            <a:endParaRPr kumimoji="1" lang="en-US" altLang="ko-KR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8" name="직선 화살표 연결선 97"/>
          <p:cNvCxnSpPr/>
          <p:nvPr/>
        </p:nvCxnSpPr>
        <p:spPr bwMode="auto">
          <a:xfrm>
            <a:off x="4484366" y="3730918"/>
            <a:ext cx="201957" cy="359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9" name="왼쪽 대괄호 98"/>
          <p:cNvSpPr/>
          <p:nvPr/>
        </p:nvSpPr>
        <p:spPr bwMode="auto">
          <a:xfrm>
            <a:off x="2815177" y="3850626"/>
            <a:ext cx="83133" cy="446909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1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0" name="왼쪽 대괄호 99"/>
          <p:cNvSpPr/>
          <p:nvPr/>
        </p:nvSpPr>
        <p:spPr bwMode="auto">
          <a:xfrm>
            <a:off x="2815177" y="4335670"/>
            <a:ext cx="83133" cy="446909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1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1" name="왼쪽 대괄호 100"/>
          <p:cNvSpPr/>
          <p:nvPr/>
        </p:nvSpPr>
        <p:spPr bwMode="auto">
          <a:xfrm flipH="1">
            <a:off x="4508739" y="3850626"/>
            <a:ext cx="83133" cy="446909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1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sp>
        <p:nvSpPr>
          <p:cNvPr id="102" name="왼쪽 대괄호 101"/>
          <p:cNvSpPr/>
          <p:nvPr/>
        </p:nvSpPr>
        <p:spPr bwMode="auto">
          <a:xfrm flipH="1">
            <a:off x="4508739" y="4335670"/>
            <a:ext cx="83133" cy="446909"/>
          </a:xfrm>
          <a:prstGeom prst="leftBracke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1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Optima" pitchFamily="2" charset="2"/>
              <a:ea typeface="가는각진제목체" pitchFamily="18" charset="-127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517450" y="1873852"/>
            <a:ext cx="5256000" cy="301984"/>
            <a:chOff x="517450" y="1873852"/>
            <a:chExt cx="5256000" cy="301984"/>
          </a:xfrm>
        </p:grpSpPr>
        <p:sp>
          <p:nvSpPr>
            <p:cNvPr id="123" name="TextBox 122"/>
            <p:cNvSpPr txBox="1"/>
            <p:nvPr/>
          </p:nvSpPr>
          <p:spPr bwMode="gray">
            <a:xfrm>
              <a:off x="532197" y="1873852"/>
              <a:ext cx="5212891" cy="2727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 재무제표 산출방안</a:t>
              </a:r>
            </a:p>
          </p:txBody>
        </p:sp>
        <p:cxnSp>
          <p:nvCxnSpPr>
            <p:cNvPr id="125" name="직선 연결선 124"/>
            <p:cNvCxnSpPr/>
            <p:nvPr/>
          </p:nvCxnSpPr>
          <p:spPr bwMode="auto">
            <a:xfrm>
              <a:off x="517450" y="2175836"/>
              <a:ext cx="5256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106" name="직사각형 105"/>
          <p:cNvSpPr/>
          <p:nvPr/>
        </p:nvSpPr>
        <p:spPr bwMode="auto">
          <a:xfrm>
            <a:off x="6155795" y="2374280"/>
            <a:ext cx="3252514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 영업점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손익 카드분사로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관</a:t>
            </a:r>
          </a:p>
        </p:txBody>
      </p:sp>
      <p:sp>
        <p:nvSpPr>
          <p:cNvPr id="122" name="TextBox 121"/>
          <p:cNvSpPr txBox="1"/>
          <p:nvPr/>
        </p:nvSpPr>
        <p:spPr bwMode="auto">
          <a:xfrm>
            <a:off x="6176061" y="2778614"/>
            <a:ext cx="3233855" cy="8513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은행 채권 및 회원손익을 카드분사로 이전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점은 업무대행수수료를 회계상 반영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anose="05000000000000000000" pitchFamily="2" charset="2"/>
              </a:rPr>
              <a:t>영업점과 손익배분 프로세스 불필요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anose="05000000000000000000" pitchFamily="2" charset="2"/>
              </a:rPr>
              <a:t>)</a:t>
            </a: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  <a:sym typeface="Wingdings" panose="05000000000000000000" pitchFamily="2" charset="2"/>
              </a:rPr>
              <a:t>영업점 카드업무는 기존처럼 영업점에서 수행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6148162" y="3785974"/>
            <a:ext cx="3252514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채권 및 회원손익의 카드분사 이관</a:t>
            </a:r>
          </a:p>
        </p:txBody>
      </p:sp>
      <p:sp>
        <p:nvSpPr>
          <p:cNvPr id="127" name="TextBox 126"/>
          <p:cNvSpPr txBox="1"/>
          <p:nvPr/>
        </p:nvSpPr>
        <p:spPr bwMode="auto">
          <a:xfrm>
            <a:off x="6176061" y="4190308"/>
            <a:ext cx="3233855" cy="102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분사와 수수료 정산체계를 선택한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농축협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대상으로 채권 및 회원손익을 카드분사로 이관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해당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농축협과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업무대행수수료 체계로 정산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존 업무 중 모집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회원편의 업무만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농축협에서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수행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6137549" y="5244255"/>
            <a:ext cx="3252514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 재무제표 산출</a:t>
            </a:r>
          </a:p>
        </p:txBody>
      </p:sp>
      <p:sp>
        <p:nvSpPr>
          <p:cNvPr id="129" name="TextBox 128"/>
          <p:cNvSpPr txBox="1"/>
          <p:nvPr/>
        </p:nvSpPr>
        <p:spPr bwMode="auto">
          <a:xfrm>
            <a:off x="6176061" y="5648589"/>
            <a:ext cx="3233855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 뿐만 아니라 은행 재무제표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은행 종수 데이터를 집계하여 카드분사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PL, BS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산출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PL, BS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산출 조직단위 결정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부문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vs.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부서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</p:txBody>
      </p:sp>
      <p:grpSp>
        <p:nvGrpSpPr>
          <p:cNvPr id="118" name="그룹 11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3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3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3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3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4" name="그룹 13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03" name="그룹 102"/>
          <p:cNvGrpSpPr/>
          <p:nvPr/>
        </p:nvGrpSpPr>
        <p:grpSpPr>
          <a:xfrm>
            <a:off x="6198874" y="1873852"/>
            <a:ext cx="3118215" cy="301984"/>
            <a:chOff x="517450" y="1873852"/>
            <a:chExt cx="5256000" cy="301984"/>
          </a:xfrm>
        </p:grpSpPr>
        <p:sp>
          <p:nvSpPr>
            <p:cNvPr id="107" name="TextBox 106"/>
            <p:cNvSpPr txBox="1"/>
            <p:nvPr/>
          </p:nvSpPr>
          <p:spPr bwMode="gray">
            <a:xfrm>
              <a:off x="532197" y="1873852"/>
              <a:ext cx="5212891" cy="2727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상세화 방안</a:t>
              </a:r>
              <a:endParaRPr lang="ko-KR" altLang="en-US" sz="13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8" name="직선 연결선 107"/>
            <p:cNvCxnSpPr/>
            <p:nvPr/>
          </p:nvCxnSpPr>
          <p:spPr bwMode="auto">
            <a:xfrm>
              <a:off x="517450" y="2175836"/>
              <a:ext cx="5256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0407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립 회계체계 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반적으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추진단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주도로 현황 분석 및 </a:t>
            </a:r>
            <a:r>
              <a:rPr lang="ko-KR" altLang="en-US" dirty="0" smtClean="0"/>
              <a:t>계정체계 설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진행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컨설팅 부문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련 사례와 내부 소통을 위한 개선방향성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정의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문서화를 지원함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회계 계정체계 및 처리기준 정비 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aphicFrame>
        <p:nvGraphicFramePr>
          <p:cNvPr id="28" name="내용 개체 틀 2"/>
          <p:cNvGraphicFramePr>
            <a:graphicFrameLocks/>
          </p:cNvGraphicFramePr>
          <p:nvPr>
            <p:extLst/>
          </p:nvPr>
        </p:nvGraphicFramePr>
        <p:xfrm>
          <a:off x="560512" y="1909663"/>
          <a:ext cx="8790001" cy="4289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  <a:gridCol w="5472608"/>
                <a:gridCol w="1661209"/>
              </a:tblGrid>
              <a:tr h="265753"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및 설계사항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분장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571193">
                <a:tc>
                  <a:txBody>
                    <a:bodyPr/>
                    <a:lstStyle/>
                    <a:p>
                      <a:pPr algn="ctr" latinLnBrk="0">
                        <a:spcBef>
                          <a:spcPts val="3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행 카드회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정체계 분석 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 계정체계를 계층구조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erarchy)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적정성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정보 세분화 관점에서 분석</a:t>
                      </a:r>
                      <a:endParaRPr lang="en-US" altLang="ko-KR" sz="11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지예산 계정 및 각종 손익배분코드</a:t>
                      </a:r>
                      <a:r>
                        <a:rPr kumimoji="1" lang="ko-KR" altLang="en-US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고려 및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사 사례 비교 분석</a:t>
                      </a:r>
                      <a:endParaRPr lang="en-US" altLang="ko-KR" sz="11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단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도 수행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턴트 가이드 제공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0087"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행 카드회계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처리기준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과목별 발생주의 회계 미비 계정 식별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통별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회계원칙 및 적용 현황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/>
                </a:tc>
              </a:tr>
              <a:tr h="571193">
                <a:tc>
                  <a:txBody>
                    <a:bodyPr/>
                    <a:lstStyle/>
                    <a:p>
                      <a:pPr algn="ctr" latinLnBrk="0">
                        <a:spcBef>
                          <a:spcPts val="3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/S, P/L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산출 체계 분석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/S, P/L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성 항목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과목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 발생 원천 분석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지원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수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코드 분리 영향도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/>
                </a:tc>
              </a:tr>
              <a:tr h="331328"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 및 개선기회 분석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 현황 분석 결과를 종합하여 이슈 및 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기회를 정의함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단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도 수행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턴트는 과제 상세화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서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작성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1193"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선방향성 및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과제 현행화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세화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 및 개선기회에 기반하여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방향성을 도출하여 차세대 방향성을 확정하고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P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현행화 및 상세화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사결정사항이 있는 경우 확정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/>
                </a:tc>
              </a:tr>
              <a:tr h="57119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Clr>
                          <a:schemeClr val="bg2"/>
                        </a:buClr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정체계 설계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관리 및 계열간의 비교 가능성을 고려한 카드회계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체계 상세화 및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erarchy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en-US" altLang="ko-KR" sz="11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배분코드 체계 정비와 연계 수행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Bef>
                          <a:spcPts val="300"/>
                        </a:spcBef>
                      </a:pP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단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작성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턴트 사례 및 가이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4165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계처리 기준 설계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주의 회계처리 기준 도입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상 계정 식별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 기준 설계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코드 분리 및 영업점 카드 수수료 귀속 요건 설계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턴트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단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동 수행</a:t>
                      </a: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008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/S, P/L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산출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요건 설계</a:t>
                      </a:r>
                    </a:p>
                  </a:txBody>
                  <a:tcPr marL="54000" marR="5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부문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별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/S, P/L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 요건 설계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단위 산출 여부는 과제 </a:t>
                      </a:r>
                      <a:r>
                        <a:rPr lang="ko-KR" altLang="en-US" sz="11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시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확정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4000" marR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/>
                </a:tc>
              </a:tr>
            </a:tbl>
          </a:graphicData>
        </a:graphic>
      </p:graphicFrame>
      <p:grpSp>
        <p:nvGrpSpPr>
          <p:cNvPr id="32" name="그룹 3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3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3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3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4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1" name="그룹 4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4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782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상품 손익관리체계 고도화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상품 손익관리체계를 고도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동 시스템을 확장하여 본부사업부 손익관리 및 모집채널 손익이 산출되도록 개선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 손익분석 관리 고도화 및 사후관리를 위한 운영 프로세스 개선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업부조직 및 모집채널 손익분석체계 구축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 운영의 효율성을 지원할 수 있는 사전</a:t>
            </a:r>
            <a:r>
              <a:rPr kumimoji="0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후 모니터링 체계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련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성과관리와 연계한 조직 손익 산출 체계 마련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TextBox 176"/>
          <p:cNvSpPr txBox="1"/>
          <p:nvPr/>
        </p:nvSpPr>
        <p:spPr bwMode="auto">
          <a:xfrm>
            <a:off x="5341257" y="5785749"/>
            <a:ext cx="4287652" cy="4240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ts val="1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사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사후 손익 분석 관리 기능 강화 및 사후관리 개선 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ts val="1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본부사업부별 및 모집채널 손익분석체계 개선 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445524" y="5785749"/>
            <a:ext cx="4219444" cy="4240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ts val="1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상품 사전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사후 분석기준과 상품손익 데이터간 기준 불일치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ts val="1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조직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세부단위 손익 산출 및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채널 손익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산출 불가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8" name="이등변 삼각형 37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291269" y="330009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5519539" y="3295871"/>
            <a:ext cx="1613189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수익성분석시스템 고도화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5291269" y="4403991"/>
            <a:ext cx="2122728" cy="133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7465771" y="4403991"/>
            <a:ext cx="2122728" cy="133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291269" y="417227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 bwMode="auto">
          <a:xfrm>
            <a:off x="5519539" y="4168051"/>
            <a:ext cx="1347090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본부사업 조직 손익 산출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5291269" y="3528486"/>
            <a:ext cx="4297230" cy="618992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 bwMode="auto">
          <a:xfrm>
            <a:off x="5388746" y="3682449"/>
            <a:ext cx="540000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회계</a:t>
            </a:r>
          </a:p>
        </p:txBody>
      </p:sp>
      <p:pic>
        <p:nvPicPr>
          <p:cNvPr id="56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780" y="3548190"/>
            <a:ext cx="284084" cy="1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780" y="3844698"/>
            <a:ext cx="284084" cy="1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TextBox 57"/>
          <p:cNvSpPr txBox="1"/>
          <p:nvPr/>
        </p:nvSpPr>
        <p:spPr bwMode="auto">
          <a:xfrm>
            <a:off x="5293990" y="3989323"/>
            <a:ext cx="792000" cy="1648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원장</a:t>
            </a:r>
          </a:p>
        </p:txBody>
      </p:sp>
      <p:sp>
        <p:nvSpPr>
          <p:cNvPr id="59" name="TextBox 58"/>
          <p:cNvSpPr txBox="1"/>
          <p:nvPr/>
        </p:nvSpPr>
        <p:spPr bwMode="auto">
          <a:xfrm>
            <a:off x="6730177" y="3865868"/>
            <a:ext cx="540000" cy="2685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회계원장</a:t>
            </a:r>
          </a:p>
        </p:txBody>
      </p:sp>
      <p:pic>
        <p:nvPicPr>
          <p:cNvPr id="60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211" y="3716143"/>
            <a:ext cx="284084" cy="1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" name="꺾인 연결선 60"/>
          <p:cNvCxnSpPr>
            <a:stCxn id="56" idx="3"/>
            <a:endCxn id="60" idx="1"/>
          </p:cNvCxnSpPr>
          <p:nvPr/>
        </p:nvCxnSpPr>
        <p:spPr bwMode="auto">
          <a:xfrm>
            <a:off x="5796864" y="3638277"/>
            <a:ext cx="1057347" cy="167953"/>
          </a:xfrm>
          <a:prstGeom prst="bentConnector3">
            <a:avLst>
              <a:gd name="adj1" fmla="val 20873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2" name="꺾인 연결선 61"/>
          <p:cNvCxnSpPr>
            <a:stCxn id="57" idx="3"/>
            <a:endCxn id="60" idx="1"/>
          </p:cNvCxnSpPr>
          <p:nvPr/>
        </p:nvCxnSpPr>
        <p:spPr bwMode="auto">
          <a:xfrm flipV="1">
            <a:off x="5796864" y="3806231"/>
            <a:ext cx="1057347" cy="128554"/>
          </a:xfrm>
          <a:prstGeom prst="bentConnector3">
            <a:avLst>
              <a:gd name="adj1" fmla="val 21173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3" name="직사각형 62"/>
          <p:cNvSpPr/>
          <p:nvPr/>
        </p:nvSpPr>
        <p:spPr bwMode="auto">
          <a:xfrm>
            <a:off x="8057502" y="3660258"/>
            <a:ext cx="1301169" cy="296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손익 정교화</a:t>
            </a:r>
          </a:p>
        </p:txBody>
      </p:sp>
      <p:cxnSp>
        <p:nvCxnSpPr>
          <p:cNvPr id="64" name="직선 화살표 연결선 63"/>
          <p:cNvCxnSpPr>
            <a:stCxn id="60" idx="3"/>
            <a:endCxn id="63" idx="1"/>
          </p:cNvCxnSpPr>
          <p:nvPr/>
        </p:nvCxnSpPr>
        <p:spPr bwMode="auto">
          <a:xfrm>
            <a:off x="7138295" y="3806230"/>
            <a:ext cx="919207" cy="204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5" name="원형 화살표 64"/>
          <p:cNvSpPr/>
          <p:nvPr/>
        </p:nvSpPr>
        <p:spPr bwMode="auto">
          <a:xfrm rot="7550930">
            <a:off x="7123498" y="3565321"/>
            <a:ext cx="161476" cy="216000"/>
          </a:xfrm>
          <a:prstGeom prst="circularArrow">
            <a:avLst>
              <a:gd name="adj1" fmla="val 12500"/>
              <a:gd name="adj2" fmla="val 1134735"/>
              <a:gd name="adj3" fmla="val 20457681"/>
              <a:gd name="adj4" fmla="val 1286674"/>
              <a:gd name="adj5" fmla="val 125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7292887" y="3573368"/>
            <a:ext cx="625740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 anchor="ctr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대사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검증 </a:t>
            </a:r>
          </a:p>
        </p:txBody>
      </p:sp>
      <p:sp>
        <p:nvSpPr>
          <p:cNvPr id="67" name="TextBox 66"/>
          <p:cNvSpPr txBox="1"/>
          <p:nvPr/>
        </p:nvSpPr>
        <p:spPr bwMode="auto">
          <a:xfrm>
            <a:off x="6011912" y="3490963"/>
            <a:ext cx="1036108" cy="2614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영업회계 도입으로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인한 </a:t>
            </a:r>
            <a:r>
              <a:rPr lang="en-US" altLang="ko-KR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I/F </a:t>
            </a:r>
            <a:r>
              <a:rPr lang="ko-KR" altLang="en-US" sz="900" i="1" dirty="0" smtClean="0">
                <a:solidFill>
                  <a:schemeClr val="tx2"/>
                </a:solidFill>
                <a:latin typeface="맑은 고딕"/>
                <a:ea typeface="맑은 고딕"/>
              </a:rPr>
              <a:t>개편</a:t>
            </a:r>
          </a:p>
        </p:txBody>
      </p:sp>
      <p:sp>
        <p:nvSpPr>
          <p:cNvPr id="68" name="직사각형 67"/>
          <p:cNvSpPr/>
          <p:nvPr/>
        </p:nvSpPr>
        <p:spPr bwMode="auto">
          <a:xfrm>
            <a:off x="7716058" y="5417220"/>
            <a:ext cx="18002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집채널 </a:t>
            </a:r>
            <a:r>
              <a:rPr kumimoji="1"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EP </a:t>
            </a:r>
            <a:r>
              <a:rPr kumimoji="1"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달성시점 분석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5335189" y="4541045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회원수</a:t>
            </a:r>
            <a:endParaRPr kumimoji="1" lang="ko-KR" altLang="en-US" sz="7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6034963" y="4541045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추진팀</a:t>
            </a:r>
            <a:endParaRPr kumimoji="1" lang="ko-KR" altLang="en-US" sz="7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6735517" y="4541045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테일</a:t>
            </a:r>
            <a:endParaRPr kumimoji="1" lang="ko-KR" altLang="en-US" sz="7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335189" y="4700865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률</a:t>
            </a:r>
          </a:p>
        </p:txBody>
      </p:sp>
      <p:sp>
        <p:nvSpPr>
          <p:cNvPr id="73" name="직사각형 72"/>
          <p:cNvSpPr/>
          <p:nvPr/>
        </p:nvSpPr>
        <p:spPr bwMode="auto">
          <a:xfrm>
            <a:off x="6034963" y="4700865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마케팅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6735517" y="4700865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테일</a:t>
            </a:r>
            <a:endParaRPr kumimoji="1" lang="ko-KR" altLang="en-US" sz="7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335189" y="5413879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제가능</a:t>
            </a:r>
          </a:p>
        </p:txBody>
      </p:sp>
      <p:sp>
        <p:nvSpPr>
          <p:cNvPr id="76" name="직사각형 75"/>
          <p:cNvSpPr/>
          <p:nvPr/>
        </p:nvSpPr>
        <p:spPr bwMode="auto">
          <a:xfrm>
            <a:off x="6034963" y="5413879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제가능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6735517" y="5413879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손익 집계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5335189" y="5568936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제불가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6034963" y="5568936"/>
            <a:ext cx="648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제가능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6735517" y="5568936"/>
            <a:ext cx="648000" cy="14400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7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획단가 적용</a:t>
            </a:r>
          </a:p>
        </p:txBody>
      </p:sp>
      <p:sp>
        <p:nvSpPr>
          <p:cNvPr id="81" name="TextBox 80"/>
          <p:cNvSpPr txBox="1"/>
          <p:nvPr/>
        </p:nvSpPr>
        <p:spPr bwMode="auto">
          <a:xfrm>
            <a:off x="5409421" y="4375854"/>
            <a:ext cx="519941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주요 지표</a:t>
            </a:r>
          </a:p>
        </p:txBody>
      </p:sp>
      <p:sp>
        <p:nvSpPr>
          <p:cNvPr id="82" name="TextBox 81"/>
          <p:cNvSpPr txBox="1"/>
          <p:nvPr/>
        </p:nvSpPr>
        <p:spPr bwMode="auto">
          <a:xfrm>
            <a:off x="6142452" y="4379443"/>
            <a:ext cx="434982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팀 </a:t>
            </a:r>
            <a:r>
              <a:rPr lang="en-US" altLang="ko-KR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endParaRPr lang="ko-KR" altLang="en-US" sz="8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3" name="TextBox 82"/>
          <p:cNvSpPr txBox="1"/>
          <p:nvPr/>
        </p:nvSpPr>
        <p:spPr bwMode="auto">
          <a:xfrm>
            <a:off x="6831484" y="4381569"/>
            <a:ext cx="434982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>
                <a:solidFill>
                  <a:srgbClr val="000000"/>
                </a:solidFill>
                <a:latin typeface="맑은 고딕"/>
                <a:ea typeface="맑은 고딕"/>
              </a:rPr>
              <a:t>부</a:t>
            </a: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endParaRPr lang="ko-KR" altLang="en-US" sz="8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4" name="TextBox 83"/>
          <p:cNvSpPr txBox="1"/>
          <p:nvPr/>
        </p:nvSpPr>
        <p:spPr bwMode="auto">
          <a:xfrm>
            <a:off x="5430477" y="5229496"/>
            <a:ext cx="414143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단가</a:t>
            </a:r>
            <a:r>
              <a:rPr lang="en-US" altLang="ko-KR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(P)</a:t>
            </a:r>
            <a:endParaRPr lang="ko-KR" altLang="en-US" sz="8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5" name="TextBox 84"/>
          <p:cNvSpPr txBox="1"/>
          <p:nvPr/>
        </p:nvSpPr>
        <p:spPr bwMode="auto">
          <a:xfrm>
            <a:off x="6120633" y="5233085"/>
            <a:ext cx="431776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물량</a:t>
            </a:r>
            <a:r>
              <a:rPr lang="en-US" altLang="ko-KR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(Q)</a:t>
            </a:r>
            <a:endParaRPr lang="ko-KR" altLang="en-US" sz="8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6" name="TextBox 85"/>
          <p:cNvSpPr txBox="1"/>
          <p:nvPr/>
        </p:nvSpPr>
        <p:spPr bwMode="auto">
          <a:xfrm>
            <a:off x="6792333" y="5235211"/>
            <a:ext cx="483072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800" dirty="0" smtClean="0">
                <a:solidFill>
                  <a:srgbClr val="000000"/>
                </a:solidFill>
                <a:latin typeface="맑은 고딕"/>
                <a:ea typeface="맑은 고딕"/>
              </a:rPr>
              <a:t>집계방안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5335189" y="4870673"/>
            <a:ext cx="2048328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표 통제가능성 고려 조직단위 정의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5335189" y="5111460"/>
            <a:ext cx="2048328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별</a:t>
            </a: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통제가능성 고려 실적 집계</a:t>
            </a:r>
          </a:p>
        </p:txBody>
      </p:sp>
      <p:cxnSp>
        <p:nvCxnSpPr>
          <p:cNvPr id="89" name="직선 화살표 연결선 88"/>
          <p:cNvCxnSpPr>
            <a:stCxn id="87" idx="2"/>
            <a:endCxn id="88" idx="0"/>
          </p:cNvCxnSpPr>
          <p:nvPr/>
        </p:nvCxnSpPr>
        <p:spPr bwMode="auto">
          <a:xfrm>
            <a:off x="6359353" y="5014673"/>
            <a:ext cx="0" cy="967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0" name="직선 화살표 연결선 89"/>
          <p:cNvCxnSpPr/>
          <p:nvPr/>
        </p:nvCxnSpPr>
        <p:spPr bwMode="auto">
          <a:xfrm flipV="1">
            <a:off x="6465169" y="5014673"/>
            <a:ext cx="0" cy="967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1" name="직사각형 90"/>
          <p:cNvSpPr/>
          <p:nvPr/>
        </p:nvSpPr>
        <p:spPr bwMode="auto">
          <a:xfrm>
            <a:off x="7465771" y="417227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 bwMode="auto">
          <a:xfrm>
            <a:off x="7695654" y="4168051"/>
            <a:ext cx="1347091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채널 조직 손익 산출</a:t>
            </a:r>
          </a:p>
        </p:txBody>
      </p:sp>
      <p:cxnSp>
        <p:nvCxnSpPr>
          <p:cNvPr id="93" name="직선 화살표 연결선 92"/>
          <p:cNvCxnSpPr/>
          <p:nvPr/>
        </p:nvCxnSpPr>
        <p:spPr bwMode="auto">
          <a:xfrm flipV="1">
            <a:off x="7545288" y="4451616"/>
            <a:ext cx="0" cy="1153888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4" name="직사각형 93"/>
          <p:cNvSpPr/>
          <p:nvPr/>
        </p:nvSpPr>
        <p:spPr bwMode="auto">
          <a:xfrm>
            <a:off x="7668047" y="4462686"/>
            <a:ext cx="576000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소 ▼</a:t>
            </a:r>
          </a:p>
        </p:txBody>
      </p:sp>
      <p:sp>
        <p:nvSpPr>
          <p:cNvPr id="95" name="TextBox 94"/>
          <p:cNvSpPr txBox="1"/>
          <p:nvPr/>
        </p:nvSpPr>
        <p:spPr bwMode="auto">
          <a:xfrm>
            <a:off x="8255843" y="4461133"/>
            <a:ext cx="1037712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손익 </a:t>
            </a:r>
            <a:r>
              <a:rPr lang="en-US" altLang="ko-KR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Vintage </a:t>
            </a: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</a:t>
            </a:r>
          </a:p>
        </p:txBody>
      </p:sp>
      <p:sp>
        <p:nvSpPr>
          <p:cNvPr id="96" name="TextBox 95"/>
          <p:cNvSpPr txBox="1"/>
          <p:nvPr/>
        </p:nvSpPr>
        <p:spPr bwMode="auto">
          <a:xfrm>
            <a:off x="7695654" y="4664718"/>
            <a:ext cx="1549069" cy="318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사무소 기준 </a:t>
            </a:r>
            <a:r>
              <a:rPr lang="ko-KR" altLang="en-US" sz="8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회원별</a:t>
            </a: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손익을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Vintage </a:t>
            </a: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간 동안 합산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8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97" name="직선 화살표 연결선 96"/>
          <p:cNvCxnSpPr/>
          <p:nvPr/>
        </p:nvCxnSpPr>
        <p:spPr bwMode="auto">
          <a:xfrm>
            <a:off x="7545288" y="5185616"/>
            <a:ext cx="1944000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8" name="타원 97"/>
          <p:cNvSpPr/>
          <p:nvPr/>
        </p:nvSpPr>
        <p:spPr bwMode="auto">
          <a:xfrm>
            <a:off x="7731273" y="5102100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타원 98"/>
          <p:cNvSpPr/>
          <p:nvPr/>
        </p:nvSpPr>
        <p:spPr bwMode="auto">
          <a:xfrm>
            <a:off x="7731273" y="5226639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타원 99"/>
          <p:cNvSpPr/>
          <p:nvPr/>
        </p:nvSpPr>
        <p:spPr bwMode="auto">
          <a:xfrm>
            <a:off x="7731273" y="5351178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타원 100"/>
          <p:cNvSpPr/>
          <p:nvPr/>
        </p:nvSpPr>
        <p:spPr bwMode="auto">
          <a:xfrm>
            <a:off x="8212466" y="5050219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타원 101"/>
          <p:cNvSpPr/>
          <p:nvPr/>
        </p:nvSpPr>
        <p:spPr bwMode="auto">
          <a:xfrm>
            <a:off x="8693659" y="4987746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타원 102"/>
          <p:cNvSpPr/>
          <p:nvPr/>
        </p:nvSpPr>
        <p:spPr bwMode="auto">
          <a:xfrm>
            <a:off x="9174852" y="4935167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4" name="직선 연결선 103"/>
          <p:cNvCxnSpPr>
            <a:stCxn id="98" idx="6"/>
            <a:endCxn id="101" idx="2"/>
          </p:cNvCxnSpPr>
          <p:nvPr/>
        </p:nvCxnSpPr>
        <p:spPr bwMode="auto">
          <a:xfrm flipV="1">
            <a:off x="7785273" y="5077219"/>
            <a:ext cx="427193" cy="5188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5" name="직선 연결선 104"/>
          <p:cNvCxnSpPr>
            <a:stCxn id="101" idx="6"/>
            <a:endCxn id="102" idx="2"/>
          </p:cNvCxnSpPr>
          <p:nvPr/>
        </p:nvCxnSpPr>
        <p:spPr bwMode="auto">
          <a:xfrm flipV="1">
            <a:off x="8266466" y="5014746"/>
            <a:ext cx="427193" cy="6247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6" name="직선 연결선 105"/>
          <p:cNvCxnSpPr>
            <a:stCxn id="102" idx="6"/>
            <a:endCxn id="103" idx="2"/>
          </p:cNvCxnSpPr>
          <p:nvPr/>
        </p:nvCxnSpPr>
        <p:spPr bwMode="auto">
          <a:xfrm flipV="1">
            <a:off x="8747659" y="4962167"/>
            <a:ext cx="427193" cy="5257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7" name="타원 106"/>
          <p:cNvSpPr/>
          <p:nvPr/>
        </p:nvSpPr>
        <p:spPr bwMode="auto">
          <a:xfrm>
            <a:off x="8212466" y="5193260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타원 107"/>
          <p:cNvSpPr/>
          <p:nvPr/>
        </p:nvSpPr>
        <p:spPr bwMode="auto">
          <a:xfrm>
            <a:off x="8693659" y="5097526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타원 108"/>
          <p:cNvSpPr/>
          <p:nvPr/>
        </p:nvSpPr>
        <p:spPr bwMode="auto">
          <a:xfrm>
            <a:off x="9174852" y="5044551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0" name="직선 연결선 109"/>
          <p:cNvCxnSpPr>
            <a:stCxn id="99" idx="6"/>
            <a:endCxn id="107" idx="2"/>
          </p:cNvCxnSpPr>
          <p:nvPr/>
        </p:nvCxnSpPr>
        <p:spPr bwMode="auto">
          <a:xfrm flipV="1">
            <a:off x="7785273" y="5220260"/>
            <a:ext cx="427193" cy="3337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1" name="직선 연결선 110"/>
          <p:cNvCxnSpPr>
            <a:stCxn id="107" idx="6"/>
            <a:endCxn id="108" idx="2"/>
          </p:cNvCxnSpPr>
          <p:nvPr/>
        </p:nvCxnSpPr>
        <p:spPr bwMode="auto">
          <a:xfrm flipV="1">
            <a:off x="8266466" y="5124526"/>
            <a:ext cx="427193" cy="9573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2" name="직선 연결선 111"/>
          <p:cNvCxnSpPr>
            <a:stCxn id="108" idx="6"/>
            <a:endCxn id="109" idx="2"/>
          </p:cNvCxnSpPr>
          <p:nvPr/>
        </p:nvCxnSpPr>
        <p:spPr bwMode="auto">
          <a:xfrm flipV="1">
            <a:off x="8747659" y="5071551"/>
            <a:ext cx="427193" cy="529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3" name="직선 연결선 112"/>
          <p:cNvCxnSpPr>
            <a:stCxn id="98" idx="4"/>
            <a:endCxn id="99" idx="0"/>
          </p:cNvCxnSpPr>
          <p:nvPr/>
        </p:nvCxnSpPr>
        <p:spPr bwMode="auto">
          <a:xfrm>
            <a:off x="7758273" y="5156100"/>
            <a:ext cx="0" cy="705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ysDot"/>
            <a:round/>
            <a:headEnd type="none" w="sm" len="sm"/>
            <a:tailEnd type="none" w="med" len="med"/>
          </a:ln>
          <a:effectLst/>
        </p:spPr>
      </p:cxnSp>
      <p:cxnSp>
        <p:nvCxnSpPr>
          <p:cNvPr id="114" name="직선 연결선 113"/>
          <p:cNvCxnSpPr>
            <a:stCxn id="101" idx="4"/>
            <a:endCxn id="107" idx="0"/>
          </p:cNvCxnSpPr>
          <p:nvPr/>
        </p:nvCxnSpPr>
        <p:spPr bwMode="auto">
          <a:xfrm>
            <a:off x="8239466" y="5104219"/>
            <a:ext cx="0" cy="890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ysDot"/>
            <a:round/>
            <a:headEnd type="none" w="sm" len="sm"/>
            <a:tailEnd type="none" w="med" len="med"/>
          </a:ln>
          <a:effectLst/>
        </p:spPr>
      </p:cxnSp>
      <p:sp>
        <p:nvSpPr>
          <p:cNvPr id="115" name="타원 114"/>
          <p:cNvSpPr/>
          <p:nvPr/>
        </p:nvSpPr>
        <p:spPr bwMode="auto">
          <a:xfrm>
            <a:off x="8212466" y="5312804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타원 115"/>
          <p:cNvSpPr/>
          <p:nvPr/>
        </p:nvSpPr>
        <p:spPr bwMode="auto">
          <a:xfrm>
            <a:off x="8693659" y="5224710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타원 116"/>
          <p:cNvSpPr/>
          <p:nvPr/>
        </p:nvSpPr>
        <p:spPr bwMode="auto">
          <a:xfrm>
            <a:off x="9174852" y="5179473"/>
            <a:ext cx="54000" cy="54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8" name="직선 연결선 117"/>
          <p:cNvCxnSpPr>
            <a:stCxn id="100" idx="6"/>
            <a:endCxn id="115" idx="2"/>
          </p:cNvCxnSpPr>
          <p:nvPr/>
        </p:nvCxnSpPr>
        <p:spPr bwMode="auto">
          <a:xfrm flipV="1">
            <a:off x="7785273" y="5339804"/>
            <a:ext cx="427193" cy="3837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19" name="직선 연결선 118"/>
          <p:cNvCxnSpPr>
            <a:stCxn id="115" idx="6"/>
            <a:endCxn id="116" idx="2"/>
          </p:cNvCxnSpPr>
          <p:nvPr/>
        </p:nvCxnSpPr>
        <p:spPr bwMode="auto">
          <a:xfrm flipV="1">
            <a:off x="8266466" y="5251710"/>
            <a:ext cx="427193" cy="8809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20" name="직선 연결선 119"/>
          <p:cNvCxnSpPr>
            <a:stCxn id="116" idx="7"/>
            <a:endCxn id="117" idx="2"/>
          </p:cNvCxnSpPr>
          <p:nvPr/>
        </p:nvCxnSpPr>
        <p:spPr bwMode="auto">
          <a:xfrm flipV="1">
            <a:off x="8739751" y="5206473"/>
            <a:ext cx="435101" cy="2614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21" name="직선 연결선 120"/>
          <p:cNvCxnSpPr>
            <a:stCxn id="108" idx="4"/>
            <a:endCxn id="116" idx="0"/>
          </p:cNvCxnSpPr>
          <p:nvPr/>
        </p:nvCxnSpPr>
        <p:spPr bwMode="auto">
          <a:xfrm>
            <a:off x="8720659" y="5151526"/>
            <a:ext cx="0" cy="731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ysDot"/>
            <a:round/>
            <a:headEnd type="none" w="sm" len="sm"/>
            <a:tailEnd type="none" w="med" len="med"/>
          </a:ln>
          <a:effectLst/>
        </p:spPr>
      </p:cxnSp>
      <p:cxnSp>
        <p:nvCxnSpPr>
          <p:cNvPr id="122" name="직선 연결선 121"/>
          <p:cNvCxnSpPr>
            <a:stCxn id="109" idx="4"/>
            <a:endCxn id="117" idx="0"/>
          </p:cNvCxnSpPr>
          <p:nvPr/>
        </p:nvCxnSpPr>
        <p:spPr bwMode="auto">
          <a:xfrm>
            <a:off x="9201852" y="5098551"/>
            <a:ext cx="0" cy="8092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ysDot"/>
            <a:round/>
            <a:headEnd type="none" w="sm" len="sm"/>
            <a:tailEnd type="none" w="med" len="med"/>
          </a:ln>
          <a:effectLst/>
        </p:spPr>
      </p:cxnSp>
      <p:sp>
        <p:nvSpPr>
          <p:cNvPr id="123" name="TextBox 122"/>
          <p:cNvSpPr txBox="1"/>
          <p:nvPr/>
        </p:nvSpPr>
        <p:spPr bwMode="auto">
          <a:xfrm>
            <a:off x="7536873" y="5584149"/>
            <a:ext cx="1754254" cy="180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7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주</a:t>
            </a:r>
            <a:r>
              <a:rPr lang="en-US" altLang="ko-KR" sz="7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 1. BEP : Break-even Point(</a:t>
            </a:r>
            <a:r>
              <a:rPr lang="ko-KR" altLang="en-US" sz="7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손익분기점</a:t>
            </a:r>
            <a:r>
              <a:rPr lang="en-US" altLang="ko-KR" sz="7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7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376832" y="330009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TextBox 124"/>
          <p:cNvSpPr txBox="1"/>
          <p:nvPr/>
        </p:nvSpPr>
        <p:spPr bwMode="auto">
          <a:xfrm>
            <a:off x="605391" y="3295871"/>
            <a:ext cx="1884097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수익성분석시스템 고도화 필요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376832" y="3528486"/>
            <a:ext cx="4297230" cy="618992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1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43" y="3716143"/>
            <a:ext cx="284084" cy="1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" name="TextBox 131"/>
          <p:cNvSpPr txBox="1"/>
          <p:nvPr/>
        </p:nvSpPr>
        <p:spPr bwMode="auto">
          <a:xfrm>
            <a:off x="379553" y="3865868"/>
            <a:ext cx="792000" cy="1648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회계원장</a:t>
            </a:r>
          </a:p>
        </p:txBody>
      </p:sp>
      <p:sp>
        <p:nvSpPr>
          <p:cNvPr id="133" name="TextBox 132"/>
          <p:cNvSpPr txBox="1"/>
          <p:nvPr/>
        </p:nvSpPr>
        <p:spPr bwMode="auto">
          <a:xfrm>
            <a:off x="1815740" y="3865868"/>
            <a:ext cx="540000" cy="2685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회계원장</a:t>
            </a:r>
          </a:p>
        </p:txBody>
      </p:sp>
      <p:pic>
        <p:nvPicPr>
          <p:cNvPr id="134" name="Picture 28" descr="Database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774" y="3716143"/>
            <a:ext cx="284084" cy="1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직사각형 134"/>
          <p:cNvSpPr/>
          <p:nvPr/>
        </p:nvSpPr>
        <p:spPr bwMode="auto">
          <a:xfrm>
            <a:off x="3143065" y="3660258"/>
            <a:ext cx="1301169" cy="296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손익 </a:t>
            </a:r>
            <a:r>
              <a:rPr kumimoji="1" lang="en-US" altLang="ko-KR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교화 필요</a:t>
            </a:r>
          </a:p>
        </p:txBody>
      </p:sp>
      <p:cxnSp>
        <p:nvCxnSpPr>
          <p:cNvPr id="136" name="직선 화살표 연결선 135"/>
          <p:cNvCxnSpPr>
            <a:stCxn id="134" idx="3"/>
            <a:endCxn id="135" idx="1"/>
          </p:cNvCxnSpPr>
          <p:nvPr/>
        </p:nvCxnSpPr>
        <p:spPr bwMode="auto">
          <a:xfrm>
            <a:off x="2223858" y="3806231"/>
            <a:ext cx="919207" cy="204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7" name="원형 화살표 136"/>
          <p:cNvSpPr/>
          <p:nvPr/>
        </p:nvSpPr>
        <p:spPr bwMode="auto">
          <a:xfrm rot="7550930">
            <a:off x="2209061" y="3565321"/>
            <a:ext cx="161476" cy="216000"/>
          </a:xfrm>
          <a:prstGeom prst="circularArrow">
            <a:avLst>
              <a:gd name="adj1" fmla="val 12500"/>
              <a:gd name="adj2" fmla="val 1134735"/>
              <a:gd name="adj3" fmla="val 20457681"/>
              <a:gd name="adj4" fmla="val 1286674"/>
              <a:gd name="adj5" fmla="val 125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TextBox 137"/>
          <p:cNvSpPr txBox="1"/>
          <p:nvPr/>
        </p:nvSpPr>
        <p:spPr bwMode="auto">
          <a:xfrm>
            <a:off x="2386070" y="3488879"/>
            <a:ext cx="625740" cy="349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 anchor="ctr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대사</a:t>
            </a:r>
            <a: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검증 </a:t>
            </a:r>
            <a: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/>
            </a:r>
            <a:br>
              <a:rPr lang="en-US" altLang="ko-KR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</a:br>
            <a:r>
              <a:rPr lang="ko-KR" altLang="en-US" sz="900" i="1" dirty="0" smtClean="0">
                <a:solidFill>
                  <a:srgbClr val="C00000"/>
                </a:solidFill>
                <a:latin typeface="맑은 고딕"/>
                <a:ea typeface="맑은 고딕"/>
              </a:rPr>
              <a:t>부재 </a:t>
            </a:r>
          </a:p>
        </p:txBody>
      </p:sp>
      <p:cxnSp>
        <p:nvCxnSpPr>
          <p:cNvPr id="194" name="직선 화살표 연결선 193"/>
          <p:cNvCxnSpPr>
            <a:stCxn id="131" idx="3"/>
            <a:endCxn id="134" idx="1"/>
          </p:cNvCxnSpPr>
          <p:nvPr/>
        </p:nvCxnSpPr>
        <p:spPr bwMode="auto">
          <a:xfrm>
            <a:off x="882427" y="3806231"/>
            <a:ext cx="105734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95" name="직사각형 194"/>
          <p:cNvSpPr/>
          <p:nvPr/>
        </p:nvSpPr>
        <p:spPr bwMode="auto">
          <a:xfrm>
            <a:off x="378237" y="4429391"/>
            <a:ext cx="2122728" cy="133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세부단위 손익산출 </a:t>
            </a:r>
            <a:r>
              <a:rPr kumimoji="1" lang="en-US" altLang="ko-KR" sz="120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체계 부재</a:t>
            </a:r>
            <a:endParaRPr kumimoji="1" lang="ko-KR" altLang="en-US" sz="120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2552739" y="4429391"/>
            <a:ext cx="2122728" cy="1332000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모집채널 손익산출 체계 부재로 채널 효율성 분석이 불가함</a:t>
            </a:r>
            <a:endParaRPr kumimoji="1" lang="ko-KR" altLang="en-US" sz="120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378237" y="419767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TextBox 197"/>
          <p:cNvSpPr txBox="1"/>
          <p:nvPr/>
        </p:nvSpPr>
        <p:spPr bwMode="auto">
          <a:xfrm>
            <a:off x="600673" y="4193451"/>
            <a:ext cx="1577923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smtClean="0">
                <a:solidFill>
                  <a:srgbClr val="000000"/>
                </a:solidFill>
                <a:latin typeface="맑은 고딕"/>
                <a:ea typeface="맑은 고딕"/>
              </a:rPr>
              <a:t>조직 세부단위 손익산출 불가</a:t>
            </a:r>
            <a:endParaRPr lang="ko-KR" altLang="en-US" sz="9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2552739" y="4197675"/>
            <a:ext cx="216000" cy="21600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1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 bwMode="auto">
          <a:xfrm>
            <a:off x="2786869" y="4193451"/>
            <a:ext cx="1617999" cy="21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90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채널 조직 손익 산출 불가</a:t>
            </a:r>
          </a:p>
        </p:txBody>
      </p:sp>
      <p:grpSp>
        <p:nvGrpSpPr>
          <p:cNvPr id="147" name="그룹 14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4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4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5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5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5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5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6" name="그룹 15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5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5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93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손익관리체계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시스템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관리시스템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도화를 위해 조직손익 산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손익 산출 고도화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손익 기반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개선을 추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gray">
          <a:xfrm>
            <a:off x="398464" y="2660062"/>
            <a:ext cx="1854200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관리 체계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도화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시스템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1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gray">
          <a:xfrm>
            <a:off x="398464" y="4257224"/>
            <a:ext cx="1854200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손익분석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도화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관리시스템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1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gray">
          <a:xfrm>
            <a:off x="2519364" y="2660062"/>
            <a:ext cx="3204000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손익 산출 설계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조직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채널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gray">
          <a:xfrm>
            <a:off x="2519364" y="3110062"/>
            <a:ext cx="3204000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손익 산출 고도화 설계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gray">
          <a:xfrm>
            <a:off x="2519364" y="3560062"/>
            <a:ext cx="3204000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회계 도입 대응 개발 요건 설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2519364" y="4448687"/>
            <a:ext cx="3204000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관리시스템</a:t>
            </a:r>
            <a:r>
              <a:rPr lang="en-US" altLang="ko-KR" sz="120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1200" b="0" baseline="30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선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gray">
          <a:xfrm>
            <a:off x="2519364" y="4906483"/>
            <a:ext cx="3204000" cy="36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프로세스 개선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" name="꺾인 연결선 13"/>
          <p:cNvCxnSpPr>
            <a:stCxn id="5" idx="3"/>
            <a:endCxn id="8" idx="1"/>
          </p:cNvCxnSpPr>
          <p:nvPr/>
        </p:nvCxnSpPr>
        <p:spPr bwMode="gray">
          <a:xfrm flipV="1">
            <a:off x="2252664" y="2840062"/>
            <a:ext cx="266700" cy="450000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5" name="꺾인 연결선 96"/>
          <p:cNvCxnSpPr>
            <a:stCxn id="5" idx="3"/>
            <a:endCxn id="9" idx="1"/>
          </p:cNvCxnSpPr>
          <p:nvPr/>
        </p:nvCxnSpPr>
        <p:spPr bwMode="gray">
          <a:xfrm>
            <a:off x="2252664" y="3290062"/>
            <a:ext cx="2667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6" name="꺾인 연결선 15"/>
          <p:cNvCxnSpPr>
            <a:stCxn id="5" idx="3"/>
            <a:endCxn id="10" idx="1"/>
          </p:cNvCxnSpPr>
          <p:nvPr/>
        </p:nvCxnSpPr>
        <p:spPr bwMode="gray">
          <a:xfrm>
            <a:off x="2252664" y="3290062"/>
            <a:ext cx="266700" cy="4500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7" name="꺾인 연결선 16"/>
          <p:cNvCxnSpPr>
            <a:stCxn id="6" idx="3"/>
            <a:endCxn id="12" idx="1"/>
          </p:cNvCxnSpPr>
          <p:nvPr/>
        </p:nvCxnSpPr>
        <p:spPr bwMode="gray">
          <a:xfrm flipV="1">
            <a:off x="2252664" y="4628687"/>
            <a:ext cx="266700" cy="25853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8" name="꺾인 연결선 105"/>
          <p:cNvCxnSpPr>
            <a:stCxn id="6" idx="3"/>
            <a:endCxn id="13" idx="1"/>
          </p:cNvCxnSpPr>
          <p:nvPr/>
        </p:nvCxnSpPr>
        <p:spPr bwMode="gray">
          <a:xfrm>
            <a:off x="2252664" y="4887224"/>
            <a:ext cx="266700" cy="19925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9" name="직사각형 18"/>
          <p:cNvSpPr/>
          <p:nvPr/>
        </p:nvSpPr>
        <p:spPr bwMode="gray">
          <a:xfrm>
            <a:off x="6095999" y="2672762"/>
            <a:ext cx="3420000" cy="118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36000" rIns="36000" bIns="36000" rtlCol="0" anchor="ctr"/>
          <a:lstStyle/>
          <a:p>
            <a:pPr marL="171450" indent="-171450" algn="l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손익관리 조직 단위 정의 및 손익항목별 배분 방안 수립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서공통코드분리 및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와 연계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algn="l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 프로젝트 중장기 과제</a:t>
            </a:r>
            <a:r>
              <a:rPr lang="en-US" altLang="ko-KR" sz="1200" b="0" baseline="30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1200" b="0" baseline="30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반영</a:t>
            </a:r>
            <a:endParaRPr lang="en-US" altLang="ko-KR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gray">
          <a:xfrm>
            <a:off x="6096000" y="4257224"/>
            <a:ext cx="3411537" cy="118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marL="171450" indent="-171450" algn="l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관리시스템 고도화 방향 결정 필요</a:t>
            </a:r>
            <a:endParaRPr lang="en-US" altLang="ko-KR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49250" indent="-171450" algn="l">
              <a:spcBef>
                <a:spcPct val="50000"/>
              </a:spcBef>
              <a:buFontTx/>
              <a:buChar char="-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 시스템 개선안 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초데이터 인프라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안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7800" algn="l">
              <a:spcBef>
                <a:spcPct val="50000"/>
              </a:spcBef>
            </a:pP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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기존 시스템 기능 개선 시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현 상품관리시스템의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폭적 개선 필요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계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상품시스템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마스터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선과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연계한 상품관리시스템 고도화 추진 </a:t>
            </a:r>
            <a:endParaRPr lang="en-US" altLang="ko-KR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이등변 삼각형 20"/>
          <p:cNvSpPr/>
          <p:nvPr/>
        </p:nvSpPr>
        <p:spPr bwMode="auto">
          <a:xfrm rot="5400000">
            <a:off x="5406831" y="3169059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이등변 삼각형 21"/>
          <p:cNvSpPr/>
          <p:nvPr/>
        </p:nvSpPr>
        <p:spPr bwMode="auto">
          <a:xfrm rot="5400000">
            <a:off x="5406831" y="4766799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 flipV="1">
            <a:off x="407777" y="4068218"/>
            <a:ext cx="91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2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9" name="TextBox 2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손익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방안 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직사각형 43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TextBox 44"/>
          <p:cNvSpPr txBox="1"/>
          <p:nvPr/>
        </p:nvSpPr>
        <p:spPr bwMode="auto">
          <a:xfrm>
            <a:off x="297880" y="6123602"/>
            <a:ext cx="4208451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 anchor="b">
            <a:spAutoFit/>
          </a:bodyPr>
          <a:lstStyle/>
          <a:p>
            <a:pPr algn="l" latinLnBrk="0">
              <a:spcBef>
                <a:spcPct val="30000"/>
              </a:spcBef>
            </a:pPr>
            <a:r>
              <a: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1) </a:t>
            </a:r>
            <a:r>
              <a:rPr lang="ko-KR" altLang="en-US" sz="8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관리시스템은 상품수익성분석시스템 내에 위치하지만 기능 상 준 독립된 모듈임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9" name="그룹 5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8" name="그룹 6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47" name="그룹 46"/>
          <p:cNvGrpSpPr/>
          <p:nvPr/>
        </p:nvGrpSpPr>
        <p:grpSpPr>
          <a:xfrm>
            <a:off x="398464" y="1970357"/>
            <a:ext cx="1854200" cy="288147"/>
            <a:chOff x="398464" y="2123721"/>
            <a:chExt cx="1854000" cy="288147"/>
          </a:xfrm>
        </p:grpSpPr>
        <p:sp>
          <p:nvSpPr>
            <p:cNvPr id="48" name="TextBox 47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회계 과제</a:t>
              </a:r>
            </a:p>
          </p:txBody>
        </p:sp>
        <p:cxnSp>
          <p:nvCxnSpPr>
            <p:cNvPr id="49" name="직선 연결선 48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0" name="그룹 49"/>
          <p:cNvGrpSpPr/>
          <p:nvPr/>
        </p:nvGrpSpPr>
        <p:grpSpPr>
          <a:xfrm>
            <a:off x="2519404" y="1970357"/>
            <a:ext cx="3203960" cy="288147"/>
            <a:chOff x="398464" y="2123721"/>
            <a:chExt cx="1854000" cy="288147"/>
          </a:xfrm>
        </p:grpSpPr>
        <p:sp>
          <p:nvSpPr>
            <p:cNvPr id="51" name="TextBox 50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부 추진 사항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2" name="직선 연결선 51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3" name="그룹 52"/>
          <p:cNvGrpSpPr/>
          <p:nvPr/>
        </p:nvGrpSpPr>
        <p:grpSpPr>
          <a:xfrm>
            <a:off x="6095999" y="1970357"/>
            <a:ext cx="3411537" cy="288147"/>
            <a:chOff x="398464" y="2123721"/>
            <a:chExt cx="1854000" cy="288147"/>
          </a:xfrm>
        </p:grpSpPr>
        <p:sp>
          <p:nvSpPr>
            <p:cNvPr id="54" name="TextBox 53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검토 항목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5" name="직선 연결선 54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16939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rrier 1.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혁신 및 요건상세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달성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이를 위해</a:t>
            </a:r>
            <a:r>
              <a:rPr lang="en-US" altLang="ko-KR" dirty="0"/>
              <a:t>, Master Plan</a:t>
            </a:r>
            <a:r>
              <a:rPr lang="ko-KR" altLang="en-US" dirty="0"/>
              <a:t>에서 수립된 차세대 추진</a:t>
            </a:r>
            <a:r>
              <a:rPr lang="en-US" altLang="ko-KR" dirty="0"/>
              <a:t> </a:t>
            </a:r>
            <a:r>
              <a:rPr lang="ko-KR" altLang="en-US" dirty="0"/>
              <a:t>사상을 기반으로</a:t>
            </a:r>
            <a:r>
              <a:rPr lang="en-US" altLang="ko-KR" dirty="0"/>
              <a:t>,</a:t>
            </a:r>
            <a:r>
              <a:rPr lang="ko-KR" altLang="en-US" dirty="0"/>
              <a:t> 프로세스 혁신 관점의 이슈를 선제 도출</a:t>
            </a:r>
            <a:r>
              <a:rPr lang="en-US" altLang="ko-KR" dirty="0"/>
              <a:t>/</a:t>
            </a:r>
            <a:r>
              <a:rPr lang="ko-KR" altLang="en-US" dirty="0"/>
              <a:t>대응하고</a:t>
            </a:r>
            <a:r>
              <a:rPr lang="en-US" altLang="ko-KR" dirty="0"/>
              <a:t>,</a:t>
            </a:r>
            <a:r>
              <a:rPr lang="ko-KR" altLang="en-US" dirty="0"/>
              <a:t> 과제 간 연관성을 고려하여 요건의 완결성을 확보할 것임</a:t>
            </a:r>
          </a:p>
        </p:txBody>
      </p:sp>
      <p:sp>
        <p:nvSpPr>
          <p:cNvPr id="69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35743" y="2835029"/>
            <a:ext cx="8925269" cy="13364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t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400" b="1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차세대 구축 관련 예상 위험</a:t>
            </a:r>
            <a:endParaRPr kumimoji="1" lang="ko-KR" altLang="en-US" sz="1400" b="1" i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Rectangle 10"/>
          <p:cNvSpPr>
            <a:spLocks noChangeArrowheads="1"/>
          </p:cNvSpPr>
          <p:nvPr/>
        </p:nvSpPr>
        <p:spPr bwMode="gray">
          <a:xfrm>
            <a:off x="707998" y="3111381"/>
            <a:ext cx="1770621" cy="3134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10"/>
          <p:cNvSpPr>
            <a:spLocks noChangeArrowheads="1"/>
          </p:cNvSpPr>
          <p:nvPr/>
        </p:nvSpPr>
        <p:spPr bwMode="gray">
          <a:xfrm>
            <a:off x="2478619" y="3111381"/>
            <a:ext cx="1770621" cy="3134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설계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10"/>
          <p:cNvSpPr>
            <a:spLocks noChangeArrowheads="1"/>
          </p:cNvSpPr>
          <p:nvPr/>
        </p:nvSpPr>
        <p:spPr bwMode="gray">
          <a:xfrm>
            <a:off x="4249240" y="3111381"/>
            <a:ext cx="1770621" cy="3134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Rectangle 10"/>
          <p:cNvSpPr>
            <a:spLocks noChangeArrowheads="1"/>
          </p:cNvSpPr>
          <p:nvPr/>
        </p:nvSpPr>
        <p:spPr bwMode="gray">
          <a:xfrm>
            <a:off x="6018859" y="3111381"/>
            <a:ext cx="1770621" cy="3134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테스트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 bwMode="auto">
          <a:xfrm>
            <a:off x="524037" y="3547811"/>
            <a:ext cx="1954582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단계 지연 및 요건의 충실한 반영 부족</a:t>
            </a:r>
          </a:p>
        </p:txBody>
      </p:sp>
      <p:sp>
        <p:nvSpPr>
          <p:cNvPr id="49" name="TextBox 48"/>
          <p:cNvSpPr txBox="1"/>
          <p:nvPr/>
        </p:nvSpPr>
        <p:spPr bwMode="auto">
          <a:xfrm>
            <a:off x="2440603" y="3547811"/>
            <a:ext cx="177921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잦은 요건 변경으로 설계 품질 저하</a:t>
            </a:r>
          </a:p>
        </p:txBody>
      </p:sp>
      <p:sp>
        <p:nvSpPr>
          <p:cNvPr id="50" name="TextBox 49"/>
          <p:cNvSpPr txBox="1"/>
          <p:nvPr/>
        </p:nvSpPr>
        <p:spPr bwMode="auto">
          <a:xfrm>
            <a:off x="4140683" y="3585389"/>
            <a:ext cx="177921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요건 변경에 따른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Re-work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발생</a:t>
            </a:r>
          </a:p>
        </p:txBody>
      </p:sp>
      <p:sp>
        <p:nvSpPr>
          <p:cNvPr id="51" name="TextBox 50"/>
          <p:cNvSpPr txBox="1"/>
          <p:nvPr/>
        </p:nvSpPr>
        <p:spPr bwMode="auto">
          <a:xfrm>
            <a:off x="5910919" y="3572863"/>
            <a:ext cx="177921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개발 품질 저하 및  테스트 일정 지연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gray">
          <a:xfrm>
            <a:off x="520108" y="1889068"/>
            <a:ext cx="1770621" cy="313445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ster Plan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gray">
          <a:xfrm>
            <a:off x="3017237" y="1889068"/>
            <a:ext cx="1770621" cy="313445"/>
          </a:xfrm>
          <a:prstGeom prst="homePlat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I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4" name="꺾인 연결선 53"/>
          <p:cNvCxnSpPr>
            <a:stCxn id="53" idx="2"/>
            <a:endCxn id="44" idx="0"/>
          </p:cNvCxnSpPr>
          <p:nvPr/>
        </p:nvCxnSpPr>
        <p:spPr bwMode="auto">
          <a:xfrm rot="5400000">
            <a:off x="2215133" y="1502328"/>
            <a:ext cx="908868" cy="230923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5" name="TextBox 54"/>
          <p:cNvSpPr txBox="1"/>
          <p:nvPr/>
        </p:nvSpPr>
        <p:spPr bwMode="auto">
          <a:xfrm>
            <a:off x="371784" y="2204864"/>
            <a:ext cx="347480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만약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 Master Plan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사상 및 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PI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요건 상세 정의가 충실히 수행되지 않을 경우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…</a:t>
            </a:r>
            <a:endParaRPr lang="ko-KR" altLang="en-US" sz="1200" i="1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5727188" y="4589192"/>
            <a:ext cx="3895097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ster Plan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상의 지속적인 반영</a:t>
            </a:r>
          </a:p>
        </p:txBody>
      </p:sp>
      <p:cxnSp>
        <p:nvCxnSpPr>
          <p:cNvPr id="57" name="직선 화살표 연결선 56"/>
          <p:cNvCxnSpPr>
            <a:stCxn id="52" idx="3"/>
            <a:endCxn id="53" idx="1"/>
          </p:cNvCxnSpPr>
          <p:nvPr/>
        </p:nvCxnSpPr>
        <p:spPr bwMode="auto">
          <a:xfrm>
            <a:off x="2290729" y="2045791"/>
            <a:ext cx="72650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8" name="사각형 설명선 57"/>
          <p:cNvSpPr/>
          <p:nvPr/>
        </p:nvSpPr>
        <p:spPr bwMode="auto">
          <a:xfrm>
            <a:off x="1514946" y="1358904"/>
            <a:ext cx="1925885" cy="458232"/>
          </a:xfrm>
          <a:prstGeom prst="wedgeRectCallout">
            <a:avLst>
              <a:gd name="adj1" fmla="val 8434"/>
              <a:gd name="adj2" fmla="val 103602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과제 도출</a:t>
            </a:r>
          </a:p>
        </p:txBody>
      </p:sp>
      <p:sp>
        <p:nvSpPr>
          <p:cNvPr id="60" name="Text Box 7"/>
          <p:cNvSpPr txBox="1">
            <a:spLocks noChangeArrowheads="1"/>
          </p:cNvSpPr>
          <p:nvPr/>
        </p:nvSpPr>
        <p:spPr bwMode="auto">
          <a:xfrm>
            <a:off x="288098" y="4254119"/>
            <a:ext cx="419622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400" b="1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상 위험을 발생시키는 원인은</a:t>
            </a:r>
            <a:r>
              <a:rPr kumimoji="1" lang="en-US" altLang="ko-KR" sz="1400" b="1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kumimoji="1" lang="ko-KR" altLang="en-US" sz="1400" b="1" i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이등변 삼각형 61"/>
          <p:cNvSpPr/>
          <p:nvPr/>
        </p:nvSpPr>
        <p:spPr bwMode="auto">
          <a:xfrm rot="5400000">
            <a:off x="4671584" y="5265628"/>
            <a:ext cx="1481035" cy="220060"/>
          </a:xfrm>
          <a:prstGeom prst="triangle">
            <a:avLst/>
          </a:prstGeom>
          <a:solidFill>
            <a:schemeClr val="bg1">
              <a:lumMod val="75000"/>
              <a:alpha val="7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폭발 1 62"/>
          <p:cNvSpPr/>
          <p:nvPr/>
        </p:nvSpPr>
        <p:spPr bwMode="auto">
          <a:xfrm>
            <a:off x="7753610" y="2993721"/>
            <a:ext cx="1266871" cy="563518"/>
          </a:xfrm>
          <a:prstGeom prst="irregularSeal1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kumimoji="1" lang="ko-KR" altLang="en-US" sz="1200" b="1" dirty="0" err="1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 bwMode="auto">
          <a:xfrm>
            <a:off x="7690137" y="3585389"/>
            <a:ext cx="177921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Open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연기 및 차세대 목표 품질 수준 미확보</a:t>
            </a:r>
          </a:p>
        </p:txBody>
      </p:sp>
      <p:sp>
        <p:nvSpPr>
          <p:cNvPr id="65" name="Text Box 7"/>
          <p:cNvSpPr txBox="1">
            <a:spLocks noChangeArrowheads="1"/>
          </p:cNvSpPr>
          <p:nvPr/>
        </p:nvSpPr>
        <p:spPr bwMode="auto">
          <a:xfrm>
            <a:off x="6440705" y="4254119"/>
            <a:ext cx="246806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적 대응 방향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5727188" y="5141659"/>
            <a:ext cx="3895097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혁신 관점의 이슈 선제 대응</a:t>
            </a:r>
          </a:p>
        </p:txBody>
      </p:sp>
      <p:sp>
        <p:nvSpPr>
          <p:cNvPr id="101" name="직사각형 100"/>
          <p:cNvSpPr/>
          <p:nvPr/>
        </p:nvSpPr>
        <p:spPr bwMode="auto">
          <a:xfrm>
            <a:off x="288098" y="4589192"/>
            <a:ext cx="4808917" cy="157293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273050" indent="-273050" eaLnBrk="0" latinLnBrk="0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장기 전략 및 과제 별 추진 방향성에 대한 이해 부족으로 </a:t>
            </a: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aster Plan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상이 상세하게 반영되지 않음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73050" indent="-273050" eaLnBrk="0" latinLnBrk="0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 이슈가 아닌 프로세스 중심 이슈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의 누락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복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한 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nsight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족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73050" indent="-273050" eaLnBrk="0" latinLnBrk="0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I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진 과제 외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Quick-win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차세대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이후 과제 간 연계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oint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식 부재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타원 101"/>
          <p:cNvSpPr/>
          <p:nvPr/>
        </p:nvSpPr>
        <p:spPr bwMode="auto">
          <a:xfrm>
            <a:off x="330864" y="4645656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타원 102"/>
          <p:cNvSpPr/>
          <p:nvPr/>
        </p:nvSpPr>
        <p:spPr bwMode="auto">
          <a:xfrm>
            <a:off x="330864" y="5151359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타원 103"/>
          <p:cNvSpPr/>
          <p:nvPr/>
        </p:nvSpPr>
        <p:spPr bwMode="auto">
          <a:xfrm>
            <a:off x="330864" y="5644060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5727188" y="5694125"/>
            <a:ext cx="3895097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 간 연관성을 고려한 요건의 완결성 확보</a:t>
            </a:r>
          </a:p>
        </p:txBody>
      </p:sp>
      <p:sp>
        <p:nvSpPr>
          <p:cNvPr id="110" name="Rectangle 10"/>
          <p:cNvSpPr>
            <a:spLocks noChangeArrowheads="1"/>
          </p:cNvSpPr>
          <p:nvPr/>
        </p:nvSpPr>
        <p:spPr bwMode="gray">
          <a:xfrm>
            <a:off x="5339197" y="1889068"/>
            <a:ext cx="4121815" cy="313445"/>
          </a:xfrm>
          <a:prstGeom prst="homePlat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축</a:t>
            </a:r>
            <a:endParaRPr lang="en-US" altLang="ko-KR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1" name="직선 화살표 연결선 110"/>
          <p:cNvCxnSpPr>
            <a:stCxn id="53" idx="3"/>
            <a:endCxn id="110" idx="1"/>
          </p:cNvCxnSpPr>
          <p:nvPr/>
        </p:nvCxnSpPr>
        <p:spPr bwMode="auto">
          <a:xfrm>
            <a:off x="4787858" y="2045791"/>
            <a:ext cx="55133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12" name="사각형 설명선 111"/>
          <p:cNvSpPr/>
          <p:nvPr/>
        </p:nvSpPr>
        <p:spPr bwMode="auto">
          <a:xfrm>
            <a:off x="3902546" y="1358904"/>
            <a:ext cx="2251814" cy="458232"/>
          </a:xfrm>
          <a:prstGeom prst="wedgeRectCallout">
            <a:avLst>
              <a:gd name="adj1" fmla="val 1666"/>
              <a:gd name="adj2" fmla="val 89744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략과제 관련 프로세스 개선 및 요건 상세화 정의</a:t>
            </a:r>
          </a:p>
        </p:txBody>
      </p:sp>
      <p:sp>
        <p:nvSpPr>
          <p:cNvPr id="114" name="타원 113"/>
          <p:cNvSpPr/>
          <p:nvPr/>
        </p:nvSpPr>
        <p:spPr bwMode="auto">
          <a:xfrm>
            <a:off x="1434732" y="1286972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타원 114"/>
          <p:cNvSpPr/>
          <p:nvPr/>
        </p:nvSpPr>
        <p:spPr bwMode="auto">
          <a:xfrm>
            <a:off x="3794546" y="1286972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사각형 설명선 115"/>
          <p:cNvSpPr/>
          <p:nvPr/>
        </p:nvSpPr>
        <p:spPr bwMode="auto">
          <a:xfrm>
            <a:off x="7078441" y="1358904"/>
            <a:ext cx="2543843" cy="458232"/>
          </a:xfrm>
          <a:prstGeom prst="wedgeRectCallout">
            <a:avLst>
              <a:gd name="adj1" fmla="val 1666"/>
              <a:gd name="adj2" fmla="val 89744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Quick-win </a:t>
            </a:r>
            <a:r>
              <a:rPr kumimoji="1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 및 차세대</a:t>
            </a:r>
            <a:r>
              <a:rPr kumimoji="1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br>
              <a:rPr kumimoji="1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</a:t>
            </a:r>
            <a:r>
              <a:rPr kumimoji="1"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후 과제 반영</a:t>
            </a:r>
          </a:p>
        </p:txBody>
      </p:sp>
      <p:sp>
        <p:nvSpPr>
          <p:cNvPr id="117" name="타원 116"/>
          <p:cNvSpPr/>
          <p:nvPr/>
        </p:nvSpPr>
        <p:spPr bwMode="auto">
          <a:xfrm>
            <a:off x="6970442" y="1286972"/>
            <a:ext cx="216000" cy="216000"/>
          </a:xfrm>
          <a:prstGeom prst="ellipse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050" b="1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9665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손익관리체계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오각형 3"/>
          <p:cNvSpPr/>
          <p:nvPr/>
        </p:nvSpPr>
        <p:spPr bwMode="gray">
          <a:xfrm>
            <a:off x="286613" y="2673752"/>
            <a:ext cx="586325" cy="1090408"/>
          </a:xfrm>
          <a:prstGeom prst="homePlate">
            <a:avLst>
              <a:gd name="adj" fmla="val 1365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</a:t>
            </a: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오각형 4"/>
          <p:cNvSpPr/>
          <p:nvPr/>
        </p:nvSpPr>
        <p:spPr bwMode="gray">
          <a:xfrm>
            <a:off x="286613" y="3913177"/>
            <a:ext cx="586325" cy="1090408"/>
          </a:xfrm>
          <a:prstGeom prst="homePlate">
            <a:avLst>
              <a:gd name="adj" fmla="val 1365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도화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오각형 5"/>
          <p:cNvSpPr/>
          <p:nvPr/>
        </p:nvSpPr>
        <p:spPr bwMode="gray">
          <a:xfrm>
            <a:off x="286613" y="5152601"/>
            <a:ext cx="586325" cy="1090408"/>
          </a:xfrm>
          <a:prstGeom prst="homePlate">
            <a:avLst>
              <a:gd name="adj" fmla="val 1533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 고도화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976032" y="1938725"/>
            <a:ext cx="4264306" cy="4304284"/>
            <a:chOff x="976032" y="1938725"/>
            <a:chExt cx="5292002" cy="4304284"/>
          </a:xfrm>
        </p:grpSpPr>
        <p:sp>
          <p:nvSpPr>
            <p:cNvPr id="7" name="오각형 6"/>
            <p:cNvSpPr/>
            <p:nvPr/>
          </p:nvSpPr>
          <p:spPr bwMode="gray">
            <a:xfrm>
              <a:off x="976033" y="1938725"/>
              <a:ext cx="1984503" cy="3096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50"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050" dirty="0">
                  <a:latin typeface="맑은 고딕" pitchFamily="50" charset="-127"/>
                  <a:ea typeface="맑은 고딕" pitchFamily="50" charset="-127"/>
                </a:rPr>
                <a:t>분석</a:t>
              </a:r>
            </a:p>
          </p:txBody>
        </p:sp>
        <p:sp>
          <p:nvSpPr>
            <p:cNvPr id="8" name="오각형 7"/>
            <p:cNvSpPr/>
            <p:nvPr/>
          </p:nvSpPr>
          <p:spPr bwMode="gray">
            <a:xfrm>
              <a:off x="2982876" y="1938725"/>
              <a:ext cx="1293214" cy="3096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50" dirty="0">
                  <a:latin typeface="맑은 고딕" pitchFamily="50" charset="-127"/>
                  <a:ea typeface="맑은 고딕" pitchFamily="50" charset="-127"/>
                </a:rPr>
                <a:t>과제 상세화</a:t>
              </a:r>
            </a:p>
          </p:txBody>
        </p:sp>
        <p:sp>
          <p:nvSpPr>
            <p:cNvPr id="9" name="오각형 8"/>
            <p:cNvSpPr/>
            <p:nvPr/>
          </p:nvSpPr>
          <p:spPr bwMode="gray">
            <a:xfrm>
              <a:off x="4298430" y="1938725"/>
              <a:ext cx="1969602" cy="3096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50" dirty="0"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kumimoji="1" lang="ko-KR" altLang="en-US" sz="1050" dirty="0">
                  <a:latin typeface="맑은 고딕" pitchFamily="50" charset="-127"/>
                  <a:ea typeface="맑은 고딕" pitchFamily="50" charset="-127"/>
                </a:rPr>
                <a:t>설계</a:t>
              </a:r>
            </a:p>
          </p:txBody>
        </p:sp>
        <p:sp>
          <p:nvSpPr>
            <p:cNvPr id="10" name="직사각형 9"/>
            <p:cNvSpPr/>
            <p:nvPr/>
          </p:nvSpPr>
          <p:spPr bwMode="gray">
            <a:xfrm>
              <a:off x="976032" y="2673752"/>
              <a:ext cx="3197250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조직손익 산출 방향성 결정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회계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부서공통코드분리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 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및 성과관리 방향성과 연계하여 조직손익 산출 방향성 결정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" name="직사각형 10"/>
            <p:cNvSpPr/>
            <p:nvPr/>
          </p:nvSpPr>
          <p:spPr bwMode="gray">
            <a:xfrm>
              <a:off x="4317783" y="2673752"/>
              <a:ext cx="1946574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조직손익 산출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요건 설계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부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조직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별 손익</a:t>
              </a:r>
              <a:endPara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ko-KR" altLang="en-US" sz="900" b="0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집채널조직별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손익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Vintage)</a:t>
              </a:r>
              <a:endPara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화살표 연결선 11"/>
            <p:cNvCxnSpPr>
              <a:stCxn id="10" idx="3"/>
              <a:endCxn id="11" idx="1"/>
            </p:cNvCxnSpPr>
            <p:nvPr/>
          </p:nvCxnSpPr>
          <p:spPr bwMode="gray">
            <a:xfrm>
              <a:off x="4173282" y="3218956"/>
              <a:ext cx="144501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3" name="직사각형 12"/>
            <p:cNvSpPr/>
            <p:nvPr/>
          </p:nvSpPr>
          <p:spPr bwMode="gray">
            <a:xfrm>
              <a:off x="976032" y="3913177"/>
              <a:ext cx="1872000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수익성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요구사항 분석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수익성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 과제</a:t>
              </a:r>
              <a:endParaRPr lang="en-US" altLang="ko-KR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가 요구사항 도출</a:t>
              </a:r>
              <a:endParaRPr lang="ko-KR" altLang="en-US" sz="9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" name="직사각형 13"/>
            <p:cNvSpPr/>
            <p:nvPr/>
          </p:nvSpPr>
          <p:spPr bwMode="gray">
            <a:xfrm>
              <a:off x="2982875" y="3913177"/>
              <a:ext cx="3281481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수익성 고도화 산출 요건 설계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수익성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 과제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요건정의 보완</a:t>
              </a:r>
              <a:endParaRPr lang="en-US" altLang="ko-KR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가 요구사항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요건정의서 작성</a:t>
              </a:r>
              <a:endParaRPr lang="en-US" altLang="ko-KR" sz="9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266700" indent="-177800" algn="l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업회계시스템 대응 요건 설계</a:t>
              </a:r>
              <a:endParaRPr lang="ko-KR" altLang="en-US" sz="9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5" name="직선 화살표 연결선 14"/>
            <p:cNvCxnSpPr>
              <a:stCxn id="13" idx="3"/>
              <a:endCxn id="14" idx="1"/>
            </p:cNvCxnSpPr>
            <p:nvPr/>
          </p:nvCxnSpPr>
          <p:spPr bwMode="gray">
            <a:xfrm>
              <a:off x="2848032" y="4458381"/>
              <a:ext cx="134843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6" name="직사각형 15"/>
            <p:cNvSpPr/>
            <p:nvPr/>
          </p:nvSpPr>
          <p:spPr bwMode="gray">
            <a:xfrm>
              <a:off x="986369" y="5152601"/>
              <a:ext cx="1872000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관리 현황 분석</a:t>
              </a:r>
              <a:endPara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관리시스템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관리프로세스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9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gray">
            <a:xfrm>
              <a:off x="2982875" y="5152601"/>
              <a:ext cx="1215206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관리 개선방향성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정</a:t>
              </a:r>
              <a:endParaRPr lang="ko-KR" altLang="en-US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직사각형 17"/>
            <p:cNvSpPr/>
            <p:nvPr/>
          </p:nvSpPr>
          <p:spPr bwMode="gray">
            <a:xfrm>
              <a:off x="4317783" y="5152601"/>
              <a:ext cx="1946574" cy="10904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1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관리 고도화 요건 설계</a:t>
              </a:r>
              <a:endPara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To-Be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능 요건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b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프로세스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9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9" name="직선 화살표 연결선 18"/>
            <p:cNvCxnSpPr>
              <a:stCxn id="16" idx="3"/>
              <a:endCxn id="17" idx="1"/>
            </p:cNvCxnSpPr>
            <p:nvPr/>
          </p:nvCxnSpPr>
          <p:spPr bwMode="gray">
            <a:xfrm>
              <a:off x="2858369" y="5697805"/>
              <a:ext cx="12450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0" name="직선 화살표 연결선 19"/>
            <p:cNvCxnSpPr>
              <a:stCxn id="17" idx="3"/>
              <a:endCxn id="18" idx="1"/>
            </p:cNvCxnSpPr>
            <p:nvPr/>
          </p:nvCxnSpPr>
          <p:spPr bwMode="gray">
            <a:xfrm>
              <a:off x="4198081" y="5697805"/>
              <a:ext cx="119702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grpSp>
          <p:nvGrpSpPr>
            <p:cNvPr id="21" name="그룹 20"/>
            <p:cNvGrpSpPr/>
            <p:nvPr/>
          </p:nvGrpSpPr>
          <p:grpSpPr>
            <a:xfrm>
              <a:off x="976034" y="2270766"/>
              <a:ext cx="5292000" cy="259413"/>
              <a:chOff x="1177924" y="2175349"/>
              <a:chExt cx="5183998" cy="259413"/>
            </a:xfrm>
          </p:grpSpPr>
          <p:cxnSp>
            <p:nvCxnSpPr>
              <p:cNvPr id="22" name="직선 연결선 21"/>
              <p:cNvCxnSpPr/>
              <p:nvPr/>
            </p:nvCxnSpPr>
            <p:spPr bwMode="gray">
              <a:xfrm>
                <a:off x="1177924" y="2365215"/>
                <a:ext cx="5183998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3" name="직선 연결선 22"/>
              <p:cNvCxnSpPr/>
              <p:nvPr/>
            </p:nvCxnSpPr>
            <p:spPr bwMode="gray">
              <a:xfrm>
                <a:off x="1177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4" name="직선 연결선 23"/>
              <p:cNvCxnSpPr/>
              <p:nvPr/>
            </p:nvCxnSpPr>
            <p:spPr bwMode="gray">
              <a:xfrm>
                <a:off x="1753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5" name="직선 연결선 24"/>
              <p:cNvCxnSpPr/>
              <p:nvPr/>
            </p:nvCxnSpPr>
            <p:spPr bwMode="gray">
              <a:xfrm>
                <a:off x="2329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6" name="직선 연결선 25"/>
              <p:cNvCxnSpPr/>
              <p:nvPr/>
            </p:nvCxnSpPr>
            <p:spPr bwMode="gray">
              <a:xfrm>
                <a:off x="2905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7" name="직선 연결선 26"/>
              <p:cNvCxnSpPr/>
              <p:nvPr/>
            </p:nvCxnSpPr>
            <p:spPr bwMode="gray">
              <a:xfrm>
                <a:off x="3481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8" name="직선 연결선 27"/>
              <p:cNvCxnSpPr/>
              <p:nvPr/>
            </p:nvCxnSpPr>
            <p:spPr bwMode="gray">
              <a:xfrm>
                <a:off x="4057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29" name="직선 연결선 28"/>
              <p:cNvCxnSpPr/>
              <p:nvPr/>
            </p:nvCxnSpPr>
            <p:spPr bwMode="gray">
              <a:xfrm>
                <a:off x="4633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30" name="직선 연결선 29"/>
              <p:cNvCxnSpPr/>
              <p:nvPr/>
            </p:nvCxnSpPr>
            <p:spPr bwMode="gray">
              <a:xfrm>
                <a:off x="5209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31" name="직선 연결선 30"/>
              <p:cNvCxnSpPr/>
              <p:nvPr/>
            </p:nvCxnSpPr>
            <p:spPr bwMode="gray">
              <a:xfrm>
                <a:off x="6361922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32" name="TextBox 31"/>
              <p:cNvSpPr txBox="1"/>
              <p:nvPr/>
            </p:nvSpPr>
            <p:spPr bwMode="gray">
              <a:xfrm>
                <a:off x="1288266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1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 bwMode="gray">
              <a:xfrm>
                <a:off x="1871309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2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 bwMode="gray">
              <a:xfrm>
                <a:off x="2454352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3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 bwMode="gray">
              <a:xfrm>
                <a:off x="3037395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4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 bwMode="gray">
              <a:xfrm>
                <a:off x="3620438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5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 bwMode="gray">
              <a:xfrm>
                <a:off x="4203481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6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 bwMode="gray">
              <a:xfrm>
                <a:off x="4742074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7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 bwMode="gray">
              <a:xfrm>
                <a:off x="5952612" y="2175349"/>
                <a:ext cx="242622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9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 bwMode="gray">
              <a:xfrm>
                <a:off x="5312417" y="2175349"/>
                <a:ext cx="23766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8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41" name="직선 연결선 40"/>
              <p:cNvCxnSpPr/>
              <p:nvPr/>
            </p:nvCxnSpPr>
            <p:spPr bwMode="gray">
              <a:xfrm>
                <a:off x="5785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</p:grpSp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873889"/>
              </p:ext>
            </p:extLst>
          </p:nvPr>
        </p:nvGraphicFramePr>
        <p:xfrm>
          <a:off x="5511351" y="1911722"/>
          <a:ext cx="4122170" cy="4325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3857"/>
                <a:gridCol w="2808313"/>
              </a:tblGrid>
              <a:tr h="32012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업무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526606">
                <a:tc>
                  <a:txBody>
                    <a:bodyPr/>
                    <a:lstStyle/>
                    <a:p>
                      <a:pPr algn="ctr" latinLnBrk="0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조직손익 산출 방향성 결정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회계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공통코드분리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성과관리 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방향성과 연계하여 조직손익 산출 방향성 결정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79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손익 산출 요건 설계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손익 산출 단위 및 산출 대상 손익의 범위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분 방안 수립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6606">
                <a:tc>
                  <a:txBody>
                    <a:bodyPr/>
                    <a:lstStyle/>
                    <a:p>
                      <a:pPr algn="ctr" latinLnBrk="0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수익성 요구사항 분석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 프로젝트의 중장기 과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, 3, 4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 과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신규 부서별 요구사항 취합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02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 고도화 산출 요건 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 과제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건정의 보완</a:t>
                      </a: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가 요구사항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건정의서 작성</a:t>
                      </a: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회계시스템 대응 요건 설계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80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관리 현황 분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관리시스템 현황 및 기능 제약사항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</a:p>
                    <a:p>
                      <a:pPr marL="0" indent="0" algn="l" latinLnBrk="1"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테일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관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부서의 상품관리시스템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b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관리프로세스 개선을 위한 요구사항 취합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endParaRPr lang="ko-KR" altLang="en-US" sz="8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7967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관리 개선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향성 확정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손익관리 개선 기능을 구현하기 위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방향성 결정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7967">
                <a:tc>
                  <a:txBody>
                    <a:bodyPr/>
                    <a:lstStyle/>
                    <a:p>
                      <a:pPr algn="ctr">
                        <a:spcBef>
                          <a:spcPct val="50000"/>
                        </a:spcBef>
                        <a:buClr>
                          <a:schemeClr val="bg2"/>
                        </a:buClr>
                      </a:pP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관리 고도화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요건 설계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방향성에 의거 세부 산출 요건   설계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4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6" name="TextBox 4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손익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방안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7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내용 개체 틀 48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 과제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I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에서 요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를 수행하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손익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산출 방안 및 상품손익 분석 고도화 시스템 구축 방향성 등에 대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정이 필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3" name="그룹 7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2" name="그룹 8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502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손익관리체계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분사 산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중심 조직들의 손익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제가능성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려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목표 설정 및 실적 분석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능하도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조직 손익을 산출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286504" y="2082056"/>
            <a:ext cx="6092391" cy="297297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조직 손익 산출방안</a:t>
            </a:r>
            <a:endParaRPr kumimoji="1"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286504" y="2376904"/>
            <a:ext cx="6089410" cy="3720219"/>
          </a:xfrm>
          <a:prstGeom prst="rect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원통 11"/>
          <p:cNvSpPr/>
          <p:nvPr/>
        </p:nvSpPr>
        <p:spPr bwMode="auto">
          <a:xfrm>
            <a:off x="5119152" y="3824504"/>
            <a:ext cx="648000" cy="576000"/>
          </a:xfrm>
          <a:prstGeom prst="can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전표</a:t>
            </a:r>
          </a:p>
        </p:txBody>
      </p:sp>
      <p:sp>
        <p:nvSpPr>
          <p:cNvPr id="13" name="원통 12"/>
          <p:cNvSpPr/>
          <p:nvPr/>
        </p:nvSpPr>
        <p:spPr bwMode="auto">
          <a:xfrm>
            <a:off x="3973760" y="3957854"/>
            <a:ext cx="720000" cy="306000"/>
          </a:xfrm>
          <a:prstGeom prst="can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세전표</a:t>
            </a:r>
          </a:p>
        </p:txBody>
      </p:sp>
      <p:sp>
        <p:nvSpPr>
          <p:cNvPr id="14" name="원통 13"/>
          <p:cNvSpPr/>
          <p:nvPr/>
        </p:nvSpPr>
        <p:spPr bwMode="auto">
          <a:xfrm>
            <a:off x="3973760" y="3579846"/>
            <a:ext cx="720000" cy="306000"/>
          </a:xfrm>
          <a:prstGeom prst="can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개내역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3861246" y="3288351"/>
            <a:ext cx="2024648" cy="1445279"/>
          </a:xfrm>
          <a:prstGeom prst="rect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3861246" y="3047214"/>
            <a:ext cx="2024648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</a:p>
        </p:txBody>
      </p:sp>
      <p:cxnSp>
        <p:nvCxnSpPr>
          <p:cNvPr id="17" name="꺾인 연결선 16"/>
          <p:cNvCxnSpPr>
            <a:stCxn id="14" idx="4"/>
            <a:endCxn id="12" idx="2"/>
          </p:cNvCxnSpPr>
          <p:nvPr/>
        </p:nvCxnSpPr>
        <p:spPr bwMode="auto">
          <a:xfrm>
            <a:off x="4693760" y="3732846"/>
            <a:ext cx="425392" cy="379658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" name="꺾인 연결선 17"/>
          <p:cNvCxnSpPr>
            <a:stCxn id="13" idx="4"/>
            <a:endCxn id="12" idx="2"/>
          </p:cNvCxnSpPr>
          <p:nvPr/>
        </p:nvCxnSpPr>
        <p:spPr bwMode="auto">
          <a:xfrm>
            <a:off x="4693760" y="4110854"/>
            <a:ext cx="425392" cy="165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1" name="직사각형 20"/>
          <p:cNvSpPr/>
          <p:nvPr/>
        </p:nvSpPr>
        <p:spPr bwMode="auto">
          <a:xfrm>
            <a:off x="7402626" y="3129457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상품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7402626" y="3367294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마케팅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7402626" y="3605131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채널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7402626" y="3842968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</a:p>
        </p:txBody>
      </p:sp>
      <p:sp>
        <p:nvSpPr>
          <p:cNvPr id="25" name="원통 24"/>
          <p:cNvSpPr/>
          <p:nvPr/>
        </p:nvSpPr>
        <p:spPr bwMode="auto">
          <a:xfrm>
            <a:off x="3973760" y="4317894"/>
            <a:ext cx="720000" cy="306000"/>
          </a:xfrm>
          <a:prstGeom prst="can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" name="꺾인 연결선 25"/>
          <p:cNvCxnSpPr>
            <a:stCxn id="25" idx="4"/>
            <a:endCxn id="12" idx="2"/>
          </p:cNvCxnSpPr>
          <p:nvPr/>
        </p:nvCxnSpPr>
        <p:spPr bwMode="auto">
          <a:xfrm flipV="1">
            <a:off x="4693760" y="4112504"/>
            <a:ext cx="425392" cy="35839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7" name="직사각형 26"/>
          <p:cNvSpPr/>
          <p:nvPr/>
        </p:nvSpPr>
        <p:spPr bwMode="auto">
          <a:xfrm>
            <a:off x="7402626" y="4149287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업영업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7402626" y="4387124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공공영업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7402626" y="4624962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관상품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7402626" y="4862799"/>
            <a:ext cx="828000" cy="2081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</a:p>
        </p:txBody>
      </p:sp>
      <p:cxnSp>
        <p:nvCxnSpPr>
          <p:cNvPr id="31" name="직선 화살표 연결선 30"/>
          <p:cNvCxnSpPr>
            <a:stCxn id="12" idx="4"/>
            <a:endCxn id="19" idx="1"/>
          </p:cNvCxnSpPr>
          <p:nvPr/>
        </p:nvCxnSpPr>
        <p:spPr bwMode="auto">
          <a:xfrm flipV="1">
            <a:off x="5767152" y="3590267"/>
            <a:ext cx="1064674" cy="5222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32" name="직선 화살표 연결선 31"/>
          <p:cNvCxnSpPr>
            <a:stCxn id="12" idx="4"/>
            <a:endCxn id="20" idx="1"/>
          </p:cNvCxnSpPr>
          <p:nvPr/>
        </p:nvCxnSpPr>
        <p:spPr bwMode="auto">
          <a:xfrm>
            <a:off x="5767152" y="4112504"/>
            <a:ext cx="1064674" cy="49759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33" name="오른쪽 화살표 32"/>
          <p:cNvSpPr/>
          <p:nvPr/>
        </p:nvSpPr>
        <p:spPr bwMode="auto">
          <a:xfrm>
            <a:off x="6013109" y="3531254"/>
            <a:ext cx="602201" cy="1159200"/>
          </a:xfrm>
          <a:prstGeom prst="rightArrow">
            <a:avLst>
              <a:gd name="adj1" fmla="val 72618"/>
              <a:gd name="adj2" fmla="val 50000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6397255" y="2871564"/>
            <a:ext cx="1833371" cy="20810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latin typeface="맑은 고딕" pitchFamily="50" charset="-127"/>
                <a:ea typeface="맑은 고딕" pitchFamily="50" charset="-127"/>
              </a:rPr>
              <a:t>카드분사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6124950" y="2515079"/>
            <a:ext cx="2728800" cy="2645940"/>
          </a:xfrm>
          <a:prstGeom prst="rect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6124950" y="2502872"/>
            <a:ext cx="2730119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수익성분석 시스템</a:t>
            </a:r>
          </a:p>
        </p:txBody>
      </p:sp>
      <p:grpSp>
        <p:nvGrpSpPr>
          <p:cNvPr id="71" name="그룹 70"/>
          <p:cNvGrpSpPr/>
          <p:nvPr/>
        </p:nvGrpSpPr>
        <p:grpSpPr>
          <a:xfrm>
            <a:off x="8350241" y="2901274"/>
            <a:ext cx="354450" cy="2140535"/>
            <a:chOff x="8596991" y="2904535"/>
            <a:chExt cx="442901" cy="2140535"/>
          </a:xfrm>
        </p:grpSpPr>
        <p:sp>
          <p:nvSpPr>
            <p:cNvPr id="38" name="왼쪽으로 구부러진 화살표 37"/>
            <p:cNvSpPr/>
            <p:nvPr/>
          </p:nvSpPr>
          <p:spPr bwMode="auto">
            <a:xfrm>
              <a:off x="8596991" y="2904535"/>
              <a:ext cx="431121" cy="1902698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왼쪽으로 구부러진 화살표 41"/>
            <p:cNvSpPr/>
            <p:nvPr/>
          </p:nvSpPr>
          <p:spPr bwMode="auto">
            <a:xfrm>
              <a:off x="8596991" y="2904535"/>
              <a:ext cx="431121" cy="1427024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왼쪽으로 구부러진 화살표 42"/>
            <p:cNvSpPr/>
            <p:nvPr/>
          </p:nvSpPr>
          <p:spPr bwMode="auto">
            <a:xfrm>
              <a:off x="8596991" y="2904535"/>
              <a:ext cx="431121" cy="1694591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4" name="왼쪽으로 구부러진 화살표 43"/>
            <p:cNvSpPr/>
            <p:nvPr/>
          </p:nvSpPr>
          <p:spPr bwMode="auto">
            <a:xfrm>
              <a:off x="8596991" y="2904535"/>
              <a:ext cx="431121" cy="2140535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5" name="왼쪽으로 구부러진 화살표 44"/>
            <p:cNvSpPr/>
            <p:nvPr/>
          </p:nvSpPr>
          <p:spPr bwMode="auto">
            <a:xfrm>
              <a:off x="8596991" y="2904535"/>
              <a:ext cx="431121" cy="891890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왼쪽으로 구부러진 화살표 45"/>
            <p:cNvSpPr/>
            <p:nvPr/>
          </p:nvSpPr>
          <p:spPr bwMode="auto">
            <a:xfrm>
              <a:off x="8608771" y="2904535"/>
              <a:ext cx="431121" cy="1126041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7" name="왼쪽으로 구부러진 화살표 46"/>
            <p:cNvSpPr/>
            <p:nvPr/>
          </p:nvSpPr>
          <p:spPr bwMode="auto">
            <a:xfrm>
              <a:off x="8597071" y="2904535"/>
              <a:ext cx="431121" cy="654053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왼쪽으로 구부러진 화살표 47"/>
            <p:cNvSpPr/>
            <p:nvPr/>
          </p:nvSpPr>
          <p:spPr bwMode="auto">
            <a:xfrm>
              <a:off x="8596991" y="2904535"/>
              <a:ext cx="431121" cy="416215"/>
            </a:xfrm>
            <a:prstGeom prst="curvedLeftArrow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9" name="TextBox 48"/>
          <p:cNvSpPr txBox="1"/>
          <p:nvPr/>
        </p:nvSpPr>
        <p:spPr bwMode="auto">
          <a:xfrm>
            <a:off x="8159336" y="3379659"/>
            <a:ext cx="780988" cy="410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간접비</a:t>
            </a:r>
            <a:endParaRPr lang="en-US" altLang="ko-KR" sz="1200" i="1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배분</a:t>
            </a:r>
          </a:p>
        </p:txBody>
      </p:sp>
      <p:sp>
        <p:nvSpPr>
          <p:cNvPr id="55" name="TextBox 54"/>
          <p:cNvSpPr txBox="1"/>
          <p:nvPr/>
        </p:nvSpPr>
        <p:spPr bwMode="auto">
          <a:xfrm>
            <a:off x="3482321" y="5343014"/>
            <a:ext cx="5931305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80975" indent="-180975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단일 조직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분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이 아닌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각 고객중심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조직별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익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비용 귀속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80975" indent="-180975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각 조직의 손익 통제가능성 및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을 고려한 공통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간접비 배분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80975" indent="-180975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및 목표 설정 시 계획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목표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단가와 발생원가 기준의 이원화된 관점의 손익정보 제공 </a:t>
            </a:r>
          </a:p>
        </p:txBody>
      </p:sp>
      <p:sp>
        <p:nvSpPr>
          <p:cNvPr id="59" name="이등변 삼각형 58"/>
          <p:cNvSpPr/>
          <p:nvPr/>
        </p:nvSpPr>
        <p:spPr bwMode="auto">
          <a:xfrm rot="5400000">
            <a:off x="2481466" y="3836049"/>
            <a:ext cx="1159457" cy="173303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5" name="TextBox 6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업본부조직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익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출방안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68" name="TextBox 6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직사각형 18"/>
          <p:cNvSpPr/>
          <p:nvPr/>
        </p:nvSpPr>
        <p:spPr bwMode="auto">
          <a:xfrm>
            <a:off x="6831826" y="3129457"/>
            <a:ext cx="512617" cy="9216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테일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6831826" y="4149287"/>
            <a:ext cx="512617" cy="9216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관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484634" y="2082056"/>
            <a:ext cx="2335295" cy="297297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 카드손익 회계처리 방식</a:t>
            </a:r>
          </a:p>
        </p:txBody>
      </p:sp>
      <p:sp>
        <p:nvSpPr>
          <p:cNvPr id="7" name="직사각형 6"/>
          <p:cNvSpPr/>
          <p:nvPr/>
        </p:nvSpPr>
        <p:spPr bwMode="auto">
          <a:xfrm>
            <a:off x="484634" y="2379353"/>
            <a:ext cx="2335295" cy="371777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원통 8"/>
          <p:cNvSpPr/>
          <p:nvPr/>
        </p:nvSpPr>
        <p:spPr bwMode="auto">
          <a:xfrm>
            <a:off x="597123" y="2668992"/>
            <a:ext cx="698458" cy="594593"/>
          </a:xfrm>
          <a:prstGeom prst="can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전표</a:t>
            </a:r>
          </a:p>
        </p:txBody>
      </p:sp>
      <p:sp>
        <p:nvSpPr>
          <p:cNvPr id="10" name="직사각형 9"/>
          <p:cNvSpPr/>
          <p:nvPr/>
        </p:nvSpPr>
        <p:spPr bwMode="auto">
          <a:xfrm>
            <a:off x="2032598" y="2748238"/>
            <a:ext cx="655918" cy="4459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</a:t>
            </a: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드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사</a:t>
            </a:r>
          </a:p>
        </p:txBody>
      </p:sp>
      <p:cxnSp>
        <p:nvCxnSpPr>
          <p:cNvPr id="11" name="직선 화살표 연결선 10"/>
          <p:cNvCxnSpPr>
            <a:stCxn id="9" idx="4"/>
            <a:endCxn id="10" idx="1"/>
          </p:cNvCxnSpPr>
          <p:nvPr/>
        </p:nvCxnSpPr>
        <p:spPr bwMode="auto">
          <a:xfrm>
            <a:off x="1295581" y="2966289"/>
            <a:ext cx="737017" cy="492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6" name="TextBox 55"/>
          <p:cNvSpPr txBox="1"/>
          <p:nvPr/>
        </p:nvSpPr>
        <p:spPr bwMode="auto">
          <a:xfrm>
            <a:off x="1291237" y="2626861"/>
            <a:ext cx="629520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단일조직 회계귀속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486161" y="3535477"/>
            <a:ext cx="233376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u="sng" dirty="0" smtClean="0">
                <a:solidFill>
                  <a:srgbClr val="000000"/>
                </a:solidFill>
                <a:latin typeface="맑은 고딕"/>
                <a:ea typeface="맑은 고딕"/>
              </a:rPr>
              <a:t>사업조직 손익산출 이슈</a:t>
            </a:r>
          </a:p>
        </p:txBody>
      </p:sp>
      <p:sp>
        <p:nvSpPr>
          <p:cNvPr id="83" name="직사각형 82"/>
          <p:cNvSpPr/>
          <p:nvPr/>
        </p:nvSpPr>
        <p:spPr bwMode="gray">
          <a:xfrm>
            <a:off x="552441" y="3796787"/>
            <a:ext cx="2236279" cy="181079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36000" rIns="36000" bIns="36000" rtlCol="0" anchor="ctr"/>
          <a:lstStyle/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관련 수익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에 대한 회계귀속이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 단일조직으로 발생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 독립된 손익 집계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재</a:t>
            </a: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과 농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축협 카드고객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분계리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필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5884482" y="3815594"/>
            <a:ext cx="780988" cy="5805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1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고객중심 </a:t>
            </a:r>
            <a:r>
              <a:rPr lang="ko-KR" altLang="en-US" sz="1100" i="1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조직별</a:t>
            </a:r>
            <a:r>
              <a:rPr lang="ko-KR" altLang="en-US" sz="11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 책임귀속</a:t>
            </a:r>
          </a:p>
        </p:txBody>
      </p:sp>
      <p:cxnSp>
        <p:nvCxnSpPr>
          <p:cNvPr id="89" name="직선 연결선 88"/>
          <p:cNvCxnSpPr/>
          <p:nvPr/>
        </p:nvCxnSpPr>
        <p:spPr bwMode="auto">
          <a:xfrm>
            <a:off x="3509610" y="5279820"/>
            <a:ext cx="576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97" name="그룹 9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268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손익관리체계 고도화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사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후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uidelin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 상품 손익분석 체계가 일원화 되도록 개선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9" name="TextBox 6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손익 사전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후 관리기준 일원화 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59" name="TextBox 5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3" name="TextBox 62"/>
          <p:cNvSpPr txBox="1"/>
          <p:nvPr/>
        </p:nvSpPr>
        <p:spPr bwMode="gray">
          <a:xfrm>
            <a:off x="796338" y="1903469"/>
            <a:ext cx="489484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  분</a:t>
            </a:r>
          </a:p>
        </p:txBody>
      </p:sp>
      <p:sp>
        <p:nvSpPr>
          <p:cNvPr id="64" name="TextBox 63"/>
          <p:cNvSpPr txBox="1"/>
          <p:nvPr/>
        </p:nvSpPr>
        <p:spPr bwMode="gray">
          <a:xfrm>
            <a:off x="2079060" y="1910667"/>
            <a:ext cx="434982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 bwMode="gray">
          <a:xfrm>
            <a:off x="3733520" y="1899940"/>
            <a:ext cx="488714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TextBox 66"/>
          <p:cNvSpPr txBox="1"/>
          <p:nvPr/>
        </p:nvSpPr>
        <p:spPr bwMode="gray">
          <a:xfrm>
            <a:off x="5601072" y="1908052"/>
            <a:ext cx="489484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  분</a:t>
            </a:r>
          </a:p>
        </p:txBody>
      </p:sp>
      <p:sp>
        <p:nvSpPr>
          <p:cNvPr id="77" name="TextBox 76"/>
          <p:cNvSpPr txBox="1"/>
          <p:nvPr/>
        </p:nvSpPr>
        <p:spPr bwMode="gray">
          <a:xfrm>
            <a:off x="6886337" y="1914603"/>
            <a:ext cx="434982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 bwMode="gray">
          <a:xfrm>
            <a:off x="8352718" y="1904524"/>
            <a:ext cx="488714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gray">
          <a:xfrm>
            <a:off x="454596" y="2456896"/>
            <a:ext cx="1242169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규카드수</a:t>
            </a:r>
            <a:endParaRPr kumimoji="1"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분화</a:t>
            </a:r>
          </a:p>
        </p:txBody>
      </p:sp>
      <p:sp>
        <p:nvSpPr>
          <p:cNvPr id="113" name="직사각형 112"/>
          <p:cNvSpPr/>
          <p:nvPr/>
        </p:nvSpPr>
        <p:spPr bwMode="gray">
          <a:xfrm>
            <a:off x="1770178" y="2379687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카드수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직사각형 114"/>
          <p:cNvSpPr/>
          <p:nvPr/>
        </p:nvSpPr>
        <p:spPr bwMode="gray">
          <a:xfrm>
            <a:off x="454596" y="3734399"/>
            <a:ext cx="1241704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상품 세분화</a:t>
            </a:r>
          </a:p>
        </p:txBody>
      </p:sp>
      <p:sp>
        <p:nvSpPr>
          <p:cNvPr id="116" name="직사각형 115"/>
          <p:cNvSpPr/>
          <p:nvPr/>
        </p:nvSpPr>
        <p:spPr bwMode="gray">
          <a:xfrm>
            <a:off x="454596" y="5088653"/>
            <a:ext cx="1232856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용액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구성요소</a:t>
            </a:r>
            <a:endParaRPr kumimoji="1"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 세분화</a:t>
            </a:r>
          </a:p>
        </p:txBody>
      </p:sp>
      <p:sp>
        <p:nvSpPr>
          <p:cNvPr id="121" name="직사각형 120"/>
          <p:cNvSpPr/>
          <p:nvPr/>
        </p:nvSpPr>
        <p:spPr bwMode="gray">
          <a:xfrm>
            <a:off x="3260106" y="2389322"/>
            <a:ext cx="1215418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카드수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gray">
          <a:xfrm>
            <a:off x="3507035" y="2612751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회원신규카드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직사각형 122"/>
          <p:cNvSpPr/>
          <p:nvPr/>
        </p:nvSpPr>
        <p:spPr bwMode="gray">
          <a:xfrm>
            <a:off x="3507035" y="2831303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회원신규카드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gray">
          <a:xfrm>
            <a:off x="3260106" y="3533695"/>
            <a:ext cx="1215418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액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gray">
          <a:xfrm>
            <a:off x="3507035" y="3749889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일시불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직사각형 125"/>
          <p:cNvSpPr/>
          <p:nvPr/>
        </p:nvSpPr>
        <p:spPr bwMode="gray">
          <a:xfrm>
            <a:off x="3507035" y="3968442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할부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직사각형 126"/>
          <p:cNvSpPr/>
          <p:nvPr/>
        </p:nvSpPr>
        <p:spPr bwMode="gray">
          <a:xfrm>
            <a:off x="3507035" y="4179413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체크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직사각형 127"/>
          <p:cNvSpPr/>
          <p:nvPr/>
        </p:nvSpPr>
        <p:spPr bwMode="gray">
          <a:xfrm>
            <a:off x="3507035" y="4395834"/>
            <a:ext cx="1163548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외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직사각형 128"/>
          <p:cNvSpPr/>
          <p:nvPr/>
        </p:nvSpPr>
        <p:spPr bwMode="gray">
          <a:xfrm>
            <a:off x="1932942" y="3758141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신판체크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직사각형 129"/>
          <p:cNvSpPr/>
          <p:nvPr/>
        </p:nvSpPr>
        <p:spPr bwMode="gray">
          <a:xfrm>
            <a:off x="1778871" y="3525078"/>
            <a:ext cx="1052747" cy="23306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액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 bwMode="gray">
          <a:xfrm>
            <a:off x="1932942" y="3975565"/>
            <a:ext cx="1052747" cy="23306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외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직사각형 131"/>
          <p:cNvSpPr/>
          <p:nvPr/>
        </p:nvSpPr>
        <p:spPr bwMode="gray">
          <a:xfrm>
            <a:off x="1843511" y="4886708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액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다이아몬드 132"/>
          <p:cNvSpPr/>
          <p:nvPr/>
        </p:nvSpPr>
        <p:spPr bwMode="auto">
          <a:xfrm>
            <a:off x="3421450" y="2750440"/>
            <a:ext cx="164712" cy="168225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다이아몬드 133"/>
          <p:cNvSpPr/>
          <p:nvPr/>
        </p:nvSpPr>
        <p:spPr bwMode="auto">
          <a:xfrm>
            <a:off x="3418221" y="4313853"/>
            <a:ext cx="164712" cy="168225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다이아몬드 134"/>
          <p:cNvSpPr/>
          <p:nvPr/>
        </p:nvSpPr>
        <p:spPr bwMode="auto">
          <a:xfrm>
            <a:off x="3421450" y="4097219"/>
            <a:ext cx="164712" cy="168225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다이아몬드 135"/>
          <p:cNvSpPr/>
          <p:nvPr/>
        </p:nvSpPr>
        <p:spPr bwMode="auto">
          <a:xfrm>
            <a:off x="3418221" y="3878666"/>
            <a:ext cx="164712" cy="168225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7" name="직사각형 136"/>
          <p:cNvSpPr/>
          <p:nvPr/>
        </p:nvSpPr>
        <p:spPr bwMode="gray">
          <a:xfrm>
            <a:off x="3342323" y="4886708"/>
            <a:ext cx="1215418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액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gray">
          <a:xfrm>
            <a:off x="3506701" y="5101168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당이용액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gray">
          <a:xfrm>
            <a:off x="3506701" y="5319721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카드수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gray">
          <a:xfrm>
            <a:off x="3506701" y="5541655"/>
            <a:ext cx="1163548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률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다이아몬드 140"/>
          <p:cNvSpPr/>
          <p:nvPr/>
        </p:nvSpPr>
        <p:spPr bwMode="auto">
          <a:xfrm>
            <a:off x="3417887" y="5457411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다이아몬드 141"/>
          <p:cNvSpPr/>
          <p:nvPr/>
        </p:nvSpPr>
        <p:spPr bwMode="auto">
          <a:xfrm>
            <a:off x="3417887" y="5229944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6350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3" name="직선 화살표 연결선 142"/>
          <p:cNvCxnSpPr>
            <a:stCxn id="113" idx="3"/>
            <a:endCxn id="122" idx="1"/>
          </p:cNvCxnSpPr>
          <p:nvPr/>
        </p:nvCxnSpPr>
        <p:spPr bwMode="auto">
          <a:xfrm>
            <a:off x="2822925" y="2496219"/>
            <a:ext cx="684110" cy="227434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44" name="직선 화살표 연결선 143"/>
          <p:cNvCxnSpPr>
            <a:stCxn id="113" idx="3"/>
          </p:cNvCxnSpPr>
          <p:nvPr/>
        </p:nvCxnSpPr>
        <p:spPr bwMode="auto">
          <a:xfrm>
            <a:off x="2822925" y="2496219"/>
            <a:ext cx="684110" cy="556888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45" name="직선 화살표 연결선 144"/>
          <p:cNvCxnSpPr>
            <a:stCxn id="129" idx="3"/>
            <a:endCxn id="125" idx="1"/>
          </p:cNvCxnSpPr>
          <p:nvPr/>
        </p:nvCxnSpPr>
        <p:spPr bwMode="auto">
          <a:xfrm flipV="1">
            <a:off x="2985689" y="3860791"/>
            <a:ext cx="521346" cy="1388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46" name="직선 화살표 연결선 145"/>
          <p:cNvCxnSpPr>
            <a:stCxn id="129" idx="3"/>
            <a:endCxn id="135" idx="0"/>
          </p:cNvCxnSpPr>
          <p:nvPr/>
        </p:nvCxnSpPr>
        <p:spPr bwMode="auto">
          <a:xfrm>
            <a:off x="2985689" y="3874673"/>
            <a:ext cx="518117" cy="222546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47" name="직선 화살표 연결선 146"/>
          <p:cNvCxnSpPr>
            <a:stCxn id="129" idx="3"/>
            <a:endCxn id="134" idx="0"/>
          </p:cNvCxnSpPr>
          <p:nvPr/>
        </p:nvCxnSpPr>
        <p:spPr bwMode="auto">
          <a:xfrm>
            <a:off x="2985689" y="3874673"/>
            <a:ext cx="514888" cy="43918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8" name="다이아몬드 147"/>
          <p:cNvSpPr/>
          <p:nvPr/>
        </p:nvSpPr>
        <p:spPr bwMode="auto">
          <a:xfrm>
            <a:off x="1859575" y="3894309"/>
            <a:ext cx="164712" cy="168225"/>
          </a:xfrm>
          <a:prstGeom prst="diamond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직사각형 148"/>
          <p:cNvSpPr/>
          <p:nvPr/>
        </p:nvSpPr>
        <p:spPr bwMode="gray">
          <a:xfrm>
            <a:off x="5192697" y="2907117"/>
            <a:ext cx="1242169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정기간 변경</a:t>
            </a:r>
          </a:p>
        </p:txBody>
      </p:sp>
      <p:sp>
        <p:nvSpPr>
          <p:cNvPr id="150" name="직사각형 149"/>
          <p:cNvSpPr/>
          <p:nvPr/>
        </p:nvSpPr>
        <p:spPr bwMode="gray">
          <a:xfrm>
            <a:off x="6548896" y="2269723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Y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 bwMode="gray">
          <a:xfrm>
            <a:off x="7959464" y="2277786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0~3M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gray">
          <a:xfrm>
            <a:off x="7959464" y="2500223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~6M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3" name="직사각형 152"/>
          <p:cNvSpPr/>
          <p:nvPr/>
        </p:nvSpPr>
        <p:spPr bwMode="gray">
          <a:xfrm>
            <a:off x="7959464" y="2718776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7~9M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4" name="직선 화살표 연결선 153"/>
          <p:cNvCxnSpPr>
            <a:stCxn id="132" idx="3"/>
            <a:endCxn id="138" idx="1"/>
          </p:cNvCxnSpPr>
          <p:nvPr/>
        </p:nvCxnSpPr>
        <p:spPr bwMode="auto">
          <a:xfrm>
            <a:off x="2896258" y="5003240"/>
            <a:ext cx="610443" cy="20883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55" name="직선 화살표 연결선 154"/>
          <p:cNvCxnSpPr>
            <a:stCxn id="132" idx="3"/>
            <a:endCxn id="141" idx="0"/>
          </p:cNvCxnSpPr>
          <p:nvPr/>
        </p:nvCxnSpPr>
        <p:spPr bwMode="auto">
          <a:xfrm>
            <a:off x="2896258" y="5003240"/>
            <a:ext cx="603985" cy="45417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56" name="직선 화살표 연결선 155"/>
          <p:cNvCxnSpPr>
            <a:stCxn id="132" idx="3"/>
          </p:cNvCxnSpPr>
          <p:nvPr/>
        </p:nvCxnSpPr>
        <p:spPr bwMode="auto">
          <a:xfrm>
            <a:off x="2896258" y="5003240"/>
            <a:ext cx="587971" cy="767746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57" name="직사각형 156"/>
          <p:cNvSpPr/>
          <p:nvPr/>
        </p:nvSpPr>
        <p:spPr bwMode="gray">
          <a:xfrm>
            <a:off x="6548896" y="2491527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Y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직사각형 157"/>
          <p:cNvSpPr/>
          <p:nvPr/>
        </p:nvSpPr>
        <p:spPr bwMode="gray">
          <a:xfrm>
            <a:off x="6548896" y="2712139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Y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gray">
          <a:xfrm>
            <a:off x="6548896" y="2951084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직사각형 159"/>
          <p:cNvSpPr/>
          <p:nvPr/>
        </p:nvSpPr>
        <p:spPr bwMode="gray">
          <a:xfrm>
            <a:off x="6548896" y="3171695"/>
            <a:ext cx="1052747" cy="23306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직사각형 160"/>
          <p:cNvSpPr/>
          <p:nvPr/>
        </p:nvSpPr>
        <p:spPr bwMode="gray">
          <a:xfrm>
            <a:off x="7959464" y="2941980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0~12M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직사각형 161"/>
          <p:cNvSpPr/>
          <p:nvPr/>
        </p:nvSpPr>
        <p:spPr bwMode="gray">
          <a:xfrm>
            <a:off x="7959464" y="3163783"/>
            <a:ext cx="972000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Y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직사각형 162"/>
          <p:cNvSpPr/>
          <p:nvPr/>
        </p:nvSpPr>
        <p:spPr bwMode="gray">
          <a:xfrm>
            <a:off x="7959464" y="3382335"/>
            <a:ext cx="972000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Y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직사각형 163"/>
          <p:cNvSpPr/>
          <p:nvPr/>
        </p:nvSpPr>
        <p:spPr bwMode="gray">
          <a:xfrm>
            <a:off x="7959464" y="3604139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Y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직사각형 164"/>
          <p:cNvSpPr/>
          <p:nvPr/>
        </p:nvSpPr>
        <p:spPr bwMode="gray">
          <a:xfrm>
            <a:off x="7959464" y="3822692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5Y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직사각형 165"/>
          <p:cNvSpPr/>
          <p:nvPr/>
        </p:nvSpPr>
        <p:spPr bwMode="gray">
          <a:xfrm>
            <a:off x="5192697" y="4215645"/>
            <a:ext cx="1242169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감 요소 반영</a:t>
            </a:r>
          </a:p>
        </p:txBody>
      </p:sp>
      <p:sp>
        <p:nvSpPr>
          <p:cNvPr id="167" name="직사각형 166"/>
          <p:cNvSpPr/>
          <p:nvPr/>
        </p:nvSpPr>
        <p:spPr bwMode="gray">
          <a:xfrm>
            <a:off x="6576430" y="4215519"/>
            <a:ext cx="1052747" cy="223200"/>
          </a:xfrm>
          <a:prstGeom prst="rect">
            <a:avLst/>
          </a:prstGeom>
          <a:noFill/>
          <a:ln w="1270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8" name="직사각형 167"/>
          <p:cNvSpPr/>
          <p:nvPr/>
        </p:nvSpPr>
        <p:spPr bwMode="gray">
          <a:xfrm>
            <a:off x="6576430" y="4448830"/>
            <a:ext cx="1052747" cy="223200"/>
          </a:xfrm>
          <a:prstGeom prst="rect">
            <a:avLst/>
          </a:prstGeom>
          <a:noFill/>
          <a:ln w="1270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9" name="직사각형 168"/>
          <p:cNvSpPr/>
          <p:nvPr/>
        </p:nvSpPr>
        <p:spPr bwMode="gray">
          <a:xfrm>
            <a:off x="7968423" y="4217577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익감소율</a:t>
            </a:r>
          </a:p>
        </p:txBody>
      </p:sp>
      <p:sp>
        <p:nvSpPr>
          <p:cNvPr id="170" name="직사각형 169"/>
          <p:cNvSpPr/>
          <p:nvPr/>
        </p:nvSpPr>
        <p:spPr bwMode="gray">
          <a:xfrm>
            <a:off x="7968423" y="4448830"/>
            <a:ext cx="972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가상승률</a:t>
            </a:r>
          </a:p>
        </p:txBody>
      </p:sp>
      <p:sp>
        <p:nvSpPr>
          <p:cNvPr id="171" name="직사각형 170"/>
          <p:cNvSpPr/>
          <p:nvPr/>
        </p:nvSpPr>
        <p:spPr bwMode="gray">
          <a:xfrm>
            <a:off x="5192697" y="5125107"/>
            <a:ext cx="1241704" cy="5400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회비 추정</a:t>
            </a:r>
            <a:endParaRPr kumimoji="1"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spcBef>
                <a:spcPts val="3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교화</a:t>
            </a:r>
          </a:p>
        </p:txBody>
      </p:sp>
      <p:sp>
        <p:nvSpPr>
          <p:cNvPr id="172" name="직사각형 171"/>
          <p:cNvSpPr/>
          <p:nvPr/>
        </p:nvSpPr>
        <p:spPr bwMode="gray">
          <a:xfrm>
            <a:off x="7959464" y="4941450"/>
            <a:ext cx="972000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수익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3" name="직사각형 172"/>
          <p:cNvSpPr/>
          <p:nvPr/>
        </p:nvSpPr>
        <p:spPr bwMode="gray">
          <a:xfrm>
            <a:off x="8206393" y="5164652"/>
            <a:ext cx="1170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카드수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4" name="직사각형 173"/>
          <p:cNvSpPr/>
          <p:nvPr/>
        </p:nvSpPr>
        <p:spPr bwMode="gray">
          <a:xfrm>
            <a:off x="8206393" y="5383205"/>
            <a:ext cx="1170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률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5" name="직사각형 174"/>
          <p:cNvSpPr/>
          <p:nvPr/>
        </p:nvSpPr>
        <p:spPr bwMode="gray">
          <a:xfrm>
            <a:off x="8206393" y="5594176"/>
            <a:ext cx="1170000" cy="221803"/>
          </a:xfrm>
          <a:prstGeom prst="rect">
            <a:avLst/>
          </a:prstGeom>
          <a:solidFill>
            <a:srgbClr val="D6EBF6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단가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직사각형 175"/>
          <p:cNvSpPr/>
          <p:nvPr/>
        </p:nvSpPr>
        <p:spPr bwMode="gray">
          <a:xfrm>
            <a:off x="8206393" y="5810597"/>
            <a:ext cx="1170000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입금률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직사각형 176"/>
          <p:cNvSpPr/>
          <p:nvPr/>
        </p:nvSpPr>
        <p:spPr bwMode="gray">
          <a:xfrm>
            <a:off x="6733900" y="5172904"/>
            <a:ext cx="1052747" cy="23306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카드수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8" name="직사각형 177"/>
          <p:cNvSpPr/>
          <p:nvPr/>
        </p:nvSpPr>
        <p:spPr bwMode="gray">
          <a:xfrm>
            <a:off x="6579829" y="4939842"/>
            <a:ext cx="1052747" cy="23306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수익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9" name="직사각형 178"/>
          <p:cNvSpPr/>
          <p:nvPr/>
        </p:nvSpPr>
        <p:spPr bwMode="gray">
          <a:xfrm>
            <a:off x="6733900" y="5390327"/>
            <a:ext cx="1052747" cy="20384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률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0" name="다이아몬드 179"/>
          <p:cNvSpPr/>
          <p:nvPr/>
        </p:nvSpPr>
        <p:spPr bwMode="auto">
          <a:xfrm>
            <a:off x="8117579" y="5728615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다이아몬드 180"/>
          <p:cNvSpPr/>
          <p:nvPr/>
        </p:nvSpPr>
        <p:spPr bwMode="auto">
          <a:xfrm>
            <a:off x="8120808" y="5511982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다이아몬드 181"/>
          <p:cNvSpPr/>
          <p:nvPr/>
        </p:nvSpPr>
        <p:spPr bwMode="auto">
          <a:xfrm>
            <a:off x="8117579" y="5293430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gray">
          <a:xfrm>
            <a:off x="8206393" y="6032401"/>
            <a:ext cx="1170000" cy="22180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면제율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   )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4" name="직선 화살표 연결선 183"/>
          <p:cNvCxnSpPr>
            <a:stCxn id="167" idx="3"/>
            <a:endCxn id="169" idx="1"/>
          </p:cNvCxnSpPr>
          <p:nvPr/>
        </p:nvCxnSpPr>
        <p:spPr bwMode="auto">
          <a:xfrm>
            <a:off x="7629177" y="4327119"/>
            <a:ext cx="339246" cy="136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5" name="직선 화살표 연결선 184"/>
          <p:cNvCxnSpPr>
            <a:stCxn id="168" idx="3"/>
            <a:endCxn id="170" idx="1"/>
          </p:cNvCxnSpPr>
          <p:nvPr/>
        </p:nvCxnSpPr>
        <p:spPr bwMode="auto">
          <a:xfrm flipV="1">
            <a:off x="7629177" y="4559732"/>
            <a:ext cx="339246" cy="698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86" name="직사각형 185"/>
          <p:cNvSpPr/>
          <p:nvPr/>
        </p:nvSpPr>
        <p:spPr bwMode="gray">
          <a:xfrm>
            <a:off x="6733898" y="5594176"/>
            <a:ext cx="1052747" cy="23306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단가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7" name="직사각형 186"/>
          <p:cNvSpPr/>
          <p:nvPr/>
        </p:nvSpPr>
        <p:spPr bwMode="gray">
          <a:xfrm>
            <a:off x="6733898" y="5827239"/>
            <a:ext cx="1052747" cy="21199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입금률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8" name="직사각형 187"/>
          <p:cNvSpPr/>
          <p:nvPr/>
        </p:nvSpPr>
        <p:spPr bwMode="gray">
          <a:xfrm>
            <a:off x="6733898" y="6039236"/>
            <a:ext cx="1052747" cy="21496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>
              <a:spcBef>
                <a:spcPct val="50000"/>
              </a:spcBef>
              <a:buClr>
                <a:schemeClr val="bg2"/>
              </a:buClr>
            </a:pP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9" name="다이아몬드 188"/>
          <p:cNvSpPr/>
          <p:nvPr/>
        </p:nvSpPr>
        <p:spPr bwMode="auto">
          <a:xfrm>
            <a:off x="6649927" y="5739647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0" name="다이아몬드 189"/>
          <p:cNvSpPr/>
          <p:nvPr/>
        </p:nvSpPr>
        <p:spPr bwMode="auto">
          <a:xfrm>
            <a:off x="6651540" y="5513541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1" name="다이아몬드 190"/>
          <p:cNvSpPr/>
          <p:nvPr/>
        </p:nvSpPr>
        <p:spPr bwMode="auto">
          <a:xfrm>
            <a:off x="6649927" y="5308456"/>
            <a:ext cx="164712" cy="168225"/>
          </a:xfrm>
          <a:prstGeom prst="diamond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x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2" name="직선 화살표 연결선 191"/>
          <p:cNvCxnSpPr>
            <a:stCxn id="150" idx="3"/>
            <a:endCxn id="151" idx="1"/>
          </p:cNvCxnSpPr>
          <p:nvPr/>
        </p:nvCxnSpPr>
        <p:spPr bwMode="auto">
          <a:xfrm>
            <a:off x="7601643" y="2386255"/>
            <a:ext cx="357821" cy="243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3" name="직선 화살표 연결선 192"/>
          <p:cNvCxnSpPr>
            <a:stCxn id="150" idx="3"/>
            <a:endCxn id="152" idx="1"/>
          </p:cNvCxnSpPr>
          <p:nvPr/>
        </p:nvCxnSpPr>
        <p:spPr bwMode="auto">
          <a:xfrm>
            <a:off x="7601643" y="2386255"/>
            <a:ext cx="357821" cy="22487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4" name="직선 화살표 연결선 193"/>
          <p:cNvCxnSpPr>
            <a:stCxn id="150" idx="3"/>
            <a:endCxn id="153" idx="1"/>
          </p:cNvCxnSpPr>
          <p:nvPr/>
        </p:nvCxnSpPr>
        <p:spPr bwMode="auto">
          <a:xfrm>
            <a:off x="7601643" y="2386255"/>
            <a:ext cx="357821" cy="44342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5" name="직선 화살표 연결선 194"/>
          <p:cNvCxnSpPr>
            <a:stCxn id="150" idx="3"/>
            <a:endCxn id="161" idx="1"/>
          </p:cNvCxnSpPr>
          <p:nvPr/>
        </p:nvCxnSpPr>
        <p:spPr bwMode="auto">
          <a:xfrm>
            <a:off x="7601643" y="2386255"/>
            <a:ext cx="357821" cy="66662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6" name="직선 화살표 연결선 195"/>
          <p:cNvCxnSpPr>
            <a:stCxn id="159" idx="3"/>
            <a:endCxn id="164" idx="1"/>
          </p:cNvCxnSpPr>
          <p:nvPr/>
        </p:nvCxnSpPr>
        <p:spPr bwMode="auto">
          <a:xfrm>
            <a:off x="7601643" y="3067616"/>
            <a:ext cx="357821" cy="64742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7" name="직선 화살표 연결선 196"/>
          <p:cNvCxnSpPr>
            <a:stCxn id="160" idx="3"/>
            <a:endCxn id="165" idx="1"/>
          </p:cNvCxnSpPr>
          <p:nvPr/>
        </p:nvCxnSpPr>
        <p:spPr bwMode="auto">
          <a:xfrm>
            <a:off x="7601643" y="3288227"/>
            <a:ext cx="357821" cy="64536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8" name="직선 화살표 연결선 197"/>
          <p:cNvCxnSpPr>
            <a:stCxn id="188" idx="3"/>
            <a:endCxn id="183" idx="1"/>
          </p:cNvCxnSpPr>
          <p:nvPr/>
        </p:nvCxnSpPr>
        <p:spPr bwMode="auto">
          <a:xfrm flipV="1">
            <a:off x="7786645" y="6143303"/>
            <a:ext cx="419748" cy="341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99" name="직사각형 198"/>
          <p:cNvSpPr/>
          <p:nvPr/>
        </p:nvSpPr>
        <p:spPr bwMode="auto">
          <a:xfrm>
            <a:off x="9019920" y="5847186"/>
            <a:ext cx="401892" cy="1736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1-   )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타원 199"/>
          <p:cNvSpPr/>
          <p:nvPr/>
        </p:nvSpPr>
        <p:spPr bwMode="auto">
          <a:xfrm>
            <a:off x="9234169" y="5886241"/>
            <a:ext cx="115593" cy="119552"/>
          </a:xfrm>
          <a:prstGeom prst="ellipse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1" name="타원 200"/>
          <p:cNvSpPr/>
          <p:nvPr/>
        </p:nvSpPr>
        <p:spPr bwMode="auto">
          <a:xfrm>
            <a:off x="9105273" y="6103013"/>
            <a:ext cx="115593" cy="119552"/>
          </a:xfrm>
          <a:prstGeom prst="ellipse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72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" name="직선 연결선 8"/>
          <p:cNvCxnSpPr/>
          <p:nvPr/>
        </p:nvCxnSpPr>
        <p:spPr bwMode="auto">
          <a:xfrm>
            <a:off x="441896" y="3300926"/>
            <a:ext cx="425375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202" name="직선 연결선 201"/>
          <p:cNvCxnSpPr/>
          <p:nvPr/>
        </p:nvCxnSpPr>
        <p:spPr bwMode="auto">
          <a:xfrm>
            <a:off x="441896" y="4764755"/>
            <a:ext cx="425375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203" name="직선 연결선 202"/>
          <p:cNvCxnSpPr/>
          <p:nvPr/>
        </p:nvCxnSpPr>
        <p:spPr bwMode="auto">
          <a:xfrm>
            <a:off x="5174253" y="4097219"/>
            <a:ext cx="414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204" name="직선 연결선 203"/>
          <p:cNvCxnSpPr/>
          <p:nvPr/>
        </p:nvCxnSpPr>
        <p:spPr bwMode="auto">
          <a:xfrm>
            <a:off x="5164832" y="4835252"/>
            <a:ext cx="414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13" name="직선 연결선 12"/>
          <p:cNvCxnSpPr/>
          <p:nvPr/>
        </p:nvCxnSpPr>
        <p:spPr bwMode="auto">
          <a:xfrm>
            <a:off x="454596" y="2154238"/>
            <a:ext cx="12328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5" name="직선 연결선 14"/>
          <p:cNvCxnSpPr/>
          <p:nvPr/>
        </p:nvCxnSpPr>
        <p:spPr bwMode="auto">
          <a:xfrm>
            <a:off x="1843511" y="2160838"/>
            <a:ext cx="98810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7" name="직선 연결선 16"/>
          <p:cNvCxnSpPr/>
          <p:nvPr/>
        </p:nvCxnSpPr>
        <p:spPr bwMode="auto">
          <a:xfrm>
            <a:off x="3260106" y="2154238"/>
            <a:ext cx="143554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9" name="직선 연결선 18"/>
          <p:cNvCxnSpPr/>
          <p:nvPr/>
        </p:nvCxnSpPr>
        <p:spPr bwMode="auto">
          <a:xfrm>
            <a:off x="5164832" y="2160838"/>
            <a:ext cx="126956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1" name="직선 연결선 20"/>
          <p:cNvCxnSpPr/>
          <p:nvPr/>
        </p:nvCxnSpPr>
        <p:spPr bwMode="auto">
          <a:xfrm>
            <a:off x="6576430" y="2160838"/>
            <a:ext cx="105274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3" name="직선 연결선 22"/>
          <p:cNvCxnSpPr/>
          <p:nvPr/>
        </p:nvCxnSpPr>
        <p:spPr bwMode="auto">
          <a:xfrm>
            <a:off x="7968423" y="2160838"/>
            <a:ext cx="1332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217" name="그룹 21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1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1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2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2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2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2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2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2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26" name="그룹 22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2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2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960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상품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손익관리체계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프로젝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점 카드수수료 반영 프로젝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결과 도출된 중장기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가 차세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이전에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반영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분석시스템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영함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406400" y="2152387"/>
            <a:ext cx="2952000" cy="40640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 과제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‘16.5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까지 개발 완료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514283" y="2152387"/>
            <a:ext cx="2952000" cy="40640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 과제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‘16.12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까지 개발 완료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6622166" y="2152387"/>
            <a:ext cx="2952000" cy="40640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 과제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‘17</a:t>
            </a:r>
            <a:r>
              <a:rPr kumimoji="1"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개발</a:t>
            </a:r>
            <a:r>
              <a:rPr kumimoji="1"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406400" y="2544905"/>
            <a:ext cx="2952000" cy="32605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108000" rIns="36000" bIns="36000" rtlCol="0" anchor="t"/>
          <a:lstStyle/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전이익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고서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크계좌 이용수수료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영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부기준 생성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금비용 산출 </a:t>
            </a: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선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정 기금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종별 </a:t>
            </a: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수수료율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산출</a:t>
            </a: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endParaRPr lang="ko-KR" altLang="en-US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3514283" y="2544905"/>
            <a:ext cx="2952000" cy="32605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108000" rIns="36000" bIns="36000" rtlCol="0" anchor="t"/>
          <a:lstStyle/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크계좌 이용수수료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영</a:t>
            </a:r>
            <a:b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부기준 생성 외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포인트비용 산출 </a:t>
            </a: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검토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가용 카드상품 분류체계 변경 반영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토</a:t>
            </a:r>
            <a:endParaRPr lang="ko-KR" altLang="en-US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금비용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b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정산기금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촌사랑기금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익기금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프트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상품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 산출 </a:t>
            </a: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선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별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손익 및 대손비용 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LAP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정보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저수익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무실적 카드상품 수익성분석 보고서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계데이터와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사 차액 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도 산출</a:t>
            </a:r>
          </a:p>
          <a:p>
            <a:pPr marL="228600" indent="-228600" algn="l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저수익</a:t>
            </a:r>
            <a:r>
              <a:rPr lang="en-US" altLang="ko-KR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무실적 카드상품 수익성분석 보고서</a:t>
            </a: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씨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포인트비용 산출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정교화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타 개선사항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7675" lvl="1" indent="-180975" algn="l">
              <a:spcBef>
                <a:spcPts val="1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상품 마스터 자동 업데이트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7675" lvl="1" indent="-180975" algn="l">
              <a:spcBef>
                <a:spcPts val="1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명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자동 업데이트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7675" lvl="1" indent="-180975" algn="l">
              <a:spcBef>
                <a:spcPts val="1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상태표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산출 정교화</a:t>
            </a:r>
            <a:endParaRPr lang="en-US" altLang="ko-KR" sz="10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6622166" y="2544905"/>
            <a:ext cx="2952000" cy="32605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108000" rIns="36000" bIns="36000" rtlCol="0" anchor="t"/>
          <a:lstStyle/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포인트 비용 산출 </a:t>
            </a: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검토</a:t>
            </a:r>
            <a:endParaRPr kumimoji="1"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권유비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배부 정교화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카드비용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배부 정교화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 algn="l" latinLnBrk="0">
              <a:spcBef>
                <a:spcPts val="400"/>
              </a:spcBef>
              <a:buFont typeface="+mj-ea"/>
              <a:buAutoNum type="circleNumDbPlain"/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대행수수료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VAN Fee)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부 </a:t>
            </a:r>
            <a:r>
              <a:rPr kumimoji="1"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선</a:t>
            </a:r>
          </a:p>
        </p:txBody>
      </p:sp>
      <p:sp>
        <p:nvSpPr>
          <p:cNvPr id="11" name="TextBox 10"/>
          <p:cNvSpPr txBox="1"/>
          <p:nvPr/>
        </p:nvSpPr>
        <p:spPr bwMode="auto">
          <a:xfrm>
            <a:off x="395077" y="6123602"/>
            <a:ext cx="4763090" cy="1958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 anchor="b">
            <a:spAutoFit/>
          </a:bodyPr>
          <a:lstStyle/>
          <a:p>
            <a:pPr algn="l" latinLnBrk="0">
              <a:spcBef>
                <a:spcPct val="30000"/>
              </a:spcBef>
            </a:pPr>
            <a:r>
              <a:rPr lang="en-US" altLang="ko-KR" sz="8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1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 과제는 동 프로젝트 기간 내에 개발 완료된 과제로서 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16.1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 결산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 결산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터 적용 중임</a:t>
            </a:r>
            <a:endParaRPr lang="en-US" altLang="ko-KR" sz="8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5" name="TextBox 2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수익성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 프로젝트 중장기 과제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그룹 3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4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4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4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8" name="그룹 4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332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경영계획</a:t>
            </a:r>
            <a:r>
              <a:rPr lang="en-US" altLang="ko-KR" dirty="0" smtClean="0"/>
              <a:t>/</a:t>
            </a:r>
            <a:r>
              <a:rPr lang="ko-KR" altLang="en-US" dirty="0" smtClean="0"/>
              <a:t>성과관리 체계 구현 </a:t>
            </a:r>
            <a:r>
              <a:rPr lang="en-US" altLang="ko-KR" dirty="0"/>
              <a:t>– </a:t>
            </a:r>
            <a:r>
              <a:rPr lang="ko-KR" altLang="en-US" dirty="0"/>
              <a:t>과제 </a:t>
            </a:r>
            <a:r>
              <a:rPr lang="ko-KR" altLang="en-US" dirty="0" smtClean="0"/>
              <a:t>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199783" cy="605126"/>
          </a:xfrm>
        </p:spPr>
        <p:txBody>
          <a:bodyPr/>
          <a:lstStyle/>
          <a:p>
            <a:r>
              <a:rPr lang="ko-KR" altLang="en-US" dirty="0" smtClean="0"/>
              <a:t>경영계획 변수를 세부 동인과 분석관점</a:t>
            </a:r>
            <a:r>
              <a:rPr lang="en-US" altLang="ko-KR" dirty="0" smtClean="0"/>
              <a:t>(</a:t>
            </a:r>
            <a:r>
              <a:rPr lang="ko-KR" altLang="en-US" dirty="0" smtClean="0"/>
              <a:t>전략 실행단위</a:t>
            </a:r>
            <a:r>
              <a:rPr lang="en-US" altLang="ko-KR" dirty="0" smtClean="0"/>
              <a:t>)</a:t>
            </a:r>
            <a:r>
              <a:rPr lang="ko-KR" altLang="en-US" dirty="0" smtClean="0"/>
              <a:t>별로 정교하게 수립하고 성과지표와 연계 분석하는 체계를 구축함으로써 목표 설정 및 성과관리를 고도화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직접이익 창출 동인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Value Driver) Tree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교화 및 분석관점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Dimension)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다양화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치동인과 성과지표 연계 분석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ice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에 대한 유연한 분석 체계 구현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다양한 </a:t>
            </a:r>
            <a:r>
              <a:rPr kumimoji="0"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동인별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계획 대비 실적 차이 및 원인 분석 지원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 관점 확대 및 분석 </a:t>
            </a:r>
            <a:r>
              <a:rPr kumimoji="0"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점별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경영계획 수립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rice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에 대한 기초 데이터 집계 관리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29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30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132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133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이등변 삼각형 133"/>
          <p:cNvSpPr/>
          <p:nvPr/>
        </p:nvSpPr>
        <p:spPr bwMode="auto">
          <a:xfrm rot="5400000">
            <a:off x="4197468" y="4486799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TextBox 134"/>
          <p:cNvSpPr txBox="1"/>
          <p:nvPr/>
        </p:nvSpPr>
        <p:spPr bwMode="auto">
          <a:xfrm>
            <a:off x="5306069" y="5645588"/>
            <a:ext cx="4280843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경영목표 달성을 위한 경영계획 관리체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구현</a:t>
            </a:r>
            <a:endParaRPr lang="ko-KR" altLang="en-US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성과지표 기반 성과분석 체계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구현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가맹점수수료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연회비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대고객수수료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산출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필요 데이터 마트 설계</a:t>
            </a:r>
          </a:p>
        </p:txBody>
      </p:sp>
      <p:sp>
        <p:nvSpPr>
          <p:cNvPr id="136" name="이등변 삼각형 135"/>
          <p:cNvSpPr/>
          <p:nvPr/>
        </p:nvSpPr>
        <p:spPr bwMode="auto">
          <a:xfrm rot="5400000">
            <a:off x="4197468" y="4486799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7" name="그룹 136"/>
          <p:cNvGrpSpPr/>
          <p:nvPr/>
        </p:nvGrpSpPr>
        <p:grpSpPr>
          <a:xfrm>
            <a:off x="5766976" y="3328417"/>
            <a:ext cx="3338752" cy="2340000"/>
            <a:chOff x="401105" y="1984353"/>
            <a:chExt cx="4523038" cy="4312325"/>
          </a:xfrm>
        </p:grpSpPr>
        <p:sp>
          <p:nvSpPr>
            <p:cNvPr id="138" name="AutoShape 10"/>
            <p:cNvSpPr>
              <a:spLocks noChangeArrowheads="1"/>
            </p:cNvSpPr>
            <p:nvPr/>
          </p:nvSpPr>
          <p:spPr bwMode="auto">
            <a:xfrm>
              <a:off x="531530" y="1984353"/>
              <a:ext cx="4392613" cy="4175147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latinLnBrk="0" hangingPunct="0">
                <a:lnSpc>
                  <a:spcPct val="90000"/>
                </a:lnSpc>
                <a:defRPr/>
              </a:pPr>
              <a:endParaRPr lang="en-US" altLang="ko-KR" sz="1400" b="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9" name="Text Box 11"/>
            <p:cNvSpPr txBox="1">
              <a:spLocks noChangeArrowheads="1"/>
            </p:cNvSpPr>
            <p:nvPr/>
          </p:nvSpPr>
          <p:spPr bwMode="auto">
            <a:xfrm>
              <a:off x="1866335" y="3568395"/>
              <a:ext cx="793750" cy="4761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altLang="ko-KR" sz="9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Gap Closing</a:t>
              </a:r>
            </a:p>
          </p:txBody>
        </p:sp>
        <p:sp>
          <p:nvSpPr>
            <p:cNvPr id="140" name="Text Box 17"/>
            <p:cNvSpPr txBox="1">
              <a:spLocks noChangeArrowheads="1"/>
            </p:cNvSpPr>
            <p:nvPr/>
          </p:nvSpPr>
          <p:spPr bwMode="auto">
            <a:xfrm rot="17802178">
              <a:off x="-129113" y="5322028"/>
              <a:ext cx="1266825" cy="206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119063" indent="-119063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  <a:buClr>
                  <a:srgbClr val="8B0E04"/>
                </a:buClr>
              </a:pPr>
              <a:r>
                <a:rPr lang="en-US" altLang="ko-KR" sz="1100" dirty="0" smtClean="0">
                  <a:solidFill>
                    <a:srgbClr val="003366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asure</a:t>
              </a:r>
            </a:p>
          </p:txBody>
        </p:sp>
        <p:sp>
          <p:nvSpPr>
            <p:cNvPr id="141" name="Text Box 18"/>
            <p:cNvSpPr txBox="1">
              <a:spLocks noChangeArrowheads="1"/>
            </p:cNvSpPr>
            <p:nvPr/>
          </p:nvSpPr>
          <p:spPr bwMode="auto">
            <a:xfrm rot="17862082">
              <a:off x="254190" y="3899422"/>
              <a:ext cx="1844431" cy="4127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marL="119063" indent="-119063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  <a:buClr>
                  <a:srgbClr val="8B0E04"/>
                </a:buClr>
              </a:pPr>
              <a:r>
                <a:rPr lang="en-US" altLang="ko-KR" sz="1100" dirty="0" smtClean="0">
                  <a:solidFill>
                    <a:srgbClr val="003366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oal &amp; Action Set up</a:t>
              </a:r>
              <a:endParaRPr lang="ko-KR" altLang="en-US" sz="1100" dirty="0" smtClean="0">
                <a:solidFill>
                  <a:srgbClr val="003366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2" name="Text Box 19"/>
            <p:cNvSpPr txBox="1">
              <a:spLocks noChangeArrowheads="1"/>
            </p:cNvSpPr>
            <p:nvPr/>
          </p:nvSpPr>
          <p:spPr bwMode="auto">
            <a:xfrm rot="17806359">
              <a:off x="1239245" y="2703828"/>
              <a:ext cx="1266825" cy="206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119063" indent="-119063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  <a:buClr>
                  <a:srgbClr val="8B0E04"/>
                </a:buClr>
              </a:pPr>
              <a:r>
                <a:rPr lang="en-US" altLang="ko-KR" sz="1100" dirty="0" smtClean="0">
                  <a:solidFill>
                    <a:srgbClr val="003366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lan</a:t>
              </a:r>
            </a:p>
          </p:txBody>
        </p:sp>
        <p:sp>
          <p:nvSpPr>
            <p:cNvPr id="143" name="Line 20"/>
            <p:cNvSpPr>
              <a:spLocks noChangeShapeType="1"/>
            </p:cNvSpPr>
            <p:nvPr/>
          </p:nvSpPr>
          <p:spPr bwMode="auto">
            <a:xfrm flipV="1">
              <a:off x="1870427" y="3545275"/>
              <a:ext cx="169200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4" name="Line 21"/>
            <p:cNvSpPr>
              <a:spLocks noChangeShapeType="1"/>
            </p:cNvSpPr>
            <p:nvPr/>
          </p:nvSpPr>
          <p:spPr bwMode="auto">
            <a:xfrm>
              <a:off x="1142723" y="5021247"/>
              <a:ext cx="320400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5" name="Line 22"/>
            <p:cNvSpPr>
              <a:spLocks noChangeShapeType="1"/>
            </p:cNvSpPr>
            <p:nvPr/>
          </p:nvSpPr>
          <p:spPr bwMode="auto">
            <a:xfrm>
              <a:off x="2712528" y="3539312"/>
              <a:ext cx="0" cy="147600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6" name="Text Box 23"/>
            <p:cNvSpPr txBox="1">
              <a:spLocks noChangeArrowheads="1"/>
            </p:cNvSpPr>
            <p:nvPr/>
          </p:nvSpPr>
          <p:spPr bwMode="auto">
            <a:xfrm>
              <a:off x="2825740" y="3613867"/>
              <a:ext cx="793750" cy="238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altLang="ko-KR" sz="9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KPI </a:t>
              </a:r>
              <a:r>
                <a:rPr lang="ko-KR" altLang="en-US" sz="9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설정</a:t>
              </a:r>
            </a:p>
          </p:txBody>
        </p:sp>
        <p:sp>
          <p:nvSpPr>
            <p:cNvPr id="147" name="Text Box 24"/>
            <p:cNvSpPr txBox="1">
              <a:spLocks noChangeArrowheads="1"/>
            </p:cNvSpPr>
            <p:nvPr/>
          </p:nvSpPr>
          <p:spPr bwMode="auto">
            <a:xfrm>
              <a:off x="2220681" y="2546437"/>
              <a:ext cx="1009649" cy="238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lnSpc>
                  <a:spcPct val="90000"/>
                </a:lnSpc>
                <a:buClr>
                  <a:srgbClr val="8B0E04"/>
                </a:buClr>
              </a:pPr>
              <a:r>
                <a:rPr lang="ko-KR" altLang="en-US" sz="9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경영계획</a:t>
              </a:r>
              <a:endParaRPr lang="en-US" altLang="ko-KR" sz="9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8" name="Rectangle 37"/>
            <p:cNvSpPr>
              <a:spLocks noChangeArrowheads="1"/>
            </p:cNvSpPr>
            <p:nvPr/>
          </p:nvSpPr>
          <p:spPr bwMode="auto">
            <a:xfrm>
              <a:off x="2324707" y="2815609"/>
              <a:ext cx="799310" cy="2633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r>
                <a:rPr lang="ko-KR" altLang="en-US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전략</a:t>
              </a:r>
              <a:endParaRPr lang="en-US" altLang="ko-KR" sz="7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9" name="Rectangle 38"/>
            <p:cNvSpPr>
              <a:spLocks noChangeArrowheads="1"/>
            </p:cNvSpPr>
            <p:nvPr/>
          </p:nvSpPr>
          <p:spPr bwMode="auto">
            <a:xfrm>
              <a:off x="2324707" y="3249663"/>
              <a:ext cx="799310" cy="2633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r>
                <a:rPr lang="ko-KR" altLang="en-US" sz="7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경영계획</a:t>
              </a:r>
              <a:r>
                <a:rPr lang="en-US" altLang="ko-KR" sz="7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7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예산</a:t>
              </a:r>
              <a:endParaRPr lang="en-US" altLang="ko-KR" sz="7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150" name="직선 화살표 연결선 149"/>
            <p:cNvCxnSpPr>
              <a:stCxn id="148" idx="2"/>
              <a:endCxn id="149" idx="0"/>
            </p:cNvCxnSpPr>
            <p:nvPr/>
          </p:nvCxnSpPr>
          <p:spPr bwMode="auto">
            <a:xfrm>
              <a:off x="2724362" y="3078965"/>
              <a:ext cx="0" cy="170698"/>
            </a:xfrm>
            <a:prstGeom prst="straightConnector1">
              <a:avLst/>
            </a:prstGeom>
            <a:solidFill>
              <a:srgbClr val="4987E3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triangle" w="sm" len="sm"/>
            </a:ln>
            <a:effectLst/>
          </p:spPr>
        </p:cxnSp>
        <p:sp>
          <p:nvSpPr>
            <p:cNvPr id="151" name="Text Box 23"/>
            <p:cNvSpPr txBox="1">
              <a:spLocks noChangeArrowheads="1"/>
            </p:cNvSpPr>
            <p:nvPr/>
          </p:nvSpPr>
          <p:spPr bwMode="auto">
            <a:xfrm>
              <a:off x="1254946" y="5102521"/>
              <a:ext cx="3052662" cy="264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ko-KR" altLang="en-US" sz="1000" dirty="0" err="1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게획</a:t>
              </a:r>
              <a:r>
                <a:rPr lang="ko-KR" altLang="en-US" sz="10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대비 실적 분석</a:t>
              </a:r>
            </a:p>
          </p:txBody>
        </p:sp>
        <p:sp>
          <p:nvSpPr>
            <p:cNvPr id="152" name="Rectangle 38"/>
            <p:cNvSpPr>
              <a:spLocks noChangeArrowheads="1"/>
            </p:cNvSpPr>
            <p:nvPr/>
          </p:nvSpPr>
          <p:spPr bwMode="auto">
            <a:xfrm>
              <a:off x="2744335" y="4140199"/>
              <a:ext cx="310473" cy="68992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36000" tIns="0" rIns="36000" bIns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r>
                <a:rPr lang="ko-KR" altLang="en-US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치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KPI</a:t>
              </a:r>
              <a:r>
                <a:rPr lang="ko-KR" altLang="en-US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7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3" name="Rectangle 38"/>
            <p:cNvSpPr>
              <a:spLocks noChangeArrowheads="1"/>
            </p:cNvSpPr>
            <p:nvPr/>
          </p:nvSpPr>
          <p:spPr bwMode="auto">
            <a:xfrm>
              <a:off x="3137600" y="4140199"/>
              <a:ext cx="310473" cy="68992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r>
                <a:rPr lang="ko-KR" altLang="en-US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손익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KPI</a:t>
              </a:r>
              <a:endParaRPr lang="en-US" altLang="ko-KR" sz="7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4" name="Rectangle 38"/>
            <p:cNvSpPr>
              <a:spLocks noChangeArrowheads="1"/>
            </p:cNvSpPr>
            <p:nvPr/>
          </p:nvSpPr>
          <p:spPr bwMode="auto">
            <a:xfrm>
              <a:off x="3530864" y="4140199"/>
              <a:ext cx="310473" cy="68992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r>
                <a:rPr lang="ko-KR" altLang="en-US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볼륨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/>
              </a:r>
              <a:b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</a:b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KPI</a:t>
              </a:r>
              <a:endParaRPr lang="en-US" altLang="ko-KR" sz="7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5" name="Text Box 23"/>
            <p:cNvSpPr txBox="1">
              <a:spLocks noChangeArrowheads="1"/>
            </p:cNvSpPr>
            <p:nvPr/>
          </p:nvSpPr>
          <p:spPr bwMode="auto">
            <a:xfrm>
              <a:off x="4322706" y="4558658"/>
              <a:ext cx="272095" cy="306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altLang="ko-KR" sz="12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+</a:t>
              </a:r>
              <a:endPara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6" name="Rectangle 3"/>
            <p:cNvSpPr>
              <a:spLocks noChangeArrowheads="1"/>
            </p:cNvSpPr>
            <p:nvPr/>
          </p:nvSpPr>
          <p:spPr bwMode="auto">
            <a:xfrm>
              <a:off x="3779556" y="5431186"/>
              <a:ext cx="304800" cy="64928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7" name="Oval 53"/>
            <p:cNvSpPr>
              <a:spLocks noChangeArrowheads="1"/>
            </p:cNvSpPr>
            <p:nvPr/>
          </p:nvSpPr>
          <p:spPr bwMode="auto">
            <a:xfrm>
              <a:off x="3855421" y="5462936"/>
              <a:ext cx="153071" cy="160338"/>
            </a:xfrm>
            <a:prstGeom prst="ellipse">
              <a:avLst/>
            </a:prstGeom>
            <a:solidFill>
              <a:srgbClr val="33CC33"/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r>
                <a:rPr kumimoji="1" lang="en-US" altLang="ko-KR" sz="8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G</a:t>
              </a:r>
            </a:p>
          </p:txBody>
        </p:sp>
        <p:sp>
          <p:nvSpPr>
            <p:cNvPr id="158" name="Oval 54"/>
            <p:cNvSpPr>
              <a:spLocks noChangeArrowheads="1"/>
            </p:cNvSpPr>
            <p:nvPr/>
          </p:nvSpPr>
          <p:spPr bwMode="auto">
            <a:xfrm>
              <a:off x="3855421" y="5664549"/>
              <a:ext cx="153071" cy="160337"/>
            </a:xfrm>
            <a:prstGeom prst="ellipse">
              <a:avLst/>
            </a:prstGeom>
            <a:solidFill>
              <a:srgbClr val="FFFF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r>
                <a:rPr kumimoji="1" lang="en-US" altLang="ko-KR" sz="8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Y</a:t>
              </a:r>
            </a:p>
          </p:txBody>
        </p:sp>
        <p:sp>
          <p:nvSpPr>
            <p:cNvPr id="159" name="Oval 55"/>
            <p:cNvSpPr>
              <a:spLocks noChangeArrowheads="1"/>
            </p:cNvSpPr>
            <p:nvPr/>
          </p:nvSpPr>
          <p:spPr bwMode="auto">
            <a:xfrm>
              <a:off x="3855421" y="5867749"/>
              <a:ext cx="153071" cy="160337"/>
            </a:xfrm>
            <a:prstGeom prst="ellipse">
              <a:avLst/>
            </a:prstGeom>
            <a:solidFill>
              <a:srgbClr val="FF0000"/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r>
                <a:rPr kumimoji="1" lang="en-US" altLang="ko-KR" sz="8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R</a:t>
              </a:r>
            </a:p>
          </p:txBody>
        </p:sp>
        <p:sp>
          <p:nvSpPr>
            <p:cNvPr id="160" name="Text Box 57"/>
            <p:cNvSpPr txBox="1">
              <a:spLocks noChangeArrowheads="1"/>
            </p:cNvSpPr>
            <p:nvPr/>
          </p:nvSpPr>
          <p:spPr bwMode="auto">
            <a:xfrm>
              <a:off x="3262031" y="5324042"/>
              <a:ext cx="536575" cy="472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ko-KR" altLang="en-US" sz="8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계획</a:t>
              </a:r>
              <a:endParaRPr lang="en-US" altLang="ko-KR" sz="8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1" name="Rectangle 58"/>
            <p:cNvSpPr>
              <a:spLocks noChangeArrowheads="1"/>
            </p:cNvSpPr>
            <p:nvPr/>
          </p:nvSpPr>
          <p:spPr bwMode="auto">
            <a:xfrm>
              <a:off x="1620555" y="5801074"/>
              <a:ext cx="285750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2" name="Text Box 59"/>
            <p:cNvSpPr txBox="1">
              <a:spLocks noChangeArrowheads="1"/>
            </p:cNvSpPr>
            <p:nvPr/>
          </p:nvSpPr>
          <p:spPr bwMode="auto">
            <a:xfrm>
              <a:off x="1146881" y="5795416"/>
              <a:ext cx="866771" cy="489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ko-KR" altLang="en-US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실적  </a:t>
              </a:r>
              <a:r>
                <a:rPr lang="en-US" altLang="ko-KR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M1</a:t>
              </a:r>
            </a:p>
          </p:txBody>
        </p:sp>
        <p:sp>
          <p:nvSpPr>
            <p:cNvPr id="163" name="Rectangle 60"/>
            <p:cNvSpPr>
              <a:spLocks noChangeArrowheads="1"/>
            </p:cNvSpPr>
            <p:nvPr/>
          </p:nvSpPr>
          <p:spPr bwMode="auto">
            <a:xfrm>
              <a:off x="2033305" y="5658199"/>
              <a:ext cx="285750" cy="25558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4" name="Text Box 61"/>
            <p:cNvSpPr txBox="1">
              <a:spLocks noChangeArrowheads="1"/>
            </p:cNvSpPr>
            <p:nvPr/>
          </p:nvSpPr>
          <p:spPr bwMode="auto">
            <a:xfrm>
              <a:off x="1915895" y="5805784"/>
              <a:ext cx="517456" cy="489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en-US" altLang="ko-KR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M2</a:t>
              </a:r>
            </a:p>
          </p:txBody>
        </p:sp>
        <p:sp>
          <p:nvSpPr>
            <p:cNvPr id="165" name="Rectangle 62"/>
            <p:cNvSpPr>
              <a:spLocks noChangeArrowheads="1"/>
            </p:cNvSpPr>
            <p:nvPr/>
          </p:nvSpPr>
          <p:spPr bwMode="auto">
            <a:xfrm>
              <a:off x="2444468" y="5601049"/>
              <a:ext cx="285750" cy="3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6" name="Text Box 63"/>
            <p:cNvSpPr txBox="1">
              <a:spLocks noChangeArrowheads="1"/>
            </p:cNvSpPr>
            <p:nvPr/>
          </p:nvSpPr>
          <p:spPr bwMode="auto">
            <a:xfrm>
              <a:off x="2365937" y="5805790"/>
              <a:ext cx="457199" cy="489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en-US" altLang="ko-KR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M3</a:t>
              </a:r>
            </a:p>
          </p:txBody>
        </p:sp>
        <p:sp>
          <p:nvSpPr>
            <p:cNvPr id="167" name="Rectangle 64"/>
            <p:cNvSpPr>
              <a:spLocks noChangeArrowheads="1"/>
            </p:cNvSpPr>
            <p:nvPr/>
          </p:nvSpPr>
          <p:spPr bwMode="auto">
            <a:xfrm>
              <a:off x="2857218" y="5743924"/>
              <a:ext cx="285750" cy="1698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Text Box 65"/>
            <p:cNvSpPr txBox="1">
              <a:spLocks noChangeArrowheads="1"/>
            </p:cNvSpPr>
            <p:nvPr/>
          </p:nvSpPr>
          <p:spPr bwMode="auto">
            <a:xfrm>
              <a:off x="2741371" y="5805794"/>
              <a:ext cx="517456" cy="489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en-US" altLang="ko-KR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M4</a:t>
              </a:r>
            </a:p>
          </p:txBody>
        </p:sp>
        <p:sp>
          <p:nvSpPr>
            <p:cNvPr id="169" name="Rectangle 66"/>
            <p:cNvSpPr>
              <a:spLocks noChangeArrowheads="1"/>
            </p:cNvSpPr>
            <p:nvPr/>
          </p:nvSpPr>
          <p:spPr bwMode="auto">
            <a:xfrm>
              <a:off x="3268380" y="5858224"/>
              <a:ext cx="285750" cy="555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0" name="Text Box 67"/>
            <p:cNvSpPr txBox="1">
              <a:spLocks noChangeArrowheads="1"/>
            </p:cNvSpPr>
            <p:nvPr/>
          </p:nvSpPr>
          <p:spPr bwMode="auto">
            <a:xfrm>
              <a:off x="3159066" y="5807299"/>
              <a:ext cx="517456" cy="489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en-US" altLang="ko-KR" sz="800" u="sng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M5</a:t>
              </a:r>
            </a:p>
          </p:txBody>
        </p:sp>
        <p:sp>
          <p:nvSpPr>
            <p:cNvPr id="171" name="Freeform 68"/>
            <p:cNvSpPr>
              <a:spLocks/>
            </p:cNvSpPr>
            <p:nvPr/>
          </p:nvSpPr>
          <p:spPr bwMode="auto">
            <a:xfrm>
              <a:off x="1734855" y="5515324"/>
              <a:ext cx="1676400" cy="342900"/>
            </a:xfrm>
            <a:custGeom>
              <a:avLst/>
              <a:gdLst>
                <a:gd name="T0" fmla="*/ 0 w 1327"/>
                <a:gd name="T1" fmla="*/ 545 h 545"/>
                <a:gd name="T2" fmla="*/ 367 w 1327"/>
                <a:gd name="T3" fmla="*/ 476 h 545"/>
                <a:gd name="T4" fmla="*/ 682 w 1327"/>
                <a:gd name="T5" fmla="*/ 368 h 545"/>
                <a:gd name="T6" fmla="*/ 997 w 1327"/>
                <a:gd name="T7" fmla="*/ 192 h 545"/>
                <a:gd name="T8" fmla="*/ 1327 w 1327"/>
                <a:gd name="T9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7" h="545">
                  <a:moveTo>
                    <a:pt x="0" y="545"/>
                  </a:moveTo>
                  <a:lnTo>
                    <a:pt x="367" y="476"/>
                  </a:lnTo>
                  <a:lnTo>
                    <a:pt x="682" y="368"/>
                  </a:lnTo>
                  <a:lnTo>
                    <a:pt x="997" y="192"/>
                  </a:lnTo>
                  <a:lnTo>
                    <a:pt x="1327" y="0"/>
                  </a:lnTo>
                </a:path>
              </a:pathLst>
            </a:custGeom>
            <a:noFill/>
            <a:ln w="19050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2" name="AutoShape 72"/>
            <p:cNvSpPr>
              <a:spLocks noChangeArrowheads="1"/>
            </p:cNvSpPr>
            <p:nvPr/>
          </p:nvSpPr>
          <p:spPr bwMode="auto">
            <a:xfrm>
              <a:off x="2965450" y="5448300"/>
              <a:ext cx="268005" cy="266255"/>
            </a:xfrm>
            <a:prstGeom prst="irregularSeal2">
              <a:avLst/>
            </a:prstGeom>
            <a:solidFill>
              <a:srgbClr val="FF0000"/>
            </a:solidFill>
            <a:ln w="6350" algn="ctr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rIns="36000" anchor="ctr"/>
            <a:lstStyle>
              <a:lvl1pPr marL="88900" indent="-88900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fontAlgn="t" hangingPunct="0">
                <a:spcBef>
                  <a:spcPct val="50000"/>
                </a:spcBef>
                <a:buFontTx/>
                <a:buChar char="•"/>
              </a:pPr>
              <a:endPara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3" name="굽은 화살표 172"/>
            <p:cNvSpPr/>
            <p:nvPr/>
          </p:nvSpPr>
          <p:spPr>
            <a:xfrm rot="6563285">
              <a:off x="3299419" y="3277852"/>
              <a:ext cx="532598" cy="509825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4" name="굽은 화살표 173"/>
            <p:cNvSpPr/>
            <p:nvPr/>
          </p:nvSpPr>
          <p:spPr>
            <a:xfrm rot="20101054">
              <a:off x="917565" y="4741274"/>
              <a:ext cx="532598" cy="509825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5" name="굽은 화살표 174"/>
            <p:cNvSpPr/>
            <p:nvPr/>
          </p:nvSpPr>
          <p:spPr>
            <a:xfrm rot="20101054">
              <a:off x="1644439" y="3277852"/>
              <a:ext cx="532598" cy="509825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6" name="굽은 화살표 175"/>
            <p:cNvSpPr/>
            <p:nvPr/>
          </p:nvSpPr>
          <p:spPr>
            <a:xfrm rot="6563285">
              <a:off x="4052629" y="4741274"/>
              <a:ext cx="532598" cy="509825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78" name="그룹 177"/>
            <p:cNvGrpSpPr/>
            <p:nvPr/>
          </p:nvGrpSpPr>
          <p:grpSpPr>
            <a:xfrm>
              <a:off x="1823689" y="4048781"/>
              <a:ext cx="781850" cy="835476"/>
              <a:chOff x="5602395" y="2455092"/>
              <a:chExt cx="1171211" cy="1272357"/>
            </a:xfrm>
          </p:grpSpPr>
          <p:sp>
            <p:nvSpPr>
              <p:cNvPr id="200" name="Freeform 251"/>
              <p:cNvSpPr>
                <a:spLocks/>
              </p:cNvSpPr>
              <p:nvPr/>
            </p:nvSpPr>
            <p:spPr bwMode="auto">
              <a:xfrm>
                <a:off x="5602396" y="2466186"/>
                <a:ext cx="1170528" cy="1261263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3364" y="6"/>
                  </a:cxn>
                  <a:cxn ang="0">
                    <a:pos x="3364" y="1968"/>
                  </a:cxn>
                  <a:cxn ang="0">
                    <a:pos x="3196" y="1912"/>
                  </a:cxn>
                  <a:cxn ang="0">
                    <a:pos x="2931" y="2029"/>
                  </a:cxn>
                  <a:cxn ang="0">
                    <a:pos x="2559" y="1978"/>
                  </a:cxn>
                  <a:cxn ang="0">
                    <a:pos x="2273" y="2106"/>
                  </a:cxn>
                  <a:cxn ang="0">
                    <a:pos x="1825" y="2009"/>
                  </a:cxn>
                  <a:cxn ang="0">
                    <a:pos x="1651" y="2024"/>
                  </a:cxn>
                  <a:cxn ang="0">
                    <a:pos x="1264" y="2157"/>
                  </a:cxn>
                  <a:cxn ang="0">
                    <a:pos x="1070" y="2050"/>
                  </a:cxn>
                  <a:cxn ang="0">
                    <a:pos x="795" y="2065"/>
                  </a:cxn>
                  <a:cxn ang="0">
                    <a:pos x="571" y="2034"/>
                  </a:cxn>
                  <a:cxn ang="0">
                    <a:pos x="326" y="2075"/>
                  </a:cxn>
                  <a:cxn ang="0">
                    <a:pos x="163" y="2019"/>
                  </a:cxn>
                  <a:cxn ang="0">
                    <a:pos x="0" y="2075"/>
                  </a:cxn>
                  <a:cxn ang="0">
                    <a:pos x="5" y="0"/>
                  </a:cxn>
                </a:cxnLst>
                <a:rect l="0" t="0" r="r" b="b"/>
                <a:pathLst>
                  <a:path w="3364" h="2157">
                    <a:moveTo>
                      <a:pt x="5" y="6"/>
                    </a:moveTo>
                    <a:lnTo>
                      <a:pt x="3364" y="6"/>
                    </a:lnTo>
                    <a:lnTo>
                      <a:pt x="3364" y="1968"/>
                    </a:lnTo>
                    <a:lnTo>
                      <a:pt x="3196" y="1912"/>
                    </a:lnTo>
                    <a:lnTo>
                      <a:pt x="2931" y="2029"/>
                    </a:lnTo>
                    <a:lnTo>
                      <a:pt x="2559" y="1978"/>
                    </a:lnTo>
                    <a:lnTo>
                      <a:pt x="2273" y="2106"/>
                    </a:lnTo>
                    <a:lnTo>
                      <a:pt x="1825" y="2009"/>
                    </a:lnTo>
                    <a:lnTo>
                      <a:pt x="1651" y="2024"/>
                    </a:lnTo>
                    <a:lnTo>
                      <a:pt x="1264" y="2157"/>
                    </a:lnTo>
                    <a:lnTo>
                      <a:pt x="1070" y="2050"/>
                    </a:lnTo>
                    <a:lnTo>
                      <a:pt x="795" y="2065"/>
                    </a:lnTo>
                    <a:lnTo>
                      <a:pt x="571" y="2034"/>
                    </a:lnTo>
                    <a:lnTo>
                      <a:pt x="326" y="2075"/>
                    </a:lnTo>
                    <a:lnTo>
                      <a:pt x="163" y="2019"/>
                    </a:lnTo>
                    <a:lnTo>
                      <a:pt x="0" y="2075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50800" dir="5400000" algn="ctr" rotWithShape="0">
                  <a:schemeClr val="bg1">
                    <a:lumMod val="65000"/>
                  </a:schemeClr>
                </a:outerShdw>
              </a:effectLst>
            </p:spPr>
            <p:txBody>
              <a:bodyPr/>
              <a:lstStyle/>
              <a:p>
                <a:endParaRPr lang="ko-KR" altLang="en-US" sz="6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01" name="Rectangle 208"/>
              <p:cNvSpPr>
                <a:spLocks noChangeArrowheads="1"/>
              </p:cNvSpPr>
              <p:nvPr/>
            </p:nvSpPr>
            <p:spPr bwMode="auto">
              <a:xfrm>
                <a:off x="5602395" y="2455092"/>
                <a:ext cx="1171211" cy="20933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algn="ctr">
                <a:solidFill>
                  <a:srgbClr val="5F5F5F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anchor="ctr"/>
              <a:lstStyle/>
              <a:p>
                <a:pPr algn="ctr"/>
                <a:r>
                  <a:rPr lang="en-US" altLang="ko-KR" sz="500" dirty="0" smtClea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Gap Closing Plan</a:t>
                </a:r>
                <a:endParaRPr lang="ko-KR" altLang="en-US" sz="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02" name="Rectangle 37"/>
              <p:cNvSpPr>
                <a:spLocks noChangeArrowheads="1"/>
              </p:cNvSpPr>
              <p:nvPr/>
            </p:nvSpPr>
            <p:spPr bwMode="auto">
              <a:xfrm>
                <a:off x="5652958" y="2732070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목표 수정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Rectangle 38"/>
              <p:cNvSpPr>
                <a:spLocks noChangeArrowheads="1"/>
              </p:cNvSpPr>
              <p:nvPr/>
            </p:nvSpPr>
            <p:spPr bwMode="auto">
              <a:xfrm>
                <a:off x="5652958" y="2987408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상품 </a:t>
                </a:r>
                <a:r>
                  <a:rPr lang="en-US" altLang="ko-KR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Renewal or Drop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Rectangle 38"/>
              <p:cNvSpPr>
                <a:spLocks noChangeArrowheads="1"/>
              </p:cNvSpPr>
              <p:nvPr/>
            </p:nvSpPr>
            <p:spPr bwMode="auto">
              <a:xfrm>
                <a:off x="5649784" y="3242745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en-US" altLang="ko-KR" sz="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Channel Allocation</a:t>
                </a:r>
              </a:p>
            </p:txBody>
          </p:sp>
          <p:sp>
            <p:nvSpPr>
              <p:cNvPr id="205" name="Rectangle 9"/>
              <p:cNvSpPr>
                <a:spLocks noChangeArrowheads="1"/>
              </p:cNvSpPr>
              <p:nvPr/>
            </p:nvSpPr>
            <p:spPr bwMode="auto">
              <a:xfrm rot="5400000">
                <a:off x="5904448" y="3446960"/>
                <a:ext cx="203597" cy="2810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1D563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eaLnBrk="0" hangingPunct="0">
                  <a:lnSpc>
                    <a:spcPct val="90000"/>
                  </a:lnSpc>
                </a:pPr>
                <a:r>
                  <a:rPr lang="en-US" altLang="ko-KR" sz="10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…</a:t>
                </a:r>
              </a:p>
            </p:txBody>
          </p:sp>
          <p:sp>
            <p:nvSpPr>
              <p:cNvPr id="206" name="Rectangle 37"/>
              <p:cNvSpPr>
                <a:spLocks noChangeArrowheads="1"/>
              </p:cNvSpPr>
              <p:nvPr/>
            </p:nvSpPr>
            <p:spPr bwMode="auto">
              <a:xfrm>
                <a:off x="6212265" y="2752091"/>
                <a:ext cx="173855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7" name="Rectangle 38"/>
              <p:cNvSpPr>
                <a:spLocks noChangeArrowheads="1"/>
              </p:cNvSpPr>
              <p:nvPr/>
            </p:nvSpPr>
            <p:spPr bwMode="auto">
              <a:xfrm>
                <a:off x="6212265" y="3007428"/>
                <a:ext cx="479805" cy="166064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8" name="Rectangle 38"/>
              <p:cNvSpPr>
                <a:spLocks noChangeArrowheads="1"/>
              </p:cNvSpPr>
              <p:nvPr/>
            </p:nvSpPr>
            <p:spPr bwMode="auto">
              <a:xfrm>
                <a:off x="6212265" y="3262766"/>
                <a:ext cx="342524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79" name="그룹 178"/>
            <p:cNvGrpSpPr/>
            <p:nvPr/>
          </p:nvGrpSpPr>
          <p:grpSpPr>
            <a:xfrm>
              <a:off x="1753839" y="4093231"/>
              <a:ext cx="781850" cy="835476"/>
              <a:chOff x="5602395" y="2455092"/>
              <a:chExt cx="1171211" cy="1272357"/>
            </a:xfrm>
          </p:grpSpPr>
          <p:sp>
            <p:nvSpPr>
              <p:cNvPr id="191" name="Freeform 251"/>
              <p:cNvSpPr>
                <a:spLocks/>
              </p:cNvSpPr>
              <p:nvPr/>
            </p:nvSpPr>
            <p:spPr bwMode="auto">
              <a:xfrm>
                <a:off x="5602396" y="2466186"/>
                <a:ext cx="1170528" cy="1261263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3364" y="6"/>
                  </a:cxn>
                  <a:cxn ang="0">
                    <a:pos x="3364" y="1968"/>
                  </a:cxn>
                  <a:cxn ang="0">
                    <a:pos x="3196" y="1912"/>
                  </a:cxn>
                  <a:cxn ang="0">
                    <a:pos x="2931" y="2029"/>
                  </a:cxn>
                  <a:cxn ang="0">
                    <a:pos x="2559" y="1978"/>
                  </a:cxn>
                  <a:cxn ang="0">
                    <a:pos x="2273" y="2106"/>
                  </a:cxn>
                  <a:cxn ang="0">
                    <a:pos x="1825" y="2009"/>
                  </a:cxn>
                  <a:cxn ang="0">
                    <a:pos x="1651" y="2024"/>
                  </a:cxn>
                  <a:cxn ang="0">
                    <a:pos x="1264" y="2157"/>
                  </a:cxn>
                  <a:cxn ang="0">
                    <a:pos x="1070" y="2050"/>
                  </a:cxn>
                  <a:cxn ang="0">
                    <a:pos x="795" y="2065"/>
                  </a:cxn>
                  <a:cxn ang="0">
                    <a:pos x="571" y="2034"/>
                  </a:cxn>
                  <a:cxn ang="0">
                    <a:pos x="326" y="2075"/>
                  </a:cxn>
                  <a:cxn ang="0">
                    <a:pos x="163" y="2019"/>
                  </a:cxn>
                  <a:cxn ang="0">
                    <a:pos x="0" y="2075"/>
                  </a:cxn>
                  <a:cxn ang="0">
                    <a:pos x="5" y="0"/>
                  </a:cxn>
                </a:cxnLst>
                <a:rect l="0" t="0" r="r" b="b"/>
                <a:pathLst>
                  <a:path w="3364" h="2157">
                    <a:moveTo>
                      <a:pt x="5" y="6"/>
                    </a:moveTo>
                    <a:lnTo>
                      <a:pt x="3364" y="6"/>
                    </a:lnTo>
                    <a:lnTo>
                      <a:pt x="3364" y="1968"/>
                    </a:lnTo>
                    <a:lnTo>
                      <a:pt x="3196" y="1912"/>
                    </a:lnTo>
                    <a:lnTo>
                      <a:pt x="2931" y="2029"/>
                    </a:lnTo>
                    <a:lnTo>
                      <a:pt x="2559" y="1978"/>
                    </a:lnTo>
                    <a:lnTo>
                      <a:pt x="2273" y="2106"/>
                    </a:lnTo>
                    <a:lnTo>
                      <a:pt x="1825" y="2009"/>
                    </a:lnTo>
                    <a:lnTo>
                      <a:pt x="1651" y="2024"/>
                    </a:lnTo>
                    <a:lnTo>
                      <a:pt x="1264" y="2157"/>
                    </a:lnTo>
                    <a:lnTo>
                      <a:pt x="1070" y="2050"/>
                    </a:lnTo>
                    <a:lnTo>
                      <a:pt x="795" y="2065"/>
                    </a:lnTo>
                    <a:lnTo>
                      <a:pt x="571" y="2034"/>
                    </a:lnTo>
                    <a:lnTo>
                      <a:pt x="326" y="2075"/>
                    </a:lnTo>
                    <a:lnTo>
                      <a:pt x="163" y="2019"/>
                    </a:lnTo>
                    <a:lnTo>
                      <a:pt x="0" y="2075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50800" dir="5400000" algn="ctr" rotWithShape="0">
                  <a:schemeClr val="bg1">
                    <a:lumMod val="65000"/>
                  </a:schemeClr>
                </a:outerShdw>
              </a:effectLst>
            </p:spPr>
            <p:txBody>
              <a:bodyPr/>
              <a:lstStyle/>
              <a:p>
                <a:endParaRPr lang="ko-KR" altLang="en-US" sz="6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92" name="Rectangle 208"/>
              <p:cNvSpPr>
                <a:spLocks noChangeArrowheads="1"/>
              </p:cNvSpPr>
              <p:nvPr/>
            </p:nvSpPr>
            <p:spPr bwMode="auto">
              <a:xfrm>
                <a:off x="5602395" y="2455092"/>
                <a:ext cx="1171211" cy="20933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algn="ctr">
                <a:solidFill>
                  <a:srgbClr val="5F5F5F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anchor="ctr"/>
              <a:lstStyle/>
              <a:p>
                <a:pPr algn="ctr"/>
                <a:r>
                  <a:rPr lang="en-US" altLang="ko-KR" sz="500" dirty="0" smtClea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Gap Closing Plan</a:t>
                </a:r>
                <a:endParaRPr lang="ko-KR" altLang="en-US" sz="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93" name="Rectangle 37"/>
              <p:cNvSpPr>
                <a:spLocks noChangeArrowheads="1"/>
              </p:cNvSpPr>
              <p:nvPr/>
            </p:nvSpPr>
            <p:spPr bwMode="auto">
              <a:xfrm>
                <a:off x="5652958" y="2732070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목표 수정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4" name="Rectangle 38"/>
              <p:cNvSpPr>
                <a:spLocks noChangeArrowheads="1"/>
              </p:cNvSpPr>
              <p:nvPr/>
            </p:nvSpPr>
            <p:spPr bwMode="auto">
              <a:xfrm>
                <a:off x="5652958" y="2987408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상품 </a:t>
                </a:r>
                <a:r>
                  <a:rPr lang="en-US" altLang="ko-KR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Renewal or Drop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5" name="Rectangle 38"/>
              <p:cNvSpPr>
                <a:spLocks noChangeArrowheads="1"/>
              </p:cNvSpPr>
              <p:nvPr/>
            </p:nvSpPr>
            <p:spPr bwMode="auto">
              <a:xfrm>
                <a:off x="5649784" y="3242745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en-US" altLang="ko-KR" sz="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Channel Allocation</a:t>
                </a:r>
              </a:p>
            </p:txBody>
          </p:sp>
          <p:sp>
            <p:nvSpPr>
              <p:cNvPr id="196" name="Rectangle 9"/>
              <p:cNvSpPr>
                <a:spLocks noChangeArrowheads="1"/>
              </p:cNvSpPr>
              <p:nvPr/>
            </p:nvSpPr>
            <p:spPr bwMode="auto">
              <a:xfrm rot="5400000">
                <a:off x="5904448" y="3446960"/>
                <a:ext cx="203597" cy="2810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1D563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eaLnBrk="0" hangingPunct="0">
                  <a:lnSpc>
                    <a:spcPct val="90000"/>
                  </a:lnSpc>
                </a:pPr>
                <a:r>
                  <a:rPr lang="en-US" altLang="ko-KR" sz="10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…</a:t>
                </a:r>
              </a:p>
            </p:txBody>
          </p:sp>
          <p:sp>
            <p:nvSpPr>
              <p:cNvPr id="197" name="Rectangle 37"/>
              <p:cNvSpPr>
                <a:spLocks noChangeArrowheads="1"/>
              </p:cNvSpPr>
              <p:nvPr/>
            </p:nvSpPr>
            <p:spPr bwMode="auto">
              <a:xfrm>
                <a:off x="6212265" y="2752091"/>
                <a:ext cx="173855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8" name="Rectangle 38"/>
              <p:cNvSpPr>
                <a:spLocks noChangeArrowheads="1"/>
              </p:cNvSpPr>
              <p:nvPr/>
            </p:nvSpPr>
            <p:spPr bwMode="auto">
              <a:xfrm>
                <a:off x="6212265" y="3007428"/>
                <a:ext cx="479805" cy="166064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9" name="Rectangle 38"/>
              <p:cNvSpPr>
                <a:spLocks noChangeArrowheads="1"/>
              </p:cNvSpPr>
              <p:nvPr/>
            </p:nvSpPr>
            <p:spPr bwMode="auto">
              <a:xfrm>
                <a:off x="6212265" y="3262766"/>
                <a:ext cx="342524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80" name="그룹 179"/>
            <p:cNvGrpSpPr/>
            <p:nvPr/>
          </p:nvGrpSpPr>
          <p:grpSpPr>
            <a:xfrm>
              <a:off x="1683989" y="4137681"/>
              <a:ext cx="781850" cy="835476"/>
              <a:chOff x="5602395" y="2455092"/>
              <a:chExt cx="1171211" cy="1272357"/>
            </a:xfrm>
          </p:grpSpPr>
          <p:sp>
            <p:nvSpPr>
              <p:cNvPr id="182" name="Freeform 251"/>
              <p:cNvSpPr>
                <a:spLocks/>
              </p:cNvSpPr>
              <p:nvPr/>
            </p:nvSpPr>
            <p:spPr bwMode="auto">
              <a:xfrm>
                <a:off x="5602396" y="2466186"/>
                <a:ext cx="1170528" cy="1261263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3364" y="6"/>
                  </a:cxn>
                  <a:cxn ang="0">
                    <a:pos x="3364" y="1968"/>
                  </a:cxn>
                  <a:cxn ang="0">
                    <a:pos x="3196" y="1912"/>
                  </a:cxn>
                  <a:cxn ang="0">
                    <a:pos x="2931" y="2029"/>
                  </a:cxn>
                  <a:cxn ang="0">
                    <a:pos x="2559" y="1978"/>
                  </a:cxn>
                  <a:cxn ang="0">
                    <a:pos x="2273" y="2106"/>
                  </a:cxn>
                  <a:cxn ang="0">
                    <a:pos x="1825" y="2009"/>
                  </a:cxn>
                  <a:cxn ang="0">
                    <a:pos x="1651" y="2024"/>
                  </a:cxn>
                  <a:cxn ang="0">
                    <a:pos x="1264" y="2157"/>
                  </a:cxn>
                  <a:cxn ang="0">
                    <a:pos x="1070" y="2050"/>
                  </a:cxn>
                  <a:cxn ang="0">
                    <a:pos x="795" y="2065"/>
                  </a:cxn>
                  <a:cxn ang="0">
                    <a:pos x="571" y="2034"/>
                  </a:cxn>
                  <a:cxn ang="0">
                    <a:pos x="326" y="2075"/>
                  </a:cxn>
                  <a:cxn ang="0">
                    <a:pos x="163" y="2019"/>
                  </a:cxn>
                  <a:cxn ang="0">
                    <a:pos x="0" y="2075"/>
                  </a:cxn>
                  <a:cxn ang="0">
                    <a:pos x="5" y="0"/>
                  </a:cxn>
                </a:cxnLst>
                <a:rect l="0" t="0" r="r" b="b"/>
                <a:pathLst>
                  <a:path w="3364" h="2157">
                    <a:moveTo>
                      <a:pt x="5" y="6"/>
                    </a:moveTo>
                    <a:lnTo>
                      <a:pt x="3364" y="6"/>
                    </a:lnTo>
                    <a:lnTo>
                      <a:pt x="3364" y="1968"/>
                    </a:lnTo>
                    <a:lnTo>
                      <a:pt x="3196" y="1912"/>
                    </a:lnTo>
                    <a:lnTo>
                      <a:pt x="2931" y="2029"/>
                    </a:lnTo>
                    <a:lnTo>
                      <a:pt x="2559" y="1978"/>
                    </a:lnTo>
                    <a:lnTo>
                      <a:pt x="2273" y="2106"/>
                    </a:lnTo>
                    <a:lnTo>
                      <a:pt x="1825" y="2009"/>
                    </a:lnTo>
                    <a:lnTo>
                      <a:pt x="1651" y="2024"/>
                    </a:lnTo>
                    <a:lnTo>
                      <a:pt x="1264" y="2157"/>
                    </a:lnTo>
                    <a:lnTo>
                      <a:pt x="1070" y="2050"/>
                    </a:lnTo>
                    <a:lnTo>
                      <a:pt x="795" y="2065"/>
                    </a:lnTo>
                    <a:lnTo>
                      <a:pt x="571" y="2034"/>
                    </a:lnTo>
                    <a:lnTo>
                      <a:pt x="326" y="2075"/>
                    </a:lnTo>
                    <a:lnTo>
                      <a:pt x="163" y="2019"/>
                    </a:lnTo>
                    <a:lnTo>
                      <a:pt x="0" y="2075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50800" dir="5400000" algn="ctr" rotWithShape="0">
                  <a:schemeClr val="bg1">
                    <a:lumMod val="65000"/>
                  </a:schemeClr>
                </a:outerShdw>
              </a:effectLst>
            </p:spPr>
            <p:txBody>
              <a:bodyPr/>
              <a:lstStyle/>
              <a:p>
                <a:endParaRPr lang="ko-KR" altLang="en-US" sz="6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3" name="Rectangle 208"/>
              <p:cNvSpPr>
                <a:spLocks noChangeArrowheads="1"/>
              </p:cNvSpPr>
              <p:nvPr/>
            </p:nvSpPr>
            <p:spPr bwMode="auto">
              <a:xfrm>
                <a:off x="5602395" y="2455092"/>
                <a:ext cx="1171211" cy="20933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algn="ctr">
                <a:solidFill>
                  <a:srgbClr val="5F5F5F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anchor="ctr"/>
              <a:lstStyle/>
              <a:p>
                <a:pPr algn="ctr"/>
                <a:r>
                  <a:rPr lang="en-US" altLang="ko-KR" sz="500" dirty="0" smtClea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Gap Closing Plan</a:t>
                </a:r>
                <a:endParaRPr lang="ko-KR" altLang="en-US" sz="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84" name="Rectangle 37"/>
              <p:cNvSpPr>
                <a:spLocks noChangeArrowheads="1"/>
              </p:cNvSpPr>
              <p:nvPr/>
            </p:nvSpPr>
            <p:spPr bwMode="auto">
              <a:xfrm>
                <a:off x="5652958" y="2732070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목표 수정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85" name="Rectangle 38"/>
              <p:cNvSpPr>
                <a:spLocks noChangeArrowheads="1"/>
              </p:cNvSpPr>
              <p:nvPr/>
            </p:nvSpPr>
            <p:spPr bwMode="auto">
              <a:xfrm>
                <a:off x="5652958" y="2987408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ko-KR" altLang="en-US" sz="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상품 </a:t>
                </a:r>
                <a:r>
                  <a:rPr lang="en-US" altLang="ko-KR" sz="40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Renewal or Drop</a:t>
                </a:r>
                <a:endParaRPr lang="en-US" altLang="ko-KR" sz="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86" name="Rectangle 38"/>
              <p:cNvSpPr>
                <a:spLocks noChangeArrowheads="1"/>
              </p:cNvSpPr>
              <p:nvPr/>
            </p:nvSpPr>
            <p:spPr bwMode="auto">
              <a:xfrm>
                <a:off x="5649784" y="3242745"/>
                <a:ext cx="525446" cy="19892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r>
                  <a:rPr lang="en-US" altLang="ko-KR" sz="2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Channel Allocation</a:t>
                </a:r>
              </a:p>
            </p:txBody>
          </p:sp>
          <p:sp>
            <p:nvSpPr>
              <p:cNvPr id="187" name="Rectangle 9"/>
              <p:cNvSpPr>
                <a:spLocks noChangeArrowheads="1"/>
              </p:cNvSpPr>
              <p:nvPr/>
            </p:nvSpPr>
            <p:spPr bwMode="auto">
              <a:xfrm rot="5400000">
                <a:off x="5904448" y="3446960"/>
                <a:ext cx="203597" cy="2810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1D563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eaLnBrk="0" hangingPunct="0">
                  <a:lnSpc>
                    <a:spcPct val="90000"/>
                  </a:lnSpc>
                </a:pPr>
                <a:r>
                  <a:rPr lang="en-US" altLang="ko-KR" sz="100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…</a:t>
                </a:r>
              </a:p>
            </p:txBody>
          </p:sp>
          <p:sp>
            <p:nvSpPr>
              <p:cNvPr id="188" name="Rectangle 37"/>
              <p:cNvSpPr>
                <a:spLocks noChangeArrowheads="1"/>
              </p:cNvSpPr>
              <p:nvPr/>
            </p:nvSpPr>
            <p:spPr bwMode="auto">
              <a:xfrm>
                <a:off x="6212265" y="2752091"/>
                <a:ext cx="173855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89" name="Rectangle 38"/>
              <p:cNvSpPr>
                <a:spLocks noChangeArrowheads="1"/>
              </p:cNvSpPr>
              <p:nvPr/>
            </p:nvSpPr>
            <p:spPr bwMode="auto">
              <a:xfrm>
                <a:off x="6212265" y="3007428"/>
                <a:ext cx="479805" cy="166064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0" name="Rectangle 38"/>
              <p:cNvSpPr>
                <a:spLocks noChangeArrowheads="1"/>
              </p:cNvSpPr>
              <p:nvPr/>
            </p:nvSpPr>
            <p:spPr bwMode="auto">
              <a:xfrm>
                <a:off x="6212265" y="3262766"/>
                <a:ext cx="342524" cy="166065"/>
              </a:xfrm>
              <a:prstGeom prst="rect">
                <a:avLst/>
              </a:prstGeom>
              <a:solidFill>
                <a:srgbClr val="8AD8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/>
              <a:lstStyle/>
              <a:p>
                <a:pPr algn="ctr" latinLnBrk="0">
                  <a:lnSpc>
                    <a:spcPct val="90000"/>
                  </a:lnSpc>
                  <a:spcBef>
                    <a:spcPct val="50000"/>
                  </a:spcBef>
                  <a:buClr>
                    <a:srgbClr val="7D0900"/>
                  </a:buClr>
                  <a:defRPr/>
                </a:pPr>
                <a:endParaRPr lang="en-US" altLang="ko-KR" sz="6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81" name="Line 56"/>
            <p:cNvSpPr>
              <a:spLocks noChangeShapeType="1"/>
            </p:cNvSpPr>
            <p:nvPr/>
          </p:nvSpPr>
          <p:spPr bwMode="auto">
            <a:xfrm>
              <a:off x="1504668" y="5913786"/>
              <a:ext cx="2122487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latinLnBrk="0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ko-KR" altLang="en-US" sz="1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209" name="덧셈 기호 208"/>
          <p:cNvSpPr/>
          <p:nvPr/>
        </p:nvSpPr>
        <p:spPr bwMode="auto">
          <a:xfrm>
            <a:off x="7994300" y="4660504"/>
            <a:ext cx="108000" cy="108000"/>
          </a:xfrm>
          <a:prstGeom prst="mathPlus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0" name="덧셈 기호 209"/>
          <p:cNvSpPr/>
          <p:nvPr/>
        </p:nvSpPr>
        <p:spPr bwMode="auto">
          <a:xfrm>
            <a:off x="7701505" y="4660504"/>
            <a:ext cx="108000" cy="108000"/>
          </a:xfrm>
          <a:prstGeom prst="mathPlus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1" name="TextBox 210"/>
          <p:cNvSpPr txBox="1"/>
          <p:nvPr/>
        </p:nvSpPr>
        <p:spPr bwMode="auto">
          <a:xfrm>
            <a:off x="358440" y="3434399"/>
            <a:ext cx="4287210" cy="639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ts val="13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성과 분석관점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(Dimension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이 세부적으로 구분되어 있지 않아 전략 실행 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단위별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 정교한 경영계획 수립이 어려움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ts val="130"/>
              </a:spcBef>
              <a:buFont typeface="맑은 고딕" panose="020B0503020000020004" pitchFamily="50" charset="-127"/>
              <a:buChar char="-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동인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계획 대비 실적차이 및 원인분석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12" name="직사각형 211"/>
          <p:cNvSpPr/>
          <p:nvPr/>
        </p:nvSpPr>
        <p:spPr bwMode="auto">
          <a:xfrm>
            <a:off x="401980" y="3454529"/>
            <a:ext cx="245912" cy="245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3" name="TextBox 212"/>
          <p:cNvSpPr txBox="1"/>
          <p:nvPr/>
        </p:nvSpPr>
        <p:spPr bwMode="auto">
          <a:xfrm>
            <a:off x="358439" y="4247022"/>
            <a:ext cx="4268221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ts val="13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가치동인 및 성과지표 연계 미흡으로 인해 정확한 성과측정이 어려움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14" name="직사각형 213"/>
          <p:cNvSpPr/>
          <p:nvPr/>
        </p:nvSpPr>
        <p:spPr bwMode="auto">
          <a:xfrm>
            <a:off x="401980" y="4267152"/>
            <a:ext cx="245912" cy="245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5" name="TextBox 214"/>
          <p:cNvSpPr txBox="1"/>
          <p:nvPr/>
        </p:nvSpPr>
        <p:spPr bwMode="auto">
          <a:xfrm>
            <a:off x="358440" y="4946610"/>
            <a:ext cx="428721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ts val="13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비용관리 표준 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프로세스 부재 및 수지예산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 미흡으로 효율적인 비용관리 미흡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16" name="직사각형 215"/>
          <p:cNvSpPr/>
          <p:nvPr/>
        </p:nvSpPr>
        <p:spPr bwMode="auto">
          <a:xfrm>
            <a:off x="401980" y="4966740"/>
            <a:ext cx="245912" cy="245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7" name="TextBox 216"/>
          <p:cNvSpPr txBox="1"/>
          <p:nvPr/>
        </p:nvSpPr>
        <p:spPr bwMode="auto">
          <a:xfrm>
            <a:off x="358440" y="5632782"/>
            <a:ext cx="428721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ts val="13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가맹점수수료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연회비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 err="1">
                <a:solidFill>
                  <a:srgbClr val="000000"/>
                </a:solidFill>
                <a:latin typeface="맑은 고딕"/>
                <a:ea typeface="맑은 고딕"/>
              </a:rPr>
              <a:t>대고객수수료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등에 필요한 기초 데이터의 분산으로 유연한 분석이 어려움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18" name="직사각형 217"/>
          <p:cNvSpPr/>
          <p:nvPr/>
        </p:nvSpPr>
        <p:spPr bwMode="auto">
          <a:xfrm>
            <a:off x="401980" y="5652912"/>
            <a:ext cx="245912" cy="245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4" name="그룹 12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7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1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2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2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22" name="그룹 22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2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2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39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경영계획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 체계 구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an-Do-Se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체계가 원활히 작동할 수 있도록 경영계획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산관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 체계를 마련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가 기반의 수수료 산출 체계 기반을 마련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9" name="TextBox 6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계획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방안</a:t>
              </a:r>
            </a:p>
          </p:txBody>
        </p:sp>
        <p:cxnSp>
          <p:nvCxnSpPr>
            <p:cNvPr id="7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직사각형 35"/>
          <p:cNvSpPr/>
          <p:nvPr/>
        </p:nvSpPr>
        <p:spPr bwMode="gray">
          <a:xfrm>
            <a:off x="398464" y="2407441"/>
            <a:ext cx="18542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목표 달성을 위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계획 및 성과지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체계 구축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gray">
          <a:xfrm>
            <a:off x="2519364" y="2407441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동인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ree 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반 경영계획시스템 구축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gray">
          <a:xfrm>
            <a:off x="2519364" y="2785441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별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&amp;R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 명확한 성과지표 개발</a:t>
            </a:r>
            <a:endParaRPr kumimoji="1" lang="ko-KR" altLang="en-US" sz="1200" b="0" baseline="30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gray">
          <a:xfrm>
            <a:off x="2519364" y="3163441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획대비 실적 모니터링 및 분석 시스템 구축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0" name="꺾인 연결선 39"/>
          <p:cNvCxnSpPr>
            <a:stCxn id="36" idx="3"/>
            <a:endCxn id="37" idx="1"/>
          </p:cNvCxnSpPr>
          <p:nvPr/>
        </p:nvCxnSpPr>
        <p:spPr bwMode="gray">
          <a:xfrm flipV="1">
            <a:off x="2252664" y="2569441"/>
            <a:ext cx="266700" cy="378000"/>
          </a:xfrm>
          <a:prstGeom prst="bentConnector3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50" name="꺾인 연결선 96"/>
          <p:cNvCxnSpPr>
            <a:stCxn id="36" idx="3"/>
            <a:endCxn id="38" idx="1"/>
          </p:cNvCxnSpPr>
          <p:nvPr/>
        </p:nvCxnSpPr>
        <p:spPr bwMode="gray">
          <a:xfrm>
            <a:off x="2252664" y="2947441"/>
            <a:ext cx="266700" cy="127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51" name="꺾인 연결선 50"/>
          <p:cNvCxnSpPr>
            <a:stCxn id="36" idx="3"/>
            <a:endCxn id="39" idx="1"/>
          </p:cNvCxnSpPr>
          <p:nvPr/>
        </p:nvCxnSpPr>
        <p:spPr bwMode="gray">
          <a:xfrm>
            <a:off x="2252664" y="2947441"/>
            <a:ext cx="266700" cy="3780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52" name="꺾인 연결선 51"/>
          <p:cNvCxnSpPr>
            <a:stCxn id="56" idx="3"/>
            <a:endCxn id="57" idx="1"/>
          </p:cNvCxnSpPr>
          <p:nvPr/>
        </p:nvCxnSpPr>
        <p:spPr bwMode="gray">
          <a:xfrm flipV="1">
            <a:off x="2252664" y="4099429"/>
            <a:ext cx="266700" cy="19824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53" name="꺾인 연결선 105"/>
          <p:cNvCxnSpPr>
            <a:stCxn id="56" idx="3"/>
            <a:endCxn id="58" idx="1"/>
          </p:cNvCxnSpPr>
          <p:nvPr/>
        </p:nvCxnSpPr>
        <p:spPr bwMode="gray">
          <a:xfrm>
            <a:off x="2252664" y="4297677"/>
            <a:ext cx="266700" cy="2159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4" name="직사각형 53"/>
          <p:cNvSpPr/>
          <p:nvPr/>
        </p:nvSpPr>
        <p:spPr bwMode="gray">
          <a:xfrm>
            <a:off x="6096000" y="2506344"/>
            <a:ext cx="3411537" cy="89232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36000" rIns="36000" bIns="36000" rtlCol="0" anchor="ctr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획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비 실적분석 및 통제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관리 활용까지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lan-Do-See Cycle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 수립</a:t>
            </a: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err="1">
                <a:solidFill>
                  <a:srgbClr val="000000"/>
                </a:solidFill>
                <a:latin typeface="맑은 고딕"/>
                <a:ea typeface="맑은 고딕"/>
              </a:rPr>
              <a:t>팀별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에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따른 성과지표 설정 및 가치동인 연계로 실행력 강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이등변 삼각형 54"/>
          <p:cNvSpPr/>
          <p:nvPr/>
        </p:nvSpPr>
        <p:spPr bwMode="auto">
          <a:xfrm rot="5400000">
            <a:off x="5406831" y="2872396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gray">
          <a:xfrm>
            <a:off x="398464" y="3757677"/>
            <a:ext cx="18542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관리 개선을 위한 수지예산 관리 체계 구축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gray">
          <a:xfrm>
            <a:off x="2519364" y="3937429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지예산관리시스템 체계 구축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gray">
          <a:xfrm>
            <a:off x="2519364" y="4351657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관리 표준 프로세스 수립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gray">
          <a:xfrm>
            <a:off x="6096000" y="3703585"/>
            <a:ext cx="3411537" cy="118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marL="171450" indent="-171450" algn="l" latinLnBrk="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예산과 일반예산 구분 관리체계 구축</a:t>
            </a:r>
            <a:endParaRPr lang="en-US" altLang="ko-KR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Zero-based Budgeting </a:t>
            </a: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프로세스 설계</a:t>
            </a:r>
            <a: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 예산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관비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수 연계 고려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계획 물량지표와 연계한 예산 편성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산관리와 표준화된 비용관리 프로세스 설계 병행 추진</a:t>
            </a:r>
          </a:p>
        </p:txBody>
      </p:sp>
      <p:sp>
        <p:nvSpPr>
          <p:cNvPr id="60" name="이등변 삼각형 59"/>
          <p:cNvSpPr/>
          <p:nvPr/>
        </p:nvSpPr>
        <p:spPr bwMode="auto">
          <a:xfrm rot="5400000">
            <a:off x="5406831" y="4198062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1" name="직선 연결선 60"/>
          <p:cNvCxnSpPr/>
          <p:nvPr/>
        </p:nvCxnSpPr>
        <p:spPr bwMode="auto">
          <a:xfrm flipV="1">
            <a:off x="407777" y="3649797"/>
            <a:ext cx="91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72" name="직사각형 71"/>
          <p:cNvSpPr/>
          <p:nvPr/>
        </p:nvSpPr>
        <p:spPr bwMode="gray">
          <a:xfrm>
            <a:off x="398464" y="5089210"/>
            <a:ext cx="18542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가 기반의 수수료 산출 체계 구축</a:t>
            </a: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2519364" y="5287761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고객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수료율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산출 필요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마트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구축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2519364" y="5711482"/>
            <a:ext cx="3204000" cy="32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l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 산출 필요 데이터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트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구축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5" name="꺾인 연결선 74"/>
          <p:cNvCxnSpPr>
            <a:stCxn id="72" idx="3"/>
            <a:endCxn id="73" idx="1"/>
          </p:cNvCxnSpPr>
          <p:nvPr/>
        </p:nvCxnSpPr>
        <p:spPr bwMode="gray">
          <a:xfrm flipV="1">
            <a:off x="2252664" y="5449761"/>
            <a:ext cx="266700" cy="17944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6" name="꺾인 연결선 109"/>
          <p:cNvCxnSpPr>
            <a:stCxn id="72" idx="3"/>
            <a:endCxn id="74" idx="1"/>
          </p:cNvCxnSpPr>
          <p:nvPr/>
        </p:nvCxnSpPr>
        <p:spPr bwMode="gray">
          <a:xfrm>
            <a:off x="2252664" y="5629210"/>
            <a:ext cx="266700" cy="2442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8" name="직사각형 77"/>
          <p:cNvSpPr/>
          <p:nvPr/>
        </p:nvSpPr>
        <p:spPr bwMode="gray">
          <a:xfrm>
            <a:off x="6096000" y="5022722"/>
            <a:ext cx="3411537" cy="118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marL="171450" indent="-171450" algn="l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구축 방식 결정</a:t>
            </a: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시스템 방식 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마트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방식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en-US" altLang="ko-KR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13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수립된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고객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수료율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산출 요건 반영</a:t>
            </a:r>
            <a:endParaRPr lang="en-US" altLang="ko-KR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회비 산출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직은</a:t>
            </a:r>
            <a:r>
              <a:rPr lang="ko-KR" altLang="en-US" sz="12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업무지원단 수행 예정인 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별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별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연회비 부과 체계 구축</a:t>
            </a:r>
            <a:r>
              <a:rPr lang="en-US" altLang="ko-KR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 </a:t>
            </a:r>
            <a:r>
              <a:rPr lang="ko-KR" altLang="en-US" sz="10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결과 활용</a:t>
            </a:r>
            <a:endParaRPr lang="en-US" altLang="ko-KR" sz="10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이등변 삼각형 78"/>
          <p:cNvSpPr/>
          <p:nvPr/>
        </p:nvSpPr>
        <p:spPr bwMode="auto">
          <a:xfrm rot="5400000">
            <a:off x="5406831" y="5575961"/>
            <a:ext cx="1065600" cy="22066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0" name="직선 연결선 79"/>
          <p:cNvCxnSpPr/>
          <p:nvPr/>
        </p:nvCxnSpPr>
        <p:spPr bwMode="auto">
          <a:xfrm flipV="1">
            <a:off x="407777" y="4987057"/>
            <a:ext cx="91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pSp>
        <p:nvGrpSpPr>
          <p:cNvPr id="89" name="그룹 8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65" name="그룹 64"/>
          <p:cNvGrpSpPr/>
          <p:nvPr/>
        </p:nvGrpSpPr>
        <p:grpSpPr>
          <a:xfrm>
            <a:off x="398464" y="1970357"/>
            <a:ext cx="1854200" cy="288147"/>
            <a:chOff x="398464" y="2123721"/>
            <a:chExt cx="1854000" cy="288147"/>
          </a:xfrm>
        </p:grpSpPr>
        <p:sp>
          <p:nvSpPr>
            <p:cNvPr id="66" name="TextBox 65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관리 과제</a:t>
              </a:r>
            </a:p>
          </p:txBody>
        </p:sp>
        <p:cxnSp>
          <p:nvCxnSpPr>
            <p:cNvPr id="67" name="직선 연결선 66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77" name="그룹 76"/>
          <p:cNvGrpSpPr/>
          <p:nvPr/>
        </p:nvGrpSpPr>
        <p:grpSpPr>
          <a:xfrm>
            <a:off x="2519404" y="1970357"/>
            <a:ext cx="3203960" cy="288147"/>
            <a:chOff x="398464" y="2123721"/>
            <a:chExt cx="1854000" cy="288147"/>
          </a:xfrm>
        </p:grpSpPr>
        <p:sp>
          <p:nvSpPr>
            <p:cNvPr id="81" name="TextBox 80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세부 추진 사항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2" name="직선 연결선 81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83" name="그룹 82"/>
          <p:cNvGrpSpPr/>
          <p:nvPr/>
        </p:nvGrpSpPr>
        <p:grpSpPr>
          <a:xfrm>
            <a:off x="6095999" y="1970357"/>
            <a:ext cx="3411537" cy="288147"/>
            <a:chOff x="398464" y="2123721"/>
            <a:chExt cx="1854000" cy="288147"/>
          </a:xfrm>
        </p:grpSpPr>
        <p:sp>
          <p:nvSpPr>
            <p:cNvPr id="84" name="TextBox 83"/>
            <p:cNvSpPr txBox="1"/>
            <p:nvPr/>
          </p:nvSpPr>
          <p:spPr bwMode="gray">
            <a:xfrm>
              <a:off x="398464" y="2123721"/>
              <a:ext cx="1854000" cy="28814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30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검토 항목</a:t>
              </a:r>
              <a:endParaRPr lang="ko-KR" altLang="en-US" sz="13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5" name="직선 연결선 84"/>
            <p:cNvCxnSpPr/>
            <p:nvPr/>
          </p:nvCxnSpPr>
          <p:spPr bwMode="auto">
            <a:xfrm>
              <a:off x="398464" y="2411868"/>
              <a:ext cx="185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8559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경영계획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 체계 구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계획 및 성과모니터링 시스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수수료율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산출을 위한 데이터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마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요건 </a:t>
            </a:r>
            <a:r>
              <a:rPr lang="ko-KR" altLang="en-US" dirty="0" smtClean="0"/>
              <a:t>정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수지예산관리 체계를 설계함</a:t>
            </a: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9" name="TextBox 6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계획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과관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roach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오각형 64"/>
          <p:cNvSpPr/>
          <p:nvPr/>
        </p:nvSpPr>
        <p:spPr bwMode="gray">
          <a:xfrm>
            <a:off x="291935" y="2704669"/>
            <a:ext cx="745723" cy="1080962"/>
          </a:xfrm>
          <a:prstGeom prst="homePlate">
            <a:avLst>
              <a:gd name="adj" fmla="val 17606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18000" tIns="36000" rIns="18000" bIns="36000" rtlCol="0" anchor="ctr"/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계획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amp;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모니터링</a:t>
            </a: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오각형 65"/>
          <p:cNvSpPr/>
          <p:nvPr/>
        </p:nvSpPr>
        <p:spPr bwMode="gray">
          <a:xfrm>
            <a:off x="291935" y="3861048"/>
            <a:ext cx="745723" cy="1080962"/>
          </a:xfrm>
          <a:prstGeom prst="homePlate">
            <a:avLst>
              <a:gd name="adj" fmla="val 17606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18000" tIns="36000" rIns="18000" bIns="36000" rtlCol="0" anchor="ctr"/>
          <a:lstStyle/>
          <a:p>
            <a:pPr algn="ctr" latinLnBrk="0">
              <a:spcBef>
                <a:spcPts val="0"/>
              </a:spcBef>
              <a:buClr>
                <a:schemeClr val="bg2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지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산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오각형 66"/>
          <p:cNvSpPr/>
          <p:nvPr/>
        </p:nvSpPr>
        <p:spPr bwMode="gray">
          <a:xfrm>
            <a:off x="291935" y="5026624"/>
            <a:ext cx="745723" cy="1080962"/>
          </a:xfrm>
          <a:prstGeom prst="homePlate">
            <a:avLst>
              <a:gd name="adj" fmla="val 19286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18000" tIns="36000" rIns="18000" bIns="36000" rtlCol="0" anchor="ctr"/>
          <a:lstStyle/>
          <a:p>
            <a:pPr algn="ctr" latinLnBrk="0">
              <a:spcBef>
                <a:spcPts val="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수료율산출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체계</a:t>
            </a:r>
          </a:p>
        </p:txBody>
      </p:sp>
      <p:grpSp>
        <p:nvGrpSpPr>
          <p:cNvPr id="77" name="그룹 76"/>
          <p:cNvGrpSpPr/>
          <p:nvPr/>
        </p:nvGrpSpPr>
        <p:grpSpPr>
          <a:xfrm>
            <a:off x="1102658" y="1973450"/>
            <a:ext cx="3939241" cy="4134135"/>
            <a:chOff x="978477" y="1973450"/>
            <a:chExt cx="4063423" cy="4134135"/>
          </a:xfrm>
        </p:grpSpPr>
        <p:sp>
          <p:nvSpPr>
            <p:cNvPr id="81" name="오각형 80"/>
            <p:cNvSpPr/>
            <p:nvPr/>
          </p:nvSpPr>
          <p:spPr bwMode="gray">
            <a:xfrm>
              <a:off x="978478" y="1973450"/>
              <a:ext cx="1523785" cy="2520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100" dirty="0">
                  <a:latin typeface="맑은 고딕" pitchFamily="50" charset="-127"/>
                  <a:ea typeface="맑은 고딕" pitchFamily="50" charset="-127"/>
                </a:rPr>
                <a:t>분석</a:t>
              </a:r>
            </a:p>
          </p:txBody>
        </p:sp>
        <p:sp>
          <p:nvSpPr>
            <p:cNvPr id="82" name="오각형 81"/>
            <p:cNvSpPr/>
            <p:nvPr/>
          </p:nvSpPr>
          <p:spPr bwMode="gray">
            <a:xfrm>
              <a:off x="2519417" y="1973450"/>
              <a:ext cx="992984" cy="2520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dirty="0">
                  <a:latin typeface="맑은 고딕" pitchFamily="50" charset="-127"/>
                  <a:ea typeface="맑은 고딕" pitchFamily="50" charset="-127"/>
                </a:rPr>
                <a:t>과제 상세화</a:t>
              </a:r>
            </a:p>
          </p:txBody>
        </p:sp>
        <p:sp>
          <p:nvSpPr>
            <p:cNvPr id="83" name="오각형 82"/>
            <p:cNvSpPr/>
            <p:nvPr/>
          </p:nvSpPr>
          <p:spPr bwMode="gray">
            <a:xfrm>
              <a:off x="3529555" y="1973450"/>
              <a:ext cx="1512344" cy="252000"/>
            </a:xfrm>
            <a:prstGeom prst="homePlate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dirty="0"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kumimoji="1" lang="ko-KR" altLang="en-US" sz="1100" dirty="0">
                  <a:latin typeface="맑은 고딕" pitchFamily="50" charset="-127"/>
                  <a:ea typeface="맑은 고딕" pitchFamily="50" charset="-127"/>
                </a:rPr>
                <a:t>설계</a:t>
              </a:r>
            </a:p>
          </p:txBody>
        </p:sp>
        <p:grpSp>
          <p:nvGrpSpPr>
            <p:cNvPr id="84" name="그룹 83"/>
            <p:cNvGrpSpPr/>
            <p:nvPr/>
          </p:nvGrpSpPr>
          <p:grpSpPr>
            <a:xfrm>
              <a:off x="978478" y="2305491"/>
              <a:ext cx="4063422" cy="259413"/>
              <a:chOff x="1177924" y="2175349"/>
              <a:chExt cx="5183998" cy="259413"/>
            </a:xfrm>
          </p:grpSpPr>
          <p:cxnSp>
            <p:nvCxnSpPr>
              <p:cNvPr id="100" name="직선 연결선 99"/>
              <p:cNvCxnSpPr/>
              <p:nvPr/>
            </p:nvCxnSpPr>
            <p:spPr bwMode="gray">
              <a:xfrm>
                <a:off x="1177924" y="2365215"/>
                <a:ext cx="5183998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1" name="직선 연결선 100"/>
              <p:cNvCxnSpPr/>
              <p:nvPr/>
            </p:nvCxnSpPr>
            <p:spPr bwMode="gray">
              <a:xfrm>
                <a:off x="1177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2" name="직선 연결선 101"/>
              <p:cNvCxnSpPr/>
              <p:nvPr/>
            </p:nvCxnSpPr>
            <p:spPr bwMode="gray">
              <a:xfrm>
                <a:off x="1753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3" name="직선 연결선 102"/>
              <p:cNvCxnSpPr/>
              <p:nvPr/>
            </p:nvCxnSpPr>
            <p:spPr bwMode="gray">
              <a:xfrm>
                <a:off x="2329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4" name="직선 연결선 103"/>
              <p:cNvCxnSpPr/>
              <p:nvPr/>
            </p:nvCxnSpPr>
            <p:spPr bwMode="gray">
              <a:xfrm>
                <a:off x="2905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5" name="직선 연결선 104"/>
              <p:cNvCxnSpPr/>
              <p:nvPr/>
            </p:nvCxnSpPr>
            <p:spPr bwMode="gray">
              <a:xfrm>
                <a:off x="3481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6" name="직선 연결선 105"/>
              <p:cNvCxnSpPr/>
              <p:nvPr/>
            </p:nvCxnSpPr>
            <p:spPr bwMode="gray">
              <a:xfrm>
                <a:off x="4057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7" name="직선 연결선 106"/>
              <p:cNvCxnSpPr/>
              <p:nvPr/>
            </p:nvCxnSpPr>
            <p:spPr bwMode="gray">
              <a:xfrm>
                <a:off x="4633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8" name="직선 연결선 107"/>
              <p:cNvCxnSpPr/>
              <p:nvPr/>
            </p:nvCxnSpPr>
            <p:spPr bwMode="gray">
              <a:xfrm>
                <a:off x="5209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09" name="직선 연결선 108"/>
              <p:cNvCxnSpPr/>
              <p:nvPr/>
            </p:nvCxnSpPr>
            <p:spPr bwMode="gray">
              <a:xfrm>
                <a:off x="6361922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110" name="TextBox 109"/>
              <p:cNvSpPr txBox="1"/>
              <p:nvPr/>
            </p:nvSpPr>
            <p:spPr bwMode="gray">
              <a:xfrm>
                <a:off x="1288265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1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 bwMode="gray">
              <a:xfrm>
                <a:off x="1871308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2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 bwMode="gray">
              <a:xfrm>
                <a:off x="2454353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3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 bwMode="gray">
              <a:xfrm>
                <a:off x="3037395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4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 bwMode="gray">
              <a:xfrm>
                <a:off x="3620438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5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 bwMode="gray">
              <a:xfrm>
                <a:off x="4203481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6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6" name="TextBox 115"/>
              <p:cNvSpPr txBox="1"/>
              <p:nvPr/>
            </p:nvSpPr>
            <p:spPr bwMode="gray">
              <a:xfrm>
                <a:off x="4742074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7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7" name="TextBox 116"/>
              <p:cNvSpPr txBox="1"/>
              <p:nvPr/>
            </p:nvSpPr>
            <p:spPr bwMode="gray">
              <a:xfrm>
                <a:off x="5952612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9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8" name="TextBox 117"/>
              <p:cNvSpPr txBox="1"/>
              <p:nvPr/>
            </p:nvSpPr>
            <p:spPr bwMode="gray">
              <a:xfrm>
                <a:off x="5312418" y="2175349"/>
                <a:ext cx="309529" cy="2112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ts val="100"/>
                  </a:spcBef>
                </a:pPr>
                <a:r>
                  <a:rPr lang="en-US" altLang="ko-KR" sz="900" b="0" i="1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8</a:t>
                </a:r>
                <a:endParaRPr lang="ko-KR" altLang="en-US" sz="900" b="0" i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119" name="직선 연결선 118"/>
              <p:cNvCxnSpPr/>
              <p:nvPr/>
            </p:nvCxnSpPr>
            <p:spPr bwMode="gray">
              <a:xfrm>
                <a:off x="5785924" y="2295669"/>
                <a:ext cx="0" cy="139093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sp>
          <p:nvSpPr>
            <p:cNvPr id="85" name="직사각형 84"/>
            <p:cNvSpPr/>
            <p:nvPr/>
          </p:nvSpPr>
          <p:spPr bwMode="gray">
            <a:xfrm>
              <a:off x="2519415" y="2704669"/>
              <a:ext cx="914045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시스템 구축 방향성 결정</a:t>
              </a:r>
              <a:endPara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직사각형 85"/>
            <p:cNvSpPr/>
            <p:nvPr/>
          </p:nvSpPr>
          <p:spPr bwMode="gray">
            <a:xfrm>
              <a:off x="3544415" y="2704669"/>
              <a:ext cx="1494662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시스템 요건 설계</a:t>
              </a:r>
              <a:endPara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념적 모델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cxnSp>
          <p:nvCxnSpPr>
            <p:cNvPr id="87" name="직선 화살표 연결선 86"/>
            <p:cNvCxnSpPr>
              <a:stCxn id="85" idx="3"/>
              <a:endCxn id="86" idx="1"/>
            </p:cNvCxnSpPr>
            <p:nvPr/>
          </p:nvCxnSpPr>
          <p:spPr bwMode="gray">
            <a:xfrm>
              <a:off x="3433460" y="3245151"/>
              <a:ext cx="110955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88" name="직사각형 87"/>
            <p:cNvSpPr/>
            <p:nvPr/>
          </p:nvSpPr>
          <p:spPr bwMode="gray">
            <a:xfrm>
              <a:off x="978477" y="3861048"/>
              <a:ext cx="1437401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>
                <a:spcBef>
                  <a:spcPts val="0"/>
                </a:spcBef>
                <a:buClr>
                  <a:schemeClr val="bg2"/>
                </a:buClr>
              </a:pPr>
              <a:r>
                <a:rPr lang="ko-KR" altLang="en-US" sz="11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황 및 요구사항 </a:t>
              </a:r>
              <a:r>
                <a:rPr lang="ko-KR" altLang="en-US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  <a:endPara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직사각형 88"/>
            <p:cNvSpPr/>
            <p:nvPr/>
          </p:nvSpPr>
          <p:spPr bwMode="gray">
            <a:xfrm>
              <a:off x="3544416" y="3861048"/>
              <a:ext cx="1494661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예산관리 체계 설계</a:t>
              </a:r>
              <a:endPara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0" name="직선 화살표 연결선 89"/>
            <p:cNvCxnSpPr>
              <a:stCxn id="88" idx="3"/>
              <a:endCxn id="98" idx="1"/>
            </p:cNvCxnSpPr>
            <p:nvPr/>
          </p:nvCxnSpPr>
          <p:spPr bwMode="gray">
            <a:xfrm>
              <a:off x="2415878" y="4401529"/>
              <a:ext cx="103537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91" name="직사각형 90"/>
            <p:cNvSpPr/>
            <p:nvPr/>
          </p:nvSpPr>
          <p:spPr bwMode="gray">
            <a:xfrm>
              <a:off x="986414" y="5026623"/>
              <a:ext cx="1437401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lang="ko-KR" altLang="en-US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황 및 요구사항 분석</a:t>
              </a:r>
              <a:endPara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 bwMode="gray">
            <a:xfrm>
              <a:off x="2519415" y="5026623"/>
              <a:ext cx="933087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lang="ko-KR" altLang="en-US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구축 방식 결정</a:t>
              </a:r>
              <a:r>
                <a:rPr lang="en-US" altLang="ko-KR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단위업무시스템 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s.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</a:t>
              </a:r>
              <a:r>
                <a:rPr lang="ko-KR" altLang="en-US" sz="900" b="0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트</a:t>
              </a:r>
              <a:r>
                <a:rPr lang="en-US" altLang="ko-KR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9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 bwMode="gray">
            <a:xfrm>
              <a:off x="3544415" y="5026623"/>
              <a:ext cx="1494662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lang="ko-KR" altLang="en-US" sz="11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요건 설계</a:t>
              </a:r>
              <a:endParaRPr lang="en-US" altLang="ko-KR" sz="11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4" name="직선 화살표 연결선 93"/>
            <p:cNvCxnSpPr>
              <a:stCxn id="91" idx="3"/>
              <a:endCxn id="92" idx="1"/>
            </p:cNvCxnSpPr>
            <p:nvPr/>
          </p:nvCxnSpPr>
          <p:spPr bwMode="gray">
            <a:xfrm>
              <a:off x="2423815" y="5567104"/>
              <a:ext cx="95600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5" name="직선 화살표 연결선 94"/>
            <p:cNvCxnSpPr>
              <a:stCxn id="92" idx="3"/>
              <a:endCxn id="93" idx="1"/>
            </p:cNvCxnSpPr>
            <p:nvPr/>
          </p:nvCxnSpPr>
          <p:spPr bwMode="gray">
            <a:xfrm>
              <a:off x="3452502" y="5567104"/>
              <a:ext cx="91913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96" name="직사각형 95"/>
            <p:cNvSpPr/>
            <p:nvPr/>
          </p:nvSpPr>
          <p:spPr bwMode="gray">
            <a:xfrm>
              <a:off x="986511" y="2704669"/>
              <a:ext cx="1421950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황 및 요구사항 분석</a:t>
              </a:r>
              <a:endPara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7" name="직선 화살표 연결선 96"/>
            <p:cNvCxnSpPr>
              <a:stCxn id="96" idx="3"/>
              <a:endCxn id="85" idx="1"/>
            </p:cNvCxnSpPr>
            <p:nvPr/>
          </p:nvCxnSpPr>
          <p:spPr bwMode="gray">
            <a:xfrm>
              <a:off x="2408460" y="3245151"/>
              <a:ext cx="110955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98" name="직사각형 97"/>
            <p:cNvSpPr/>
            <p:nvPr/>
          </p:nvSpPr>
          <p:spPr bwMode="gray">
            <a:xfrm>
              <a:off x="2519415" y="3861048"/>
              <a:ext cx="914045" cy="10809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90000" tIns="36000" rIns="90000" bIns="36000" rtlCol="0" anchor="ctr"/>
            <a:lstStyle/>
            <a:p>
              <a:pPr algn="ctr" latinLnBrk="0">
                <a:spcBef>
                  <a:spcPts val="0"/>
                </a:spcBef>
                <a:buClr>
                  <a:schemeClr val="bg2"/>
                </a:buClr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 결정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범위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 </a:t>
              </a:r>
              <a:r>
                <a:rPr lang="ko-KR" altLang="en-US" sz="900" b="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용도</a:t>
              </a:r>
              <a:r>
                <a:rPr kumimoji="1" lang="en-US" altLang="ko-KR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cxnSp>
          <p:nvCxnSpPr>
            <p:cNvPr id="99" name="직선 화살표 연결선 98"/>
            <p:cNvCxnSpPr>
              <a:stCxn id="98" idx="3"/>
              <a:endCxn id="89" idx="1"/>
            </p:cNvCxnSpPr>
            <p:nvPr/>
          </p:nvCxnSpPr>
          <p:spPr bwMode="gray">
            <a:xfrm>
              <a:off x="3433460" y="4401529"/>
              <a:ext cx="11095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0872545"/>
              </p:ext>
            </p:extLst>
          </p:nvPr>
        </p:nvGraphicFramePr>
        <p:xfrm>
          <a:off x="5268334" y="2023664"/>
          <a:ext cx="4365187" cy="40839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2858"/>
                <a:gridCol w="2952329"/>
              </a:tblGrid>
              <a:tr h="29287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업무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9566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s-Is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황 및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세스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분석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 경영계획 프로세스 및 성과지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KPI)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KPI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니터링 및 관리 프로세스 분석</a:t>
                      </a:r>
                      <a:endParaRPr lang="en-US" altLang="ko-KR" sz="10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지예산서 산출 요건 및 수지예산관리 프로세스 분석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고객수수료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종류 및 </a:t>
                      </a: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수료율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산출 요건 분석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566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계획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&amp;</a:t>
                      </a:r>
                      <a:b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모니터링</a:t>
                      </a:r>
                      <a:r>
                        <a:rPr lang="ko-KR" altLang="en-US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설계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에 따른 경영계획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모니터링 목적과 용도 및 관리범위에 대한 구축 방향성 결정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DT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 경영계획 모델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념적 모델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DT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계 성과지표 개발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모니터링 요건 설계</a:t>
                      </a:r>
                      <a:endParaRPr lang="ko-KR" altLang="en-US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566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지예산관리 개선방향성 및 과제</a:t>
                      </a:r>
                      <a:r>
                        <a:rPr kumimoji="1" lang="en-US" altLang="ko-KR" sz="1100" b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세화</a:t>
                      </a:r>
                      <a:endParaRPr lang="ko-KR" altLang="en-US" sz="11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지예산관리의 개선 방향성 결정 및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적용 범위 및 용도 결정하여 개선 방향성 도출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marR="0" indent="-889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지예산서 산출 요건 설계 및 수지 비용관리 프로세스 설계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20984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kumimoji="1" lang="ko-KR" altLang="en-US" sz="1100" b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수료율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ko-KR" altLang="en-US" sz="1100" b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산출체계 설계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수료율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산출 체계 시스템 구축방식 결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8900" indent="-8890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 산출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에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따른 필요 데이터 등 시스템 요건 설계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21" name="그룹 12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30" name="그룹 12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3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251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경영계획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 체계 구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계획 변수를 세부 동인과 분석 관점 별 정교하게 수립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과지표와 연계 분석하는 체계를 구축하여 목표 설정 및 성과관리를 고도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9" name="TextBox 6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en-US" altLang="ko-KR" sz="14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lan-Do-See Cycle </a:t>
              </a:r>
              <a:r>
                <a:rPr lang="ko-KR" altLang="en-US" sz="14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점의 관리체계 수립</a:t>
              </a:r>
            </a:p>
          </p:txBody>
        </p:sp>
        <p:cxnSp>
          <p:nvCxnSpPr>
            <p:cNvPr id="7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그룹 3"/>
          <p:cNvGrpSpPr/>
          <p:nvPr/>
        </p:nvGrpSpPr>
        <p:grpSpPr>
          <a:xfrm>
            <a:off x="473990" y="2435402"/>
            <a:ext cx="5148188" cy="3650947"/>
            <a:chOff x="314899" y="2435402"/>
            <a:chExt cx="5430189" cy="3650947"/>
          </a:xfrm>
        </p:grpSpPr>
        <p:sp>
          <p:nvSpPr>
            <p:cNvPr id="21" name="직사각형 20"/>
            <p:cNvSpPr/>
            <p:nvPr/>
          </p:nvSpPr>
          <p:spPr bwMode="auto">
            <a:xfrm>
              <a:off x="353365" y="2768975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직접이익</a:t>
              </a: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445493" y="3003760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업수익</a:t>
              </a:r>
            </a:p>
          </p:txBody>
        </p:sp>
        <p:sp>
          <p:nvSpPr>
            <p:cNvPr id="23" name="직사각형 22"/>
            <p:cNvSpPr/>
            <p:nvPr/>
          </p:nvSpPr>
          <p:spPr bwMode="auto">
            <a:xfrm>
              <a:off x="537621" y="3240427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판수익</a:t>
              </a:r>
            </a:p>
          </p:txBody>
        </p:sp>
        <p:sp>
          <p:nvSpPr>
            <p:cNvPr id="24" name="직사각형 23"/>
            <p:cNvSpPr/>
            <p:nvPr/>
          </p:nvSpPr>
          <p:spPr bwMode="auto">
            <a:xfrm>
              <a:off x="629748" y="3475213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판이용액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" name="직사각형 24"/>
            <p:cNvSpPr/>
            <p:nvPr/>
          </p:nvSpPr>
          <p:spPr bwMode="auto">
            <a:xfrm>
              <a:off x="721876" y="3711880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회원이용액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" name="직사각형 25"/>
            <p:cNvSpPr/>
            <p:nvPr/>
          </p:nvSpPr>
          <p:spPr bwMode="auto">
            <a:xfrm>
              <a:off x="814003" y="3946665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용회원수</a:t>
              </a:r>
            </a:p>
          </p:txBody>
        </p:sp>
        <p:sp>
          <p:nvSpPr>
            <p:cNvPr id="27" name="직사각형 26"/>
            <p:cNvSpPr/>
            <p:nvPr/>
          </p:nvSpPr>
          <p:spPr bwMode="auto">
            <a:xfrm>
              <a:off x="906131" y="4183333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용가능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 bwMode="auto">
            <a:xfrm>
              <a:off x="998259" y="4644807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용가능화율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" name="직사각형 28"/>
            <p:cNvSpPr/>
            <p:nvPr/>
          </p:nvSpPr>
          <p:spPr bwMode="auto">
            <a:xfrm>
              <a:off x="1090387" y="4881474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용불가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" name="직사각형 29"/>
            <p:cNvSpPr/>
            <p:nvPr/>
          </p:nvSpPr>
          <p:spPr bwMode="auto">
            <a:xfrm>
              <a:off x="1274642" y="5116259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불량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 bwMode="auto">
            <a:xfrm>
              <a:off x="1274642" y="5352927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중지</a:t>
              </a: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탈회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998259" y="5587712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미등록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998259" y="5824380"/>
              <a:ext cx="1473881" cy="236667"/>
            </a:xfrm>
            <a:prstGeom prst="rect">
              <a:avLst/>
            </a:prstGeom>
            <a:solidFill>
              <a:srgbClr val="D6EBF6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모집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4" name="직선 연결선 33"/>
            <p:cNvCxnSpPr/>
            <p:nvPr/>
          </p:nvCxnSpPr>
          <p:spPr bwMode="auto">
            <a:xfrm>
              <a:off x="314899" y="4661127"/>
              <a:ext cx="216476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ys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6" name="직선 화살표 연결선 35"/>
            <p:cNvCxnSpPr/>
            <p:nvPr/>
          </p:nvCxnSpPr>
          <p:spPr bwMode="auto">
            <a:xfrm>
              <a:off x="351458" y="2768975"/>
              <a:ext cx="0" cy="187583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37" name="직선 화살표 연결선 36"/>
            <p:cNvCxnSpPr/>
            <p:nvPr/>
          </p:nvCxnSpPr>
          <p:spPr bwMode="auto">
            <a:xfrm>
              <a:off x="351458" y="4666345"/>
              <a:ext cx="0" cy="142000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8" name="TextBox 37"/>
            <p:cNvSpPr txBox="1"/>
            <p:nvPr/>
          </p:nvSpPr>
          <p:spPr bwMode="auto">
            <a:xfrm>
              <a:off x="413211" y="5144186"/>
              <a:ext cx="425077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i="1" smtClean="0">
                  <a:solidFill>
                    <a:schemeClr val="tx2"/>
                  </a:solidFill>
                  <a:latin typeface="맑은 고딕"/>
                  <a:ea typeface="맑은 고딕"/>
                </a:rPr>
                <a:t>세분화</a:t>
              </a:r>
              <a:endParaRPr lang="ko-KR" altLang="en-US" sz="1000" b="0" i="1" dirty="0" smtClean="0">
                <a:solidFill>
                  <a:schemeClr val="tx2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9" name="TextBox 38"/>
            <p:cNvSpPr txBox="1"/>
            <p:nvPr/>
          </p:nvSpPr>
          <p:spPr bwMode="auto">
            <a:xfrm>
              <a:off x="398962" y="4079270"/>
              <a:ext cx="305906" cy="3592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i="1" dirty="0" smtClean="0">
                  <a:solidFill>
                    <a:schemeClr val="bg1">
                      <a:lumMod val="50000"/>
                    </a:schemeClr>
                  </a:solidFill>
                  <a:latin typeface="맑은 고딕"/>
                  <a:ea typeface="맑은 고딕"/>
                </a:rPr>
                <a:t>현재</a:t>
              </a:r>
              <a:r>
                <a:rPr lang="en-US" altLang="ko-KR" sz="1000" b="0" i="1" dirty="0" smtClean="0">
                  <a:solidFill>
                    <a:schemeClr val="bg1">
                      <a:lumMod val="50000"/>
                    </a:schemeClr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000" b="0" i="1" dirty="0" smtClean="0">
                  <a:solidFill>
                    <a:schemeClr val="bg1">
                      <a:lumMod val="50000"/>
                    </a:schemeClr>
                  </a:solidFill>
                  <a:latin typeface="맑은 고딕"/>
                  <a:ea typeface="맑은 고딕"/>
                </a:rPr>
              </a:br>
              <a:r>
                <a:rPr lang="ko-KR" altLang="en-US" sz="1000" b="0" i="1" dirty="0" smtClean="0">
                  <a:solidFill>
                    <a:schemeClr val="bg1">
                      <a:lumMod val="50000"/>
                    </a:schemeClr>
                  </a:solidFill>
                  <a:latin typeface="맑은 고딕"/>
                  <a:ea typeface="맑은 고딕"/>
                </a:rPr>
                <a:t>수준</a:t>
              </a:r>
            </a:p>
          </p:txBody>
        </p:sp>
        <p:sp>
          <p:nvSpPr>
            <p:cNvPr id="40" name="타원 39"/>
            <p:cNvSpPr/>
            <p:nvPr/>
          </p:nvSpPr>
          <p:spPr bwMode="auto">
            <a:xfrm>
              <a:off x="559826" y="3571620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X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0" name="타원 49"/>
            <p:cNvSpPr/>
            <p:nvPr/>
          </p:nvSpPr>
          <p:spPr bwMode="auto">
            <a:xfrm>
              <a:off x="1025449" y="5262295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+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타원 50"/>
            <p:cNvSpPr/>
            <p:nvPr/>
          </p:nvSpPr>
          <p:spPr bwMode="auto">
            <a:xfrm>
              <a:off x="738317" y="4108064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X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타원 51"/>
            <p:cNvSpPr/>
            <p:nvPr/>
          </p:nvSpPr>
          <p:spPr bwMode="auto">
            <a:xfrm>
              <a:off x="836243" y="4313466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X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998259" y="4418118"/>
              <a:ext cx="1473881" cy="236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모집회원수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타원 53"/>
            <p:cNvSpPr/>
            <p:nvPr/>
          </p:nvSpPr>
          <p:spPr bwMode="auto">
            <a:xfrm>
              <a:off x="917252" y="4548254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X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5" name="타원 54"/>
            <p:cNvSpPr/>
            <p:nvPr/>
          </p:nvSpPr>
          <p:spPr bwMode="auto">
            <a:xfrm>
              <a:off x="1025449" y="4813098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-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타원 55"/>
            <p:cNvSpPr/>
            <p:nvPr/>
          </p:nvSpPr>
          <p:spPr bwMode="auto">
            <a:xfrm>
              <a:off x="1183669" y="5262295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+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타원 56"/>
            <p:cNvSpPr/>
            <p:nvPr/>
          </p:nvSpPr>
          <p:spPr bwMode="auto">
            <a:xfrm>
              <a:off x="933337" y="5740406"/>
              <a:ext cx="131340" cy="19087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÷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TextBox 57"/>
            <p:cNvSpPr txBox="1"/>
            <p:nvPr/>
          </p:nvSpPr>
          <p:spPr bwMode="auto">
            <a:xfrm>
              <a:off x="635701" y="2435402"/>
              <a:ext cx="909212" cy="2284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1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가치동인 </a:t>
              </a:r>
              <a:r>
                <a:rPr lang="en-US" altLang="ko-KR" sz="11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Tree</a:t>
              </a:r>
              <a:endPara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2567032" y="2767258"/>
              <a:ext cx="3178056" cy="1334125"/>
            </a:xfrm>
            <a:prstGeom prst="rect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0" name="직선 화살표 연결선 59"/>
            <p:cNvCxnSpPr>
              <a:stCxn id="24" idx="3"/>
              <a:endCxn id="59" idx="1"/>
            </p:cNvCxnSpPr>
            <p:nvPr/>
          </p:nvCxnSpPr>
          <p:spPr bwMode="auto">
            <a:xfrm flipV="1">
              <a:off x="2103629" y="3434321"/>
              <a:ext cx="463403" cy="15922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61" name="TextBox 60"/>
            <p:cNvSpPr txBox="1"/>
            <p:nvPr/>
          </p:nvSpPr>
          <p:spPr bwMode="auto">
            <a:xfrm>
              <a:off x="3480987" y="2435402"/>
              <a:ext cx="1350146" cy="2284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1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분석관점</a:t>
              </a:r>
              <a:r>
                <a:rPr lang="en-US" altLang="ko-KR" sz="11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(Dimension)</a:t>
              </a:r>
              <a:endPara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2601906" y="2859475"/>
              <a:ext cx="576722" cy="295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매출상품</a:t>
              </a: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3238254" y="2859475"/>
              <a:ext cx="576722" cy="295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열</a:t>
              </a: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3874601" y="2859475"/>
              <a:ext cx="576722" cy="295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spc="-15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  <a:r>
                <a:rPr kumimoji="1" lang="en-US" altLang="ko-KR" sz="1000" b="0" spc="-15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000" b="0" spc="-15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업</a:t>
              </a: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2601906" y="3347013"/>
              <a:ext cx="576722" cy="295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종</a:t>
              </a: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3238254" y="3347013"/>
              <a:ext cx="576722" cy="295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규모</a:t>
              </a:r>
            </a:p>
          </p:txBody>
        </p:sp>
        <p:sp>
          <p:nvSpPr>
            <p:cNvPr id="67" name="직사각형 66"/>
            <p:cNvSpPr/>
            <p:nvPr/>
          </p:nvSpPr>
          <p:spPr bwMode="auto">
            <a:xfrm>
              <a:off x="3874601" y="3347013"/>
              <a:ext cx="576722" cy="295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널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4510949" y="3347013"/>
              <a:ext cx="576722" cy="295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군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5147296" y="3347013"/>
              <a:ext cx="576722" cy="295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바탕카드</a:t>
              </a: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4834301" y="4395184"/>
              <a:ext cx="884657" cy="295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추진팀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TextBox 73"/>
            <p:cNvSpPr txBox="1"/>
            <p:nvPr/>
          </p:nvSpPr>
          <p:spPr bwMode="auto">
            <a:xfrm>
              <a:off x="3943521" y="3769044"/>
              <a:ext cx="425077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i="1" dirty="0" smtClean="0">
                  <a:solidFill>
                    <a:schemeClr val="tx2"/>
                  </a:solidFill>
                  <a:latin typeface="맑은 고딕"/>
                  <a:ea typeface="맑은 고딕"/>
                </a:rPr>
                <a:t>세분화</a:t>
              </a:r>
            </a:p>
          </p:txBody>
        </p:sp>
        <p:cxnSp>
          <p:nvCxnSpPr>
            <p:cNvPr id="75" name="직선 화살표 연결선 74"/>
            <p:cNvCxnSpPr>
              <a:stCxn id="53" idx="3"/>
              <a:endCxn id="73" idx="1"/>
            </p:cNvCxnSpPr>
            <p:nvPr/>
          </p:nvCxnSpPr>
          <p:spPr bwMode="auto">
            <a:xfrm>
              <a:off x="2472140" y="4536451"/>
              <a:ext cx="2362161" cy="6650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76" name="직사각형 75"/>
            <p:cNvSpPr/>
            <p:nvPr/>
          </p:nvSpPr>
          <p:spPr bwMode="auto">
            <a:xfrm>
              <a:off x="4834301" y="5116259"/>
              <a:ext cx="884659" cy="2366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심사팀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4834301" y="5352927"/>
              <a:ext cx="884659" cy="2366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마케팅팀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4834301" y="5587712"/>
              <a:ext cx="884659" cy="2366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추진팀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9" name="직선 화살표 연결선 78"/>
            <p:cNvCxnSpPr>
              <a:stCxn id="30" idx="3"/>
              <a:endCxn id="76" idx="1"/>
            </p:cNvCxnSpPr>
            <p:nvPr/>
          </p:nvCxnSpPr>
          <p:spPr bwMode="auto">
            <a:xfrm>
              <a:off x="2748523" y="5234593"/>
              <a:ext cx="2085777" cy="0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0" name="직선 화살표 연결선 79"/>
            <p:cNvCxnSpPr>
              <a:stCxn id="31" idx="3"/>
              <a:endCxn id="77" idx="1"/>
            </p:cNvCxnSpPr>
            <p:nvPr/>
          </p:nvCxnSpPr>
          <p:spPr bwMode="auto">
            <a:xfrm>
              <a:off x="2748523" y="5471261"/>
              <a:ext cx="2085777" cy="0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1" name="직선 화살표 연결선 80"/>
            <p:cNvCxnSpPr>
              <a:stCxn id="32" idx="3"/>
              <a:endCxn id="78" idx="1"/>
            </p:cNvCxnSpPr>
            <p:nvPr/>
          </p:nvCxnSpPr>
          <p:spPr bwMode="auto">
            <a:xfrm>
              <a:off x="2472140" y="5706046"/>
              <a:ext cx="2362161" cy="0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triangle"/>
            </a:ln>
            <a:effectLst/>
          </p:spPr>
        </p:cxnSp>
        <p:sp>
          <p:nvSpPr>
            <p:cNvPr id="82" name="TextBox 81"/>
            <p:cNvSpPr txBox="1"/>
            <p:nvPr/>
          </p:nvSpPr>
          <p:spPr bwMode="auto">
            <a:xfrm>
              <a:off x="3205716" y="5023085"/>
              <a:ext cx="1140106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신규회원신용불량률</a:t>
              </a:r>
            </a:p>
          </p:txBody>
        </p:sp>
        <p:sp>
          <p:nvSpPr>
            <p:cNvPr id="83" name="TextBox 82"/>
            <p:cNvSpPr txBox="1"/>
            <p:nvPr/>
          </p:nvSpPr>
          <p:spPr bwMode="auto">
            <a:xfrm>
              <a:off x="3301054" y="5255167"/>
              <a:ext cx="949432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사용중지</a:t>
              </a:r>
              <a:r>
                <a:rPr lang="en-US" altLang="ko-KR" sz="1000" b="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000" b="0" dirty="0" err="1" smtClean="0">
                  <a:solidFill>
                    <a:schemeClr val="tx1"/>
                  </a:solidFill>
                  <a:latin typeface="맑은 고딕"/>
                  <a:ea typeface="맑은 고딕"/>
                </a:rPr>
                <a:t>탈회율</a:t>
              </a:r>
              <a:endParaRPr lang="ko-KR" altLang="en-US" sz="1000" b="0" dirty="0" smtClean="0">
                <a:solidFill>
                  <a:schemeClr val="tx1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4" name="TextBox 83"/>
            <p:cNvSpPr txBox="1"/>
            <p:nvPr/>
          </p:nvSpPr>
          <p:spPr bwMode="auto">
            <a:xfrm>
              <a:off x="3384476" y="5492862"/>
              <a:ext cx="782591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err="1" smtClean="0">
                  <a:solidFill>
                    <a:schemeClr val="tx1"/>
                  </a:solidFill>
                  <a:latin typeface="맑은 고딕"/>
                  <a:ea typeface="맑은 고딕"/>
                </a:rPr>
                <a:t>사용미등록률</a:t>
              </a:r>
              <a:endParaRPr lang="ko-KR" altLang="en-US" sz="1000" b="0" dirty="0" smtClean="0">
                <a:solidFill>
                  <a:schemeClr val="tx1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5" name="TextBox 84"/>
            <p:cNvSpPr txBox="1"/>
            <p:nvPr/>
          </p:nvSpPr>
          <p:spPr bwMode="auto">
            <a:xfrm>
              <a:off x="2909297" y="4644912"/>
              <a:ext cx="1864075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i="1" dirty="0" smtClean="0">
                  <a:solidFill>
                    <a:schemeClr val="tx2"/>
                  </a:solidFill>
                  <a:latin typeface="맑은 고딕"/>
                  <a:ea typeface="맑은 고딕"/>
                </a:rPr>
                <a:t>가치동인을 성과지표 </a:t>
              </a:r>
              <a:r>
                <a:rPr lang="en-US" altLang="ko-KR" sz="1000" b="0" i="1" dirty="0" smtClean="0">
                  <a:solidFill>
                    <a:schemeClr val="tx2"/>
                  </a:solidFill>
                  <a:latin typeface="맑은 고딕"/>
                  <a:ea typeface="맑은 고딕"/>
                </a:rPr>
                <a:t>Pool</a:t>
              </a:r>
              <a:r>
                <a:rPr lang="ko-KR" altLang="en-US" sz="1000" b="0" i="1" dirty="0" smtClean="0">
                  <a:solidFill>
                    <a:schemeClr val="tx2"/>
                  </a:solidFill>
                  <a:latin typeface="맑은 고딕"/>
                  <a:ea typeface="맑은 고딕"/>
                </a:rPr>
                <a:t>로 활용</a:t>
              </a:r>
            </a:p>
          </p:txBody>
        </p:sp>
        <p:cxnSp>
          <p:nvCxnSpPr>
            <p:cNvPr id="86" name="직선 연결선 85"/>
            <p:cNvCxnSpPr/>
            <p:nvPr/>
          </p:nvCxnSpPr>
          <p:spPr bwMode="auto">
            <a:xfrm>
              <a:off x="2601906" y="3172145"/>
              <a:ext cx="0" cy="1573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7" name="직선 화살표 연결선 86"/>
            <p:cNvCxnSpPr/>
            <p:nvPr/>
          </p:nvCxnSpPr>
          <p:spPr bwMode="auto">
            <a:xfrm>
              <a:off x="2601906" y="3243804"/>
              <a:ext cx="1849418" cy="1331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8" name="직선 연결선 87"/>
            <p:cNvCxnSpPr/>
            <p:nvPr/>
          </p:nvCxnSpPr>
          <p:spPr bwMode="auto">
            <a:xfrm>
              <a:off x="4452707" y="3172145"/>
              <a:ext cx="0" cy="1573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9" name="직선 연결선 88"/>
            <p:cNvCxnSpPr/>
            <p:nvPr/>
          </p:nvCxnSpPr>
          <p:spPr bwMode="auto">
            <a:xfrm>
              <a:off x="2601906" y="3689177"/>
              <a:ext cx="0" cy="1573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0" name="직선 화살표 연결선 89"/>
            <p:cNvCxnSpPr/>
            <p:nvPr/>
          </p:nvCxnSpPr>
          <p:spPr bwMode="auto">
            <a:xfrm>
              <a:off x="2601906" y="3767570"/>
              <a:ext cx="3120183" cy="13317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1" name="직선 연결선 90"/>
            <p:cNvCxnSpPr/>
            <p:nvPr/>
          </p:nvCxnSpPr>
          <p:spPr bwMode="auto">
            <a:xfrm>
              <a:off x="5724019" y="3689177"/>
              <a:ext cx="0" cy="1573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92" name="TextBox 91"/>
            <p:cNvSpPr txBox="1"/>
            <p:nvPr/>
          </p:nvSpPr>
          <p:spPr bwMode="auto">
            <a:xfrm>
              <a:off x="4581444" y="2894593"/>
              <a:ext cx="305906" cy="2139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000" b="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현행</a:t>
              </a:r>
            </a:p>
          </p:txBody>
        </p:sp>
      </p:grpSp>
      <p:cxnSp>
        <p:nvCxnSpPr>
          <p:cNvPr id="94" name="Straight Connector 55"/>
          <p:cNvCxnSpPr/>
          <p:nvPr/>
        </p:nvCxnSpPr>
        <p:spPr>
          <a:xfrm>
            <a:off x="291000" y="1772776"/>
            <a:ext cx="932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 bwMode="auto">
          <a:xfrm>
            <a:off x="7039754" y="1887804"/>
            <a:ext cx="1436153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과제 상세화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Point</a:t>
            </a:r>
          </a:p>
        </p:txBody>
      </p:sp>
      <p:cxnSp>
        <p:nvCxnSpPr>
          <p:cNvPr id="96" name="직선 연결선 95"/>
          <p:cNvCxnSpPr/>
          <p:nvPr/>
        </p:nvCxnSpPr>
        <p:spPr bwMode="auto">
          <a:xfrm>
            <a:off x="6119830" y="2182004"/>
            <a:ext cx="327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6119830" y="2385371"/>
            <a:ext cx="324007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직접이익 창출 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Value Driver Tree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교화</a:t>
            </a:r>
          </a:p>
        </p:txBody>
      </p:sp>
      <p:sp>
        <p:nvSpPr>
          <p:cNvPr id="98" name="TextBox 97"/>
          <p:cNvSpPr txBox="1"/>
          <p:nvPr/>
        </p:nvSpPr>
        <p:spPr bwMode="auto">
          <a:xfrm>
            <a:off x="6192401" y="2833247"/>
            <a:ext cx="3280506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현 기준 대비 직접이익 창출 동인 세분화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다양한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동인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계획 대비 실적 차이분석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및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원인 분석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지원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99" name="직선 연결선 98"/>
          <p:cNvCxnSpPr/>
          <p:nvPr/>
        </p:nvCxnSpPr>
        <p:spPr bwMode="auto">
          <a:xfrm>
            <a:off x="343859" y="2176463"/>
            <a:ext cx="5400000" cy="68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00" name="TextBox 99"/>
          <p:cNvSpPr txBox="1"/>
          <p:nvPr/>
        </p:nvSpPr>
        <p:spPr bwMode="auto">
          <a:xfrm>
            <a:off x="1496616" y="1864940"/>
            <a:ext cx="3384507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성과지표 기반 경영계획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성과관리 체계 구현</a:t>
            </a:r>
            <a:endParaRPr lang="en-US" altLang="ko-KR" sz="13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6119830" y="3563397"/>
            <a:ext cx="324007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관점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Dimension)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양화</a:t>
            </a:r>
          </a:p>
        </p:txBody>
      </p:sp>
      <p:sp>
        <p:nvSpPr>
          <p:cNvPr id="102" name="TextBox 101"/>
          <p:cNvSpPr txBox="1"/>
          <p:nvPr/>
        </p:nvSpPr>
        <p:spPr bwMode="auto">
          <a:xfrm>
            <a:off x="6192401" y="4011273"/>
            <a:ext cx="3280506" cy="800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관점을 매출상품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계열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개인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업에서 가맹점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업종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규모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모집채널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고객군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바탕카드 등으로 확대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세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분석관점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경영계획 수립 및 실적 분석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6119830" y="5086110"/>
            <a:ext cx="324007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관점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Dimension)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양화</a:t>
            </a:r>
          </a:p>
        </p:txBody>
      </p:sp>
      <p:sp>
        <p:nvSpPr>
          <p:cNvPr id="104" name="TextBox 103"/>
          <p:cNvSpPr txBox="1"/>
          <p:nvPr/>
        </p:nvSpPr>
        <p:spPr bwMode="auto">
          <a:xfrm>
            <a:off x="6192401" y="5533986"/>
            <a:ext cx="3280506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조직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R&amp;R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을 고려한 성과지표 설정 및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Value Driver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와 연계 분석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Value Driver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달성의 실행력 강화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5" name="그룹 12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7133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팀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상세 비용 한도 및 실적 관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전 예산통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예산과 운영예산 구분관리를 통해 비용관리를 정교화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70" name="Straight Connector 55"/>
          <p:cNvCxnSpPr/>
          <p:nvPr/>
        </p:nvCxnSpPr>
        <p:spPr>
          <a:xfrm>
            <a:off x="291000" y="1772776"/>
            <a:ext cx="932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518521" y="2602786"/>
          <a:ext cx="2130223" cy="34776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3059"/>
                <a:gridCol w="697164"/>
              </a:tblGrid>
              <a:tr h="14758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사업수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사업수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총비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매출처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704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상품서비스비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발급발송비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청구결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안내고지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마케팅비용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총이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태매총외손익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704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제충당금전입액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손비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금이자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분사판관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702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점카드수수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758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직접이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xx,xx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354" marR="1354" marT="13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691745"/>
              </p:ext>
            </p:extLst>
          </p:nvPr>
        </p:nvGraphicFramePr>
        <p:xfrm>
          <a:off x="2936778" y="2638117"/>
          <a:ext cx="3322838" cy="1207098"/>
        </p:xfrm>
        <a:graphic>
          <a:graphicData uri="http://schemas.openxmlformats.org/drawingml/2006/table">
            <a:tbl>
              <a:tblPr/>
              <a:tblGrid>
                <a:gridCol w="540462"/>
                <a:gridCol w="1681435"/>
                <a:gridCol w="1100941"/>
              </a:tblGrid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마케팅팀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 단위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과목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수수료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lt;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내고지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LMS_&gt;</a:t>
                      </a:r>
                    </a:p>
                  </a:txBody>
                  <a:tcPr marL="36000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산계정 세분화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목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대혜택 홍보</a:t>
                      </a:r>
                    </a:p>
                  </a:txBody>
                  <a:tcPr marL="36000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송단가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OO</a:t>
                      </a:r>
                    </a:p>
                  </a:txBody>
                  <a:tcPr marL="36000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*물량 방식</a:t>
                      </a:r>
                      <a:b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Zero-Base 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산관리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량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송건수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OO</a:t>
                      </a:r>
                    </a:p>
                  </a:txBody>
                  <a:tcPr marL="36000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11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</a:t>
                      </a:r>
                    </a:p>
                  </a:txBody>
                  <a:tcPr marL="2843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OOOO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천원</a:t>
                      </a:r>
                    </a:p>
                  </a:txBody>
                  <a:tcPr marL="36000" marR="2843" marT="2843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954304"/>
              </p:ext>
            </p:extLst>
          </p:nvPr>
        </p:nvGraphicFramePr>
        <p:xfrm>
          <a:off x="2936776" y="4171431"/>
          <a:ext cx="3326883" cy="1445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119"/>
                <a:gridCol w="1683483"/>
                <a:gridCol w="1102281"/>
              </a:tblGrid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마케팅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  <a:r>
                        <a:rPr lang="en-US" altLang="ko-KR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계획 단위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계획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성장 주도 업종 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/S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점과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이용효율 증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점과제</a:t>
                      </a:r>
                      <a:r>
                        <a:rPr lang="en-US" altLang="ko-KR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지표</a:t>
                      </a:r>
                      <a:r>
                        <a:rPr lang="en-US" altLang="ko-KR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Target</a:t>
                      </a:r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지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당이용액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신판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말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rg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0,000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.7%↑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정가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비용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lt;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모션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gt;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 계정 단위 </a:t>
                      </a:r>
                      <a:r>
                        <a:rPr lang="en-US" altLang="ko-KR" sz="9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9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9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산관리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가맹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0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액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54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OOOO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천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554" marT="355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1162560" y="2319852"/>
            <a:ext cx="842145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수지예산서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3196472" y="2319852"/>
            <a:ext cx="2803451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운영예산 관리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(Zero-Based Budgeting)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3712671" y="3931421"/>
            <a:ext cx="1775092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전략예산 관리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성과중심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</p:txBody>
      </p:sp>
      <p:cxnSp>
        <p:nvCxnSpPr>
          <p:cNvPr id="36" name="직선 화살표 연결선 35"/>
          <p:cNvCxnSpPr/>
          <p:nvPr/>
        </p:nvCxnSpPr>
        <p:spPr bwMode="auto">
          <a:xfrm>
            <a:off x="2638262" y="4254580"/>
            <a:ext cx="298514" cy="8843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sp>
        <p:nvSpPr>
          <p:cNvPr id="37" name="TextBox 36"/>
          <p:cNvSpPr txBox="1"/>
          <p:nvPr/>
        </p:nvSpPr>
        <p:spPr bwMode="auto">
          <a:xfrm>
            <a:off x="3151998" y="5740131"/>
            <a:ext cx="585664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>수지예산</a:t>
            </a:r>
            <a:r>
              <a:rPr lang="en-US" altLang="ko-KR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1000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>시스템</a:t>
            </a:r>
            <a:endParaRPr lang="en-US" altLang="ko-KR" sz="1000" dirty="0" smtClean="0">
              <a:solidFill>
                <a:schemeClr val="tx2"/>
              </a:solidFill>
              <a:latin typeface="맑은 고딕"/>
              <a:ea typeface="맑은 고딕"/>
            </a:endParaRPr>
          </a:p>
        </p:txBody>
      </p:sp>
      <p:pic>
        <p:nvPicPr>
          <p:cNvPr id="38" name="Picture 53" descr="PC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7662" y="5712971"/>
            <a:ext cx="432000" cy="429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8"/>
          <p:cNvSpPr txBox="1"/>
          <p:nvPr/>
        </p:nvSpPr>
        <p:spPr bwMode="auto">
          <a:xfrm>
            <a:off x="5490435" y="5740131"/>
            <a:ext cx="585665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>은행예산</a:t>
            </a:r>
            <a:r>
              <a:rPr lang="en-US" altLang="ko-KR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/>
            </a:r>
            <a:br>
              <a:rPr lang="en-US" altLang="ko-KR" sz="1000" dirty="0" smtClean="0">
                <a:solidFill>
                  <a:schemeClr val="tx2"/>
                </a:solidFill>
                <a:latin typeface="맑은 고딕"/>
                <a:ea typeface="맑은 고딕"/>
              </a:rPr>
            </a:br>
            <a:r>
              <a:rPr lang="ko-KR" altLang="en-US" sz="1000" dirty="0" smtClean="0">
                <a:solidFill>
                  <a:schemeClr val="tx2"/>
                </a:solidFill>
                <a:latin typeface="맑은 고딕"/>
                <a:ea typeface="맑은 고딕"/>
              </a:rPr>
              <a:t>시스템</a:t>
            </a:r>
            <a:endParaRPr lang="en-US" altLang="ko-KR" sz="1000" dirty="0" smtClean="0">
              <a:solidFill>
                <a:schemeClr val="tx2"/>
              </a:solidFill>
              <a:latin typeface="맑은 고딕"/>
              <a:ea typeface="맑은 고딕"/>
            </a:endParaRPr>
          </a:p>
        </p:txBody>
      </p:sp>
      <p:pic>
        <p:nvPicPr>
          <p:cNvPr id="40" name="Picture 53" descr="PC sm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758" y="5712971"/>
            <a:ext cx="432000" cy="429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직선 화살표 연결선 17"/>
          <p:cNvCxnSpPr>
            <a:stCxn id="38" idx="3"/>
            <a:endCxn id="40" idx="1"/>
          </p:cNvCxnSpPr>
          <p:nvPr/>
        </p:nvCxnSpPr>
        <p:spPr bwMode="auto">
          <a:xfrm>
            <a:off x="4169662" y="5927954"/>
            <a:ext cx="864096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1" name="TextBox 20"/>
          <p:cNvSpPr txBox="1"/>
          <p:nvPr/>
        </p:nvSpPr>
        <p:spPr bwMode="auto">
          <a:xfrm>
            <a:off x="4467666" y="5696144"/>
            <a:ext cx="329184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smtClean="0">
                <a:solidFill>
                  <a:srgbClr val="000000"/>
                </a:solidFill>
                <a:latin typeface="맑은 고딕"/>
                <a:ea typeface="맑은 고딕"/>
              </a:rPr>
              <a:t>연계</a:t>
            </a:r>
            <a:endParaRPr lang="ko-KR" altLang="en-US" sz="10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0" name="TextBox 49"/>
          <p:cNvSpPr txBox="1"/>
          <p:nvPr/>
        </p:nvSpPr>
        <p:spPr bwMode="auto">
          <a:xfrm>
            <a:off x="4337268" y="5927953"/>
            <a:ext cx="585664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000" smtClean="0">
                <a:solidFill>
                  <a:srgbClr val="000000"/>
                </a:solidFill>
                <a:latin typeface="맑은 고딕"/>
                <a:ea typeface="맑은 고딕"/>
              </a:rPr>
              <a:t>사전통제</a:t>
            </a:r>
            <a:endParaRPr lang="ko-KR" altLang="en-US" sz="10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2" name="TextBox 51"/>
          <p:cNvSpPr txBox="1"/>
          <p:nvPr/>
        </p:nvSpPr>
        <p:spPr bwMode="auto">
          <a:xfrm>
            <a:off x="7401272" y="1904468"/>
            <a:ext cx="1436153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과제 상세화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Point</a:t>
            </a:r>
          </a:p>
        </p:txBody>
      </p:sp>
      <p:cxnSp>
        <p:nvCxnSpPr>
          <p:cNvPr id="14" name="직선 연결선 13"/>
          <p:cNvCxnSpPr/>
          <p:nvPr/>
        </p:nvCxnSpPr>
        <p:spPr bwMode="auto">
          <a:xfrm>
            <a:off x="6609185" y="2182004"/>
            <a:ext cx="282197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3" name="직사각형 52"/>
          <p:cNvSpPr/>
          <p:nvPr/>
        </p:nvSpPr>
        <p:spPr bwMode="auto">
          <a:xfrm>
            <a:off x="6609184" y="2348880"/>
            <a:ext cx="2821973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팀별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상세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항목별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도 및 실적 관리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6609184" y="3434495"/>
            <a:ext cx="2821973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전 예산통제 체계 구현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6609184" y="4696116"/>
            <a:ext cx="2821973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략예산과 운영예산 구분 관리</a:t>
            </a:r>
          </a:p>
        </p:txBody>
      </p:sp>
      <p:sp>
        <p:nvSpPr>
          <p:cNvPr id="15" name="TextBox 14"/>
          <p:cNvSpPr txBox="1"/>
          <p:nvPr/>
        </p:nvSpPr>
        <p:spPr bwMode="auto">
          <a:xfrm>
            <a:off x="6609184" y="2796756"/>
            <a:ext cx="2821973" cy="411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팀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상세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계정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한도 관리 및 집행실적 집계를 통하여 비용을 상세단위로 관리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6609184" y="3894175"/>
            <a:ext cx="2821973" cy="5805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은행 예산시스템과 연계하여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팀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비용 집행 시 사전 예산통제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산한도 내 집행 여부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구현</a:t>
            </a:r>
          </a:p>
        </p:txBody>
      </p:sp>
      <p:sp>
        <p:nvSpPr>
          <p:cNvPr id="60" name="TextBox 59"/>
          <p:cNvSpPr txBox="1"/>
          <p:nvPr/>
        </p:nvSpPr>
        <p:spPr bwMode="auto">
          <a:xfrm>
            <a:off x="6609184" y="5150172"/>
            <a:ext cx="2821973" cy="9698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중점추진과제 및 성과관리가 필요한 마케팅 비용은 전략예산으로 구분하여 실행계획 단위 예산관리 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그 외 비용은 운영예산으로 구분하여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Zero-Base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편성 및 집행 관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한도관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4" name="제목 1"/>
          <p:cNvSpPr txBox="1">
            <a:spLocks/>
          </p:cNvSpPr>
          <p:nvPr/>
        </p:nvSpPr>
        <p:spPr bwMode="auto">
          <a:xfrm>
            <a:off x="297750" y="20638"/>
            <a:ext cx="9290750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atinLnBrk="0"/>
            <a:r>
              <a:rPr lang="ko-KR" altLang="en-US" dirty="0" smtClean="0"/>
              <a:t>    경영계획</a:t>
            </a:r>
            <a:r>
              <a:rPr lang="en-US" altLang="ko-KR" dirty="0"/>
              <a:t>/</a:t>
            </a:r>
            <a:r>
              <a:rPr lang="ko-KR" altLang="en-US" dirty="0"/>
              <a:t>성과관리 체계 구현 </a:t>
            </a:r>
            <a:r>
              <a:rPr lang="en-US" altLang="ko-KR" dirty="0" smtClean="0"/>
              <a:t>– </a:t>
            </a:r>
            <a:r>
              <a:rPr lang="ko-KR" altLang="en-US" dirty="0"/>
              <a:t>과제 요건 </a:t>
            </a:r>
            <a:r>
              <a:rPr lang="en-US" altLang="ko-KR" dirty="0" smtClean="0"/>
              <a:t>(4/6)</a:t>
            </a:r>
            <a:endParaRPr lang="ko-KR" altLang="en-US" kern="0" dirty="0"/>
          </a:p>
        </p:txBody>
      </p:sp>
      <p:sp>
        <p:nvSpPr>
          <p:cNvPr id="51" name="TextBox 50"/>
          <p:cNvSpPr txBox="1"/>
          <p:nvPr/>
        </p:nvSpPr>
        <p:spPr>
          <a:xfrm>
            <a:off x="291000" y="1412776"/>
            <a:ext cx="9324000" cy="360000"/>
          </a:xfrm>
          <a:prstGeom prst="rect">
            <a:avLst/>
          </a:prstGeom>
          <a:noFill/>
        </p:spPr>
        <p:txBody>
          <a:bodyPr vert="horz" wrap="square" lIns="72000" tIns="36000" rIns="0" bIns="36000" rtlCol="0" anchor="ctr" anchorCtr="0">
            <a:noAutofit/>
          </a:bodyPr>
          <a:lstStyle/>
          <a:p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지예산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체계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" name="직선 화살표 연결선 12"/>
          <p:cNvCxnSpPr/>
          <p:nvPr/>
        </p:nvCxnSpPr>
        <p:spPr bwMode="auto">
          <a:xfrm flipV="1">
            <a:off x="2648744" y="3742338"/>
            <a:ext cx="288032" cy="33317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>
            <a:off x="539642" y="2176463"/>
            <a:ext cx="5580000" cy="68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3" name="TextBox 62"/>
          <p:cNvSpPr txBox="1"/>
          <p:nvPr/>
        </p:nvSpPr>
        <p:spPr bwMode="auto">
          <a:xfrm>
            <a:off x="1496616" y="1864940"/>
            <a:ext cx="3536793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비용관리 개선을 위한 수지예산 관리체계 구현</a:t>
            </a:r>
            <a:endParaRPr lang="en-US" altLang="ko-KR" sz="13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4" name="그룹 8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934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경영계획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과관리 체계 구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6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물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표준비용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단가와 같은 표준원가를 산출하여 비용예산 수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통제 및 경영관리에 활용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 있도록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9" name="TextBox 6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원가 항목관리 및 활용 예시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직선 연결선 37"/>
          <p:cNvCxnSpPr/>
          <p:nvPr/>
        </p:nvCxnSpPr>
        <p:spPr bwMode="auto">
          <a:xfrm>
            <a:off x="920952" y="2161571"/>
            <a:ext cx="36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9" name="TextBox 38"/>
          <p:cNvSpPr txBox="1"/>
          <p:nvPr/>
        </p:nvSpPr>
        <p:spPr bwMode="auto">
          <a:xfrm>
            <a:off x="445338" y="1844824"/>
            <a:ext cx="4500000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주요 표준원가 관리항목</a:t>
            </a:r>
          </a:p>
        </p:txBody>
      </p:sp>
      <p:cxnSp>
        <p:nvCxnSpPr>
          <p:cNvPr id="63" name="직선 연결선 62"/>
          <p:cNvCxnSpPr/>
          <p:nvPr/>
        </p:nvCxnSpPr>
        <p:spPr bwMode="auto">
          <a:xfrm>
            <a:off x="5166440" y="2161571"/>
            <a:ext cx="36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4" name="TextBox 63"/>
          <p:cNvSpPr txBox="1"/>
          <p:nvPr/>
        </p:nvSpPr>
        <p:spPr bwMode="auto">
          <a:xfrm>
            <a:off x="5166440" y="1873852"/>
            <a:ext cx="3600000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표준원가 활용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929848" y="2349724"/>
            <a:ext cx="1075150" cy="12145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물량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2068408" y="2349724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건당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068408" y="2669346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당 월평균 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2068408" y="2988968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률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탈회율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2068408" y="3308590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카드 월평균 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2068408" y="3649036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</a:t>
            </a: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립률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2068408" y="3968658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할인서비스</a:t>
            </a:r>
            <a:r>
              <a:rPr kumimoji="1" lang="ko-KR" altLang="en-US" sz="11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율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2068408" y="4288280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률</a:t>
            </a:r>
            <a:endParaRPr kumimoji="1" lang="ko-KR" altLang="en-US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2068408" y="4607902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원가율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929848" y="3649036"/>
            <a:ext cx="1075150" cy="12145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비용률</a:t>
            </a:r>
            <a:endParaRPr kumimoji="1" lang="ko-KR" altLang="en-US" sz="14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2068408" y="4933249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Van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 단가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2068408" y="5252871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집단가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2068408" y="5572492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발급단가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2068408" y="5892114"/>
            <a:ext cx="2452544" cy="255698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송단가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929848" y="4933249"/>
            <a:ext cx="1075150" cy="12145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단가</a:t>
            </a:r>
          </a:p>
        </p:txBody>
      </p:sp>
      <p:sp>
        <p:nvSpPr>
          <p:cNvPr id="71" name="직사각형 70"/>
          <p:cNvSpPr/>
          <p:nvPr/>
        </p:nvSpPr>
        <p:spPr bwMode="auto">
          <a:xfrm>
            <a:off x="5166440" y="2306180"/>
            <a:ext cx="3600000" cy="3196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계획 및 예산수립 활용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5166440" y="3407260"/>
            <a:ext cx="3600000" cy="3196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통제</a:t>
            </a:r>
          </a:p>
        </p:txBody>
      </p:sp>
      <p:sp>
        <p:nvSpPr>
          <p:cNvPr id="73" name="직사각형 72"/>
          <p:cNvSpPr/>
          <p:nvPr/>
        </p:nvSpPr>
        <p:spPr bwMode="auto">
          <a:xfrm>
            <a:off x="5166440" y="4302265"/>
            <a:ext cx="3600000" cy="3196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가격 제공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66440" y="5388025"/>
            <a:ext cx="3600000" cy="3196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약통제</a:t>
            </a:r>
          </a:p>
        </p:txBody>
      </p:sp>
      <p:sp>
        <p:nvSpPr>
          <p:cNvPr id="75" name="이등변 삼각형 74"/>
          <p:cNvSpPr/>
          <p:nvPr/>
        </p:nvSpPr>
        <p:spPr bwMode="auto">
          <a:xfrm rot="5400000">
            <a:off x="4104150" y="4025844"/>
            <a:ext cx="1478637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5177988" y="2627538"/>
            <a:ext cx="3812952" cy="735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t"/>
          <a:lstStyle/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모집회원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활성카드 목표에 따른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추정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에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연동된 수익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 추정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예산편성 시 허용한도 부여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5177988" y="3714308"/>
            <a:ext cx="3812952" cy="5113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t"/>
          <a:lstStyle/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서비스 비용 통제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비용 통제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5177988" y="4601694"/>
            <a:ext cx="3812952" cy="7031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t"/>
          <a:lstStyle/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상품 개발 시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액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추정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 및 업무원가 추정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집비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추정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5177988" y="5707292"/>
            <a:ext cx="3812952" cy="5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t"/>
          <a:lstStyle/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물량 계약 시 가이드라인으로 적용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latinLnBrk="0">
              <a:lnSpc>
                <a:spcPts val="13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량에 따른 계약금액 인하 유도</a:t>
            </a:r>
          </a:p>
        </p:txBody>
      </p:sp>
      <p:grpSp>
        <p:nvGrpSpPr>
          <p:cNvPr id="89" name="그룹 8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219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rrier 2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관련 리스크 제거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또한</a:t>
            </a:r>
            <a:r>
              <a:rPr lang="en-US" altLang="ko-KR" dirty="0"/>
              <a:t>, </a:t>
            </a:r>
            <a:r>
              <a:rPr lang="ko-KR" altLang="en-US" dirty="0"/>
              <a:t>차세대 이행 방안의 재점검 및 전문 영역에 대한 자문</a:t>
            </a:r>
            <a:r>
              <a:rPr lang="en-US" altLang="ko-KR" dirty="0"/>
              <a:t> </a:t>
            </a:r>
            <a:r>
              <a:rPr lang="ko-KR" altLang="en-US" dirty="0"/>
              <a:t>제공</a:t>
            </a:r>
            <a:r>
              <a:rPr lang="en-US" altLang="ko-KR" dirty="0"/>
              <a:t>, </a:t>
            </a:r>
            <a:r>
              <a:rPr lang="ko-KR" altLang="en-US" dirty="0"/>
              <a:t>구축 요건 및 프로세스 개선사항에 대한 전사 공감대</a:t>
            </a:r>
            <a:r>
              <a:rPr lang="en-US" altLang="ko-KR" dirty="0"/>
              <a:t> </a:t>
            </a:r>
            <a:r>
              <a:rPr lang="ko-KR" altLang="en-US" dirty="0"/>
              <a:t>확보를 중점적으로 추진할 것임</a:t>
            </a:r>
          </a:p>
        </p:txBody>
      </p:sp>
      <p:sp>
        <p:nvSpPr>
          <p:cNvPr id="69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1835237" y="1802599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기간에 전체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원 및 운영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의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정성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보</a:t>
            </a: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체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과제를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일정 내에 전부 개발 완료하여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동시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1835237" y="3322346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타사 구축 성공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한카드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삼성카드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및 실패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C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경험 반영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정성과 향후 비즈니스 확장을 유연하게 반영할 수 있는 기술 및 언어 선정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오각형 67"/>
          <p:cNvSpPr/>
          <p:nvPr/>
        </p:nvSpPr>
        <p:spPr bwMode="auto">
          <a:xfrm>
            <a:off x="297750" y="1823117"/>
            <a:ext cx="1467550" cy="1440000"/>
          </a:xfrm>
          <a:prstGeom prst="homePlate">
            <a:avLst>
              <a:gd name="adj" fmla="val 15410"/>
            </a:avLst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</a:pPr>
            <a:r>
              <a:rPr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ig Bang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roach</a:t>
            </a:r>
            <a:endParaRPr lang="ko-KR" altLang="en-US" sz="1400" b="1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오각형 69"/>
          <p:cNvSpPr/>
          <p:nvPr/>
        </p:nvSpPr>
        <p:spPr bwMode="auto">
          <a:xfrm>
            <a:off x="297750" y="3322346"/>
            <a:ext cx="1467550" cy="1440000"/>
          </a:xfrm>
          <a:prstGeom prst="homePlate">
            <a:avLst>
              <a:gd name="adj" fmla="val 14528"/>
            </a:avLst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구조 및 개발언어 선정</a:t>
            </a:r>
            <a:endParaRPr lang="ko-KR" altLang="en-US" sz="1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오각형 70"/>
          <p:cNvSpPr/>
          <p:nvPr/>
        </p:nvSpPr>
        <p:spPr bwMode="auto">
          <a:xfrm>
            <a:off x="297750" y="4821575"/>
            <a:ext cx="1467550" cy="1440000"/>
          </a:xfrm>
          <a:prstGeom prst="homePlate">
            <a:avLst>
              <a:gd name="adj" fmla="val 14528"/>
            </a:avLst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</a:pPr>
            <a:r>
              <a:rPr lang="ko-KR" altLang="en-US" sz="14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혁신 기반 추진</a:t>
            </a:r>
            <a:endParaRPr lang="ko-KR" altLang="en-US" sz="1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1835237" y="4821575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혁신적인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을 반영한 차세대 시스템 구축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순 시스템 개선이 아닌 일하는 방식의 변화 추구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548188" y="1802599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축 선후관계에 대한 분석 미흡에 따른 리스크 발생 우려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548188" y="3322346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정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역에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한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문성 부족으로 부적절한 개발언어 및 기술구조 정의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548188" y="4821575"/>
            <a:ext cx="2592000" cy="144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0" latinLnBrk="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유 및 확산 체계 부재로 </a:t>
            </a:r>
            <a:r>
              <a:rPr lang="ko-KR" altLang="en-US" sz="13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축 </a:t>
            </a:r>
            <a:r>
              <a:rPr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후 추가 요건 다량 발생</a:t>
            </a:r>
            <a:endParaRPr lang="en-US" altLang="ko-KR" sz="13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7391399" y="5160470"/>
            <a:ext cx="2230885" cy="68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출된 요건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프로세스에 대한 전사 공감대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보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7391400" y="2158590"/>
            <a:ext cx="2231928" cy="68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이행 방안 재점검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7391399" y="3662925"/>
            <a:ext cx="2230885" cy="68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r>
              <a:rPr lang="ko-KR" altLang="en-US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문화 특화된 영역에 대한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문 제공</a:t>
            </a:r>
          </a:p>
        </p:txBody>
      </p:sp>
      <p:sp>
        <p:nvSpPr>
          <p:cNvPr id="79" name="이등변 삼각형 78"/>
          <p:cNvSpPr/>
          <p:nvPr/>
        </p:nvSpPr>
        <p:spPr bwMode="auto">
          <a:xfrm rot="5400000">
            <a:off x="6684148" y="2463932"/>
            <a:ext cx="1224000" cy="165099"/>
          </a:xfrm>
          <a:prstGeom prst="triangle">
            <a:avLst/>
          </a:prstGeom>
          <a:solidFill>
            <a:schemeClr val="bg1">
              <a:lumMod val="75000"/>
              <a:alpha val="7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이등변 삼각형 80"/>
          <p:cNvSpPr/>
          <p:nvPr/>
        </p:nvSpPr>
        <p:spPr bwMode="auto">
          <a:xfrm rot="5400000">
            <a:off x="6684148" y="3950462"/>
            <a:ext cx="1224000" cy="165099"/>
          </a:xfrm>
          <a:prstGeom prst="triangle">
            <a:avLst/>
          </a:prstGeom>
          <a:solidFill>
            <a:schemeClr val="bg1">
              <a:lumMod val="75000"/>
              <a:alpha val="7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이등변 삼각형 81"/>
          <p:cNvSpPr/>
          <p:nvPr/>
        </p:nvSpPr>
        <p:spPr bwMode="auto">
          <a:xfrm rot="5400000">
            <a:off x="6684148" y="5482297"/>
            <a:ext cx="1224000" cy="165099"/>
          </a:xfrm>
          <a:prstGeom prst="triangle">
            <a:avLst/>
          </a:prstGeom>
          <a:solidFill>
            <a:schemeClr val="bg1">
              <a:lumMod val="75000"/>
              <a:alpha val="7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buFont typeface="Wingdings" pitchFamily="2" charset="2"/>
              <a:buNone/>
            </a:pPr>
            <a:endParaRPr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85168" y="1423253"/>
            <a:ext cx="1480132" cy="307777"/>
            <a:chOff x="216911" y="1423253"/>
            <a:chExt cx="1594800" cy="307777"/>
          </a:xfrm>
        </p:grpSpPr>
        <p:sp>
          <p:nvSpPr>
            <p:cNvPr id="39" name="TextBox 38"/>
            <p:cNvSpPr txBox="1"/>
            <p:nvPr/>
          </p:nvSpPr>
          <p:spPr bwMode="auto">
            <a:xfrm>
              <a:off x="216911" y="1423253"/>
              <a:ext cx="159314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400" b="1" spc="-15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차세대 추진 방식</a:t>
              </a:r>
            </a:p>
          </p:txBody>
        </p:sp>
        <p:cxnSp>
          <p:nvCxnSpPr>
            <p:cNvPr id="24" name="직선 연결선 23"/>
            <p:cNvCxnSpPr/>
            <p:nvPr/>
          </p:nvCxnSpPr>
          <p:spPr bwMode="auto">
            <a:xfrm flipV="1">
              <a:off x="216911" y="1731030"/>
              <a:ext cx="15948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35" name="그룹 34"/>
          <p:cNvGrpSpPr/>
          <p:nvPr/>
        </p:nvGrpSpPr>
        <p:grpSpPr>
          <a:xfrm>
            <a:off x="4584273" y="1437243"/>
            <a:ext cx="2519830" cy="279797"/>
            <a:chOff x="216911" y="1423253"/>
            <a:chExt cx="1594800" cy="307777"/>
          </a:xfrm>
        </p:grpSpPr>
        <p:sp>
          <p:nvSpPr>
            <p:cNvPr id="36" name="TextBox 35"/>
            <p:cNvSpPr txBox="1"/>
            <p:nvPr/>
          </p:nvSpPr>
          <p:spPr bwMode="auto">
            <a:xfrm>
              <a:off x="216911" y="1423253"/>
              <a:ext cx="159314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400" b="1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예상위험</a:t>
              </a:r>
            </a:p>
          </p:txBody>
        </p:sp>
        <p:cxnSp>
          <p:nvCxnSpPr>
            <p:cNvPr id="37" name="직선 연결선 36"/>
            <p:cNvCxnSpPr/>
            <p:nvPr/>
          </p:nvCxnSpPr>
          <p:spPr bwMode="auto">
            <a:xfrm flipV="1">
              <a:off x="216911" y="1731030"/>
              <a:ext cx="15948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38" name="그룹 37"/>
          <p:cNvGrpSpPr/>
          <p:nvPr/>
        </p:nvGrpSpPr>
        <p:grpSpPr>
          <a:xfrm>
            <a:off x="7521813" y="1423253"/>
            <a:ext cx="1970056" cy="523220"/>
            <a:chOff x="216911" y="1423253"/>
            <a:chExt cx="1594800" cy="523220"/>
          </a:xfrm>
        </p:grpSpPr>
        <p:sp>
          <p:nvSpPr>
            <p:cNvPr id="43" name="TextBox 42"/>
            <p:cNvSpPr txBox="1"/>
            <p:nvPr/>
          </p:nvSpPr>
          <p:spPr bwMode="auto">
            <a:xfrm>
              <a:off x="216911" y="1423253"/>
              <a:ext cx="1593140" cy="5232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400" b="1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전략적 대응 방향</a:t>
              </a:r>
              <a:endParaRPr lang="ko-KR" altLang="en-US" sz="1400" b="1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4" name="직선 연결선 43"/>
            <p:cNvCxnSpPr/>
            <p:nvPr/>
          </p:nvCxnSpPr>
          <p:spPr bwMode="auto">
            <a:xfrm flipV="1">
              <a:off x="216911" y="1731030"/>
              <a:ext cx="15948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1" name="그룹 50"/>
          <p:cNvGrpSpPr/>
          <p:nvPr/>
        </p:nvGrpSpPr>
        <p:grpSpPr>
          <a:xfrm>
            <a:off x="1871322" y="1437243"/>
            <a:ext cx="2519830" cy="307777"/>
            <a:chOff x="216911" y="1423253"/>
            <a:chExt cx="1594800" cy="338555"/>
          </a:xfrm>
        </p:grpSpPr>
        <p:sp>
          <p:nvSpPr>
            <p:cNvPr id="52" name="TextBox 51"/>
            <p:cNvSpPr txBox="1"/>
            <p:nvPr/>
          </p:nvSpPr>
          <p:spPr bwMode="auto">
            <a:xfrm>
              <a:off x="216911" y="1423253"/>
              <a:ext cx="1593140" cy="3385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/>
                  <a:ea typeface="맑은 고딕"/>
                </a:rPr>
                <a:t>고려사항</a:t>
              </a:r>
            </a:p>
          </p:txBody>
        </p:sp>
        <p:cxnSp>
          <p:nvCxnSpPr>
            <p:cNvPr id="53" name="직선 연결선 52"/>
            <p:cNvCxnSpPr/>
            <p:nvPr/>
          </p:nvCxnSpPr>
          <p:spPr bwMode="auto">
            <a:xfrm flipV="1">
              <a:off x="216911" y="1731030"/>
              <a:ext cx="15948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8901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익 발생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한 가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Price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유연하게 분석할 수 있는 체계를 구현하기 위하여 기초데이터를 집중화하고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율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산출 체계 정립 및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분석 환경을 구축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8. </a:t>
            </a:r>
            <a:r>
              <a:rPr lang="ko-KR" altLang="en-US" sz="1200" kern="0" dirty="0">
                <a:solidFill>
                  <a:srgbClr val="FFFFFF"/>
                </a:solidFill>
              </a:rPr>
              <a:t>경영관리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cxnSp>
        <p:nvCxnSpPr>
          <p:cNvPr id="70" name="Straight Connector 55"/>
          <p:cNvCxnSpPr/>
          <p:nvPr/>
        </p:nvCxnSpPr>
        <p:spPr>
          <a:xfrm>
            <a:off x="291000" y="1772776"/>
            <a:ext cx="932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 bwMode="auto">
          <a:xfrm>
            <a:off x="7113240" y="1887804"/>
            <a:ext cx="1436153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과제 상세화 </a:t>
            </a:r>
            <a:r>
              <a:rPr lang="en-US" altLang="ko-KR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Point</a:t>
            </a:r>
          </a:p>
        </p:txBody>
      </p:sp>
      <p:cxnSp>
        <p:nvCxnSpPr>
          <p:cNvPr id="14" name="직선 연결선 13"/>
          <p:cNvCxnSpPr/>
          <p:nvPr/>
        </p:nvCxnSpPr>
        <p:spPr bwMode="auto">
          <a:xfrm>
            <a:off x="6119830" y="2182004"/>
            <a:ext cx="327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3" name="직사각형 52"/>
          <p:cNvSpPr/>
          <p:nvPr/>
        </p:nvSpPr>
        <p:spPr bwMode="auto">
          <a:xfrm>
            <a:off x="6119830" y="2285380"/>
            <a:ext cx="327600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율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산출 및 관리 프로세스 재정립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6119830" y="3361923"/>
            <a:ext cx="3276000" cy="3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 산출 </a:t>
            </a:r>
            <a:r>
              <a:rPr kumimoji="1" lang="ko-KR" altLang="en-US" sz="12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축</a:t>
            </a:r>
          </a:p>
        </p:txBody>
      </p:sp>
      <p:sp>
        <p:nvSpPr>
          <p:cNvPr id="15" name="TextBox 14"/>
          <p:cNvSpPr txBox="1"/>
          <p:nvPr/>
        </p:nvSpPr>
        <p:spPr bwMode="auto">
          <a:xfrm>
            <a:off x="6119830" y="2689714"/>
            <a:ext cx="3513691" cy="631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준정보와 연계한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이용액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원가정보 집중화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원가기반 산출방법과 산출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•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활용 프로세스 재정비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수수료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산출 주체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초데이터 관리 책임 등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8" name="TextBox 57"/>
          <p:cNvSpPr txBox="1"/>
          <p:nvPr/>
        </p:nvSpPr>
        <p:spPr bwMode="auto">
          <a:xfrm>
            <a:off x="6157618" y="3778061"/>
            <a:ext cx="3475903" cy="2542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가맹점수수료율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업종별 적격원가 산출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복합 업종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업태 분석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매 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3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년마다 정기적 산출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lvl="1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err="1">
                <a:solidFill>
                  <a:srgbClr val="000000"/>
                </a:solidFill>
                <a:latin typeface="맑은 고딕"/>
                <a:ea typeface="맑은 고딕"/>
              </a:rPr>
              <a:t>대고객수수료율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매년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대고객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수수료 자동 산출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공시정보 생성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손익변동 시뮬레이션 구현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lvl="1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연회비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타 부분과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중복없는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관련원가 산출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회원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카드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서비스별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유연한 산출 체계 구현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lvl="1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무이자 할부 기회비용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당사부담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회비용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가맹점부담 비용 산출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67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손익 및 금융마케팅 효과 분석에 활용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1" name="제목 1"/>
          <p:cNvSpPr txBox="1">
            <a:spLocks/>
          </p:cNvSpPr>
          <p:nvPr/>
        </p:nvSpPr>
        <p:spPr bwMode="auto">
          <a:xfrm>
            <a:off x="297750" y="20638"/>
            <a:ext cx="9290750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atinLnBrk="0"/>
            <a:r>
              <a:rPr lang="ko-KR" altLang="en-US" dirty="0" smtClean="0"/>
              <a:t>    경영계획</a:t>
            </a:r>
            <a:r>
              <a:rPr lang="en-US" altLang="ko-KR" dirty="0"/>
              <a:t>/</a:t>
            </a:r>
            <a:r>
              <a:rPr lang="ko-KR" altLang="en-US" dirty="0"/>
              <a:t>성과관리 체계 구현 </a:t>
            </a:r>
            <a:r>
              <a:rPr lang="en-US" altLang="ko-KR" dirty="0" smtClean="0"/>
              <a:t>– </a:t>
            </a:r>
            <a:r>
              <a:rPr lang="ko-KR" altLang="en-US" dirty="0"/>
              <a:t>과제 요건 </a:t>
            </a:r>
            <a:r>
              <a:rPr lang="en-US" altLang="ko-KR" dirty="0" smtClean="0"/>
              <a:t>(6/6)</a:t>
            </a:r>
            <a:r>
              <a:rPr lang="en-US" altLang="ko-KR" kern="0" dirty="0" smtClean="0"/>
              <a:t> </a:t>
            </a:r>
            <a:endParaRPr lang="ko-KR" altLang="en-US" kern="0" dirty="0"/>
          </a:p>
        </p:txBody>
      </p:sp>
      <p:grpSp>
        <p:nvGrpSpPr>
          <p:cNvPr id="22" name="그룹 21"/>
          <p:cNvGrpSpPr/>
          <p:nvPr/>
        </p:nvGrpSpPr>
        <p:grpSpPr>
          <a:xfrm>
            <a:off x="262310" y="2247844"/>
            <a:ext cx="1270874" cy="261208"/>
            <a:chOff x="326648" y="1920796"/>
            <a:chExt cx="2821972" cy="261208"/>
          </a:xfrm>
        </p:grpSpPr>
        <p:sp>
          <p:nvSpPr>
            <p:cNvPr id="63" name="TextBox 62"/>
            <p:cNvSpPr txBox="1"/>
            <p:nvPr/>
          </p:nvSpPr>
          <p:spPr bwMode="auto">
            <a:xfrm>
              <a:off x="733650" y="1920796"/>
              <a:ext cx="2007971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20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천 시스템</a:t>
              </a:r>
              <a:endPara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64" name="직선 연결선 63"/>
            <p:cNvCxnSpPr/>
            <p:nvPr/>
          </p:nvCxnSpPr>
          <p:spPr bwMode="auto">
            <a:xfrm>
              <a:off x="326648" y="2182004"/>
              <a:ext cx="282197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77" name="그룹 76"/>
          <p:cNvGrpSpPr/>
          <p:nvPr/>
        </p:nvGrpSpPr>
        <p:grpSpPr>
          <a:xfrm>
            <a:off x="2000674" y="2247844"/>
            <a:ext cx="1523098" cy="261208"/>
            <a:chOff x="326648" y="1920796"/>
            <a:chExt cx="2821972" cy="261208"/>
          </a:xfrm>
        </p:grpSpPr>
        <p:sp>
          <p:nvSpPr>
            <p:cNvPr id="78" name="TextBox 77"/>
            <p:cNvSpPr txBox="1"/>
            <p:nvPr/>
          </p:nvSpPr>
          <p:spPr bwMode="auto">
            <a:xfrm>
              <a:off x="1037965" y="1920796"/>
              <a:ext cx="139933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원가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ool</a:t>
              </a:r>
            </a:p>
          </p:txBody>
        </p:sp>
        <p:cxnSp>
          <p:nvCxnSpPr>
            <p:cNvPr id="79" name="직선 연결선 78"/>
            <p:cNvCxnSpPr/>
            <p:nvPr/>
          </p:nvCxnSpPr>
          <p:spPr bwMode="auto">
            <a:xfrm>
              <a:off x="326648" y="2182004"/>
              <a:ext cx="282197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87" name="그룹 86"/>
          <p:cNvGrpSpPr/>
          <p:nvPr/>
        </p:nvGrpSpPr>
        <p:grpSpPr>
          <a:xfrm>
            <a:off x="4161096" y="2247844"/>
            <a:ext cx="1656000" cy="261208"/>
            <a:chOff x="326648" y="1920796"/>
            <a:chExt cx="2821972" cy="261208"/>
          </a:xfrm>
        </p:grpSpPr>
        <p:sp>
          <p:nvSpPr>
            <p:cNvPr id="88" name="TextBox 87"/>
            <p:cNvSpPr txBox="1"/>
            <p:nvPr/>
          </p:nvSpPr>
          <p:spPr bwMode="auto">
            <a:xfrm>
              <a:off x="842532" y="1920796"/>
              <a:ext cx="1790206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err="1" smtClean="0">
                  <a:solidFill>
                    <a:srgbClr val="000000"/>
                  </a:solidFill>
                  <a:latin typeface="맑은 고딕"/>
                  <a:ea typeface="맑은 고딕"/>
                </a:rPr>
                <a:t>수수료율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산출</a:t>
              </a:r>
              <a:endPara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89" name="직선 연결선 88"/>
            <p:cNvCxnSpPr/>
            <p:nvPr/>
          </p:nvCxnSpPr>
          <p:spPr bwMode="auto">
            <a:xfrm>
              <a:off x="326648" y="2182004"/>
              <a:ext cx="282197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25" name="그룹 24"/>
          <p:cNvGrpSpPr/>
          <p:nvPr/>
        </p:nvGrpSpPr>
        <p:grpSpPr>
          <a:xfrm>
            <a:off x="286042" y="2617500"/>
            <a:ext cx="1265444" cy="3477356"/>
            <a:chOff x="262310" y="2380110"/>
            <a:chExt cx="1270874" cy="3218183"/>
          </a:xfrm>
        </p:grpSpPr>
        <p:sp>
          <p:nvSpPr>
            <p:cNvPr id="65" name="직사각형 64"/>
            <p:cNvSpPr/>
            <p:nvPr/>
          </p:nvSpPr>
          <p:spPr bwMode="auto">
            <a:xfrm>
              <a:off x="262310" y="2380110"/>
              <a:ext cx="1270874" cy="1408930"/>
            </a:xfrm>
            <a:prstGeom prst="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ys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직사각형 66"/>
            <p:cNvSpPr/>
            <p:nvPr/>
          </p:nvSpPr>
          <p:spPr bwMode="auto">
            <a:xfrm>
              <a:off x="262310" y="4189363"/>
              <a:ext cx="1270874" cy="1408930"/>
            </a:xfrm>
            <a:prstGeom prst="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sys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71" name="Picture 43" descr="SQL sm"/>
            <p:cNvPicPr preferRelativeResize="0"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33" y="2548961"/>
              <a:ext cx="468000" cy="688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Box 22"/>
            <p:cNvSpPr txBox="1"/>
            <p:nvPr/>
          </p:nvSpPr>
          <p:spPr bwMode="auto">
            <a:xfrm>
              <a:off x="476675" y="3318535"/>
              <a:ext cx="842145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상품수익성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</a:br>
              <a:r>
                <a:rPr lang="ko-KR" altLang="en-US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분석시스템</a:t>
              </a:r>
            </a:p>
          </p:txBody>
        </p:sp>
        <p:pic>
          <p:nvPicPr>
            <p:cNvPr id="72" name="Picture 43" descr="SQL sm"/>
            <p:cNvPicPr preferRelativeResize="0"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33" y="4321559"/>
              <a:ext cx="468000" cy="688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3" name="TextBox 72"/>
            <p:cNvSpPr txBox="1"/>
            <p:nvPr/>
          </p:nvSpPr>
          <p:spPr bwMode="auto">
            <a:xfrm>
              <a:off x="387710" y="5091134"/>
              <a:ext cx="1020078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err="1" smtClean="0">
                  <a:solidFill>
                    <a:schemeClr val="tx1"/>
                  </a:solidFill>
                  <a:latin typeface="맑은 고딕"/>
                  <a:ea typeface="맑은 고딕"/>
                </a:rPr>
                <a:t>기간계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 배치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</a:br>
              <a:r>
                <a:rPr lang="en-US" altLang="ko-KR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(ODS)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시스템</a:t>
              </a:r>
            </a:p>
          </p:txBody>
        </p:sp>
      </p:grpSp>
      <p:sp>
        <p:nvSpPr>
          <p:cNvPr id="80" name="직사각형 79"/>
          <p:cNvSpPr/>
          <p:nvPr/>
        </p:nvSpPr>
        <p:spPr bwMode="auto">
          <a:xfrm>
            <a:off x="2016977" y="2617499"/>
            <a:ext cx="1516592" cy="3477357"/>
          </a:xfrm>
          <a:prstGeom prst="rect">
            <a:avLst/>
          </a:prstGeom>
          <a:noFill/>
          <a:ln w="952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3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2142910" y="2697076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내역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2142910" y="3183926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금이자비용</a:t>
            </a:r>
          </a:p>
        </p:txBody>
      </p:sp>
      <p:sp>
        <p:nvSpPr>
          <p:cNvPr id="82" name="직사각형 81"/>
          <p:cNvSpPr/>
          <p:nvPr/>
        </p:nvSpPr>
        <p:spPr bwMode="auto">
          <a:xfrm>
            <a:off x="2142910" y="3670775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비용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2142910" y="4157624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비용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2142910" y="4644473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판관비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2142910" y="5131323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손비용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2142910" y="5618171"/>
            <a:ext cx="1264724" cy="4227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외브랜드비용</a:t>
            </a: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4168170" y="2617499"/>
            <a:ext cx="1648925" cy="7611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수수료율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종별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4168170" y="3522885"/>
            <a:ext cx="1648925" cy="7611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고객수수료율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론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금서비스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할부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볼빙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환론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 bwMode="auto">
          <a:xfrm>
            <a:off x="4168170" y="4428270"/>
            <a:ext cx="1648925" cy="7611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회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단위 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vs.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단위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4168170" y="5333657"/>
            <a:ext cx="1648925" cy="7611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수수료율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종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오른쪽 화살표 26"/>
          <p:cNvSpPr/>
          <p:nvPr/>
        </p:nvSpPr>
        <p:spPr bwMode="auto">
          <a:xfrm>
            <a:off x="1620800" y="3135805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오른쪽 화살표 92"/>
          <p:cNvSpPr/>
          <p:nvPr/>
        </p:nvSpPr>
        <p:spPr bwMode="auto">
          <a:xfrm>
            <a:off x="1620800" y="5107262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오른쪽 화살표 93"/>
          <p:cNvSpPr/>
          <p:nvPr/>
        </p:nvSpPr>
        <p:spPr bwMode="auto">
          <a:xfrm>
            <a:off x="3707612" y="2777263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오른쪽 화살표 94"/>
          <p:cNvSpPr/>
          <p:nvPr/>
        </p:nvSpPr>
        <p:spPr bwMode="auto">
          <a:xfrm>
            <a:off x="3707612" y="3682648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오른쪽 화살표 95"/>
          <p:cNvSpPr/>
          <p:nvPr/>
        </p:nvSpPr>
        <p:spPr bwMode="auto">
          <a:xfrm>
            <a:off x="3707612" y="4588034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오른쪽 화살표 96"/>
          <p:cNvSpPr/>
          <p:nvPr/>
        </p:nvSpPr>
        <p:spPr bwMode="auto">
          <a:xfrm>
            <a:off x="3707612" y="5493420"/>
            <a:ext cx="322616" cy="441672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91000" y="1412776"/>
            <a:ext cx="9324000" cy="360000"/>
          </a:xfrm>
          <a:prstGeom prst="rect">
            <a:avLst/>
          </a:prstGeom>
          <a:noFill/>
        </p:spPr>
        <p:txBody>
          <a:bodyPr vert="horz" wrap="square" lIns="72000" tIns="36000" rIns="0" bIns="36000" rtlCol="0" anchor="ctr" anchorCtr="0">
            <a:noAutofit/>
          </a:bodyPr>
          <a:lstStyle/>
          <a:p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가기반 수수료체계 구현 예시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 bwMode="auto">
          <a:xfrm>
            <a:off x="305760" y="2176463"/>
            <a:ext cx="5470927" cy="68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 bwMode="auto">
          <a:xfrm>
            <a:off x="2154825" y="1864940"/>
            <a:ext cx="2025161" cy="272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300" dirty="0" smtClean="0">
                <a:solidFill>
                  <a:srgbClr val="000000"/>
                </a:solidFill>
                <a:latin typeface="맑은 고딕"/>
                <a:ea typeface="맑은 고딕"/>
              </a:rPr>
              <a:t>원가기반 수수료체계 구현</a:t>
            </a:r>
            <a:endParaRPr lang="en-US" altLang="ko-KR" sz="13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62" name="그룹 6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5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0277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77736" y="1700212"/>
            <a:ext cx="9355785" cy="460910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보계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err="1" smtClean="0"/>
              <a:t>정보계는</a:t>
            </a:r>
            <a:r>
              <a:rPr lang="ko-KR" altLang="en-US" dirty="0" smtClean="0"/>
              <a:t> 정보계 </a:t>
            </a:r>
            <a:r>
              <a:rPr lang="en-US" altLang="ko-KR" dirty="0" smtClean="0"/>
              <a:t>Architecture </a:t>
            </a:r>
            <a:r>
              <a:rPr lang="ko-KR" altLang="en-US" dirty="0" smtClean="0"/>
              <a:t>재정비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적재</a:t>
            </a:r>
            <a:r>
              <a:rPr lang="en-US" altLang="ko-KR" dirty="0" smtClean="0"/>
              <a:t>/</a:t>
            </a:r>
            <a:r>
              <a:rPr lang="ko-KR" altLang="en-US" dirty="0" smtClean="0"/>
              <a:t>가공 데이터 최적화</a:t>
            </a:r>
            <a:r>
              <a:rPr lang="en-US" altLang="ko-KR" dirty="0" smtClean="0"/>
              <a:t>, </a:t>
            </a:r>
            <a:r>
              <a:rPr lang="ko-KR" altLang="en-US" dirty="0" smtClean="0"/>
              <a:t>다차원 분석기능 개선 과제를 도출함</a:t>
            </a:r>
            <a:endParaRPr lang="ko-KR" altLang="en-US" dirty="0"/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9. </a:t>
            </a:r>
            <a:r>
              <a:rPr lang="ko-KR" altLang="en-US" sz="1200" kern="0" dirty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5889104" y="2276872"/>
            <a:ext cx="3496420" cy="848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성능중심 정보계 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Architecture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재정비</a:t>
            </a:r>
            <a:endParaRPr lang="en-US" altLang="ko-KR" sz="14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역할별 분리구성</a:t>
            </a:r>
            <a:endParaRPr lang="en-US" altLang="ko-KR" sz="14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아키텍처 재설계</a:t>
            </a:r>
            <a:endParaRPr lang="en-US" altLang="ko-KR" sz="14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5889104" y="2282488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5889104" y="3387302"/>
            <a:ext cx="3496420" cy="848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적재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가공 데이터 최적화</a:t>
            </a:r>
            <a:endParaRPr lang="en-US" altLang="ko-KR" sz="14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</a:t>
            </a:r>
            <a:r>
              <a:rPr lang="en-US" altLang="ko-KR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W </a:t>
            </a: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최적화</a:t>
            </a:r>
            <a:endParaRPr lang="en-US" altLang="ko-KR" sz="14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</a:t>
            </a:r>
            <a:r>
              <a:rPr lang="en-US" altLang="ko-KR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구성 최적화</a:t>
            </a:r>
            <a:endParaRPr lang="ko-KR" altLang="en-US" sz="14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889104" y="3392918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5889104" y="4460863"/>
            <a:ext cx="3496420" cy="11283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다 차원 분석 기능 개선</a:t>
            </a:r>
            <a:endParaRPr lang="en-US" altLang="ko-KR" sz="14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포털 구축</a:t>
            </a:r>
            <a:endParaRPr lang="en-US" altLang="ko-KR" sz="14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보고서 </a:t>
            </a:r>
            <a:r>
              <a:rPr lang="ko-KR" altLang="en-US" sz="1400" b="0" dirty="0">
                <a:solidFill>
                  <a:srgbClr val="000000"/>
                </a:solidFill>
                <a:latin typeface="맑은 고딕"/>
                <a:ea typeface="맑은 고딕"/>
              </a:rPr>
              <a:t>관리 체계 </a:t>
            </a: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립</a:t>
            </a:r>
            <a:endParaRPr lang="en-US" altLang="ko-KR" sz="14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630238" lvl="1" indent="-180975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4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확대 구성</a:t>
            </a:r>
            <a:endParaRPr lang="en-US" altLang="ko-KR" sz="14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5889104" y="4466479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388427" y="1812356"/>
            <a:ext cx="4841977" cy="31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88427" y="1825341"/>
            <a:ext cx="4841977" cy="33442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400" dirty="0"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400" dirty="0">
                <a:latin typeface="맑은 고딕" pitchFamily="50" charset="-127"/>
                <a:ea typeface="맑은 고딕" pitchFamily="50" charset="-127"/>
              </a:rPr>
              <a:t>정보계 구성도</a:t>
            </a:r>
          </a:p>
        </p:txBody>
      </p:sp>
      <p:grpSp>
        <p:nvGrpSpPr>
          <p:cNvPr id="143" name="그룹 142"/>
          <p:cNvGrpSpPr/>
          <p:nvPr/>
        </p:nvGrpSpPr>
        <p:grpSpPr>
          <a:xfrm>
            <a:off x="535912" y="2289572"/>
            <a:ext cx="4584296" cy="2528789"/>
            <a:chOff x="535912" y="2289572"/>
            <a:chExt cx="4584296" cy="2528789"/>
          </a:xfrm>
        </p:grpSpPr>
        <p:sp>
          <p:nvSpPr>
            <p:cNvPr id="15" name="직사각형 14"/>
            <p:cNvSpPr/>
            <p:nvPr/>
          </p:nvSpPr>
          <p:spPr bwMode="auto">
            <a:xfrm>
              <a:off x="535912" y="2367469"/>
              <a:ext cx="791987" cy="23804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ource System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1600247" y="2367469"/>
              <a:ext cx="930339" cy="97419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EDW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1600247" y="3745232"/>
              <a:ext cx="930339" cy="9926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DW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1" name="직선 화살표 연결선 20"/>
            <p:cNvCxnSpPr/>
            <p:nvPr/>
          </p:nvCxnSpPr>
          <p:spPr bwMode="auto">
            <a:xfrm>
              <a:off x="1329353" y="4262028"/>
              <a:ext cx="270894" cy="0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66" name="직선 화살표 연결선 65"/>
            <p:cNvCxnSpPr>
              <a:endCxn id="62" idx="1"/>
            </p:cNvCxnSpPr>
            <p:nvPr/>
          </p:nvCxnSpPr>
          <p:spPr bwMode="auto">
            <a:xfrm>
              <a:off x="1329353" y="2854565"/>
              <a:ext cx="270894" cy="0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68" name="직사각형 67"/>
            <p:cNvSpPr/>
            <p:nvPr/>
          </p:nvSpPr>
          <p:spPr bwMode="auto">
            <a:xfrm>
              <a:off x="2825141" y="2367469"/>
              <a:ext cx="913879" cy="97419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트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2825141" y="3745232"/>
              <a:ext cx="913879" cy="9926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분석마트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1" name="직선 화살표 연결선 80"/>
            <p:cNvCxnSpPr>
              <a:stCxn id="62" idx="3"/>
              <a:endCxn id="69" idx="1"/>
            </p:cNvCxnSpPr>
            <p:nvPr/>
          </p:nvCxnSpPr>
          <p:spPr bwMode="auto">
            <a:xfrm>
              <a:off x="2530585" y="2854565"/>
              <a:ext cx="294556" cy="1387001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4" name="직선 화살표 연결선 83"/>
            <p:cNvCxnSpPr>
              <a:endCxn id="68" idx="1"/>
            </p:cNvCxnSpPr>
            <p:nvPr/>
          </p:nvCxnSpPr>
          <p:spPr bwMode="auto">
            <a:xfrm>
              <a:off x="2530585" y="2854565"/>
              <a:ext cx="294556" cy="0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5" name="직선 화살표 연결선 84"/>
            <p:cNvCxnSpPr>
              <a:endCxn id="25" idx="1"/>
            </p:cNvCxnSpPr>
            <p:nvPr/>
          </p:nvCxnSpPr>
          <p:spPr bwMode="auto">
            <a:xfrm flipV="1">
              <a:off x="3739020" y="2559978"/>
              <a:ext cx="399594" cy="294587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87" name="직선 화살표 연결선 86"/>
            <p:cNvCxnSpPr>
              <a:stCxn id="69" idx="3"/>
              <a:endCxn id="77" idx="1"/>
            </p:cNvCxnSpPr>
            <p:nvPr/>
          </p:nvCxnSpPr>
          <p:spPr bwMode="auto">
            <a:xfrm flipV="1">
              <a:off x="3739020" y="3058831"/>
              <a:ext cx="399594" cy="1182735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0" name="직선 화살표 연결선 89"/>
            <p:cNvCxnSpPr>
              <a:stCxn id="63" idx="3"/>
              <a:endCxn id="69" idx="1"/>
            </p:cNvCxnSpPr>
            <p:nvPr/>
          </p:nvCxnSpPr>
          <p:spPr bwMode="auto">
            <a:xfrm>
              <a:off x="2530585" y="4241566"/>
              <a:ext cx="294556" cy="0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5" name="직선 화살표 연결선 94"/>
            <p:cNvCxnSpPr>
              <a:stCxn id="69" idx="3"/>
              <a:endCxn id="78" idx="1"/>
            </p:cNvCxnSpPr>
            <p:nvPr/>
          </p:nvCxnSpPr>
          <p:spPr bwMode="auto">
            <a:xfrm flipV="1">
              <a:off x="3739020" y="3557683"/>
              <a:ext cx="399594" cy="683883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99" name="직선 화살표 연결선 98"/>
            <p:cNvCxnSpPr>
              <a:stCxn id="69" idx="3"/>
              <a:endCxn id="79" idx="1"/>
            </p:cNvCxnSpPr>
            <p:nvPr/>
          </p:nvCxnSpPr>
          <p:spPr bwMode="auto">
            <a:xfrm flipV="1">
              <a:off x="3739020" y="4056537"/>
              <a:ext cx="399594" cy="185029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5" name="직사각형 24"/>
            <p:cNvSpPr/>
            <p:nvPr/>
          </p:nvSpPr>
          <p:spPr bwMode="auto">
            <a:xfrm>
              <a:off x="4138615" y="2367469"/>
              <a:ext cx="906327" cy="385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RM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4138615" y="2866322"/>
              <a:ext cx="906327" cy="385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OLAP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4138615" y="3365174"/>
              <a:ext cx="906327" cy="385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정보</a:t>
              </a:r>
            </a:p>
          </p:txBody>
        </p:sp>
        <p:sp>
          <p:nvSpPr>
            <p:cNvPr id="79" name="직사각형 78"/>
            <p:cNvSpPr/>
            <p:nvPr/>
          </p:nvSpPr>
          <p:spPr bwMode="auto">
            <a:xfrm>
              <a:off x="4138615" y="3864028"/>
              <a:ext cx="906327" cy="385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I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4138615" y="4362881"/>
              <a:ext cx="906327" cy="3850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AS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9" name="직선 화살표 연결선 108"/>
            <p:cNvCxnSpPr>
              <a:stCxn id="69" idx="3"/>
              <a:endCxn id="107" idx="1"/>
            </p:cNvCxnSpPr>
            <p:nvPr/>
          </p:nvCxnSpPr>
          <p:spPr bwMode="auto">
            <a:xfrm>
              <a:off x="3739020" y="4241566"/>
              <a:ext cx="399594" cy="313824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13" name="직사각형 112"/>
            <p:cNvSpPr/>
            <p:nvPr/>
          </p:nvSpPr>
          <p:spPr bwMode="auto">
            <a:xfrm>
              <a:off x="1532544" y="2289572"/>
              <a:ext cx="249212" cy="216000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</a:pPr>
              <a:r>
                <a:rPr lang="en-US" altLang="ko-KR" sz="14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 bwMode="auto">
            <a:xfrm>
              <a:off x="2755260" y="2296712"/>
              <a:ext cx="1079919" cy="1120007"/>
            </a:xfrm>
            <a:prstGeom prst="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9" name="직선 화살표 연결선 118"/>
            <p:cNvCxnSpPr>
              <a:stCxn id="69" idx="3"/>
              <a:endCxn id="25" idx="1"/>
            </p:cNvCxnSpPr>
            <p:nvPr/>
          </p:nvCxnSpPr>
          <p:spPr bwMode="auto">
            <a:xfrm flipV="1">
              <a:off x="3739020" y="2559978"/>
              <a:ext cx="399594" cy="1681588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22" name="직사각형 121"/>
            <p:cNvSpPr/>
            <p:nvPr/>
          </p:nvSpPr>
          <p:spPr bwMode="auto">
            <a:xfrm>
              <a:off x="2795380" y="2337311"/>
              <a:ext cx="249212" cy="216000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</a:pPr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4" name="L 도형 123"/>
            <p:cNvSpPr/>
            <p:nvPr/>
          </p:nvSpPr>
          <p:spPr bwMode="auto">
            <a:xfrm>
              <a:off x="2779125" y="2296713"/>
              <a:ext cx="2341083" cy="2521648"/>
            </a:xfrm>
            <a:prstGeom prst="corner">
              <a:avLst>
                <a:gd name="adj1" fmla="val 52592"/>
                <a:gd name="adj2" fmla="val 50000"/>
              </a:avLst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2802192" y="3598608"/>
              <a:ext cx="249212" cy="216000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</a:pPr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endParaRPr lang="ko-KR" altLang="en-US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1470655" y="2296712"/>
              <a:ext cx="1128222" cy="2521649"/>
            </a:xfrm>
            <a:prstGeom prst="rect">
              <a:avLst/>
            </a:prstGeom>
            <a:noFill/>
            <a:ln w="9525" algn="ctr">
              <a:solidFill>
                <a:schemeClr val="bg1">
                  <a:lumMod val="50000"/>
                </a:schemeClr>
              </a:solidFill>
              <a:prstDash val="dash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31" name="직사각형 130"/>
          <p:cNvSpPr/>
          <p:nvPr/>
        </p:nvSpPr>
        <p:spPr bwMode="auto">
          <a:xfrm>
            <a:off x="388359" y="4984954"/>
            <a:ext cx="707669" cy="1180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132" name="직사각형 131"/>
          <p:cNvSpPr/>
          <p:nvPr/>
        </p:nvSpPr>
        <p:spPr bwMode="auto">
          <a:xfrm>
            <a:off x="1166205" y="4984954"/>
            <a:ext cx="4064199" cy="11803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8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latinLnBrk="0">
              <a:lnSpc>
                <a:spcPct val="150000"/>
              </a:lnSpc>
              <a:spcBef>
                <a:spcPct val="500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계 성능 부하로 인해 정보분석 업무 제약 발생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28600" indent="-228600" latinLnBrk="0">
              <a:lnSpc>
                <a:spcPct val="150000"/>
              </a:lnSpc>
              <a:spcBef>
                <a:spcPct val="500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 시 시스템 및 인력 리소스 부하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28600" indent="-228600" latinLnBrk="0">
              <a:lnSpc>
                <a:spcPct val="150000"/>
              </a:lnSpc>
              <a:spcBef>
                <a:spcPct val="500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차원분석 환경 지원 및 사용자 편의성 미흡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1238971" y="5049141"/>
            <a:ext cx="268969" cy="29508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1238971" y="5412745"/>
            <a:ext cx="268969" cy="29508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1238971" y="5776349"/>
            <a:ext cx="268969" cy="29508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이등변 삼각형 138"/>
          <p:cNvSpPr/>
          <p:nvPr/>
        </p:nvSpPr>
        <p:spPr bwMode="auto">
          <a:xfrm rot="5400000">
            <a:off x="4614607" y="3857877"/>
            <a:ext cx="1762434" cy="210496"/>
          </a:xfrm>
          <a:prstGeom prst="triangle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5771880" y="1800911"/>
            <a:ext cx="3744000" cy="3588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예상 개선과제</a:t>
            </a:r>
            <a:r>
              <a:rPr kumimoji="1"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2" name="직선 연결선 141"/>
          <p:cNvCxnSpPr/>
          <p:nvPr/>
        </p:nvCxnSpPr>
        <p:spPr bwMode="auto">
          <a:xfrm>
            <a:off x="5745088" y="2159763"/>
            <a:ext cx="363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67" name="그룹 6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9" name="그룹 8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851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Rectangle 30"/>
          <p:cNvSpPr/>
          <p:nvPr/>
        </p:nvSpPr>
        <p:spPr bwMode="gray">
          <a:xfrm>
            <a:off x="326408" y="2928153"/>
            <a:ext cx="4410567" cy="340036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성능중심 </a:t>
            </a:r>
            <a:r>
              <a:rPr lang="ko-KR" altLang="en-US" dirty="0"/>
              <a:t>정보계 </a:t>
            </a:r>
            <a:r>
              <a:rPr lang="en-US" altLang="ko-KR" dirty="0" smtClean="0"/>
              <a:t>Architecture </a:t>
            </a:r>
            <a:r>
              <a:rPr lang="ko-KR" altLang="en-US" dirty="0" smtClean="0"/>
              <a:t>재정비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8988" cy="605126"/>
          </a:xfrm>
        </p:spPr>
        <p:txBody>
          <a:bodyPr/>
          <a:lstStyle/>
          <a:p>
            <a:r>
              <a:rPr lang="ko-KR" altLang="en-US" dirty="0" smtClean="0"/>
              <a:t>활용 목적에 맞게 정보계 영역을 정의하고 상세 분류하여 성능 중심의 정보계 아키텍처를 구성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409384" y="1412776"/>
            <a:ext cx="110976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88900" marR="0" lvl="0" indent="-88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LLUSTRATIVE</a:t>
            </a:r>
            <a:endParaRPr kumimoji="0" lang="ko-KR" altLang="en-US" sz="100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" name="직선 연결선 215"/>
          <p:cNvCxnSpPr/>
          <p:nvPr/>
        </p:nvCxnSpPr>
        <p:spPr bwMode="auto">
          <a:xfrm>
            <a:off x="8451270" y="1431546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직선 연결선 213"/>
          <p:cNvCxnSpPr/>
          <p:nvPr/>
        </p:nvCxnSpPr>
        <p:spPr bwMode="auto">
          <a:xfrm>
            <a:off x="8451270" y="1639054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</a:t>
            </a: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성능 개선을 통한 분석 사용자 업무 시간 단축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시간 마케팅 수행 지원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속보성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지표 도출을 위한 분석 지원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활용 목적 및 성격 분류 </a:t>
            </a:r>
            <a:r>
              <a:rPr kumimoji="0"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kumimoji="0"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</a:t>
            </a:r>
            <a:r>
              <a:rPr kumimoji="0"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운영</a:t>
            </a:r>
            <a:r>
              <a:rPr kumimoji="0"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88900" lvl="0" indent="-889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배치</a:t>
            </a:r>
            <a:r>
              <a:rPr kumimoji="0"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온라인 성 데이터 분류</a:t>
            </a:r>
            <a:endParaRPr kumimoji="0"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 smtClean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2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 smtClean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69" name="TextBox 268"/>
          <p:cNvSpPr txBox="1"/>
          <p:nvPr/>
        </p:nvSpPr>
        <p:spPr bwMode="auto">
          <a:xfrm>
            <a:off x="5365588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영역별 역할 분리 구성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3525" indent="-171450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Source System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적재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RDW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포탈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연관시스템 영역 분리</a:t>
            </a:r>
            <a:endParaRPr lang="en-US" altLang="ko-KR" sz="11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3525" indent="-171450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분석마트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분리 구성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업무제공마트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분석마트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비정형마트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인프라 아키텍처 재설계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TA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역으로 이관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0" name="직사각형 259"/>
          <p:cNvSpPr/>
          <p:nvPr/>
        </p:nvSpPr>
        <p:spPr bwMode="auto">
          <a:xfrm>
            <a:off x="479773" y="3356992"/>
            <a:ext cx="719989" cy="17579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ource Syste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2" name="직사각형 261"/>
          <p:cNvSpPr/>
          <p:nvPr/>
        </p:nvSpPr>
        <p:spPr bwMode="auto">
          <a:xfrm>
            <a:off x="1447351" y="3356992"/>
            <a:ext cx="845763" cy="7194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3" name="직사각형 262"/>
          <p:cNvSpPr/>
          <p:nvPr/>
        </p:nvSpPr>
        <p:spPr bwMode="auto">
          <a:xfrm>
            <a:off x="1447351" y="4374442"/>
            <a:ext cx="845763" cy="7330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5" name="직선 화살표 연결선 264"/>
          <p:cNvCxnSpPr/>
          <p:nvPr/>
        </p:nvCxnSpPr>
        <p:spPr bwMode="auto">
          <a:xfrm>
            <a:off x="1201083" y="4756085"/>
            <a:ext cx="246267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66" name="직선 화살표 연결선 265"/>
          <p:cNvCxnSpPr>
            <a:endCxn id="262" idx="1"/>
          </p:cNvCxnSpPr>
          <p:nvPr/>
        </p:nvCxnSpPr>
        <p:spPr bwMode="auto">
          <a:xfrm>
            <a:off x="1201083" y="3716702"/>
            <a:ext cx="246267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67" name="직사각형 266"/>
          <p:cNvSpPr/>
          <p:nvPr/>
        </p:nvSpPr>
        <p:spPr bwMode="auto">
          <a:xfrm>
            <a:off x="2560891" y="3356992"/>
            <a:ext cx="830799" cy="7194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</a:p>
        </p:txBody>
      </p:sp>
      <p:sp>
        <p:nvSpPr>
          <p:cNvPr id="268" name="직사각형 267"/>
          <p:cNvSpPr/>
          <p:nvPr/>
        </p:nvSpPr>
        <p:spPr bwMode="auto">
          <a:xfrm>
            <a:off x="2560891" y="4374442"/>
            <a:ext cx="830799" cy="7330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70" name="직선 화살표 연결선 269"/>
          <p:cNvCxnSpPr>
            <a:stCxn id="262" idx="3"/>
            <a:endCxn id="268" idx="1"/>
          </p:cNvCxnSpPr>
          <p:nvPr/>
        </p:nvCxnSpPr>
        <p:spPr bwMode="auto">
          <a:xfrm>
            <a:off x="2293112" y="3716702"/>
            <a:ext cx="267779" cy="1024272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1" name="직선 화살표 연결선 270"/>
          <p:cNvCxnSpPr>
            <a:endCxn id="267" idx="1"/>
          </p:cNvCxnSpPr>
          <p:nvPr/>
        </p:nvCxnSpPr>
        <p:spPr bwMode="auto">
          <a:xfrm>
            <a:off x="2293112" y="3716702"/>
            <a:ext cx="267779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2" name="직선 화살표 연결선 271"/>
          <p:cNvCxnSpPr>
            <a:endCxn id="277" idx="1"/>
          </p:cNvCxnSpPr>
          <p:nvPr/>
        </p:nvCxnSpPr>
        <p:spPr bwMode="auto">
          <a:xfrm flipV="1">
            <a:off x="3391690" y="3499156"/>
            <a:ext cx="363267" cy="217547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3" name="직선 화살표 연결선 272"/>
          <p:cNvCxnSpPr>
            <a:stCxn id="268" idx="3"/>
            <a:endCxn id="278" idx="1"/>
          </p:cNvCxnSpPr>
          <p:nvPr/>
        </p:nvCxnSpPr>
        <p:spPr bwMode="auto">
          <a:xfrm flipV="1">
            <a:off x="3391690" y="3867549"/>
            <a:ext cx="363267" cy="873426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4" name="직선 화살표 연결선 273"/>
          <p:cNvCxnSpPr>
            <a:stCxn id="263" idx="3"/>
            <a:endCxn id="268" idx="1"/>
          </p:cNvCxnSpPr>
          <p:nvPr/>
        </p:nvCxnSpPr>
        <p:spPr bwMode="auto">
          <a:xfrm>
            <a:off x="2293112" y="4740975"/>
            <a:ext cx="267779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5" name="직선 화살표 연결선 274"/>
          <p:cNvCxnSpPr>
            <a:stCxn id="268" idx="3"/>
            <a:endCxn id="279" idx="1"/>
          </p:cNvCxnSpPr>
          <p:nvPr/>
        </p:nvCxnSpPr>
        <p:spPr bwMode="auto">
          <a:xfrm flipV="1">
            <a:off x="3391690" y="4235941"/>
            <a:ext cx="363267" cy="50503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6" name="직선 화살표 연결선 275"/>
          <p:cNvCxnSpPr>
            <a:stCxn id="268" idx="3"/>
            <a:endCxn id="280" idx="1"/>
          </p:cNvCxnSpPr>
          <p:nvPr/>
        </p:nvCxnSpPr>
        <p:spPr bwMode="auto">
          <a:xfrm flipV="1">
            <a:off x="3391690" y="4604334"/>
            <a:ext cx="363267" cy="13664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77" name="직사각형 276"/>
          <p:cNvSpPr/>
          <p:nvPr/>
        </p:nvSpPr>
        <p:spPr bwMode="auto">
          <a:xfrm>
            <a:off x="3754958" y="3356992"/>
            <a:ext cx="823934" cy="284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8" name="직사각형 277"/>
          <p:cNvSpPr/>
          <p:nvPr/>
        </p:nvSpPr>
        <p:spPr bwMode="auto">
          <a:xfrm>
            <a:off x="3754958" y="3725385"/>
            <a:ext cx="823934" cy="284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9" name="직사각형 278"/>
          <p:cNvSpPr/>
          <p:nvPr/>
        </p:nvSpPr>
        <p:spPr bwMode="auto">
          <a:xfrm>
            <a:off x="3754958" y="4093777"/>
            <a:ext cx="823934" cy="284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정보</a:t>
            </a:r>
          </a:p>
        </p:txBody>
      </p:sp>
      <p:sp>
        <p:nvSpPr>
          <p:cNvPr id="280" name="직사각형 279"/>
          <p:cNvSpPr/>
          <p:nvPr/>
        </p:nvSpPr>
        <p:spPr bwMode="auto">
          <a:xfrm>
            <a:off x="3754958" y="4462170"/>
            <a:ext cx="823934" cy="284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1" name="직사각형 280"/>
          <p:cNvSpPr/>
          <p:nvPr/>
        </p:nvSpPr>
        <p:spPr bwMode="auto">
          <a:xfrm>
            <a:off x="3754958" y="4830563"/>
            <a:ext cx="823934" cy="2843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AS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82" name="직선 화살표 연결선 281"/>
          <p:cNvCxnSpPr>
            <a:stCxn id="268" idx="3"/>
            <a:endCxn id="281" idx="1"/>
          </p:cNvCxnSpPr>
          <p:nvPr/>
        </p:nvCxnSpPr>
        <p:spPr bwMode="auto">
          <a:xfrm>
            <a:off x="3391690" y="4740975"/>
            <a:ext cx="363267" cy="23175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85" name="직선 화살표 연결선 284"/>
          <p:cNvCxnSpPr>
            <a:stCxn id="268" idx="3"/>
            <a:endCxn id="277" idx="1"/>
          </p:cNvCxnSpPr>
          <p:nvPr/>
        </p:nvCxnSpPr>
        <p:spPr bwMode="auto">
          <a:xfrm flipV="1">
            <a:off x="3391690" y="3499156"/>
            <a:ext cx="363267" cy="1241819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60" name="직사각형 159"/>
          <p:cNvSpPr/>
          <p:nvPr/>
        </p:nvSpPr>
        <p:spPr bwMode="auto">
          <a:xfrm>
            <a:off x="6040737" y="3347743"/>
            <a:ext cx="1488924" cy="61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7649180" y="3347742"/>
            <a:ext cx="866721" cy="19534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7649180" y="3347742"/>
            <a:ext cx="866721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DM</a:t>
            </a:r>
            <a:endParaRPr kumimoji="1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6041892" y="3347742"/>
            <a:ext cx="1487769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6040737" y="4018476"/>
            <a:ext cx="1488924" cy="61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6041892" y="4018476"/>
            <a:ext cx="1487769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8" name="원통 227"/>
          <p:cNvSpPr/>
          <p:nvPr/>
        </p:nvSpPr>
        <p:spPr bwMode="auto">
          <a:xfrm>
            <a:off x="7724132" y="3622327"/>
            <a:ext cx="733141" cy="433077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3" name="원통 172"/>
          <p:cNvSpPr/>
          <p:nvPr/>
        </p:nvSpPr>
        <p:spPr bwMode="auto">
          <a:xfrm>
            <a:off x="7724132" y="4198391"/>
            <a:ext cx="733141" cy="433077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4" name="원통 173"/>
          <p:cNvSpPr/>
          <p:nvPr/>
        </p:nvSpPr>
        <p:spPr bwMode="auto">
          <a:xfrm>
            <a:off x="7724132" y="4774455"/>
            <a:ext cx="733141" cy="433077"/>
          </a:xfrm>
          <a:prstGeom prst="can">
            <a:avLst>
              <a:gd name="adj" fmla="val 1290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마트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8638866" y="3746378"/>
            <a:ext cx="866721" cy="155482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8638866" y="3573016"/>
            <a:ext cx="866721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>
                <a:latin typeface="맑은 고딕" pitchFamily="50" charset="-127"/>
                <a:ea typeface="맑은 고딕" pitchFamily="50" charset="-127"/>
              </a:rPr>
              <a:t>분석포탈</a:t>
            </a:r>
          </a:p>
        </p:txBody>
      </p:sp>
      <p:sp>
        <p:nvSpPr>
          <p:cNvPr id="238" name="직사각형 237"/>
          <p:cNvSpPr/>
          <p:nvPr/>
        </p:nvSpPr>
        <p:spPr bwMode="auto">
          <a:xfrm>
            <a:off x="8685196" y="3801492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shboard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8685196" y="4012040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8685196" y="4221678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정보</a:t>
            </a:r>
          </a:p>
        </p:txBody>
      </p:sp>
      <p:sp>
        <p:nvSpPr>
          <p:cNvPr id="179" name="직사각형 178"/>
          <p:cNvSpPr/>
          <p:nvPr/>
        </p:nvSpPr>
        <p:spPr bwMode="auto">
          <a:xfrm>
            <a:off x="8685196" y="4431317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8685196" y="4640955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spc="-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d-hoc Query</a:t>
            </a:r>
            <a:endParaRPr kumimoji="1" lang="ko-KR" altLang="en-US" sz="1000" b="0" spc="-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8685196" y="4850595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ning(SAS)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8685196" y="5060233"/>
            <a:ext cx="758614" cy="181259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각화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R)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5" name="직사각형 294"/>
          <p:cNvSpPr/>
          <p:nvPr/>
        </p:nvSpPr>
        <p:spPr bwMode="auto">
          <a:xfrm>
            <a:off x="8638866" y="3338191"/>
            <a:ext cx="866721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dirty="0"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6040737" y="4689208"/>
            <a:ext cx="1488924" cy="61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6041892" y="4689208"/>
            <a:ext cx="1487769" cy="180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dirty="0">
                <a:latin typeface="맑은 고딕" pitchFamily="50" charset="-127"/>
                <a:ea typeface="맑은 고딕" pitchFamily="50" charset="-127"/>
              </a:rPr>
              <a:t>빅데이터</a:t>
            </a:r>
          </a:p>
        </p:txBody>
      </p:sp>
      <p:sp>
        <p:nvSpPr>
          <p:cNvPr id="205" name="원통 204"/>
          <p:cNvSpPr/>
          <p:nvPr/>
        </p:nvSpPr>
        <p:spPr bwMode="auto">
          <a:xfrm>
            <a:off x="6094813" y="3581058"/>
            <a:ext cx="655821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7" name="원통 206"/>
          <p:cNvSpPr/>
          <p:nvPr/>
        </p:nvSpPr>
        <p:spPr bwMode="auto">
          <a:xfrm>
            <a:off x="6809234" y="3581058"/>
            <a:ext cx="655821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성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0" name="원통 209"/>
          <p:cNvSpPr/>
          <p:nvPr/>
        </p:nvSpPr>
        <p:spPr bwMode="auto">
          <a:xfrm>
            <a:off x="6094813" y="4915085"/>
            <a:ext cx="655821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저장</a:t>
            </a:r>
          </a:p>
        </p:txBody>
      </p:sp>
      <p:sp>
        <p:nvSpPr>
          <p:cNvPr id="212" name="원통 211"/>
          <p:cNvSpPr/>
          <p:nvPr/>
        </p:nvSpPr>
        <p:spPr bwMode="auto">
          <a:xfrm>
            <a:off x="6809234" y="4915085"/>
            <a:ext cx="655821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분석</a:t>
            </a:r>
          </a:p>
        </p:txBody>
      </p:sp>
      <p:sp>
        <p:nvSpPr>
          <p:cNvPr id="218" name="원통 217"/>
          <p:cNvSpPr/>
          <p:nvPr/>
        </p:nvSpPr>
        <p:spPr bwMode="auto">
          <a:xfrm>
            <a:off x="6094813" y="4257208"/>
            <a:ext cx="396048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taging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6" name="원통 255"/>
          <p:cNvSpPr/>
          <p:nvPr/>
        </p:nvSpPr>
        <p:spPr bwMode="auto">
          <a:xfrm>
            <a:off x="6533170" y="4257208"/>
            <a:ext cx="396048" cy="3318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7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 of Record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2" name="원통 221"/>
          <p:cNvSpPr/>
          <p:nvPr/>
        </p:nvSpPr>
        <p:spPr bwMode="auto">
          <a:xfrm>
            <a:off x="6971526" y="4257208"/>
            <a:ext cx="493529" cy="186019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ummary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7" name="원통 256"/>
          <p:cNvSpPr/>
          <p:nvPr/>
        </p:nvSpPr>
        <p:spPr bwMode="auto">
          <a:xfrm>
            <a:off x="6971526" y="4430606"/>
            <a:ext cx="493529" cy="186019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eedback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3" name="직사각형 292"/>
          <p:cNvSpPr/>
          <p:nvPr/>
        </p:nvSpPr>
        <p:spPr bwMode="auto">
          <a:xfrm>
            <a:off x="5361669" y="3336059"/>
            <a:ext cx="614462" cy="196514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ource System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1" name="TextBox 290"/>
          <p:cNvSpPr txBox="1"/>
          <p:nvPr/>
        </p:nvSpPr>
        <p:spPr bwMode="auto">
          <a:xfrm>
            <a:off x="435846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EDW/RDW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역에서 시스템 부하발생으로 인해 정보분석업무 사용자의 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니즈를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수용하는 한계가 있음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업무제공마트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활용을 위한 리소스 부하가 큼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분석마트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구조 한계로 인해 사용자 분석이 용이하지 않음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632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성능중심 </a:t>
            </a:r>
            <a:r>
              <a:rPr lang="ko-KR" altLang="en-US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정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별 분리 구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DW, RDW, Data Mart 3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영역으로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분리하고 각 영역의 활용목적을 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776536" y="2560492"/>
            <a:ext cx="8238236" cy="238408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36000" tIns="36000" rIns="36000" bIns="36000" rtlCol="0" anchor="t" anchorCtr="0"/>
          <a:lstStyle/>
          <a:p>
            <a:pPr algn="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2240963" y="2727171"/>
            <a:ext cx="2852627" cy="67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5322575" y="2727169"/>
            <a:ext cx="1660549" cy="21488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5322575" y="2727169"/>
            <a:ext cx="1660549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DM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2243175" y="2727169"/>
            <a:ext cx="2850413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2240963" y="3464977"/>
            <a:ext cx="2852627" cy="67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2243175" y="3464977"/>
            <a:ext cx="2850413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원통 25"/>
          <p:cNvSpPr/>
          <p:nvPr/>
        </p:nvSpPr>
        <p:spPr bwMode="auto">
          <a:xfrm>
            <a:off x="5466176" y="3029213"/>
            <a:ext cx="1404623" cy="4763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lIns="0" tIns="0" rIns="0" bIns="0" rtlCol="0" anchor="ctr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원통 26"/>
          <p:cNvSpPr/>
          <p:nvPr/>
        </p:nvSpPr>
        <p:spPr bwMode="auto">
          <a:xfrm>
            <a:off x="5466176" y="3662883"/>
            <a:ext cx="1404623" cy="4763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원통 27"/>
          <p:cNvSpPr/>
          <p:nvPr/>
        </p:nvSpPr>
        <p:spPr bwMode="auto">
          <a:xfrm>
            <a:off x="5466176" y="4296554"/>
            <a:ext cx="1404623" cy="476385"/>
          </a:xfrm>
          <a:prstGeom prst="can">
            <a:avLst>
              <a:gd name="adj" fmla="val 1290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비정형마트</a:t>
            </a:r>
            <a:endParaRPr kumimoji="1" lang="ko-KR" altLang="en-US" sz="1200" b="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7218712" y="3165669"/>
            <a:ext cx="1660549" cy="17103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7218712" y="2974971"/>
            <a:ext cx="1660549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분석포탈</a:t>
            </a:r>
          </a:p>
        </p:txBody>
      </p:sp>
      <p:sp>
        <p:nvSpPr>
          <p:cNvPr id="46" name="직사각형 45"/>
          <p:cNvSpPr/>
          <p:nvPr/>
        </p:nvSpPr>
        <p:spPr bwMode="auto">
          <a:xfrm>
            <a:off x="7307475" y="3226295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shboard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7307475" y="3457898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7307475" y="3688500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정보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7307475" y="3919103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7307475" y="4149705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spc="-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d-hoc Query</a:t>
            </a:r>
            <a:endParaRPr kumimoji="1" lang="ko-KR" altLang="en-US" sz="1200" b="0" spc="-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7307475" y="4380308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ning(SAS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7307475" y="4610910"/>
            <a:ext cx="1453427" cy="19938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각화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R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7218712" y="2716663"/>
            <a:ext cx="1660549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CRM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2240963" y="4202783"/>
            <a:ext cx="2852627" cy="67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2243175" y="4202783"/>
            <a:ext cx="2850413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latin typeface="맑은 고딕" pitchFamily="50" charset="-127"/>
                <a:ea typeface="맑은 고딕" pitchFamily="50" charset="-127"/>
              </a:rPr>
              <a:t>빅데이터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원통 35"/>
          <p:cNvSpPr/>
          <p:nvPr/>
        </p:nvSpPr>
        <p:spPr bwMode="auto">
          <a:xfrm>
            <a:off x="2344567" y="2983817"/>
            <a:ext cx="1256486" cy="36508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원통 36"/>
          <p:cNvSpPr/>
          <p:nvPr/>
        </p:nvSpPr>
        <p:spPr bwMode="auto">
          <a:xfrm>
            <a:off x="3713325" y="2983817"/>
            <a:ext cx="1256486" cy="36508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성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원통 37"/>
          <p:cNvSpPr/>
          <p:nvPr/>
        </p:nvSpPr>
        <p:spPr bwMode="auto">
          <a:xfrm>
            <a:off x="2344567" y="4451247"/>
            <a:ext cx="1256486" cy="365081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데이터저장</a:t>
            </a:r>
          </a:p>
        </p:txBody>
      </p:sp>
      <p:sp>
        <p:nvSpPr>
          <p:cNvPr id="39" name="원통 38"/>
          <p:cNvSpPr/>
          <p:nvPr/>
        </p:nvSpPr>
        <p:spPr bwMode="auto">
          <a:xfrm>
            <a:off x="3713325" y="4451247"/>
            <a:ext cx="1256486" cy="365081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데이터분석</a:t>
            </a:r>
          </a:p>
        </p:txBody>
      </p:sp>
      <p:sp>
        <p:nvSpPr>
          <p:cNvPr id="41" name="원통 40"/>
          <p:cNvSpPr/>
          <p:nvPr/>
        </p:nvSpPr>
        <p:spPr bwMode="auto">
          <a:xfrm>
            <a:off x="2344567" y="3727582"/>
            <a:ext cx="758787" cy="36508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taging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원통 41"/>
          <p:cNvSpPr/>
          <p:nvPr/>
        </p:nvSpPr>
        <p:spPr bwMode="auto">
          <a:xfrm>
            <a:off x="3184414" y="3727582"/>
            <a:ext cx="758787" cy="36508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 of Record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원통 42"/>
          <p:cNvSpPr/>
          <p:nvPr/>
        </p:nvSpPr>
        <p:spPr bwMode="auto">
          <a:xfrm>
            <a:off x="4024259" y="3727582"/>
            <a:ext cx="945551" cy="20462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ummary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원통 43"/>
          <p:cNvSpPr/>
          <p:nvPr/>
        </p:nvSpPr>
        <p:spPr bwMode="auto">
          <a:xfrm>
            <a:off x="4024259" y="3918320"/>
            <a:ext cx="945551" cy="204621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eedback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939938" y="2727169"/>
            <a:ext cx="1177246" cy="21488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939938" y="2727169"/>
            <a:ext cx="1177246" cy="198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데이터적재</a:t>
            </a:r>
          </a:p>
        </p:txBody>
      </p:sp>
      <p:sp>
        <p:nvSpPr>
          <p:cNvPr id="12" name="설명선 2 11"/>
          <p:cNvSpPr/>
          <p:nvPr/>
        </p:nvSpPr>
        <p:spPr bwMode="auto">
          <a:xfrm>
            <a:off x="4441340" y="1412875"/>
            <a:ext cx="3175956" cy="791989"/>
          </a:xfrm>
          <a:prstGeom prst="borderCallout2">
            <a:avLst>
              <a:gd name="adj1" fmla="val 18750"/>
              <a:gd name="adj2" fmla="val -564"/>
              <a:gd name="adj3" fmla="val 18750"/>
              <a:gd name="adj4" fmla="val -16667"/>
              <a:gd name="adj5" fmla="val 163814"/>
              <a:gd name="adj6" fmla="val -35699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 Layer</a:t>
            </a:r>
            <a:endParaRPr kumimoji="1" lang="en-US" altLang="ko-KR" sz="1200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35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널 접촉 정보 실시간 수집</a:t>
            </a:r>
          </a:p>
          <a:p>
            <a:pPr marL="3635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마케팅 연계 지원</a:t>
            </a:r>
          </a:p>
          <a:p>
            <a:pPr marL="3635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속보 등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KPI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</a:p>
        </p:txBody>
      </p:sp>
      <p:sp>
        <p:nvSpPr>
          <p:cNvPr id="58" name="설명선 2 57"/>
          <p:cNvSpPr/>
          <p:nvPr/>
        </p:nvSpPr>
        <p:spPr bwMode="auto">
          <a:xfrm>
            <a:off x="1066223" y="5184784"/>
            <a:ext cx="3175956" cy="791989"/>
          </a:xfrm>
          <a:prstGeom prst="borderCallout2">
            <a:avLst>
              <a:gd name="adj1" fmla="val 20583"/>
              <a:gd name="adj2" fmla="val 100434"/>
              <a:gd name="adj3" fmla="val 20582"/>
              <a:gd name="adj4" fmla="val 108095"/>
              <a:gd name="adj5" fmla="val -129408"/>
              <a:gd name="adj6" fmla="val 121968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</a:pP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kumimoji="1" lang="en-US" altLang="ko-KR" sz="12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EDW Layer</a:t>
            </a:r>
            <a:endParaRPr kumimoji="1" lang="en-US" altLang="ko-KR" sz="1200" u="sng" dirty="0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35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양한 소스로부터의 데이터가 정제 변환된 통합된 데이터 저장고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35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 Interface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Hub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설명선 2 58"/>
          <p:cNvSpPr/>
          <p:nvPr/>
        </p:nvSpPr>
        <p:spPr bwMode="auto">
          <a:xfrm>
            <a:off x="5787770" y="5184783"/>
            <a:ext cx="3175956" cy="791989"/>
          </a:xfrm>
          <a:prstGeom prst="borderCallout2">
            <a:avLst>
              <a:gd name="adj1" fmla="val 18750"/>
              <a:gd name="adj2" fmla="val -564"/>
              <a:gd name="adj3" fmla="val 18750"/>
              <a:gd name="adj4" fmla="val -4328"/>
              <a:gd name="adj5" fmla="val -37776"/>
              <a:gd name="adj6" fmla="val -8736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ts val="0"/>
              </a:spcBef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 Mart Layer</a:t>
            </a:r>
          </a:p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Populate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licate</a:t>
            </a:r>
          </a:p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가들의 다차원 분석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Cross Function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예측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1066223" y="3059389"/>
            <a:ext cx="934449" cy="264203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DC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1066223" y="3389792"/>
            <a:ext cx="934449" cy="264203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AI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1066223" y="3727586"/>
            <a:ext cx="934449" cy="264202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L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1066223" y="4070684"/>
            <a:ext cx="934449" cy="264202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FT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1066223" y="4447593"/>
            <a:ext cx="934449" cy="264202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353181" y="1355649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660342" y="5115521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C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983480" y="5115521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latin typeface="맑은 고딕" pitchFamily="50" charset="-127"/>
                <a:ea typeface="맑은 고딕" pitchFamily="50" charset="-127"/>
              </a:rPr>
              <a:t>B</a:t>
            </a:r>
            <a:endParaRPr kumimoji="1"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 bwMode="auto">
          <a:xfrm flipV="1">
            <a:off x="776536" y="2479449"/>
            <a:ext cx="823823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" name="직사각형 6"/>
          <p:cNvSpPr/>
          <p:nvPr/>
        </p:nvSpPr>
        <p:spPr>
          <a:xfrm>
            <a:off x="4107708" y="2185119"/>
            <a:ext cx="18315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spcBef>
                <a:spcPts val="0"/>
              </a:spcBef>
            </a:pPr>
            <a:r>
              <a:rPr kumimoji="1" lang="ko-KR" altLang="en-US" sz="14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계</a:t>
            </a: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</a:t>
            </a:r>
            <a:endParaRPr kumimoji="1" lang="en-US" altLang="ko-KR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4" name="그룹 7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3" name="그룹 8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2491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그룹 61"/>
          <p:cNvGrpSpPr/>
          <p:nvPr/>
        </p:nvGrpSpPr>
        <p:grpSpPr>
          <a:xfrm>
            <a:off x="312264" y="1844823"/>
            <a:ext cx="5288808" cy="4320481"/>
            <a:chOff x="312264" y="1844823"/>
            <a:chExt cx="5288808" cy="4320481"/>
          </a:xfrm>
        </p:grpSpPr>
        <p:sp>
          <p:nvSpPr>
            <p:cNvPr id="21" name="Rectangle 30"/>
            <p:cNvSpPr/>
            <p:nvPr/>
          </p:nvSpPr>
          <p:spPr bwMode="gray">
            <a:xfrm>
              <a:off x="312264" y="1844823"/>
              <a:ext cx="5288808" cy="432048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0" name="Rectangle 30"/>
            <p:cNvSpPr/>
            <p:nvPr/>
          </p:nvSpPr>
          <p:spPr bwMode="gray">
            <a:xfrm>
              <a:off x="312264" y="1844824"/>
              <a:ext cx="5288808" cy="3251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/>
          </p:spPr>
          <p:txBody>
            <a:bodyPr wrap="none" lIns="18000" rIns="18000" anchor="ctr"/>
            <a:lstStyle/>
            <a:p>
              <a:pPr algn="ctr" eaLnBrk="0" hangingPunct="0"/>
              <a:r>
                <a:rPr lang="en-US" altLang="ko-KR" sz="14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RDW </a:t>
              </a:r>
              <a:r>
                <a:rPr lang="ko-KR" altLang="en-US" sz="14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데이터 영역 및 구성방향</a:t>
              </a:r>
              <a:endPara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8" name="직사각형 7"/>
          <p:cNvSpPr/>
          <p:nvPr/>
        </p:nvSpPr>
        <p:spPr bwMode="auto">
          <a:xfrm>
            <a:off x="488504" y="2276872"/>
            <a:ext cx="2357543" cy="223224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원통 9"/>
          <p:cNvSpPr/>
          <p:nvPr/>
        </p:nvSpPr>
        <p:spPr bwMode="auto">
          <a:xfrm>
            <a:off x="811037" y="2564335"/>
            <a:ext cx="1672384" cy="7242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원통 10"/>
          <p:cNvSpPr/>
          <p:nvPr/>
        </p:nvSpPr>
        <p:spPr bwMode="auto">
          <a:xfrm>
            <a:off x="811037" y="3470991"/>
            <a:ext cx="1672384" cy="72429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성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3080771" y="2449347"/>
            <a:ext cx="2376285" cy="86943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t" anchorCtr="0"/>
          <a:lstStyle/>
          <a:p>
            <a:pPr latinLnBrk="0">
              <a:spcBef>
                <a:spcPts val="0"/>
              </a:spcBef>
            </a:pPr>
            <a:r>
              <a:rPr kumimoji="1" lang="ko-KR" altLang="en-US" sz="1200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영역</a:t>
            </a:r>
            <a:endParaRPr kumimoji="1" lang="en-US" altLang="ko-KR" sz="1200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92088" algn="ctr" latinLnBrk="0">
              <a:spcBef>
                <a:spcPts val="0"/>
              </a:spcBef>
            </a:pP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정보 제공을 위한 준 실시간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역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3080771" y="3476166"/>
            <a:ext cx="2376285" cy="86943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t" anchorCtr="0"/>
          <a:lstStyle/>
          <a:p>
            <a:pPr latinLnBrk="0">
              <a:spcBef>
                <a:spcPts val="0"/>
              </a:spcBef>
            </a:pPr>
            <a:r>
              <a:rPr kumimoji="1" lang="ko-KR" altLang="en-US" sz="1200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성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영역</a:t>
            </a:r>
            <a:endParaRPr kumimoji="1" lang="en-US" altLang="ko-KR" sz="1200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92088" algn="ctr" latinLnBrk="0">
              <a:spcBef>
                <a:spcPts val="0"/>
              </a:spcBef>
            </a:pP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DS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를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분석을 위해 요약한 영역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 bwMode="auto">
          <a:xfrm>
            <a:off x="420441" y="4876470"/>
            <a:ext cx="5112568" cy="11899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36000" rIns="72000" bIns="72000" rtlCol="0" anchor="ctr" anchorCtr="0">
            <a:noAutofit/>
          </a:bodyPr>
          <a:lstStyle>
            <a:defPPr>
              <a:defRPr lang="en-US"/>
            </a:defPPr>
            <a:lvl1pPr marL="90488" indent="-90488" latinLnBrk="0">
              <a:spcBef>
                <a:spcPct val="30000"/>
              </a:spcBef>
              <a:buFont typeface="Wingdings" pitchFamily="2" charset="2"/>
              <a:buChar char="§"/>
              <a:defRPr sz="1100">
                <a:solidFill>
                  <a:srgbClr val="000000"/>
                </a:solidFill>
                <a:latin typeface="맑은 고딕"/>
                <a:ea typeface="맑은 고딕"/>
              </a:defRPr>
            </a:lvl1pPr>
          </a:lstStyle>
          <a:p>
            <a:r>
              <a:rPr lang="ko-KR" altLang="en-US" dirty="0"/>
              <a:t>데이터 적시성과 정합성 보장을 위한 연동 기능 적용</a:t>
            </a:r>
            <a:endParaRPr lang="en-US" altLang="ko-KR" dirty="0"/>
          </a:p>
          <a:p>
            <a:r>
              <a:rPr lang="ko-KR" altLang="en-US" dirty="0"/>
              <a:t>업무에 따라 논리</a:t>
            </a:r>
            <a:r>
              <a:rPr lang="en-US" altLang="ko-KR" dirty="0"/>
              <a:t>/</a:t>
            </a:r>
            <a:r>
              <a:rPr lang="ko-KR" altLang="en-US" dirty="0"/>
              <a:t>물리적 분리 배치하되</a:t>
            </a:r>
            <a:r>
              <a:rPr lang="en-US" altLang="ko-KR" dirty="0"/>
              <a:t>, </a:t>
            </a:r>
            <a:r>
              <a:rPr lang="ko-KR" altLang="en-US" dirty="0"/>
              <a:t>데이터 중복 최소화를 위한 </a:t>
            </a:r>
            <a:r>
              <a:rPr lang="en-US" altLang="ko-KR" dirty="0"/>
              <a:t>Read Only Access</a:t>
            </a:r>
          </a:p>
          <a:p>
            <a:r>
              <a:rPr lang="ko-KR" altLang="en-US" dirty="0"/>
              <a:t>후처리 어플리케이션에 대한 수정 오버헤드를 최소화한 전달체계 </a:t>
            </a:r>
          </a:p>
        </p:txBody>
      </p:sp>
      <p:sp>
        <p:nvSpPr>
          <p:cNvPr id="24" name="이등변 삼각형 23"/>
          <p:cNvSpPr/>
          <p:nvPr/>
        </p:nvSpPr>
        <p:spPr bwMode="auto">
          <a:xfrm rot="5400000">
            <a:off x="5165195" y="3804389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6703018" y="2204567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정보 제공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6689866" y="2866086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DC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용하여 데이터를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 적재하고 이를 리포트로 구현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정보와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데이터를 구분하여 단순 리포트는 실시간 원장에서 집계가 필요한 경우는 준 실시간 영역에서 데이터 제공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6689866" y="4041446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BM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에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 적재된 정보로부터의 이벤트 감지 지원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6678494" y="4799257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 원천이 되는 변경정보를 추출할 수 있는 구조로 구현</a:t>
            </a:r>
          </a:p>
        </p:txBody>
      </p:sp>
      <p:sp>
        <p:nvSpPr>
          <p:cNvPr id="43" name="직사각형 42"/>
          <p:cNvSpPr/>
          <p:nvPr/>
        </p:nvSpPr>
        <p:spPr bwMode="auto">
          <a:xfrm>
            <a:off x="6681192" y="5690544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료조회에 장기간이 소요되거나 타 업무정보에 연계하여 실적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등을 모니터링 하기 위한 단기간의 집계정보 생성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6355734" y="3757076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6703018" y="3757076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BM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참조 정보 제공</a:t>
            </a:r>
          </a:p>
        </p:txBody>
      </p:sp>
      <p:sp>
        <p:nvSpPr>
          <p:cNvPr id="32" name="직사각형 31"/>
          <p:cNvSpPr/>
          <p:nvPr/>
        </p:nvSpPr>
        <p:spPr bwMode="auto">
          <a:xfrm>
            <a:off x="6355734" y="4514887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6703018" y="4514887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 제공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6355734" y="5224130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6703018" y="5224130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요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KPI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련 정보 집계 제공</a:t>
            </a:r>
          </a:p>
        </p:txBody>
      </p:sp>
      <p:cxnSp>
        <p:nvCxnSpPr>
          <p:cNvPr id="46" name="직선 연결선 45"/>
          <p:cNvCxnSpPr>
            <a:stCxn id="10" idx="4"/>
            <a:endCxn id="14" idx="1"/>
          </p:cNvCxnSpPr>
          <p:nvPr/>
        </p:nvCxnSpPr>
        <p:spPr bwMode="auto">
          <a:xfrm flipV="1">
            <a:off x="2483421" y="2884062"/>
            <a:ext cx="597350" cy="4241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47" name="직선 연결선 46"/>
          <p:cNvCxnSpPr>
            <a:stCxn id="11" idx="4"/>
            <a:endCxn id="15" idx="1"/>
          </p:cNvCxnSpPr>
          <p:nvPr/>
        </p:nvCxnSpPr>
        <p:spPr bwMode="auto">
          <a:xfrm>
            <a:off x="2483421" y="3833137"/>
            <a:ext cx="597350" cy="7774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2" name="제목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능중심 </a:t>
            </a:r>
            <a:r>
              <a:rPr lang="ko-KR" altLang="en-US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정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역별 분리 구성</a:t>
            </a:r>
          </a:p>
        </p:txBody>
      </p:sp>
      <p:sp>
        <p:nvSpPr>
          <p:cNvPr id="57" name="내용 개체 틀 56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DW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은 채널접촉정보 실시간 수집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데이터 정보 제공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속보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실적정보를 관리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은 아래와 같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56085" y="1871188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3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4" name="TextBox 63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계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영역별 분리구성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5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67" name="TextBox 6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0" name="직사각형 69"/>
          <p:cNvSpPr/>
          <p:nvPr/>
        </p:nvSpPr>
        <p:spPr bwMode="auto">
          <a:xfrm>
            <a:off x="6343851" y="1790439"/>
            <a:ext cx="3172029" cy="3588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요 개선 요건</a:t>
            </a: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연결선 70"/>
          <p:cNvCxnSpPr/>
          <p:nvPr/>
        </p:nvCxnSpPr>
        <p:spPr bwMode="auto">
          <a:xfrm>
            <a:off x="6321152" y="2149291"/>
            <a:ext cx="308052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2" name="직사각형 71"/>
          <p:cNvSpPr/>
          <p:nvPr/>
        </p:nvSpPr>
        <p:spPr bwMode="auto">
          <a:xfrm>
            <a:off x="6355734" y="2207555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4" name="그룹 7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5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6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7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3" name="그룹 8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0411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30"/>
          <p:cNvSpPr/>
          <p:nvPr/>
        </p:nvSpPr>
        <p:spPr bwMode="gray">
          <a:xfrm>
            <a:off x="312264" y="1844823"/>
            <a:ext cx="5288808" cy="432048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Rectangle 30"/>
          <p:cNvSpPr/>
          <p:nvPr/>
        </p:nvSpPr>
        <p:spPr bwMode="gray">
          <a:xfrm>
            <a:off x="312264" y="1844824"/>
            <a:ext cx="5288808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DW </a:t>
            </a:r>
            <a:r>
              <a:rPr lang="ko-KR" altLang="en-US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영역 및 구성방향</a:t>
            </a:r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중심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정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역별 분리 구성</a:t>
            </a:r>
          </a:p>
        </p:txBody>
      </p:sp>
      <p:sp>
        <p:nvSpPr>
          <p:cNvPr id="22" name="내용 개체 틀 21"/>
          <p:cNvSpPr>
            <a:spLocks noGrp="1"/>
          </p:cNvSpPr>
          <p:nvPr>
            <p:ph idx="1"/>
          </p:nvPr>
        </p:nvSpPr>
        <p:spPr>
          <a:xfrm>
            <a:off x="286043" y="663574"/>
            <a:ext cx="8165227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DW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나의 통합된 상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Biz Logic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반영한 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napsho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를 관리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한 개선요건은 아래와 같음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954751" y="2722484"/>
            <a:ext cx="433086" cy="1044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2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kumimoji="1" lang="ko-KR" altLang="en-US" sz="24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416496" y="2231758"/>
            <a:ext cx="2544221" cy="177869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24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원통 37"/>
          <p:cNvSpPr/>
          <p:nvPr/>
        </p:nvSpPr>
        <p:spPr bwMode="auto">
          <a:xfrm>
            <a:off x="508899" y="2474959"/>
            <a:ext cx="676753" cy="1365286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taging</a:t>
            </a:r>
            <a:endParaRPr kumimoji="1" lang="ko-KR" altLang="en-US" sz="14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원통 38"/>
          <p:cNvSpPr/>
          <p:nvPr/>
        </p:nvSpPr>
        <p:spPr bwMode="auto">
          <a:xfrm>
            <a:off x="1257949" y="2474959"/>
            <a:ext cx="676753" cy="1365286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 of Record</a:t>
            </a:r>
            <a:endParaRPr kumimoji="1" lang="ko-KR" altLang="en-US" sz="14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원통 43"/>
          <p:cNvSpPr/>
          <p:nvPr/>
        </p:nvSpPr>
        <p:spPr bwMode="auto">
          <a:xfrm>
            <a:off x="2006995" y="2474959"/>
            <a:ext cx="843325" cy="656319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ummary</a:t>
            </a:r>
            <a:endParaRPr kumimoji="1" lang="ko-KR" altLang="en-US" sz="14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원통 44"/>
          <p:cNvSpPr/>
          <p:nvPr/>
        </p:nvSpPr>
        <p:spPr bwMode="auto">
          <a:xfrm>
            <a:off x="2006995" y="3188257"/>
            <a:ext cx="843325" cy="651988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eedback</a:t>
            </a:r>
            <a:endParaRPr kumimoji="1" lang="ko-KR" altLang="en-US" sz="14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3108526" y="2231758"/>
            <a:ext cx="2383970" cy="177869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atinLnBrk="0">
              <a:spcBef>
                <a:spcPts val="0"/>
              </a:spcBef>
              <a:defRPr kumimoji="1" sz="1200" u="sng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요약 영역</a:t>
            </a:r>
            <a:endParaRPr lang="en-US" altLang="ko-KR" dirty="0"/>
          </a:p>
          <a:p>
            <a:endParaRPr lang="en-US" altLang="ko-KR" dirty="0" smtClean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 smtClean="0"/>
              <a:t>데이터 </a:t>
            </a:r>
            <a:r>
              <a:rPr lang="ko-KR" altLang="en-US" u="none" dirty="0" err="1"/>
              <a:t>마트</a:t>
            </a:r>
            <a:r>
              <a:rPr lang="ko-KR" altLang="en-US" u="none" dirty="0"/>
              <a:t> 및 타 </a:t>
            </a:r>
            <a:r>
              <a:rPr lang="en-US" altLang="ko-KR" u="none" dirty="0"/>
              <a:t>DB</a:t>
            </a:r>
            <a:r>
              <a:rPr lang="ko-KR" altLang="en-US" u="none" dirty="0"/>
              <a:t>에서 공통적으로 자주 이용되는 요약 데이터 세트</a:t>
            </a:r>
            <a:endParaRPr lang="en-US" altLang="ko-KR" u="none" dirty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/>
              <a:t>구조 </a:t>
            </a:r>
            <a:r>
              <a:rPr lang="en-US" altLang="ko-KR" u="none" dirty="0"/>
              <a:t>: </a:t>
            </a:r>
            <a:r>
              <a:rPr lang="ko-KR" altLang="en-US" u="none" dirty="0"/>
              <a:t>대행 </a:t>
            </a:r>
            <a:r>
              <a:rPr lang="en-US" altLang="ko-KR" u="none" dirty="0"/>
              <a:t>Fact </a:t>
            </a:r>
            <a:r>
              <a:rPr lang="ko-KR" altLang="en-US" u="none" dirty="0"/>
              <a:t>테이블 구조</a:t>
            </a:r>
            <a:endParaRPr lang="en-US" altLang="ko-KR" u="none" dirty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/>
              <a:t>보관주기 </a:t>
            </a:r>
            <a:r>
              <a:rPr lang="en-US" altLang="ko-KR" u="none" dirty="0"/>
              <a:t>: 1~5</a:t>
            </a:r>
            <a:r>
              <a:rPr lang="ko-KR" altLang="en-US" u="none" dirty="0"/>
              <a:t>년의 </a:t>
            </a:r>
            <a:r>
              <a:rPr lang="ko-KR" altLang="en-US" u="none" dirty="0" err="1"/>
              <a:t>시계열</a:t>
            </a:r>
            <a:r>
              <a:rPr lang="ko-KR" altLang="en-US" u="none" dirty="0"/>
              <a:t> 자료 보관</a:t>
            </a:r>
          </a:p>
        </p:txBody>
      </p:sp>
      <p:sp>
        <p:nvSpPr>
          <p:cNvPr id="47" name="TextBox 46"/>
          <p:cNvSpPr txBox="1"/>
          <p:nvPr/>
        </p:nvSpPr>
        <p:spPr bwMode="auto">
          <a:xfrm>
            <a:off x="3108526" y="4168267"/>
            <a:ext cx="2383970" cy="1799004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atinLnBrk="0">
              <a:spcBef>
                <a:spcPts val="0"/>
              </a:spcBef>
              <a:defRPr kumimoji="1" sz="1200" u="sng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피드백 영역</a:t>
            </a:r>
            <a:endParaRPr lang="en-US" altLang="ko-KR" dirty="0"/>
          </a:p>
          <a:p>
            <a:endParaRPr lang="en-US" altLang="ko-KR" dirty="0" smtClean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 smtClean="0"/>
              <a:t>특정 </a:t>
            </a:r>
            <a:r>
              <a:rPr lang="ko-KR" altLang="en-US" u="none" dirty="0"/>
              <a:t>데이터 </a:t>
            </a:r>
            <a:r>
              <a:rPr lang="ko-KR" altLang="en-US" u="none" dirty="0" err="1"/>
              <a:t>마트에서</a:t>
            </a:r>
            <a:r>
              <a:rPr lang="ko-KR" altLang="en-US" u="none" dirty="0"/>
              <a:t> 생성된 데이터를 피드백 받아 타 업무와 공유하기 위한 영역</a:t>
            </a:r>
            <a:endParaRPr lang="en-US" altLang="ko-KR" u="none" dirty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/>
              <a:t>구조 </a:t>
            </a:r>
            <a:r>
              <a:rPr lang="en-US" altLang="ko-KR" u="none" dirty="0"/>
              <a:t>: </a:t>
            </a:r>
            <a:r>
              <a:rPr lang="ko-KR" altLang="en-US" u="none" dirty="0"/>
              <a:t>목적 </a:t>
            </a:r>
            <a:r>
              <a:rPr lang="en-US" altLang="ko-KR" u="none" dirty="0"/>
              <a:t>DB </a:t>
            </a:r>
            <a:r>
              <a:rPr lang="ko-KR" altLang="en-US" u="none" dirty="0"/>
              <a:t>테이블 구조</a:t>
            </a:r>
            <a:endParaRPr lang="en-US" altLang="ko-KR" u="none" dirty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/>
              <a:t>보관주기 </a:t>
            </a:r>
            <a:r>
              <a:rPr lang="en-US" altLang="ko-KR" u="none" dirty="0"/>
              <a:t>: 1~5</a:t>
            </a:r>
            <a:r>
              <a:rPr lang="ko-KR" altLang="en-US" u="none" dirty="0"/>
              <a:t>년 </a:t>
            </a:r>
            <a:r>
              <a:rPr lang="ko-KR" altLang="en-US" u="none" dirty="0" err="1"/>
              <a:t>시계열</a:t>
            </a:r>
            <a:r>
              <a:rPr lang="ko-KR" altLang="en-US" u="none" dirty="0"/>
              <a:t> 자료 보관</a:t>
            </a:r>
          </a:p>
        </p:txBody>
      </p:sp>
      <p:sp>
        <p:nvSpPr>
          <p:cNvPr id="48" name="TextBox 47"/>
          <p:cNvSpPr txBox="1"/>
          <p:nvPr/>
        </p:nvSpPr>
        <p:spPr bwMode="auto">
          <a:xfrm>
            <a:off x="416496" y="4168266"/>
            <a:ext cx="2544221" cy="179900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atinLnBrk="0">
              <a:spcBef>
                <a:spcPts val="0"/>
              </a:spcBef>
              <a:defRPr kumimoji="1" sz="1200" u="sng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Staging </a:t>
            </a:r>
            <a:r>
              <a:rPr lang="ko-KR" altLang="en-US" dirty="0"/>
              <a:t>및 통합 영역</a:t>
            </a:r>
            <a:r>
              <a:rPr lang="en-US" altLang="ko-KR" dirty="0"/>
              <a:t>(SOR)</a:t>
            </a:r>
          </a:p>
          <a:p>
            <a:endParaRPr lang="en-US" altLang="ko-KR" dirty="0" smtClean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u="none" dirty="0" err="1" smtClean="0"/>
              <a:t>계정계</a:t>
            </a:r>
            <a:r>
              <a:rPr lang="ko-KR" altLang="en-US" u="none" dirty="0" smtClean="0"/>
              <a:t> </a:t>
            </a:r>
            <a:r>
              <a:rPr lang="ko-KR" altLang="en-US" u="none" dirty="0"/>
              <a:t>등 원천 데이터 복제 영역으로 원천 시스템 데이터와 동일한 상세 수준의 데이터</a:t>
            </a:r>
            <a:endParaRPr lang="en-US" altLang="ko-KR" u="none" dirty="0"/>
          </a:p>
          <a:p>
            <a:pPr marL="93663" indent="-93663">
              <a:buFont typeface="Wingdings" panose="05000000000000000000" pitchFamily="2" charset="2"/>
              <a:buChar char="§"/>
            </a:pPr>
            <a:r>
              <a:rPr lang="en-US" altLang="ko-KR" u="none" dirty="0"/>
              <a:t>DW</a:t>
            </a:r>
            <a:r>
              <a:rPr lang="ko-KR" altLang="en-US" u="none" dirty="0"/>
              <a:t>의 </a:t>
            </a:r>
            <a:r>
              <a:rPr lang="en-US" altLang="ko-KR" u="none" dirty="0"/>
              <a:t>Main </a:t>
            </a:r>
            <a:r>
              <a:rPr lang="ko-KR" altLang="en-US" u="none" dirty="0"/>
              <a:t>데이터영역으로 유연성</a:t>
            </a:r>
            <a:r>
              <a:rPr lang="en-US" altLang="ko-KR" u="none" dirty="0"/>
              <a:t>, </a:t>
            </a:r>
            <a:r>
              <a:rPr lang="ko-KR" altLang="en-US" u="none" dirty="0" err="1"/>
              <a:t>확정성을</a:t>
            </a:r>
            <a:r>
              <a:rPr lang="ko-KR" altLang="en-US" u="none" dirty="0"/>
              <a:t> 감안하여 설계한 영역</a:t>
            </a:r>
            <a:r>
              <a:rPr lang="en-US" altLang="ko-KR" u="none" dirty="0"/>
              <a:t>, </a:t>
            </a:r>
            <a:r>
              <a:rPr lang="ko-KR" altLang="en-US" u="none" dirty="0" err="1"/>
              <a:t>원장성</a:t>
            </a:r>
            <a:r>
              <a:rPr lang="ko-KR" altLang="en-US" u="none" dirty="0"/>
              <a:t> 데이터는 영구 보관</a:t>
            </a:r>
          </a:p>
        </p:txBody>
      </p:sp>
      <p:cxnSp>
        <p:nvCxnSpPr>
          <p:cNvPr id="27" name="꺾인 연결선 26"/>
          <p:cNvCxnSpPr>
            <a:stCxn id="38" idx="3"/>
            <a:endCxn id="48" idx="0"/>
          </p:cNvCxnSpPr>
          <p:nvPr/>
        </p:nvCxnSpPr>
        <p:spPr bwMode="auto">
          <a:xfrm rot="16200000" flipH="1">
            <a:off x="1103931" y="3583589"/>
            <a:ext cx="328021" cy="84133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sm" len="sm"/>
            <a:tailEnd type="oval" w="med" len="med"/>
          </a:ln>
          <a:effectLst/>
        </p:spPr>
      </p:cxnSp>
      <p:cxnSp>
        <p:nvCxnSpPr>
          <p:cNvPr id="66" name="꺾인 연결선 65"/>
          <p:cNvCxnSpPr>
            <a:stCxn id="39" idx="3"/>
            <a:endCxn id="48" idx="0"/>
          </p:cNvCxnSpPr>
          <p:nvPr/>
        </p:nvCxnSpPr>
        <p:spPr bwMode="auto">
          <a:xfrm rot="16200000" flipH="1">
            <a:off x="1478456" y="3958114"/>
            <a:ext cx="328021" cy="922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sm" len="sm"/>
            <a:tailEnd type="oval" w="med" len="med"/>
          </a:ln>
          <a:effectLst/>
        </p:spPr>
      </p:cxnSp>
      <p:cxnSp>
        <p:nvCxnSpPr>
          <p:cNvPr id="70" name="꺾인 연결선 69"/>
          <p:cNvCxnSpPr>
            <a:stCxn id="45" idx="3"/>
            <a:endCxn id="47" idx="0"/>
          </p:cNvCxnSpPr>
          <p:nvPr/>
        </p:nvCxnSpPr>
        <p:spPr bwMode="auto">
          <a:xfrm rot="16200000" flipH="1">
            <a:off x="3200573" y="3068329"/>
            <a:ext cx="328022" cy="1871853"/>
          </a:xfrm>
          <a:prstGeom prst="bentConnector3">
            <a:avLst>
              <a:gd name="adj1" fmla="val 68037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sm" len="sm"/>
            <a:tailEnd type="oval" w="med" len="med"/>
          </a:ln>
          <a:effectLst/>
        </p:spPr>
      </p:cxnSp>
      <p:cxnSp>
        <p:nvCxnSpPr>
          <p:cNvPr id="74" name="꺾인 연결선 73"/>
          <p:cNvCxnSpPr>
            <a:stCxn id="44" idx="4"/>
            <a:endCxn id="46" idx="1"/>
          </p:cNvCxnSpPr>
          <p:nvPr/>
        </p:nvCxnSpPr>
        <p:spPr bwMode="auto">
          <a:xfrm>
            <a:off x="2850320" y="2803119"/>
            <a:ext cx="258206" cy="317985"/>
          </a:xfrm>
          <a:prstGeom prst="bentConnector3">
            <a:avLst>
              <a:gd name="adj1" fmla="val 65624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sm" len="sm"/>
            <a:tailEnd type="oval" w="med" len="med"/>
          </a:ln>
          <a:effectLst/>
        </p:spPr>
      </p:cxnSp>
      <p:sp>
        <p:nvSpPr>
          <p:cNvPr id="103" name="직사각형 102"/>
          <p:cNvSpPr/>
          <p:nvPr/>
        </p:nvSpPr>
        <p:spPr bwMode="auto">
          <a:xfrm>
            <a:off x="356085" y="1871188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B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91000" y="1412776"/>
            <a:ext cx="9324000" cy="360000"/>
          </a:xfrm>
          <a:prstGeom prst="rect">
            <a:avLst/>
          </a:prstGeom>
          <a:noFill/>
        </p:spPr>
        <p:txBody>
          <a:bodyPr vert="horz" wrap="square" lIns="72000" tIns="36000" rIns="0" bIns="36000" rtlCol="0" anchor="ctr" anchorCtr="0">
            <a:noAutofit/>
          </a:bodyPr>
          <a:lstStyle/>
          <a:p>
            <a:pPr latinLnBrk="0"/>
            <a:r>
              <a:rPr lang="ko-KR" altLang="en-US" sz="14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영역별 분리구성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案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6" name="Straight Connector 55"/>
          <p:cNvCxnSpPr/>
          <p:nvPr/>
        </p:nvCxnSpPr>
        <p:spPr>
          <a:xfrm>
            <a:off x="291000" y="1772776"/>
            <a:ext cx="932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8409384" y="1412776"/>
            <a:ext cx="110976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88900" marR="0" lvl="0" indent="-88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LLUSTRATIVE</a:t>
            </a:r>
            <a:endParaRPr kumimoji="0" lang="ko-KR" altLang="en-US" sz="100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9" name="직선 연결선 215"/>
          <p:cNvCxnSpPr/>
          <p:nvPr/>
        </p:nvCxnSpPr>
        <p:spPr bwMode="auto">
          <a:xfrm>
            <a:off x="8451270" y="1431546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0" name="직선 연결선 213"/>
          <p:cNvCxnSpPr/>
          <p:nvPr/>
        </p:nvCxnSpPr>
        <p:spPr bwMode="auto">
          <a:xfrm>
            <a:off x="8451270" y="1639054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직사각형 110"/>
          <p:cNvSpPr/>
          <p:nvPr/>
        </p:nvSpPr>
        <p:spPr bwMode="auto">
          <a:xfrm>
            <a:off x="6343851" y="1790439"/>
            <a:ext cx="3172029" cy="3588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요 개선 요건</a:t>
            </a: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2" name="직선 연결선 111"/>
          <p:cNvCxnSpPr/>
          <p:nvPr/>
        </p:nvCxnSpPr>
        <p:spPr bwMode="auto">
          <a:xfrm>
            <a:off x="6321152" y="2149291"/>
            <a:ext cx="308052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14" name="직사각형 113"/>
          <p:cNvSpPr/>
          <p:nvPr/>
        </p:nvSpPr>
        <p:spPr bwMode="auto">
          <a:xfrm>
            <a:off x="6355734" y="2207555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6703018" y="2207555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원천영역 변경 최소화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6689866" y="2433422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DC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를 활용하여 구현하되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당 특성을 고려하여 원천과 동일한 모델로 설계 필요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-1 Batch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L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작업이 수행되는 경우에도 가능한 원천 모델의 수정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을 지양하여 최소한의 모델링을 통해 원천의 정합성을 유지 필요</a:t>
            </a:r>
          </a:p>
        </p:txBody>
      </p:sp>
      <p:sp>
        <p:nvSpPr>
          <p:cNvPr id="126" name="직사각형 125"/>
          <p:cNvSpPr/>
          <p:nvPr/>
        </p:nvSpPr>
        <p:spPr bwMode="auto">
          <a:xfrm>
            <a:off x="6355734" y="4002396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6703018" y="4002396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B/OB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접촉정보 통합</a:t>
            </a:r>
          </a:p>
        </p:txBody>
      </p:sp>
      <p:sp>
        <p:nvSpPr>
          <p:cNvPr id="128" name="직사각형 127"/>
          <p:cNvSpPr/>
          <p:nvPr/>
        </p:nvSpPr>
        <p:spPr bwMode="auto">
          <a:xfrm>
            <a:off x="6689866" y="4228263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 적재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B/OB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 고객접촉 정보를 정보활용 및 분석 유형을 고려하여 별도 통합하여 제공 필요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널통합정보를 가공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하여 고객반응정보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선호채널 정보 등 집계 필요</a:t>
            </a:r>
          </a:p>
        </p:txBody>
      </p:sp>
      <p:sp>
        <p:nvSpPr>
          <p:cNvPr id="129" name="직사각형 128"/>
          <p:cNvSpPr/>
          <p:nvPr/>
        </p:nvSpPr>
        <p:spPr bwMode="auto">
          <a:xfrm>
            <a:off x="6355734" y="5442556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6703018" y="5442556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 접촉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View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</a:p>
        </p:txBody>
      </p:sp>
      <p:sp>
        <p:nvSpPr>
          <p:cNvPr id="131" name="직사각형 130"/>
          <p:cNvSpPr/>
          <p:nvPr/>
        </p:nvSpPr>
        <p:spPr bwMode="auto">
          <a:xfrm>
            <a:off x="6689866" y="5668423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으로 분리하여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B/OB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촉정보를 논리적으로 통합하여 제공 필요</a:t>
            </a:r>
          </a:p>
        </p:txBody>
      </p:sp>
      <p:sp>
        <p:nvSpPr>
          <p:cNvPr id="134" name="이등변 삼각형 133"/>
          <p:cNvSpPr/>
          <p:nvPr/>
        </p:nvSpPr>
        <p:spPr bwMode="auto">
          <a:xfrm rot="5400000">
            <a:off x="5165195" y="3804389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9" name="그룹 6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019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30"/>
          <p:cNvSpPr/>
          <p:nvPr/>
        </p:nvSpPr>
        <p:spPr bwMode="gray">
          <a:xfrm>
            <a:off x="312264" y="1844823"/>
            <a:ext cx="5288808" cy="432048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중심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정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역별 분리 구성</a:t>
            </a:r>
          </a:p>
        </p:txBody>
      </p:sp>
      <p:sp>
        <p:nvSpPr>
          <p:cNvPr id="31" name="내용 개체 틀 30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ata Mart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사용자의 다차원 분석을 위한 데이터 및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활용하는 각 후선 연관 시스템 필요 데이터를 재구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한 개선요건은 아래와 같음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6343851" y="1786704"/>
            <a:ext cx="3172029" cy="3588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요 개선 요건</a:t>
            </a:r>
          </a:p>
        </p:txBody>
      </p:sp>
      <p:cxnSp>
        <p:nvCxnSpPr>
          <p:cNvPr id="73" name="직선 연결선 72"/>
          <p:cNvCxnSpPr/>
          <p:nvPr/>
        </p:nvCxnSpPr>
        <p:spPr bwMode="auto">
          <a:xfrm>
            <a:off x="6321152" y="2145556"/>
            <a:ext cx="308052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75" name="직사각형 74"/>
          <p:cNvSpPr/>
          <p:nvPr/>
        </p:nvSpPr>
        <p:spPr bwMode="auto">
          <a:xfrm>
            <a:off x="6355734" y="2203820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6703018" y="2203820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차원 분석 지원 가능한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설계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6689866" y="2468404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차원 분석 정보는 통합 정보 영역과 요약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 영역을 기반으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을 통한 전행차원의 정형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 분석 및 보고서 생성에 적합한 스타스키마 형태의 다차원 분석 정보를 구축 필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6689866" y="4347995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t" anchorCtr="0"/>
          <a:lstStyle/>
          <a:p>
            <a:pPr marL="171450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사현황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현황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효율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좌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등 정형보고서 정합성 확보 및 실시간 반영 필요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6355734" y="4077072"/>
            <a:ext cx="253450" cy="253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6703018" y="4077072"/>
            <a:ext cx="2698661" cy="253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형 보고서 지원을 위한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정합성 </a:t>
            </a:r>
          </a:p>
        </p:txBody>
      </p:sp>
      <p:sp>
        <p:nvSpPr>
          <p:cNvPr id="89" name="Rectangle 30"/>
          <p:cNvSpPr/>
          <p:nvPr/>
        </p:nvSpPr>
        <p:spPr bwMode="gray">
          <a:xfrm>
            <a:off x="312264" y="1844824"/>
            <a:ext cx="5288808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ata Mart </a:t>
            </a:r>
            <a:r>
              <a:rPr lang="ko-KR" altLang="en-US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영역 및 구성방향</a:t>
            </a:r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488504" y="2563098"/>
            <a:ext cx="1660549" cy="19718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원통 34"/>
          <p:cNvSpPr/>
          <p:nvPr/>
        </p:nvSpPr>
        <p:spPr bwMode="auto">
          <a:xfrm>
            <a:off x="632105" y="2688154"/>
            <a:ext cx="1404623" cy="4763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원통 36"/>
          <p:cNvSpPr/>
          <p:nvPr/>
        </p:nvSpPr>
        <p:spPr bwMode="auto">
          <a:xfrm>
            <a:off x="632105" y="3321824"/>
            <a:ext cx="1404623" cy="4763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원통 39"/>
          <p:cNvSpPr/>
          <p:nvPr/>
        </p:nvSpPr>
        <p:spPr bwMode="auto">
          <a:xfrm>
            <a:off x="632105" y="3955495"/>
            <a:ext cx="1404623" cy="476385"/>
          </a:xfrm>
          <a:prstGeom prst="can">
            <a:avLst>
              <a:gd name="adj" fmla="val 1290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비정형마트</a:t>
            </a:r>
            <a:endParaRPr kumimoji="1" lang="ko-KR" altLang="en-US" sz="1200" b="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008763" y="3498618"/>
            <a:ext cx="2376285" cy="100800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t" anchorCtr="0"/>
          <a:lstStyle/>
          <a:p>
            <a:pPr latinLnBrk="0">
              <a:spcBef>
                <a:spcPts val="0"/>
              </a:spcBef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형 </a:t>
            </a:r>
            <a:r>
              <a:rPr kumimoji="1" lang="ko-KR" altLang="en-US" sz="1200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en-US" altLang="ko-KR" sz="1200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92088" algn="ctr" latinLnBrk="0">
              <a:spcBef>
                <a:spcPts val="0"/>
              </a:spcBef>
            </a:pP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즈니스 분석을 위한 사용자 중심의 데이터 구조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능 중심의 데이터 구조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008763" y="4653232"/>
            <a:ext cx="2376285" cy="86400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t" anchorCtr="0"/>
          <a:lstStyle/>
          <a:p>
            <a:pPr latinLnBrk="0">
              <a:spcBef>
                <a:spcPts val="0"/>
              </a:spcBef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 </a:t>
            </a:r>
            <a:r>
              <a:rPr kumimoji="1" lang="ko-KR" altLang="en-US" sz="1200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en-US" altLang="ko-KR" sz="1200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spcBef>
                <a:spcPts val="0"/>
              </a:spcBef>
            </a:pP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차원분석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1938" indent="-171450" latinLnBrk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분석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512840" y="2446138"/>
            <a:ext cx="1872208" cy="100800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 type="oval"/>
          </a:ln>
          <a:effectLst/>
        </p:spPr>
        <p:txBody>
          <a:bodyPr lIns="36000" tIns="36000" rIns="36000" bIns="36000" rtlCol="0" anchor="t" anchorCtr="0"/>
          <a:lstStyle/>
          <a:p>
            <a:pPr latinLnBrk="0">
              <a:spcBef>
                <a:spcPts val="0"/>
              </a:spcBef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관시스템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3599939" y="2796879"/>
            <a:ext cx="1738382" cy="504343"/>
            <a:chOff x="3197531" y="2485434"/>
            <a:chExt cx="2427070" cy="504343"/>
          </a:xfrm>
          <a:solidFill>
            <a:schemeClr val="bg1">
              <a:lumMod val="85000"/>
            </a:schemeClr>
          </a:solidFill>
        </p:grpSpPr>
        <p:sp>
          <p:nvSpPr>
            <p:cNvPr id="14" name="순서도: 자기 디스크 13"/>
            <p:cNvSpPr/>
            <p:nvPr/>
          </p:nvSpPr>
          <p:spPr bwMode="auto">
            <a:xfrm>
              <a:off x="3197531" y="2485434"/>
              <a:ext cx="747358" cy="504343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 회계</a:t>
              </a:r>
            </a:p>
          </p:txBody>
        </p:sp>
        <p:sp>
          <p:nvSpPr>
            <p:cNvPr id="65" name="순서도: 자기 디스크 64"/>
            <p:cNvSpPr/>
            <p:nvPr/>
          </p:nvSpPr>
          <p:spPr bwMode="auto">
            <a:xfrm>
              <a:off x="4057241" y="2485434"/>
              <a:ext cx="747358" cy="504343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익성</a:t>
              </a:r>
            </a:p>
          </p:txBody>
        </p:sp>
        <p:sp>
          <p:nvSpPr>
            <p:cNvPr id="66" name="순서도: 자기 디스크 65"/>
            <p:cNvSpPr/>
            <p:nvPr/>
          </p:nvSpPr>
          <p:spPr bwMode="auto">
            <a:xfrm>
              <a:off x="4877243" y="2485434"/>
              <a:ext cx="747358" cy="504343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0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리스크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7" name="순서도: 다중 문서 16"/>
          <p:cNvSpPr/>
          <p:nvPr/>
        </p:nvSpPr>
        <p:spPr bwMode="auto">
          <a:xfrm>
            <a:off x="2576736" y="2726254"/>
            <a:ext cx="648072" cy="476385"/>
          </a:xfrm>
          <a:prstGeom prst="flowChartMultidocumen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" name="꺾인 연결선 18"/>
          <p:cNvCxnSpPr>
            <a:stCxn id="37" idx="4"/>
            <a:endCxn id="41" idx="1"/>
          </p:cNvCxnSpPr>
          <p:nvPr/>
        </p:nvCxnSpPr>
        <p:spPr bwMode="auto">
          <a:xfrm>
            <a:off x="2036728" y="3560017"/>
            <a:ext cx="972035" cy="442601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7" name="꺾인 연결선 66"/>
          <p:cNvCxnSpPr>
            <a:stCxn id="40" idx="4"/>
            <a:endCxn id="42" idx="1"/>
          </p:cNvCxnSpPr>
          <p:nvPr/>
        </p:nvCxnSpPr>
        <p:spPr bwMode="auto">
          <a:xfrm>
            <a:off x="2036728" y="4193688"/>
            <a:ext cx="972035" cy="891544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8" name="꺾인 연결선 67"/>
          <p:cNvCxnSpPr>
            <a:stCxn id="35" idx="4"/>
            <a:endCxn id="17" idx="1"/>
          </p:cNvCxnSpPr>
          <p:nvPr/>
        </p:nvCxnSpPr>
        <p:spPr bwMode="auto">
          <a:xfrm>
            <a:off x="2036728" y="2926347"/>
            <a:ext cx="540008" cy="381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69" name="꺾인 연결선 68"/>
          <p:cNvCxnSpPr>
            <a:stCxn id="17" idx="3"/>
            <a:endCxn id="64" idx="1"/>
          </p:cNvCxnSpPr>
          <p:nvPr/>
        </p:nvCxnSpPr>
        <p:spPr bwMode="auto">
          <a:xfrm flipV="1">
            <a:off x="3224808" y="2950138"/>
            <a:ext cx="288032" cy="1430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91" name="TextBox 90"/>
          <p:cNvSpPr txBox="1"/>
          <p:nvPr/>
        </p:nvSpPr>
        <p:spPr>
          <a:xfrm>
            <a:off x="291000" y="1412776"/>
            <a:ext cx="9324000" cy="360000"/>
          </a:xfrm>
          <a:prstGeom prst="rect">
            <a:avLst/>
          </a:prstGeom>
          <a:noFill/>
        </p:spPr>
        <p:txBody>
          <a:bodyPr vert="horz" wrap="square" lIns="72000" tIns="36000" rIns="0" bIns="36000" rtlCol="0" anchor="ctr" anchorCtr="0">
            <a:noAutofit/>
          </a:bodyPr>
          <a:lstStyle/>
          <a:p>
            <a:pPr latinLnBrk="0"/>
            <a:r>
              <a:rPr lang="ko-KR" altLang="en-US" sz="14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영역별 분리구성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案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2" name="Straight Connector 55"/>
          <p:cNvCxnSpPr/>
          <p:nvPr/>
        </p:nvCxnSpPr>
        <p:spPr>
          <a:xfrm>
            <a:off x="291000" y="1772776"/>
            <a:ext cx="932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8409384" y="1412776"/>
            <a:ext cx="110976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88900" marR="0" lvl="0" indent="-88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LLUSTRATIVE</a:t>
            </a:r>
            <a:endParaRPr kumimoji="0" lang="ko-KR" altLang="en-US" sz="100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5" name="직선 연결선 215"/>
          <p:cNvCxnSpPr/>
          <p:nvPr/>
        </p:nvCxnSpPr>
        <p:spPr bwMode="auto">
          <a:xfrm>
            <a:off x="8451270" y="1431546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직선 연결선 213"/>
          <p:cNvCxnSpPr/>
          <p:nvPr/>
        </p:nvCxnSpPr>
        <p:spPr bwMode="auto">
          <a:xfrm>
            <a:off x="8451270" y="1639054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356085" y="1871188"/>
            <a:ext cx="254855" cy="25863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C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이등변 삼각형 98"/>
          <p:cNvSpPr/>
          <p:nvPr/>
        </p:nvSpPr>
        <p:spPr bwMode="auto">
          <a:xfrm rot="5400000">
            <a:off x="5165195" y="3804389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" name="직선 연결선 3"/>
          <p:cNvCxnSpPr/>
          <p:nvPr/>
        </p:nvCxnSpPr>
        <p:spPr bwMode="auto">
          <a:xfrm>
            <a:off x="632105" y="3240739"/>
            <a:ext cx="140462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grpSp>
        <p:nvGrpSpPr>
          <p:cNvPr id="55" name="그룹 5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5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5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4" name="그룹 7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740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능중심 </a:t>
            </a:r>
            <a:r>
              <a:rPr lang="ko-KR" altLang="en-US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정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역별 분리 구성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영역별 용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성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사용자는 아래와 같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" name="TextBox 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계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영역별 분리구성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7" name="Rectangle 30"/>
          <p:cNvSpPr/>
          <p:nvPr/>
        </p:nvSpPr>
        <p:spPr bwMode="gray">
          <a:xfrm>
            <a:off x="409036" y="5445109"/>
            <a:ext cx="4082800" cy="8373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18000" rIns="18000" anchor="t"/>
          <a:lstStyle/>
          <a:p>
            <a:pPr marL="84138" indent="-84138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2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//</a:t>
            </a:r>
            <a:endParaRPr lang="ko-KR" altLang="en-US" sz="1200" b="0" kern="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887274"/>
              </p:ext>
            </p:extLst>
          </p:nvPr>
        </p:nvGraphicFramePr>
        <p:xfrm>
          <a:off x="297749" y="1916832"/>
          <a:ext cx="9317251" cy="4203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0917"/>
                <a:gridCol w="2708778"/>
                <a:gridCol w="2708778"/>
                <a:gridCol w="2708778"/>
              </a:tblGrid>
              <a:tr h="245116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2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12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altLang="ko-KR" sz="12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DW</a:t>
                      </a:r>
                      <a:endParaRPr lang="ko-KR" altLang="en-US" sz="12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altLang="ko-KR" sz="12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DW</a:t>
                      </a:r>
                      <a:endParaRPr lang="ko-KR" altLang="en-US" sz="12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altLang="ko-KR" sz="12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M</a:t>
                      </a:r>
                      <a:endParaRPr lang="ko-KR" altLang="en-US" sz="12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867146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및 용도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접촉 정보 실시간 수집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연계 지원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속보 등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I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양한 소스로부터의 데이터가 정제 변환된 통합된 데이터 저장고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관성 있는 원천 데이터 제공 역할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Clean,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복삭제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Standardize)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Interface Hub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정형 고급질의 대응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가들의 다차원 분석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Cross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Function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측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기적 </a:t>
                      </a:r>
                      <a:r>
                        <a:rPr lang="ko-KR" altLang="en-US" sz="12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렌드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석 등 분석가와 관리자의 전략적 의사결정을 지원하는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pulate, Replicate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67146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성격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에서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들어오는 통합 이전의 모든 데이터를 거쳐감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w Data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+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)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이미지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+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집계 영역</a:t>
                      </a:r>
                      <a:endParaRPr lang="ko-KR" altLang="en-US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의 통합된 상세 데이터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, Logic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반영한 고객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등 통합 정보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 Hub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점의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napshot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보관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차원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ggregation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 데이터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tomic Data)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ry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보존</a:t>
                      </a:r>
                      <a:endParaRPr lang="en-US" altLang="ko-KR" sz="12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bject oriented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 group driven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67146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구조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와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동일 이미지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R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 데이터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제영역별 구조의 다차원 모델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ar Schema + ER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67146"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사용자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단말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일반 사용자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보성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산실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로 시스템간 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적 비정형 분석 요원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산실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급 분석가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자</a:t>
                      </a:r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부부서 및 영업점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사용자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ower User)</a:t>
                      </a:r>
                    </a:p>
                    <a:p>
                      <a:pPr marL="93663" indent="-9366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접점 운영요원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향후 </a:t>
                      </a:r>
                      <a:r>
                        <a:rPr lang="en-US" altLang="ko-KR" sz="12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ual User)</a:t>
                      </a:r>
                      <a:endParaRPr lang="en-US" altLang="ko-KR" sz="12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41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42" name="TextBox 4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7" name="그룹 2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3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3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37" name="그룹 3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3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3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8240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능중심 </a:t>
            </a:r>
            <a:r>
              <a:rPr lang="ko-KR" altLang="en-US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정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설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는 고객통합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부터 전 시스템으로 전개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각 시스템에서 생성되는 정보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통합 후 활용시스템으로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전개되는</a:t>
            </a:r>
            <a:r>
              <a:rPr lang="ko-KR" altLang="en-US" dirty="0"/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losed Loop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형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283496" y="1923606"/>
            <a:ext cx="9349453" cy="43137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36000" tIns="36000" rIns="36000" bIns="36000" rtlCol="0" anchor="t" anchorCtr="0"/>
          <a:lstStyle/>
          <a:p>
            <a:pPr algn="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503969" y="2043186"/>
            <a:ext cx="2175585" cy="21468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처리계</a:t>
            </a:r>
            <a:endParaRPr lang="ko-KR" altLang="en-US" sz="12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503969" y="2258409"/>
            <a:ext cx="2175585" cy="16219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원통 7"/>
          <p:cNvSpPr/>
          <p:nvPr/>
        </p:nvSpPr>
        <p:spPr bwMode="auto">
          <a:xfrm>
            <a:off x="654773" y="236408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</a:p>
        </p:txBody>
      </p:sp>
      <p:sp>
        <p:nvSpPr>
          <p:cNvPr id="9" name="원통 8"/>
          <p:cNvSpPr/>
          <p:nvPr/>
        </p:nvSpPr>
        <p:spPr bwMode="auto">
          <a:xfrm>
            <a:off x="654773" y="256791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</a:p>
        </p:txBody>
      </p:sp>
      <p:sp>
        <p:nvSpPr>
          <p:cNvPr id="10" name="원통 9"/>
          <p:cNvSpPr/>
          <p:nvPr/>
        </p:nvSpPr>
        <p:spPr bwMode="auto">
          <a:xfrm>
            <a:off x="654773" y="277174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관리</a:t>
            </a:r>
          </a:p>
        </p:txBody>
      </p:sp>
      <p:sp>
        <p:nvSpPr>
          <p:cNvPr id="11" name="원통 10"/>
          <p:cNvSpPr/>
          <p:nvPr/>
        </p:nvSpPr>
        <p:spPr bwMode="auto">
          <a:xfrm>
            <a:off x="654773" y="297557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심사</a:t>
            </a:r>
          </a:p>
        </p:txBody>
      </p:sp>
      <p:sp>
        <p:nvSpPr>
          <p:cNvPr id="12" name="원통 11"/>
          <p:cNvSpPr/>
          <p:nvPr/>
        </p:nvSpPr>
        <p:spPr bwMode="auto">
          <a:xfrm>
            <a:off x="654773" y="317940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발급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원통 19"/>
          <p:cNvSpPr/>
          <p:nvPr/>
        </p:nvSpPr>
        <p:spPr bwMode="auto">
          <a:xfrm>
            <a:off x="654773" y="3378645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원통 20"/>
          <p:cNvSpPr/>
          <p:nvPr/>
        </p:nvSpPr>
        <p:spPr bwMode="auto">
          <a:xfrm>
            <a:off x="654773" y="356694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제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원통 22"/>
          <p:cNvSpPr/>
          <p:nvPr/>
        </p:nvSpPr>
        <p:spPr bwMode="auto">
          <a:xfrm>
            <a:off x="1615578" y="236408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국제</a:t>
            </a:r>
          </a:p>
        </p:txBody>
      </p:sp>
      <p:sp>
        <p:nvSpPr>
          <p:cNvPr id="24" name="원통 23"/>
          <p:cNvSpPr/>
          <p:nvPr/>
        </p:nvSpPr>
        <p:spPr bwMode="auto">
          <a:xfrm>
            <a:off x="1615578" y="256791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손익배분</a:t>
            </a:r>
          </a:p>
        </p:txBody>
      </p:sp>
      <p:sp>
        <p:nvSpPr>
          <p:cNvPr id="25" name="원통 24"/>
          <p:cNvSpPr/>
          <p:nvPr/>
        </p:nvSpPr>
        <p:spPr bwMode="auto">
          <a:xfrm>
            <a:off x="1615578" y="2771742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청구</a:t>
            </a:r>
          </a:p>
        </p:txBody>
      </p:sp>
      <p:sp>
        <p:nvSpPr>
          <p:cNvPr id="26" name="원통 25"/>
          <p:cNvSpPr/>
          <p:nvPr/>
        </p:nvSpPr>
        <p:spPr bwMode="auto">
          <a:xfrm>
            <a:off x="1615578" y="297557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</a:t>
            </a:r>
          </a:p>
        </p:txBody>
      </p:sp>
      <p:sp>
        <p:nvSpPr>
          <p:cNvPr id="27" name="원통 26"/>
          <p:cNvSpPr/>
          <p:nvPr/>
        </p:nvSpPr>
        <p:spPr bwMode="auto">
          <a:xfrm>
            <a:off x="1615578" y="317940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</a:t>
            </a:r>
          </a:p>
        </p:txBody>
      </p:sp>
      <p:sp>
        <p:nvSpPr>
          <p:cNvPr id="28" name="원통 27"/>
          <p:cNvSpPr/>
          <p:nvPr/>
        </p:nvSpPr>
        <p:spPr bwMode="auto">
          <a:xfrm>
            <a:off x="1615578" y="3378645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복지</a:t>
            </a:r>
          </a:p>
        </p:txBody>
      </p:sp>
      <p:sp>
        <p:nvSpPr>
          <p:cNvPr id="29" name="원통 28"/>
          <p:cNvSpPr/>
          <p:nvPr/>
        </p:nvSpPr>
        <p:spPr bwMode="auto">
          <a:xfrm>
            <a:off x="1615578" y="3566941"/>
            <a:ext cx="924884" cy="172759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503969" y="3938057"/>
            <a:ext cx="2175585" cy="21468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케팅</a:t>
            </a:r>
            <a:endParaRPr lang="ko-KR" altLang="en-US" sz="12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503969" y="4153282"/>
            <a:ext cx="2175585" cy="9146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원통 42"/>
          <p:cNvSpPr/>
          <p:nvPr/>
        </p:nvSpPr>
        <p:spPr bwMode="auto">
          <a:xfrm>
            <a:off x="643853" y="4191713"/>
            <a:ext cx="1896609" cy="209037"/>
          </a:xfrm>
          <a:prstGeom prst="can">
            <a:avLst>
              <a:gd name="adj" fmla="val 2011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통합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원통 50"/>
          <p:cNvSpPr/>
          <p:nvPr/>
        </p:nvSpPr>
        <p:spPr bwMode="auto">
          <a:xfrm>
            <a:off x="643853" y="4464819"/>
            <a:ext cx="1896609" cy="209037"/>
          </a:xfrm>
          <a:prstGeom prst="can">
            <a:avLst>
              <a:gd name="adj" fmla="val 2116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MS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원통 51"/>
          <p:cNvSpPr/>
          <p:nvPr/>
        </p:nvSpPr>
        <p:spPr bwMode="auto">
          <a:xfrm>
            <a:off x="643853" y="4757553"/>
            <a:ext cx="1896609" cy="209037"/>
          </a:xfrm>
          <a:prstGeom prst="can">
            <a:avLst>
              <a:gd name="adj" fmla="val 2116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BM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503969" y="5120727"/>
            <a:ext cx="2175585" cy="214688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널계</a:t>
            </a:r>
            <a:endParaRPr lang="ko-KR" altLang="en-US" sz="1200" kern="0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03969" y="5335952"/>
            <a:ext cx="2175585" cy="6977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원통 59"/>
          <p:cNvSpPr/>
          <p:nvPr/>
        </p:nvSpPr>
        <p:spPr bwMode="auto">
          <a:xfrm>
            <a:off x="643853" y="5700692"/>
            <a:ext cx="935805" cy="278229"/>
          </a:xfrm>
          <a:prstGeom prst="can">
            <a:avLst>
              <a:gd name="adj" fmla="val 2116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원통 62"/>
          <p:cNvSpPr/>
          <p:nvPr/>
        </p:nvSpPr>
        <p:spPr bwMode="auto">
          <a:xfrm>
            <a:off x="1610476" y="5700692"/>
            <a:ext cx="935805" cy="278229"/>
          </a:xfrm>
          <a:prstGeom prst="can">
            <a:avLst>
              <a:gd name="adj" fmla="val 2116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UMS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원통 58"/>
          <p:cNvSpPr/>
          <p:nvPr/>
        </p:nvSpPr>
        <p:spPr bwMode="auto">
          <a:xfrm>
            <a:off x="643853" y="5380730"/>
            <a:ext cx="935805" cy="278229"/>
          </a:xfrm>
          <a:prstGeom prst="can">
            <a:avLst>
              <a:gd name="adj" fmla="val 2011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홈페이지</a:t>
            </a:r>
          </a:p>
        </p:txBody>
      </p:sp>
      <p:sp>
        <p:nvSpPr>
          <p:cNvPr id="62" name="원통 61"/>
          <p:cNvSpPr/>
          <p:nvPr/>
        </p:nvSpPr>
        <p:spPr bwMode="auto">
          <a:xfrm>
            <a:off x="1610476" y="5380730"/>
            <a:ext cx="935805" cy="278229"/>
          </a:xfrm>
          <a:prstGeom prst="can">
            <a:avLst>
              <a:gd name="adj" fmla="val 2011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바일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056144" y="2042232"/>
            <a:ext cx="2709859" cy="110082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058246" y="2038627"/>
            <a:ext cx="2707756" cy="234489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056144" y="3367177"/>
            <a:ext cx="2709859" cy="13903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058246" y="3331842"/>
            <a:ext cx="2707756" cy="235927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056144" y="4994597"/>
            <a:ext cx="2709859" cy="97260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058245" y="4984852"/>
            <a:ext cx="2708504" cy="235927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latin typeface="맑은 고딕" pitchFamily="50" charset="-127"/>
                <a:ea typeface="맑은 고딕" pitchFamily="50" charset="-127"/>
              </a:rPr>
              <a:t>빅데이터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7" idx="3"/>
            <a:endCxn id="80" idx="2"/>
          </p:cNvCxnSpPr>
          <p:nvPr/>
        </p:nvCxnSpPr>
        <p:spPr bwMode="auto">
          <a:xfrm flipV="1">
            <a:off x="2679554" y="2722827"/>
            <a:ext cx="588367" cy="346569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3" name="직선 화살표 연결선 92"/>
          <p:cNvCxnSpPr>
            <a:stCxn id="7" idx="3"/>
            <a:endCxn id="84" idx="2"/>
          </p:cNvCxnSpPr>
          <p:nvPr/>
        </p:nvCxnSpPr>
        <p:spPr bwMode="auto">
          <a:xfrm>
            <a:off x="2679554" y="3069396"/>
            <a:ext cx="588367" cy="113467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80" name="원통 79"/>
          <p:cNvSpPr/>
          <p:nvPr/>
        </p:nvSpPr>
        <p:spPr bwMode="auto">
          <a:xfrm>
            <a:off x="3267921" y="2498565"/>
            <a:ext cx="1075155" cy="448524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계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원통 80"/>
          <p:cNvSpPr/>
          <p:nvPr/>
        </p:nvSpPr>
        <p:spPr bwMode="auto">
          <a:xfrm>
            <a:off x="4512680" y="2498565"/>
            <a:ext cx="1022383" cy="448524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원통 81"/>
          <p:cNvSpPr/>
          <p:nvPr/>
        </p:nvSpPr>
        <p:spPr bwMode="auto">
          <a:xfrm>
            <a:off x="3267921" y="5393832"/>
            <a:ext cx="1085092" cy="407748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데이터저장</a:t>
            </a:r>
          </a:p>
        </p:txBody>
      </p:sp>
      <p:sp>
        <p:nvSpPr>
          <p:cNvPr id="83" name="원통 82"/>
          <p:cNvSpPr/>
          <p:nvPr/>
        </p:nvSpPr>
        <p:spPr bwMode="auto">
          <a:xfrm>
            <a:off x="4449971" y="5393832"/>
            <a:ext cx="1085092" cy="407748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데이터분석</a:t>
            </a:r>
          </a:p>
        </p:txBody>
      </p:sp>
      <p:sp>
        <p:nvSpPr>
          <p:cNvPr id="84" name="원통 83"/>
          <p:cNvSpPr/>
          <p:nvPr/>
        </p:nvSpPr>
        <p:spPr bwMode="auto">
          <a:xfrm>
            <a:off x="3267921" y="3773828"/>
            <a:ext cx="655283" cy="8604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taging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원통 84"/>
          <p:cNvSpPr/>
          <p:nvPr/>
        </p:nvSpPr>
        <p:spPr bwMode="auto">
          <a:xfrm>
            <a:off x="3993208" y="3773828"/>
            <a:ext cx="655283" cy="86048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 of Record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원통 85"/>
          <p:cNvSpPr/>
          <p:nvPr/>
        </p:nvSpPr>
        <p:spPr bwMode="auto">
          <a:xfrm>
            <a:off x="4718491" y="3773828"/>
            <a:ext cx="816571" cy="385058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ummary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원통 86"/>
          <p:cNvSpPr/>
          <p:nvPr/>
        </p:nvSpPr>
        <p:spPr bwMode="auto">
          <a:xfrm>
            <a:off x="4718491" y="4271175"/>
            <a:ext cx="816571" cy="363138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eedback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6" name="직선 화살표 연결선 95"/>
          <p:cNvCxnSpPr>
            <a:stCxn id="80" idx="4"/>
            <a:endCxn id="81" idx="2"/>
          </p:cNvCxnSpPr>
          <p:nvPr/>
        </p:nvCxnSpPr>
        <p:spPr bwMode="auto">
          <a:xfrm>
            <a:off x="4343076" y="2722827"/>
            <a:ext cx="169604" cy="0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0" name="꺾인 연결선 99"/>
          <p:cNvCxnSpPr>
            <a:stCxn id="84" idx="1"/>
            <a:endCxn id="107" idx="0"/>
          </p:cNvCxnSpPr>
          <p:nvPr/>
        </p:nvCxnSpPr>
        <p:spPr bwMode="auto">
          <a:xfrm rot="16200000" flipH="1">
            <a:off x="3917914" y="3451478"/>
            <a:ext cx="10853" cy="655553"/>
          </a:xfrm>
          <a:prstGeom prst="bentConnector3">
            <a:avLst>
              <a:gd name="adj1" fmla="val -864093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2" name="꺾인 연결선 101"/>
          <p:cNvCxnSpPr>
            <a:stCxn id="108" idx="0"/>
            <a:endCxn id="86" idx="0"/>
          </p:cNvCxnSpPr>
          <p:nvPr/>
        </p:nvCxnSpPr>
        <p:spPr bwMode="auto">
          <a:xfrm rot="16200000" flipH="1">
            <a:off x="4744113" y="3442965"/>
            <a:ext cx="40948" cy="724378"/>
          </a:xfrm>
          <a:prstGeom prst="bentConnector3">
            <a:avLst>
              <a:gd name="adj1" fmla="val -24121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7" name="직사각형 106"/>
          <p:cNvSpPr/>
          <p:nvPr/>
        </p:nvSpPr>
        <p:spPr bwMode="auto">
          <a:xfrm>
            <a:off x="4192028" y="3784681"/>
            <a:ext cx="118177" cy="762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343310" y="3784681"/>
            <a:ext cx="118177" cy="762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3" name="직선 화살표 연결선 112"/>
          <p:cNvCxnSpPr>
            <a:stCxn id="57" idx="3"/>
            <a:endCxn id="85" idx="3"/>
          </p:cNvCxnSpPr>
          <p:nvPr/>
        </p:nvCxnSpPr>
        <p:spPr bwMode="auto">
          <a:xfrm flipV="1">
            <a:off x="2679554" y="4634313"/>
            <a:ext cx="1641296" cy="1050497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8" name="꺾인 연결선 117"/>
          <p:cNvCxnSpPr>
            <a:stCxn id="60" idx="3"/>
          </p:cNvCxnSpPr>
          <p:nvPr/>
        </p:nvCxnSpPr>
        <p:spPr bwMode="auto">
          <a:xfrm rot="5400000" flipH="1" flipV="1">
            <a:off x="2072042" y="3674027"/>
            <a:ext cx="1344607" cy="3265180"/>
          </a:xfrm>
          <a:prstGeom prst="bentConnector4">
            <a:avLst>
              <a:gd name="adj1" fmla="val -10783"/>
              <a:gd name="adj2" fmla="val 57165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2" name="꺾인 연결선 121"/>
          <p:cNvCxnSpPr>
            <a:stCxn id="43" idx="4"/>
            <a:endCxn id="85" idx="3"/>
          </p:cNvCxnSpPr>
          <p:nvPr/>
        </p:nvCxnSpPr>
        <p:spPr bwMode="auto">
          <a:xfrm>
            <a:off x="2540462" y="4296232"/>
            <a:ext cx="1780388" cy="338081"/>
          </a:xfrm>
          <a:prstGeom prst="bentConnector4">
            <a:avLst>
              <a:gd name="adj1" fmla="val 21835"/>
              <a:gd name="adj2" fmla="val 166404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0" name="직사각형 129"/>
          <p:cNvSpPr/>
          <p:nvPr/>
        </p:nvSpPr>
        <p:spPr bwMode="auto">
          <a:xfrm>
            <a:off x="7122793" y="2042231"/>
            <a:ext cx="1033447" cy="35737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원통 133"/>
          <p:cNvSpPr/>
          <p:nvPr/>
        </p:nvSpPr>
        <p:spPr bwMode="auto">
          <a:xfrm>
            <a:off x="7214749" y="2456489"/>
            <a:ext cx="849536" cy="95576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원통 134"/>
          <p:cNvSpPr/>
          <p:nvPr/>
        </p:nvSpPr>
        <p:spPr bwMode="auto">
          <a:xfrm>
            <a:off x="7214748" y="3504772"/>
            <a:ext cx="849537" cy="95576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원통 135"/>
          <p:cNvSpPr/>
          <p:nvPr/>
        </p:nvSpPr>
        <p:spPr bwMode="auto">
          <a:xfrm>
            <a:off x="7214748" y="4553054"/>
            <a:ext cx="849537" cy="95576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3" name="원통 172"/>
          <p:cNvSpPr/>
          <p:nvPr/>
        </p:nvSpPr>
        <p:spPr bwMode="auto">
          <a:xfrm>
            <a:off x="6073187" y="2456489"/>
            <a:ext cx="849536" cy="955763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5969519" y="2042232"/>
            <a:ext cx="1033447" cy="169746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8362522" y="2042233"/>
            <a:ext cx="1033447" cy="161108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8363322" y="2038627"/>
            <a:ext cx="1032645" cy="234489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DM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원통 139"/>
          <p:cNvSpPr/>
          <p:nvPr/>
        </p:nvSpPr>
        <p:spPr bwMode="auto">
          <a:xfrm>
            <a:off x="8454476" y="2444511"/>
            <a:ext cx="849537" cy="1052838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포탈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8362522" y="3818414"/>
            <a:ext cx="1033447" cy="9968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8363322" y="3814808"/>
            <a:ext cx="1032645" cy="234489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MDM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원통 143"/>
          <p:cNvSpPr/>
          <p:nvPr/>
        </p:nvSpPr>
        <p:spPr bwMode="auto">
          <a:xfrm>
            <a:off x="8454476" y="4143930"/>
            <a:ext cx="849537" cy="59812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메타데이터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8362522" y="4970323"/>
            <a:ext cx="1033447" cy="9968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8363322" y="4966717"/>
            <a:ext cx="1032645" cy="234489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DQMS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3" name="원통 152"/>
          <p:cNvSpPr/>
          <p:nvPr/>
        </p:nvSpPr>
        <p:spPr bwMode="auto">
          <a:xfrm>
            <a:off x="8454476" y="5293874"/>
            <a:ext cx="849537" cy="598125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관리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9" name="직선 화살표 연결선 158"/>
          <p:cNvCxnSpPr>
            <a:stCxn id="135" idx="4"/>
            <a:endCxn id="140" idx="2"/>
          </p:cNvCxnSpPr>
          <p:nvPr/>
        </p:nvCxnSpPr>
        <p:spPr bwMode="auto">
          <a:xfrm flipV="1">
            <a:off x="8064284" y="2970930"/>
            <a:ext cx="390192" cy="101172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65" name="직선 화살표 연결선 164"/>
          <p:cNvCxnSpPr>
            <a:stCxn id="136" idx="4"/>
          </p:cNvCxnSpPr>
          <p:nvPr/>
        </p:nvCxnSpPr>
        <p:spPr bwMode="auto">
          <a:xfrm flipV="1">
            <a:off x="8064284" y="2970931"/>
            <a:ext cx="377448" cy="206000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1" name="직사각형 130"/>
          <p:cNvSpPr/>
          <p:nvPr/>
        </p:nvSpPr>
        <p:spPr bwMode="auto">
          <a:xfrm>
            <a:off x="7123594" y="2038627"/>
            <a:ext cx="1032645" cy="234489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latin typeface="맑은 고딕" pitchFamily="50" charset="-127"/>
                <a:ea typeface="맑은 고딕" pitchFamily="50" charset="-127"/>
              </a:rPr>
              <a:t>DM</a:t>
            </a:r>
            <a:endParaRPr kumimoji="1"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5972284" y="2038626"/>
            <a:ext cx="1032645" cy="417862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latin typeface="맑은 고딕" pitchFamily="50" charset="-127"/>
                <a:ea typeface="맑은 고딕" pitchFamily="50" charset="-127"/>
              </a:rPr>
              <a:t>업무제공마트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 배치</a:t>
            </a:r>
          </a:p>
        </p:txBody>
      </p:sp>
      <p:sp>
        <p:nvSpPr>
          <p:cNvPr id="174" name="원통 173"/>
          <p:cNvSpPr/>
          <p:nvPr/>
        </p:nvSpPr>
        <p:spPr bwMode="auto">
          <a:xfrm>
            <a:off x="6079558" y="2620069"/>
            <a:ext cx="849536" cy="95576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ummary (DB replication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5" name="직선 화살표 연결선 174"/>
          <p:cNvCxnSpPr>
            <a:stCxn id="174" idx="4"/>
            <a:endCxn id="134" idx="2"/>
          </p:cNvCxnSpPr>
          <p:nvPr/>
        </p:nvCxnSpPr>
        <p:spPr bwMode="auto">
          <a:xfrm flipV="1">
            <a:off x="6929094" y="2934370"/>
            <a:ext cx="285655" cy="163581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8" name="직선 화살표 연결선 177"/>
          <p:cNvCxnSpPr>
            <a:stCxn id="86" idx="4"/>
            <a:endCxn id="135" idx="2"/>
          </p:cNvCxnSpPr>
          <p:nvPr/>
        </p:nvCxnSpPr>
        <p:spPr bwMode="auto">
          <a:xfrm>
            <a:off x="5535062" y="3966357"/>
            <a:ext cx="1679686" cy="16296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1" name="직선 화살표 연결선 180"/>
          <p:cNvCxnSpPr>
            <a:stCxn id="86" idx="4"/>
            <a:endCxn id="174" idx="2"/>
          </p:cNvCxnSpPr>
          <p:nvPr/>
        </p:nvCxnSpPr>
        <p:spPr bwMode="auto">
          <a:xfrm flipV="1">
            <a:off x="5535062" y="3097950"/>
            <a:ext cx="544497" cy="868406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4" name="직선 화살표 연결선 183"/>
          <p:cNvCxnSpPr>
            <a:stCxn id="86" idx="4"/>
            <a:endCxn id="136" idx="2"/>
          </p:cNvCxnSpPr>
          <p:nvPr/>
        </p:nvCxnSpPr>
        <p:spPr bwMode="auto">
          <a:xfrm>
            <a:off x="5535062" y="3966357"/>
            <a:ext cx="1679686" cy="1064578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7" name="직선 화살표 연결선 186"/>
          <p:cNvCxnSpPr>
            <a:stCxn id="83" idx="4"/>
          </p:cNvCxnSpPr>
          <p:nvPr/>
        </p:nvCxnSpPr>
        <p:spPr bwMode="auto">
          <a:xfrm flipV="1">
            <a:off x="5535063" y="5015175"/>
            <a:ext cx="1679685" cy="582531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8" name="꺾인 연결선 197"/>
          <p:cNvCxnSpPr>
            <a:stCxn id="153" idx="4"/>
            <a:endCxn id="140" idx="4"/>
          </p:cNvCxnSpPr>
          <p:nvPr/>
        </p:nvCxnSpPr>
        <p:spPr bwMode="auto">
          <a:xfrm flipV="1">
            <a:off x="9304013" y="2970930"/>
            <a:ext cx="12700" cy="2622007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01" name="꺾인 연결선 200"/>
          <p:cNvCxnSpPr>
            <a:stCxn id="135" idx="4"/>
            <a:endCxn id="60" idx="3"/>
          </p:cNvCxnSpPr>
          <p:nvPr/>
        </p:nvCxnSpPr>
        <p:spPr bwMode="auto">
          <a:xfrm flipH="1">
            <a:off x="1111756" y="3982653"/>
            <a:ext cx="6952529" cy="1996268"/>
          </a:xfrm>
          <a:prstGeom prst="bentConnector4">
            <a:avLst>
              <a:gd name="adj1" fmla="val -3288"/>
              <a:gd name="adj2" fmla="val 107094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9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11" name="그룹 11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3" name="그룹 12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2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32" name="TextBox 131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시스템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-</a:t>
              </a:r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계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간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a Flow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3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41" name="TextBox 14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3972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30"/>
          <p:cNvSpPr/>
          <p:nvPr/>
        </p:nvSpPr>
        <p:spPr bwMode="gray">
          <a:xfrm>
            <a:off x="334028" y="2928153"/>
            <a:ext cx="4410567" cy="340036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정보계 적재</a:t>
            </a:r>
            <a:r>
              <a:rPr lang="en-US" altLang="ko-KR" dirty="0" smtClean="0"/>
              <a:t>/</a:t>
            </a:r>
            <a:r>
              <a:rPr lang="ko-KR" altLang="en-US" dirty="0" smtClean="0"/>
              <a:t>가공 데이터 최적화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/>
              <a:t>업무제공마트의</a:t>
            </a:r>
            <a:r>
              <a:rPr lang="ko-KR" altLang="en-US" dirty="0"/>
              <a:t> 활용도</a:t>
            </a:r>
            <a:r>
              <a:rPr lang="en-US" altLang="ko-KR" dirty="0"/>
              <a:t>, </a:t>
            </a:r>
            <a:r>
              <a:rPr lang="ko-KR" altLang="en-US" dirty="0"/>
              <a:t>중요도</a:t>
            </a:r>
            <a:r>
              <a:rPr lang="en-US" altLang="ko-KR" dirty="0"/>
              <a:t>, </a:t>
            </a:r>
            <a:r>
              <a:rPr lang="ko-KR" altLang="en-US" dirty="0" err="1"/>
              <a:t>중복성</a:t>
            </a:r>
            <a:r>
              <a:rPr lang="ko-KR" altLang="en-US" dirty="0"/>
              <a:t> 등을 </a:t>
            </a:r>
            <a:r>
              <a:rPr lang="ko-KR" altLang="en-US" dirty="0" smtClean="0"/>
              <a:t>분석하여 </a:t>
            </a:r>
            <a:r>
              <a:rPr lang="en-US" altLang="ko-KR" dirty="0"/>
              <a:t>DM </a:t>
            </a:r>
            <a:r>
              <a:rPr lang="ko-KR" altLang="en-US" dirty="0" err="1"/>
              <a:t>구성량을</a:t>
            </a:r>
            <a:r>
              <a:rPr lang="ko-KR" altLang="en-US" dirty="0"/>
              <a:t> </a:t>
            </a:r>
            <a:r>
              <a:rPr lang="ko-KR" altLang="en-US" dirty="0" smtClean="0"/>
              <a:t>최적화함 </a:t>
            </a:r>
            <a:endParaRPr lang="ko-KR" altLang="en-US" dirty="0"/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보계 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W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및 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B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구성 최적화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제공 마트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배치 작업 최소화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/>
          <a:p>
            <a:pPr marL="88900" indent="-88900" defTabSz="196850" fontAlgn="auto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제공마트의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활용도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중요도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중복성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등을   분석하여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M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구성량을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최적화 및 간소화함으로써 정보계 시스템 부하를 감소시킴</a:t>
            </a:r>
            <a:endParaRPr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91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이등변 삼각형 91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93" name="TextBox 92"/>
          <p:cNvSpPr txBox="1"/>
          <p:nvPr/>
        </p:nvSpPr>
        <p:spPr bwMode="auto">
          <a:xfrm>
            <a:off x="5365588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정보계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DW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및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구성 최적화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3525" indent="-171450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계정계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적재 데이터 목적성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활용성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중심 검토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263525" indent="-171450" latinLnBrk="0">
              <a:spcBef>
                <a:spcPct val="30000"/>
              </a:spcBef>
              <a:buFont typeface="맑은 고딕" panose="020B0503020000020004" pitchFamily="50" charset="-127"/>
              <a:buChar char="-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송신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배치 작업 부하 감소를 위한 공통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구성 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94" name="TextBox 93"/>
          <p:cNvSpPr txBox="1"/>
          <p:nvPr/>
        </p:nvSpPr>
        <p:spPr bwMode="auto">
          <a:xfrm>
            <a:off x="435846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단위 목적 시스템 제공 위한 업무제공 마트 배치 작업 부하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마트</a:t>
            </a: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제공 임계시간 초과 시 타 업무영역에 영향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마케팅 및 경영정보 분석 시스템 성능 영향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사용시간 제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2" name="원통 21"/>
          <p:cNvSpPr/>
          <p:nvPr/>
        </p:nvSpPr>
        <p:spPr bwMode="auto">
          <a:xfrm>
            <a:off x="510037" y="4347832"/>
            <a:ext cx="912984" cy="56100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DS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원통 23"/>
          <p:cNvSpPr/>
          <p:nvPr/>
        </p:nvSpPr>
        <p:spPr bwMode="auto">
          <a:xfrm>
            <a:off x="520721" y="3388454"/>
            <a:ext cx="912984" cy="56100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W</a:t>
            </a: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마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" name="꺾인 연결선 4"/>
          <p:cNvCxnSpPr>
            <a:stCxn id="24" idx="4"/>
            <a:endCxn id="96" idx="0"/>
          </p:cNvCxnSpPr>
          <p:nvPr/>
        </p:nvCxnSpPr>
        <p:spPr bwMode="auto">
          <a:xfrm>
            <a:off x="1433705" y="3668955"/>
            <a:ext cx="800813" cy="653227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" name="TextBox 6"/>
          <p:cNvSpPr txBox="1"/>
          <p:nvPr/>
        </p:nvSpPr>
        <p:spPr bwMode="auto">
          <a:xfrm>
            <a:off x="1568624" y="3388454"/>
            <a:ext cx="2847122" cy="6059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초기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05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업무제공마트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구성 시 은행 </a:t>
            </a:r>
            <a:r>
              <a:rPr lang="en-US" altLang="ko-KR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DW 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마트 참조</a:t>
            </a:r>
            <a:endParaRPr lang="en-US" altLang="ko-KR" sz="105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5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비활용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마트 다수 존재</a:t>
            </a:r>
          </a:p>
        </p:txBody>
      </p:sp>
      <p:cxnSp>
        <p:nvCxnSpPr>
          <p:cNvPr id="29" name="꺾인 연결선 28"/>
          <p:cNvCxnSpPr>
            <a:stCxn id="22" idx="4"/>
          </p:cNvCxnSpPr>
          <p:nvPr/>
        </p:nvCxnSpPr>
        <p:spPr bwMode="auto">
          <a:xfrm>
            <a:off x="1423021" y="4628333"/>
            <a:ext cx="28961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0" name="오른쪽 화살표 19"/>
          <p:cNvSpPr/>
          <p:nvPr/>
        </p:nvSpPr>
        <p:spPr bwMode="auto">
          <a:xfrm>
            <a:off x="2894512" y="4509120"/>
            <a:ext cx="186280" cy="431093"/>
          </a:xfrm>
          <a:prstGeom prst="rightArrow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322169" y="4315777"/>
            <a:ext cx="1278411" cy="87443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원통 37"/>
          <p:cNvSpPr/>
          <p:nvPr/>
        </p:nvSpPr>
        <p:spPr bwMode="auto">
          <a:xfrm>
            <a:off x="3389098" y="4402679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스크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원통 38"/>
          <p:cNvSpPr/>
          <p:nvPr/>
        </p:nvSpPr>
        <p:spPr bwMode="auto">
          <a:xfrm>
            <a:off x="3998819" y="4402679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획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원통 39"/>
          <p:cNvSpPr/>
          <p:nvPr/>
        </p:nvSpPr>
        <p:spPr bwMode="auto">
          <a:xfrm>
            <a:off x="3393092" y="4769724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원통 40"/>
          <p:cNvSpPr/>
          <p:nvPr/>
        </p:nvSpPr>
        <p:spPr bwMode="auto">
          <a:xfrm>
            <a:off x="4002813" y="4769724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2640760" y="4127708"/>
            <a:ext cx="823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배치 임계 시간 초과</a:t>
            </a:r>
            <a:endParaRPr lang="ko-KR" altLang="en-US" sz="10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47" name="꺾인 연결선 46"/>
          <p:cNvCxnSpPr>
            <a:stCxn id="96" idx="2"/>
          </p:cNvCxnSpPr>
          <p:nvPr/>
        </p:nvCxnSpPr>
        <p:spPr bwMode="auto">
          <a:xfrm rot="5400000">
            <a:off x="2012120" y="4958431"/>
            <a:ext cx="170601" cy="274196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sp>
        <p:nvSpPr>
          <p:cNvPr id="50" name="직사각형 49"/>
          <p:cNvSpPr/>
          <p:nvPr/>
        </p:nvSpPr>
        <p:spPr>
          <a:xfrm>
            <a:off x="376061" y="4975076"/>
            <a:ext cx="16966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대량 배치 시 분석계 성능 영향 </a:t>
            </a:r>
            <a:r>
              <a:rPr lang="en-US" altLang="ko-KR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(SAS, OLAP)</a:t>
            </a:r>
            <a:endParaRPr lang="ko-KR" altLang="en-US" sz="10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319587" y="4028309"/>
            <a:ext cx="1280993" cy="240236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단위 목적시스템</a:t>
            </a:r>
          </a:p>
        </p:txBody>
      </p:sp>
      <p:sp>
        <p:nvSpPr>
          <p:cNvPr id="70" name="원통 69"/>
          <p:cNvSpPr/>
          <p:nvPr/>
        </p:nvSpPr>
        <p:spPr bwMode="auto">
          <a:xfrm>
            <a:off x="5411466" y="3902095"/>
            <a:ext cx="912984" cy="56100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DS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원통 70"/>
          <p:cNvSpPr/>
          <p:nvPr/>
        </p:nvSpPr>
        <p:spPr bwMode="auto">
          <a:xfrm>
            <a:off x="6686077" y="3902095"/>
            <a:ext cx="912984" cy="561002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최적화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2" name="꺾인 연결선 28"/>
          <p:cNvCxnSpPr>
            <a:stCxn id="70" idx="4"/>
            <a:endCxn id="71" idx="2"/>
          </p:cNvCxnSpPr>
          <p:nvPr/>
        </p:nvCxnSpPr>
        <p:spPr bwMode="auto">
          <a:xfrm>
            <a:off x="6324450" y="4182596"/>
            <a:ext cx="36162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3" name="오른쪽 화살표 72"/>
          <p:cNvSpPr/>
          <p:nvPr/>
        </p:nvSpPr>
        <p:spPr bwMode="auto">
          <a:xfrm>
            <a:off x="7795941" y="4063383"/>
            <a:ext cx="186280" cy="431093"/>
          </a:xfrm>
          <a:prstGeom prst="rightArrow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8223598" y="3870040"/>
            <a:ext cx="1278411" cy="87443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원통 74"/>
          <p:cNvSpPr/>
          <p:nvPr/>
        </p:nvSpPr>
        <p:spPr bwMode="auto">
          <a:xfrm>
            <a:off x="8290527" y="3956942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스크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원통 75"/>
          <p:cNvSpPr/>
          <p:nvPr/>
        </p:nvSpPr>
        <p:spPr bwMode="auto">
          <a:xfrm>
            <a:off x="8900248" y="3956942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획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원통 76"/>
          <p:cNvSpPr/>
          <p:nvPr/>
        </p:nvSpPr>
        <p:spPr bwMode="auto">
          <a:xfrm>
            <a:off x="8294521" y="4323987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원통 77"/>
          <p:cNvSpPr/>
          <p:nvPr/>
        </p:nvSpPr>
        <p:spPr bwMode="auto">
          <a:xfrm>
            <a:off x="8904242" y="4323987"/>
            <a:ext cx="540999" cy="330283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5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561024" y="3573016"/>
            <a:ext cx="823976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정보</a:t>
            </a:r>
            <a:endParaRPr lang="en-US" altLang="ko-KR" sz="1000" i="1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lvl="0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순환 구조</a:t>
            </a:r>
            <a:endParaRPr lang="ko-KR" altLang="en-US" sz="10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80" name="꺾인 연결선 79"/>
          <p:cNvCxnSpPr>
            <a:stCxn id="71" idx="3"/>
          </p:cNvCxnSpPr>
          <p:nvPr/>
        </p:nvCxnSpPr>
        <p:spPr bwMode="auto">
          <a:xfrm rot="5400000">
            <a:off x="6866161" y="4458685"/>
            <a:ext cx="271996" cy="28082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sp>
        <p:nvSpPr>
          <p:cNvPr id="81" name="직사각형 80"/>
          <p:cNvSpPr/>
          <p:nvPr/>
        </p:nvSpPr>
        <p:spPr>
          <a:xfrm>
            <a:off x="5281894" y="4575903"/>
            <a:ext cx="16966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latinLnBrk="0">
              <a:spcBef>
                <a:spcPct val="30000"/>
              </a:spcBef>
            </a:pP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마트 매치 영역과 분석계 제공 마트 영역 분리 </a:t>
            </a:r>
            <a:r>
              <a:rPr lang="en-US" altLang="ko-KR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계 성능 영향 감소</a:t>
            </a:r>
            <a:r>
              <a:rPr lang="en-US" altLang="ko-KR" sz="10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10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8221016" y="3582572"/>
            <a:ext cx="1280993" cy="240236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단위 목적시스템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1737936" y="4322182"/>
            <a:ext cx="993163" cy="68804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원통 94"/>
          <p:cNvSpPr/>
          <p:nvPr/>
        </p:nvSpPr>
        <p:spPr bwMode="auto">
          <a:xfrm>
            <a:off x="1784647" y="4707804"/>
            <a:ext cx="912569" cy="262828"/>
          </a:xfrm>
          <a:prstGeom prst="can">
            <a:avLst>
              <a:gd name="adj" fmla="val 13453"/>
            </a:avLst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i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활용마트</a:t>
            </a:r>
            <a:endParaRPr kumimoji="1" lang="ko-KR" altLang="en-US" sz="1100" b="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원통 22"/>
          <p:cNvSpPr/>
          <p:nvPr/>
        </p:nvSpPr>
        <p:spPr bwMode="auto">
          <a:xfrm>
            <a:off x="1784648" y="4347832"/>
            <a:ext cx="912984" cy="350587"/>
          </a:xfrm>
          <a:prstGeom prst="can">
            <a:avLst>
              <a:gd name="adj" fmla="val 13453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마트</a:t>
            </a:r>
            <a:endParaRPr kumimoji="1" lang="ko-KR" altLang="en-US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 bwMode="auto">
          <a:xfrm>
            <a:off x="2869685" y="4664553"/>
            <a:ext cx="173693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20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2142854" y="5035879"/>
            <a:ext cx="173693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20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7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Biz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ignmen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내용 개체 틀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위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I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역량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략 방향에 부합하도록 추진되어야 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해 전략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의 상호 연계성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보되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3330766" y="4473912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3348749" y="4728284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3279912" y="3350598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3297894" y="3604970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263249" y="2227285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3281231" y="2481657"/>
            <a:ext cx="1307499" cy="133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026629" y="1854942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890388" y="1854941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890388" y="2978255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890388" y="2142941"/>
            <a:ext cx="2648040" cy="57421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890388" y="4101569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026629" y="2978255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26629" y="2142941"/>
            <a:ext cx="2648040" cy="575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9" name="그룹 58"/>
          <p:cNvGrpSpPr/>
          <p:nvPr/>
        </p:nvGrpSpPr>
        <p:grpSpPr>
          <a:xfrm>
            <a:off x="890388" y="1854941"/>
            <a:ext cx="2648040" cy="288000"/>
            <a:chOff x="632400" y="1899769"/>
            <a:chExt cx="2160000" cy="288000"/>
          </a:xfrm>
        </p:grpSpPr>
        <p:sp>
          <p:nvSpPr>
            <p:cNvPr id="60" name="직사각형 59"/>
            <p:cNvSpPr/>
            <p:nvPr/>
          </p:nvSpPr>
          <p:spPr bwMode="auto">
            <a:xfrm>
              <a:off x="632400" y="1899769"/>
              <a:ext cx="1872000" cy="288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전략</a:t>
              </a:r>
              <a: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방향 재확인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이등변 삼각형 60"/>
            <p:cNvSpPr/>
            <p:nvPr/>
          </p:nvSpPr>
          <p:spPr bwMode="auto">
            <a:xfrm flipH="1" flipV="1">
              <a:off x="2504400" y="1899769"/>
              <a:ext cx="288000" cy="288000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2" name="직사각형 61"/>
          <p:cNvSpPr/>
          <p:nvPr/>
        </p:nvSpPr>
        <p:spPr bwMode="auto">
          <a:xfrm>
            <a:off x="890388" y="3077159"/>
            <a:ext cx="2648040" cy="576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026629" y="3266255"/>
            <a:ext cx="2648040" cy="5759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4026629" y="4101569"/>
            <a:ext cx="264804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이등변 삼각형 64"/>
          <p:cNvSpPr/>
          <p:nvPr/>
        </p:nvSpPr>
        <p:spPr bwMode="auto">
          <a:xfrm flipH="1" flipV="1">
            <a:off x="6321597" y="4101569"/>
            <a:ext cx="353072" cy="288000"/>
          </a:xfrm>
          <a:prstGeom prst="triangle">
            <a:avLst>
              <a:gd name="adj" fmla="val 100000"/>
            </a:avLst>
          </a:prstGeom>
          <a:solidFill>
            <a:schemeClr val="accent5">
              <a:lumMod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026629" y="4389570"/>
            <a:ext cx="2648040" cy="575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6" name="그룹 75"/>
          <p:cNvGrpSpPr/>
          <p:nvPr/>
        </p:nvGrpSpPr>
        <p:grpSpPr>
          <a:xfrm>
            <a:off x="1000690" y="4451682"/>
            <a:ext cx="2427438" cy="432000"/>
            <a:chOff x="1141243" y="4496510"/>
            <a:chExt cx="2427438" cy="432000"/>
          </a:xfrm>
        </p:grpSpPr>
        <p:sp>
          <p:nvSpPr>
            <p:cNvPr id="77" name="타원 76"/>
            <p:cNvSpPr/>
            <p:nvPr/>
          </p:nvSpPr>
          <p:spPr bwMode="auto">
            <a:xfrm>
              <a:off x="1141243" y="4496510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타원 77"/>
            <p:cNvSpPr/>
            <p:nvPr/>
          </p:nvSpPr>
          <p:spPr bwMode="auto">
            <a:xfrm>
              <a:off x="1768502" y="4496510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타원 78"/>
            <p:cNvSpPr/>
            <p:nvPr/>
          </p:nvSpPr>
          <p:spPr bwMode="auto">
            <a:xfrm>
              <a:off x="2395761" y="4496510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타원 79"/>
            <p:cNvSpPr/>
            <p:nvPr/>
          </p:nvSpPr>
          <p:spPr bwMode="auto">
            <a:xfrm>
              <a:off x="3023019" y="4496510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</a:p>
          </p:txBody>
        </p:sp>
      </p:grpSp>
      <p:sp>
        <p:nvSpPr>
          <p:cNvPr id="81" name="직사각형 80"/>
          <p:cNvSpPr/>
          <p:nvPr/>
        </p:nvSpPr>
        <p:spPr bwMode="auto">
          <a:xfrm>
            <a:off x="890388" y="5224883"/>
            <a:ext cx="5796000" cy="864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890388" y="5224883"/>
            <a:ext cx="2206700" cy="28800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108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아키텍처 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고도화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이등변 삼각형 91"/>
          <p:cNvSpPr/>
          <p:nvPr/>
        </p:nvSpPr>
        <p:spPr bwMode="auto">
          <a:xfrm flipH="1" flipV="1">
            <a:off x="3097431" y="5224883"/>
            <a:ext cx="353072" cy="288000"/>
          </a:xfrm>
          <a:prstGeom prst="triangle">
            <a:avLst>
              <a:gd name="adj" fmla="val 100000"/>
            </a:avLst>
          </a:prstGeom>
          <a:solidFill>
            <a:schemeClr val="accent5">
              <a:lumMod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4026629" y="4101569"/>
            <a:ext cx="2294968" cy="288000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8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>
                <a:latin typeface="맑은 고딕" pitchFamily="50" charset="-127"/>
                <a:ea typeface="맑은 고딕" pitchFamily="50" charset="-127"/>
              </a:rPr>
              <a:t>비기능</a:t>
            </a: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 요구사항 </a:t>
            </a: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상세화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이등변 삼각형 93"/>
          <p:cNvSpPr/>
          <p:nvPr/>
        </p:nvSpPr>
        <p:spPr bwMode="auto">
          <a:xfrm flipV="1">
            <a:off x="1732036" y="2787551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이등변 삼각형 95"/>
          <p:cNvSpPr/>
          <p:nvPr/>
        </p:nvSpPr>
        <p:spPr bwMode="auto">
          <a:xfrm flipV="1">
            <a:off x="1732036" y="3910865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이등변 삼각형 96"/>
          <p:cNvSpPr/>
          <p:nvPr/>
        </p:nvSpPr>
        <p:spPr bwMode="auto">
          <a:xfrm flipV="1">
            <a:off x="1732036" y="5034179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이등변 삼각형 97"/>
          <p:cNvSpPr/>
          <p:nvPr/>
        </p:nvSpPr>
        <p:spPr bwMode="auto">
          <a:xfrm flipV="1">
            <a:off x="4831350" y="2787551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이등변 삼각형 98"/>
          <p:cNvSpPr/>
          <p:nvPr/>
        </p:nvSpPr>
        <p:spPr bwMode="auto">
          <a:xfrm flipV="1">
            <a:off x="4831350" y="3910865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이등변 삼각형 99"/>
          <p:cNvSpPr/>
          <p:nvPr/>
        </p:nvSpPr>
        <p:spPr bwMode="auto">
          <a:xfrm flipV="1">
            <a:off x="4831350" y="5034179"/>
            <a:ext cx="964746" cy="10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1" name="그룹 100"/>
          <p:cNvGrpSpPr/>
          <p:nvPr/>
        </p:nvGrpSpPr>
        <p:grpSpPr>
          <a:xfrm>
            <a:off x="885754" y="2986634"/>
            <a:ext cx="2648040" cy="288000"/>
            <a:chOff x="632400" y="1899769"/>
            <a:chExt cx="2160000" cy="288000"/>
          </a:xfrm>
        </p:grpSpPr>
        <p:sp>
          <p:nvSpPr>
            <p:cNvPr id="102" name="직사각형 101"/>
            <p:cNvSpPr/>
            <p:nvPr/>
          </p:nvSpPr>
          <p:spPr bwMode="auto">
            <a:xfrm>
              <a:off x="632400" y="1899769"/>
              <a:ext cx="1872000" cy="288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비즈니스 혁신 과제 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고도화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이등변 삼각형 102"/>
            <p:cNvSpPr/>
            <p:nvPr/>
          </p:nvSpPr>
          <p:spPr bwMode="auto">
            <a:xfrm flipH="1" flipV="1">
              <a:off x="2504400" y="1899769"/>
              <a:ext cx="288000" cy="288000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6" name="그룹 105"/>
          <p:cNvGrpSpPr/>
          <p:nvPr/>
        </p:nvGrpSpPr>
        <p:grpSpPr>
          <a:xfrm>
            <a:off x="4043139" y="1864924"/>
            <a:ext cx="2648040" cy="288000"/>
            <a:chOff x="632400" y="1899769"/>
            <a:chExt cx="2160000" cy="288000"/>
          </a:xfrm>
        </p:grpSpPr>
        <p:sp>
          <p:nvSpPr>
            <p:cNvPr id="109" name="직사각형 108"/>
            <p:cNvSpPr/>
            <p:nvPr/>
          </p:nvSpPr>
          <p:spPr bwMode="auto">
            <a:xfrm>
              <a:off x="632400" y="1899769"/>
              <a:ext cx="1872000" cy="288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전략 재정립</a:t>
              </a:r>
            </a:p>
          </p:txBody>
        </p:sp>
        <p:sp>
          <p:nvSpPr>
            <p:cNvPr id="112" name="이등변 삼각형 111"/>
            <p:cNvSpPr/>
            <p:nvPr/>
          </p:nvSpPr>
          <p:spPr bwMode="auto">
            <a:xfrm flipH="1" flipV="1">
              <a:off x="2504400" y="1899769"/>
              <a:ext cx="288000" cy="288000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3" name="직사각형 112"/>
          <p:cNvSpPr/>
          <p:nvPr/>
        </p:nvSpPr>
        <p:spPr bwMode="auto">
          <a:xfrm>
            <a:off x="1071492" y="220306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장기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략 방향 재확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2300609" y="220306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세대 방향 재확인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Biz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점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오른쪽 화살표 114"/>
          <p:cNvSpPr/>
          <p:nvPr/>
        </p:nvSpPr>
        <p:spPr bwMode="auto">
          <a:xfrm>
            <a:off x="852416" y="1344536"/>
            <a:ext cx="5832000" cy="468000"/>
          </a:xfrm>
          <a:prstGeom prst="rightArrow">
            <a:avLst>
              <a:gd name="adj1" fmla="val 70752"/>
              <a:gd name="adj2" fmla="val 50000"/>
            </a:avLst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>
                <a:latin typeface="맑은 고딕" pitchFamily="50" charset="-127"/>
                <a:ea typeface="맑은 고딕" pitchFamily="50" charset="-127"/>
              </a:rPr>
              <a:t>수평적 연계</a:t>
            </a:r>
            <a:r>
              <a:rPr kumimoji="1" lang="en-US" altLang="ko-KR" sz="1400" dirty="0">
                <a:latin typeface="맑은 고딕" pitchFamily="50" charset="-127"/>
                <a:ea typeface="맑은 고딕" pitchFamily="50" charset="-127"/>
              </a:rPr>
              <a:t>(Horizontal Alignment)</a:t>
            </a:r>
            <a:endParaRPr kumimoji="1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오른쪽 화살표 115"/>
          <p:cNvSpPr/>
          <p:nvPr/>
        </p:nvSpPr>
        <p:spPr bwMode="auto">
          <a:xfrm rot="5400000">
            <a:off x="-1672379" y="3757395"/>
            <a:ext cx="4357718" cy="468000"/>
          </a:xfrm>
          <a:prstGeom prst="rightArrow">
            <a:avLst>
              <a:gd name="adj1" fmla="val 70752"/>
              <a:gd name="adj2" fmla="val 50000"/>
            </a:avLst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>
                <a:latin typeface="맑은 고딕" pitchFamily="50" charset="-127"/>
                <a:ea typeface="맑은 고딕" pitchFamily="50" charset="-127"/>
              </a:rPr>
              <a:t>수직적 연계</a:t>
            </a:r>
            <a:r>
              <a:rPr kumimoji="1" lang="en-US" altLang="ko-KR" sz="1400" dirty="0">
                <a:latin typeface="맑은 고딕" pitchFamily="50" charset="-127"/>
                <a:ea typeface="맑은 고딕" pitchFamily="50" charset="-127"/>
              </a:rPr>
              <a:t>(Vertical Alignment)</a:t>
            </a:r>
            <a:endParaRPr kumimoji="1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7" name="직선 화살표 연결선 116"/>
          <p:cNvCxnSpPr>
            <a:stCxn id="113" idx="3"/>
            <a:endCxn id="114" idx="1"/>
          </p:cNvCxnSpPr>
          <p:nvPr/>
        </p:nvCxnSpPr>
        <p:spPr bwMode="auto">
          <a:xfrm>
            <a:off x="2151492" y="2419064"/>
            <a:ext cx="149117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118" name="그룹 117"/>
          <p:cNvGrpSpPr/>
          <p:nvPr/>
        </p:nvGrpSpPr>
        <p:grpSpPr>
          <a:xfrm>
            <a:off x="4040814" y="2993644"/>
            <a:ext cx="2648040" cy="288000"/>
            <a:chOff x="632400" y="1899769"/>
            <a:chExt cx="2160000" cy="288000"/>
          </a:xfrm>
        </p:grpSpPr>
        <p:sp>
          <p:nvSpPr>
            <p:cNvPr id="119" name="직사각형 118"/>
            <p:cNvSpPr/>
            <p:nvPr/>
          </p:nvSpPr>
          <p:spPr bwMode="auto">
            <a:xfrm>
              <a:off x="632400" y="1899769"/>
              <a:ext cx="1872000" cy="288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인프라 혁신 과제 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고도화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이등변 삼각형 119"/>
            <p:cNvSpPr/>
            <p:nvPr/>
          </p:nvSpPr>
          <p:spPr bwMode="auto">
            <a:xfrm flipH="1" flipV="1">
              <a:off x="2504400" y="1899769"/>
              <a:ext cx="288000" cy="288000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1" name="그룹 120"/>
          <p:cNvGrpSpPr/>
          <p:nvPr/>
        </p:nvGrpSpPr>
        <p:grpSpPr>
          <a:xfrm>
            <a:off x="883357" y="4098552"/>
            <a:ext cx="2648040" cy="288000"/>
            <a:chOff x="632400" y="1899769"/>
            <a:chExt cx="2160000" cy="288000"/>
          </a:xfrm>
        </p:grpSpPr>
        <p:sp>
          <p:nvSpPr>
            <p:cNvPr id="122" name="직사각형 121"/>
            <p:cNvSpPr/>
            <p:nvPr/>
          </p:nvSpPr>
          <p:spPr bwMode="auto">
            <a:xfrm>
              <a:off x="632400" y="1899769"/>
              <a:ext cx="1872000" cy="288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기능 요구사항 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상세화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이등변 삼각형 122"/>
            <p:cNvSpPr/>
            <p:nvPr/>
          </p:nvSpPr>
          <p:spPr bwMode="auto">
            <a:xfrm flipH="1" flipV="1">
              <a:off x="2504400" y="1899769"/>
              <a:ext cx="288000" cy="288000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4" name="직사각형 123"/>
          <p:cNvSpPr/>
          <p:nvPr/>
        </p:nvSpPr>
        <p:spPr bwMode="auto">
          <a:xfrm>
            <a:off x="1083000" y="332543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즈니스 혁신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과제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점검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2312117" y="332543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 프로세스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립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6" name="직선 화살표 연결선 125"/>
          <p:cNvCxnSpPr>
            <a:stCxn id="124" idx="3"/>
            <a:endCxn id="125" idx="1"/>
          </p:cNvCxnSpPr>
          <p:nvPr/>
        </p:nvCxnSpPr>
        <p:spPr bwMode="auto">
          <a:xfrm>
            <a:off x="2163000" y="3541434"/>
            <a:ext cx="149117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7" name="직사각형 126"/>
          <p:cNvSpPr/>
          <p:nvPr/>
        </p:nvSpPr>
        <p:spPr bwMode="auto">
          <a:xfrm>
            <a:off x="4207119" y="221576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전 및 전략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확인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5436236" y="221576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세대 방향 재확인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IT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점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9" name="직선 화살표 연결선 128"/>
          <p:cNvCxnSpPr>
            <a:stCxn id="127" idx="3"/>
            <a:endCxn id="128" idx="1"/>
          </p:cNvCxnSpPr>
          <p:nvPr/>
        </p:nvCxnSpPr>
        <p:spPr bwMode="auto">
          <a:xfrm>
            <a:off x="5287119" y="2431764"/>
            <a:ext cx="149117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130" name="그룹 129"/>
          <p:cNvGrpSpPr/>
          <p:nvPr/>
        </p:nvGrpSpPr>
        <p:grpSpPr>
          <a:xfrm>
            <a:off x="4130726" y="4439670"/>
            <a:ext cx="2427438" cy="432000"/>
            <a:chOff x="4271279" y="4484498"/>
            <a:chExt cx="2427438" cy="432000"/>
          </a:xfrm>
        </p:grpSpPr>
        <p:sp>
          <p:nvSpPr>
            <p:cNvPr id="131" name="타원 130"/>
            <p:cNvSpPr/>
            <p:nvPr/>
          </p:nvSpPr>
          <p:spPr bwMode="auto">
            <a:xfrm>
              <a:off x="4271279" y="4484498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용성</a:t>
              </a:r>
            </a:p>
          </p:txBody>
        </p:sp>
        <p:sp>
          <p:nvSpPr>
            <p:cNvPr id="132" name="타원 131"/>
            <p:cNvSpPr/>
            <p:nvPr/>
          </p:nvSpPr>
          <p:spPr bwMode="auto">
            <a:xfrm>
              <a:off x="4898538" y="4484498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성능</a:t>
              </a:r>
            </a:p>
          </p:txBody>
        </p:sp>
        <p:sp>
          <p:nvSpPr>
            <p:cNvPr id="133" name="타원 132"/>
            <p:cNvSpPr/>
            <p:nvPr/>
          </p:nvSpPr>
          <p:spPr bwMode="auto">
            <a:xfrm>
              <a:off x="5525797" y="4484498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안정성</a:t>
              </a:r>
            </a:p>
          </p:txBody>
        </p:sp>
        <p:sp>
          <p:nvSpPr>
            <p:cNvPr id="134" name="타원 133"/>
            <p:cNvSpPr/>
            <p:nvPr/>
          </p:nvSpPr>
          <p:spPr bwMode="auto">
            <a:xfrm>
              <a:off x="6153055" y="4484498"/>
              <a:ext cx="545662" cy="432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보안</a:t>
              </a:r>
            </a:p>
          </p:txBody>
        </p:sp>
      </p:grpSp>
      <p:sp>
        <p:nvSpPr>
          <p:cNvPr id="135" name="직사각형 134"/>
          <p:cNvSpPr/>
          <p:nvPr/>
        </p:nvSpPr>
        <p:spPr bwMode="auto">
          <a:xfrm>
            <a:off x="4209090" y="332543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프라 혁신 과제 점검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5438207" y="3325434"/>
            <a:ext cx="1080000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술변화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반영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7" name="직선 화살표 연결선 136"/>
          <p:cNvCxnSpPr>
            <a:stCxn id="135" idx="3"/>
            <a:endCxn id="136" idx="1"/>
          </p:cNvCxnSpPr>
          <p:nvPr/>
        </p:nvCxnSpPr>
        <p:spPr bwMode="auto">
          <a:xfrm>
            <a:off x="5289090" y="3541434"/>
            <a:ext cx="149117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8" name="직사각형 137"/>
          <p:cNvSpPr/>
          <p:nvPr/>
        </p:nvSpPr>
        <p:spPr bwMode="auto">
          <a:xfrm>
            <a:off x="2421434" y="5573350"/>
            <a:ext cx="1327487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어플리케이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AA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3827856" y="5573350"/>
            <a:ext cx="1327487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DA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5234277" y="5573350"/>
            <a:ext cx="1327487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술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안 아키텍처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TA/SA)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1015012" y="5573350"/>
            <a:ext cx="1327487" cy="43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프로세스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</a:t>
            </a:r>
          </a:p>
        </p:txBody>
      </p:sp>
      <p:sp>
        <p:nvSpPr>
          <p:cNvPr id="142" name="직사각형 141"/>
          <p:cNvSpPr/>
          <p:nvPr/>
        </p:nvSpPr>
        <p:spPr bwMode="auto">
          <a:xfrm>
            <a:off x="7079294" y="1955412"/>
            <a:ext cx="2698242" cy="78581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략 방향 변화와 </a:t>
            </a: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한 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즈니스 및 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 </a:t>
            </a:r>
            <a:r>
              <a:rPr kumimoji="1" lang="ko-KR" altLang="en-US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과제</a:t>
            </a:r>
            <a:r>
              <a:rPr kumimoji="1" lang="en-US" altLang="ko-KR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점검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trategic Alignment)</a:t>
            </a:r>
            <a:endParaRPr kumimoji="1" lang="ko-KR" altLang="en-US" sz="140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7079294" y="5266534"/>
            <a:ext cx="2698242" cy="78581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 과제를 구현하기 위한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키텍처 </a:t>
            </a:r>
            <a:r>
              <a:rPr kumimoji="1" lang="ko-KR" altLang="en-US" sz="1400" i="1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안</a:t>
            </a:r>
            <a:r>
              <a:rPr kumimoji="1" lang="ko-KR" altLang="en-US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수립</a:t>
            </a:r>
          </a:p>
        </p:txBody>
      </p:sp>
      <p:sp>
        <p:nvSpPr>
          <p:cNvPr id="144" name="직사각형 143"/>
          <p:cNvSpPr/>
          <p:nvPr/>
        </p:nvSpPr>
        <p:spPr bwMode="auto">
          <a:xfrm>
            <a:off x="7079294" y="3508988"/>
            <a:ext cx="2698242" cy="10001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i="1" spc="-2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 </a:t>
            </a:r>
            <a:r>
              <a:rPr kumimoji="1" lang="ko-KR" altLang="en-US" sz="1400" i="1" spc="-2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과제의</a:t>
            </a:r>
            <a:r>
              <a:rPr kumimoji="1" lang="en-US" altLang="ko-KR" sz="1400" i="1" spc="-2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400" i="1" spc="-2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적 추진을 위한 </a:t>
            </a:r>
            <a:r>
              <a:rPr kumimoji="1" lang="ko-KR" altLang="en-US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세화 및 </a:t>
            </a:r>
            <a:r>
              <a:rPr kumimoji="1" lang="en-US" altLang="ko-KR" sz="140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Up-grade</a:t>
            </a:r>
            <a: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40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4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- Best Practice, KPMG </a:t>
            </a:r>
            <a:r>
              <a:rPr kumimoji="1" lang="en-US" altLang="ko-KR" sz="14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br>
              <a:rPr kumimoji="1" lang="en-US" altLang="ko-KR" sz="14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400" b="0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Reference </a:t>
            </a:r>
            <a:r>
              <a:rPr kumimoji="1" lang="en-US" altLang="ko-KR" sz="14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odel </a:t>
            </a:r>
            <a:r>
              <a:rPr kumimoji="1" lang="ko-KR" altLang="en-US" sz="14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활용</a:t>
            </a:r>
          </a:p>
        </p:txBody>
      </p:sp>
      <p:grpSp>
        <p:nvGrpSpPr>
          <p:cNvPr id="145" name="Group 4"/>
          <p:cNvGrpSpPr>
            <a:grpSpLocks noChangeAspect="1"/>
          </p:cNvGrpSpPr>
          <p:nvPr/>
        </p:nvGrpSpPr>
        <p:grpSpPr bwMode="auto">
          <a:xfrm>
            <a:off x="6864981" y="1883974"/>
            <a:ext cx="360000" cy="323917"/>
            <a:chOff x="3109" y="1896"/>
            <a:chExt cx="369" cy="316"/>
          </a:xfrm>
        </p:grpSpPr>
        <p:sp>
          <p:nvSpPr>
            <p:cNvPr id="1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7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8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9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0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52" name="Group 4"/>
          <p:cNvGrpSpPr>
            <a:grpSpLocks noChangeAspect="1"/>
          </p:cNvGrpSpPr>
          <p:nvPr/>
        </p:nvGrpSpPr>
        <p:grpSpPr bwMode="auto">
          <a:xfrm>
            <a:off x="6864981" y="3437550"/>
            <a:ext cx="360000" cy="323917"/>
            <a:chOff x="3109" y="1896"/>
            <a:chExt cx="369" cy="316"/>
          </a:xfrm>
        </p:grpSpPr>
        <p:sp>
          <p:nvSpPr>
            <p:cNvPr id="15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59" name="Group 4"/>
          <p:cNvGrpSpPr>
            <a:grpSpLocks noChangeAspect="1"/>
          </p:cNvGrpSpPr>
          <p:nvPr/>
        </p:nvGrpSpPr>
        <p:grpSpPr bwMode="auto">
          <a:xfrm>
            <a:off x="6864981" y="5195096"/>
            <a:ext cx="360000" cy="323917"/>
            <a:chOff x="3109" y="1896"/>
            <a:chExt cx="369" cy="316"/>
          </a:xfrm>
        </p:grpSpPr>
        <p:sp>
          <p:nvSpPr>
            <p:cNvPr id="16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3190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공 데이터 최적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마트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구성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데이터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합성을 확보하고 필요 정보의 다양화 및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활용성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극대화하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으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변화가 필요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04800" y="2307835"/>
            <a:ext cx="3136032" cy="3784245"/>
          </a:xfrm>
          <a:prstGeom prst="rect">
            <a:avLst/>
          </a:prstGeom>
          <a:solidFill>
            <a:srgbClr val="FFFFFF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4" name="Rectangle 143"/>
          <p:cNvSpPr>
            <a:spLocks noChangeArrowheads="1"/>
          </p:cNvSpPr>
          <p:nvPr/>
        </p:nvSpPr>
        <p:spPr bwMode="gray">
          <a:xfrm>
            <a:off x="611178" y="1810914"/>
            <a:ext cx="2528920" cy="28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marL="85725" indent="-85725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5725" marR="0" lvl="0" indent="-8572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보계</a:t>
            </a: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데이터 주요 변화 사항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5" name="Line 144"/>
          <p:cNvSpPr>
            <a:spLocks noChangeShapeType="1"/>
          </p:cNvSpPr>
          <p:nvPr/>
        </p:nvSpPr>
        <p:spPr bwMode="gray">
          <a:xfrm>
            <a:off x="307934" y="2085215"/>
            <a:ext cx="3132897" cy="0"/>
          </a:xfrm>
          <a:prstGeom prst="line">
            <a:avLst/>
          </a:prstGeom>
          <a:noFill/>
          <a:ln w="3175">
            <a:solidFill>
              <a:srgbClr val="BFD9E6">
                <a:lumMod val="1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0800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가는각진제목체"/>
              <a:cs typeface="Arial" charset="0"/>
            </a:endParaRPr>
          </a:p>
        </p:txBody>
      </p:sp>
      <p:sp>
        <p:nvSpPr>
          <p:cNvPr id="43" name="Rectangle 20"/>
          <p:cNvSpPr>
            <a:spLocks noChangeArrowheads="1"/>
          </p:cNvSpPr>
          <p:nvPr/>
        </p:nvSpPr>
        <p:spPr bwMode="auto">
          <a:xfrm>
            <a:off x="380492" y="2786641"/>
            <a:ext cx="2894012" cy="2767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marL="85725" indent="-85725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차세대 시스템의 데이터 구조의 변경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상품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고객 등 핵심 정보의 변화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EDW/DM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경영정보의 정합성과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적시성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확보 필요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실시간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및 분석 정보 활용 역량 강화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대시보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실시간 마케팅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업무별 요건에 대한 대응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존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EDW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에 대한 노후화 및 실시간 정보 활용이 어려운 환경 개선 필요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EDW/DM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의 정보량 증대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Social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반의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VOC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평판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사 등 비정형 데이터의 활용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니즈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증대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4" name="이등변 삼각형 43"/>
          <p:cNvSpPr/>
          <p:nvPr/>
        </p:nvSpPr>
        <p:spPr bwMode="auto">
          <a:xfrm rot="5400000">
            <a:off x="2464671" y="3960116"/>
            <a:ext cx="2658274" cy="230150"/>
          </a:xfrm>
          <a:prstGeom prst="triangle">
            <a:avLst/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2" name="Rectangle 143"/>
          <p:cNvSpPr>
            <a:spLocks noChangeArrowheads="1"/>
          </p:cNvSpPr>
          <p:nvPr/>
        </p:nvSpPr>
        <p:spPr bwMode="gray">
          <a:xfrm>
            <a:off x="4831919" y="1816314"/>
            <a:ext cx="4094611" cy="28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marL="85725" indent="-85725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defRPr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5725" marR="0" lvl="0" indent="-8572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존데이터 </a:t>
            </a:r>
            <a:r>
              <a:rPr kumimoji="0" lang="ko-KR" alt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마트</a:t>
            </a: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효율적 재구성을 위한 방안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3" name="Line 144"/>
          <p:cNvSpPr>
            <a:spLocks noChangeShapeType="1"/>
          </p:cNvSpPr>
          <p:nvPr/>
        </p:nvSpPr>
        <p:spPr bwMode="gray">
          <a:xfrm>
            <a:off x="4340932" y="2090615"/>
            <a:ext cx="5072519" cy="0"/>
          </a:xfrm>
          <a:prstGeom prst="line">
            <a:avLst/>
          </a:prstGeom>
          <a:noFill/>
          <a:ln w="3175">
            <a:solidFill>
              <a:srgbClr val="BFD9E6">
                <a:lumMod val="10000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0800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가는각진제목체"/>
              <a:cs typeface="Arial" charset="0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268924" y="2310670"/>
            <a:ext cx="1080120" cy="967881"/>
          </a:xfrm>
          <a:prstGeom prst="rect">
            <a:avLst/>
          </a:prstGeom>
          <a:solidFill>
            <a:srgbClr val="002060"/>
          </a:solidFill>
          <a:ln w="317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비즈니스 대응</a:t>
            </a:r>
            <a:endParaRPr kumimoji="0" lang="en-US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268924" y="3497380"/>
            <a:ext cx="1080120" cy="1011124"/>
          </a:xfrm>
          <a:prstGeom prst="rect">
            <a:avLst/>
          </a:prstGeom>
          <a:solidFill>
            <a:srgbClr val="002060"/>
          </a:solidFill>
          <a:ln w="317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데이터마트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설계 관점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268924" y="4708999"/>
            <a:ext cx="1080120" cy="1385915"/>
          </a:xfrm>
          <a:prstGeom prst="rect">
            <a:avLst/>
          </a:prstGeom>
          <a:solidFill>
            <a:srgbClr val="002060"/>
          </a:solidFill>
          <a:ln w="317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반 환경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및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수행관점</a:t>
            </a:r>
            <a:endParaRPr kumimoji="0" lang="en-US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49" name="직선 연결선 48"/>
          <p:cNvCxnSpPr/>
          <p:nvPr/>
        </p:nvCxnSpPr>
        <p:spPr bwMode="auto">
          <a:xfrm>
            <a:off x="5493060" y="3425650"/>
            <a:ext cx="3996444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80B3CC">
                <a:lumMod val="75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직선 연결선 49"/>
          <p:cNvCxnSpPr/>
          <p:nvPr/>
        </p:nvCxnSpPr>
        <p:spPr bwMode="auto">
          <a:xfrm>
            <a:off x="5493060" y="4622792"/>
            <a:ext cx="3996444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80B3CC">
                <a:lumMod val="75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20"/>
          <p:cNvSpPr>
            <a:spLocks noChangeArrowheads="1"/>
          </p:cNvSpPr>
          <p:nvPr/>
        </p:nvSpPr>
        <p:spPr bwMode="auto">
          <a:xfrm>
            <a:off x="5499956" y="2309445"/>
            <a:ext cx="3809528" cy="45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 marL="85725" indent="-85725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필요 정보의 다양화 및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활용성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극대화를 위한 업무 요건 및 분석 역량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보 정의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529064" y="2747105"/>
            <a:ext cx="936104" cy="397890"/>
          </a:xfrm>
          <a:prstGeom prst="rect">
            <a:avLst/>
          </a:prstGeom>
          <a:solidFill>
            <a:srgbClr val="FFFFFF"/>
          </a:solidFill>
          <a:ln w="952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보 우선순위화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6537176" y="2747105"/>
            <a:ext cx="936104" cy="397890"/>
          </a:xfrm>
          <a:prstGeom prst="rect">
            <a:avLst/>
          </a:prstGeom>
          <a:solidFill>
            <a:srgbClr val="FFFFFF"/>
          </a:solidFill>
          <a:ln w="952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보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Life cycle 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관리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7545288" y="2747105"/>
            <a:ext cx="936104" cy="397890"/>
          </a:xfrm>
          <a:prstGeom prst="rect">
            <a:avLst/>
          </a:prstGeom>
          <a:solidFill>
            <a:srgbClr val="FFFFFF"/>
          </a:solidFill>
          <a:ln w="952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내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외부 정보 유형화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8553400" y="2747105"/>
            <a:ext cx="936104" cy="397890"/>
          </a:xfrm>
          <a:prstGeom prst="rect">
            <a:avLst/>
          </a:prstGeom>
          <a:solidFill>
            <a:srgbClr val="FFFFFF"/>
          </a:solidFill>
          <a:ln w="9525">
            <a:solidFill>
              <a:srgbClr val="80B3CC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비정형데이터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활용</a:t>
            </a:r>
            <a:endParaRPr kumimoji="0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6" name="Rectangle 20"/>
          <p:cNvSpPr>
            <a:spLocks noChangeArrowheads="1"/>
          </p:cNvSpPr>
          <p:nvPr/>
        </p:nvSpPr>
        <p:spPr bwMode="auto">
          <a:xfrm>
            <a:off x="5493060" y="3517883"/>
            <a:ext cx="3924436" cy="112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 marL="85725" indent="-85725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다차원 분석에 최적화된 데이터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마트구성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Dimension/Measurement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의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상관분석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친밀도분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Data Compression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이 적용되도록 물리설계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EDW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와 요약테이블 연관성 확보를 통한 최하위 수준까지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Data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서비스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7" name="Rectangle 20"/>
          <p:cNvSpPr>
            <a:spLocks noChangeArrowheads="1"/>
          </p:cNvSpPr>
          <p:nvPr/>
        </p:nvSpPr>
        <p:spPr bwMode="auto">
          <a:xfrm>
            <a:off x="5493060" y="4705818"/>
            <a:ext cx="3924436" cy="497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 marL="85725" indent="-85725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실시간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분석 기반 정형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비정형 데이터 활용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정보계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데이터 모델링 및 데이터 이행 관점 견지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59" name="직선 화살표 연결선 58"/>
          <p:cNvCxnSpPr/>
          <p:nvPr/>
        </p:nvCxnSpPr>
        <p:spPr bwMode="auto">
          <a:xfrm>
            <a:off x="5565068" y="3278551"/>
            <a:ext cx="3848383" cy="0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rgbClr val="80B3CC">
                <a:lumMod val="75000"/>
              </a:srgbClr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60" name="TextBox 59"/>
          <p:cNvSpPr txBox="1"/>
          <p:nvPr/>
        </p:nvSpPr>
        <p:spPr>
          <a:xfrm>
            <a:off x="6648005" y="3166269"/>
            <a:ext cx="1627369" cy="261610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통합화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적시성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활용성</a:t>
            </a: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7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78" name="TextBox 7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2" name="그룹 41"/>
          <p:cNvGrpSpPr/>
          <p:nvPr/>
        </p:nvGrpSpPr>
        <p:grpSpPr>
          <a:xfrm>
            <a:off x="5556628" y="5388962"/>
            <a:ext cx="3954084" cy="582055"/>
            <a:chOff x="273050" y="1803360"/>
            <a:chExt cx="9360471" cy="328554"/>
          </a:xfrm>
          <a:solidFill>
            <a:schemeClr val="bg1"/>
          </a:solidFill>
        </p:grpSpPr>
        <p:sp>
          <p:nvSpPr>
            <p:cNvPr id="58" name="오각형 57"/>
            <p:cNvSpPr/>
            <p:nvPr/>
          </p:nvSpPr>
          <p:spPr bwMode="auto">
            <a:xfrm>
              <a:off x="273050" y="1803360"/>
              <a:ext cx="2375694" cy="328554"/>
            </a:xfrm>
            <a:prstGeom prst="homePlate">
              <a:avLst>
                <a:gd name="adj" fmla="val 17271"/>
              </a:avLst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 </a:t>
              </a:r>
              <a:r>
                <a: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황조사</a:t>
              </a:r>
            </a:p>
          </p:txBody>
        </p:sp>
        <p:sp>
          <p:nvSpPr>
            <p:cNvPr id="81" name="오각형 80"/>
            <p:cNvSpPr/>
            <p:nvPr/>
          </p:nvSpPr>
          <p:spPr bwMode="auto">
            <a:xfrm>
              <a:off x="2737643" y="1803360"/>
              <a:ext cx="3799533" cy="328554"/>
            </a:xfrm>
            <a:prstGeom prst="homePlate">
              <a:avLst>
                <a:gd name="adj" fmla="val 15089"/>
              </a:avLst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 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최적화 요건 도출</a:t>
              </a:r>
              <a:endPara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오각형 81"/>
            <p:cNvSpPr/>
            <p:nvPr/>
          </p:nvSpPr>
          <p:spPr bwMode="auto">
            <a:xfrm>
              <a:off x="6626077" y="1803360"/>
              <a:ext cx="3007444" cy="328554"/>
            </a:xfrm>
            <a:prstGeom prst="homePlate">
              <a:avLst>
                <a:gd name="adj" fmla="val 23817"/>
              </a:avLst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 </a:t>
              </a: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배치모듈 개선</a:t>
              </a:r>
              <a:endPara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6" name="그룹 8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326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적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공 데이터 최적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적화 절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46195" cy="605126"/>
          </a:xfrm>
        </p:spPr>
        <p:txBody>
          <a:bodyPr/>
          <a:lstStyle/>
          <a:p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제공마트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활용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복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요도 등을 분석한 결과를 토대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M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성량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최적화 및 간소화함으로써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스템 부하를 감소시키고자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273050" y="1923606"/>
            <a:ext cx="9360471" cy="4241698"/>
            <a:chOff x="273050" y="1803360"/>
            <a:chExt cx="9360471" cy="4361944"/>
          </a:xfrm>
        </p:grpSpPr>
        <p:grpSp>
          <p:nvGrpSpPr>
            <p:cNvPr id="6" name="그룹 5"/>
            <p:cNvGrpSpPr/>
            <p:nvPr/>
          </p:nvGrpSpPr>
          <p:grpSpPr>
            <a:xfrm>
              <a:off x="273050" y="1803360"/>
              <a:ext cx="9360471" cy="328554"/>
              <a:chOff x="273050" y="1803360"/>
              <a:chExt cx="9360471" cy="328554"/>
            </a:xfrm>
            <a:solidFill>
              <a:srgbClr val="002060"/>
            </a:solidFill>
          </p:grpSpPr>
          <p:sp>
            <p:nvSpPr>
              <p:cNvPr id="5" name="오각형 4"/>
              <p:cNvSpPr/>
              <p:nvPr/>
            </p:nvSpPr>
            <p:spPr bwMode="auto">
              <a:xfrm>
                <a:off x="273050" y="1803360"/>
                <a:ext cx="2375694" cy="328554"/>
              </a:xfrm>
              <a:prstGeom prst="homePlate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latin typeface="맑은 고딕" pitchFamily="50" charset="-127"/>
                    <a:ea typeface="맑은 고딕" pitchFamily="50" charset="-127"/>
                  </a:rPr>
                  <a:t>업무제공 </a:t>
                </a:r>
                <a:r>
                  <a:rPr kumimoji="1" lang="en-US" altLang="ko-KR" sz="1200" dirty="0" smtClean="0">
                    <a:latin typeface="맑은 고딕" pitchFamily="50" charset="-127"/>
                    <a:ea typeface="맑은 고딕" pitchFamily="50" charset="-127"/>
                  </a:rPr>
                  <a:t>DM </a:t>
                </a:r>
                <a:r>
                  <a:rPr kumimoji="1" lang="ko-KR" altLang="en-US" sz="1200" dirty="0" smtClean="0">
                    <a:latin typeface="맑은 고딕" pitchFamily="50" charset="-127"/>
                    <a:ea typeface="맑은 고딕" pitchFamily="50" charset="-127"/>
                  </a:rPr>
                  <a:t>현황조사</a:t>
                </a:r>
              </a:p>
            </p:txBody>
          </p:sp>
          <p:sp>
            <p:nvSpPr>
              <p:cNvPr id="89" name="오각형 88"/>
              <p:cNvSpPr/>
              <p:nvPr/>
            </p:nvSpPr>
            <p:spPr bwMode="auto">
              <a:xfrm>
                <a:off x="2737644" y="1803360"/>
                <a:ext cx="3799532" cy="328554"/>
              </a:xfrm>
              <a:prstGeom prst="homePlate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latin typeface="맑은 고딕" pitchFamily="50" charset="-127"/>
                    <a:ea typeface="맑은 고딕" pitchFamily="50" charset="-127"/>
                  </a:rPr>
                  <a:t>업무제공 </a:t>
                </a:r>
                <a:r>
                  <a:rPr kumimoji="1" lang="en-US" altLang="ko-KR" sz="1200" dirty="0">
                    <a:latin typeface="맑은 고딕" pitchFamily="50" charset="-127"/>
                    <a:ea typeface="맑은 고딕" pitchFamily="50" charset="-127"/>
                  </a:rPr>
                  <a:t>DM </a:t>
                </a:r>
                <a:r>
                  <a:rPr kumimoji="1" lang="ko-KR" altLang="en-US" sz="1200" dirty="0" smtClean="0">
                    <a:latin typeface="맑은 고딕" pitchFamily="50" charset="-127"/>
                    <a:ea typeface="맑은 고딕" pitchFamily="50" charset="-127"/>
                  </a:rPr>
                  <a:t>최적화 요건 도출</a:t>
                </a:r>
                <a:endParaRPr kumimoji="1" lang="ko-KR" altLang="en-US" sz="1200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0" name="오각형 89"/>
              <p:cNvSpPr/>
              <p:nvPr/>
            </p:nvSpPr>
            <p:spPr bwMode="auto">
              <a:xfrm>
                <a:off x="6626077" y="1803360"/>
                <a:ext cx="3007444" cy="328554"/>
              </a:xfrm>
              <a:prstGeom prst="homePlate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latin typeface="맑은 고딕" pitchFamily="50" charset="-127"/>
                    <a:ea typeface="맑은 고딕" pitchFamily="50" charset="-127"/>
                  </a:rPr>
                  <a:t>업무제공 </a:t>
                </a:r>
                <a:r>
                  <a:rPr kumimoji="1" lang="en-US" altLang="ko-KR" sz="1200" dirty="0">
                    <a:latin typeface="맑은 고딕" pitchFamily="50" charset="-127"/>
                    <a:ea typeface="맑은 고딕" pitchFamily="50" charset="-127"/>
                  </a:rPr>
                  <a:t>DM </a:t>
                </a:r>
                <a:r>
                  <a:rPr kumimoji="1" lang="ko-KR" altLang="en-US" sz="1200" dirty="0" smtClean="0">
                    <a:latin typeface="맑은 고딕" pitchFamily="50" charset="-127"/>
                    <a:ea typeface="맑은 고딕" pitchFamily="50" charset="-127"/>
                  </a:rPr>
                  <a:t>배치모듈 개선</a:t>
                </a:r>
                <a:endParaRPr kumimoji="1" lang="ko-KR" altLang="en-US" sz="1200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91" name="직사각형 90"/>
            <p:cNvSpPr/>
            <p:nvPr/>
          </p:nvSpPr>
          <p:spPr bwMode="auto">
            <a:xfrm>
              <a:off x="273050" y="2170955"/>
              <a:ext cx="2231678" cy="14144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리스트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별 활용부서 파악</a:t>
              </a: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2737644" y="2170955"/>
              <a:ext cx="3655516" cy="14144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제공마트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수요부서와 인터뷰 및 데이터 분석을 통해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트별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황 진단 진행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활용빈도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중복성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중요도 등을 체크하여 유사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요건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활용도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중요도 떨어지는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트의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경우 삭제 요건 등을 도출함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6626077" y="2170955"/>
              <a:ext cx="2857706" cy="14144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사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에 대해서는 통합배치모듈 개발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낮은 활용도를 보이거나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미사용하는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의 경우 배치모듈 삭제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indent="-171450" latinLnBrk="0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배치프로세스 및 처리우선선위 재조정</a:t>
              </a: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273050" y="3861048"/>
              <a:ext cx="2231678" cy="23042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직사각형 95"/>
            <p:cNvSpPr/>
            <p:nvPr/>
          </p:nvSpPr>
          <p:spPr bwMode="auto">
            <a:xfrm>
              <a:off x="2737644" y="3861048"/>
              <a:ext cx="3655516" cy="23042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직사각형 96"/>
            <p:cNvSpPr/>
            <p:nvPr/>
          </p:nvSpPr>
          <p:spPr bwMode="auto">
            <a:xfrm>
              <a:off x="6626077" y="3861048"/>
              <a:ext cx="2857706" cy="23042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4037833" y="4235603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활용 빈도</a:t>
              </a: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4799211" y="4235603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타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중복성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5560590" y="4235603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중요도</a:t>
              </a: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5560590" y="5112251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 영향도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4792493" y="5112251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우선순위</a:t>
              </a: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4037833" y="5112251"/>
              <a:ext cx="688554" cy="776374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b" anchorCtr="0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공요구시간</a:t>
              </a:r>
            </a:p>
          </p:txBody>
        </p:sp>
        <p:sp>
          <p:nvSpPr>
            <p:cNvPr id="134" name="직사각형 133"/>
            <p:cNvSpPr/>
            <p:nvPr/>
          </p:nvSpPr>
          <p:spPr bwMode="auto">
            <a:xfrm>
              <a:off x="4037833" y="4234535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</a:t>
              </a:r>
              <a:endParaRPr kumimoji="1" lang="ko-KR" altLang="en-US" sz="1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4799211" y="4234535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5560590" y="4234535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8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</a:t>
              </a:r>
              <a:endParaRPr kumimoji="1" lang="ko-KR" altLang="en-US" sz="18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4037833" y="5105094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4792493" y="5105094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5560590" y="5105094"/>
              <a:ext cx="68855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4" name="직사각형 143"/>
            <p:cNvSpPr/>
            <p:nvPr/>
          </p:nvSpPr>
          <p:spPr bwMode="auto">
            <a:xfrm>
              <a:off x="2977360" y="4235603"/>
              <a:ext cx="827556" cy="1303978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5" name="직사각형 144"/>
            <p:cNvSpPr/>
            <p:nvPr/>
          </p:nvSpPr>
          <p:spPr bwMode="auto">
            <a:xfrm>
              <a:off x="2977360" y="4234535"/>
              <a:ext cx="827556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설문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터뷰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>
              <a:off x="7522932" y="4077072"/>
              <a:ext cx="1772904" cy="18722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52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741516" y="4365104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741516" y="4944729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5" name="직선 화살표 연결선 24"/>
            <p:cNvCxnSpPr>
              <a:stCxn id="106" idx="3"/>
            </p:cNvCxnSpPr>
            <p:nvPr/>
          </p:nvCxnSpPr>
          <p:spPr bwMode="auto">
            <a:xfrm>
              <a:off x="2072680" y="4532627"/>
              <a:ext cx="904680" cy="479349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60" name="직선 화살표 연결선 159"/>
            <p:cNvCxnSpPr>
              <a:stCxn id="107" idx="3"/>
            </p:cNvCxnSpPr>
            <p:nvPr/>
          </p:nvCxnSpPr>
          <p:spPr bwMode="auto">
            <a:xfrm flipV="1">
              <a:off x="2072680" y="4997173"/>
              <a:ext cx="896855" cy="115079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63" name="직선 화살표 연결선 162"/>
            <p:cNvCxnSpPr>
              <a:stCxn id="108" idx="3"/>
            </p:cNvCxnSpPr>
            <p:nvPr/>
          </p:nvCxnSpPr>
          <p:spPr bwMode="auto">
            <a:xfrm flipV="1">
              <a:off x="2072680" y="5019187"/>
              <a:ext cx="896855" cy="592900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pic>
          <p:nvPicPr>
            <p:cNvPr id="156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741516" y="5444564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7" name="직사각형 156"/>
            <p:cNvSpPr/>
            <p:nvPr/>
          </p:nvSpPr>
          <p:spPr bwMode="auto">
            <a:xfrm>
              <a:off x="7944296" y="3938048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리스트</a:t>
              </a:r>
            </a:p>
          </p:txBody>
        </p:sp>
        <p:sp>
          <p:nvSpPr>
            <p:cNvPr id="23" name="세로로 말린 두루마리 모양 22"/>
            <p:cNvSpPr/>
            <p:nvPr/>
          </p:nvSpPr>
          <p:spPr bwMode="auto">
            <a:xfrm>
              <a:off x="3008784" y="4581128"/>
              <a:ext cx="432048" cy="521251"/>
            </a:xfrm>
            <a:prstGeom prst="verticalScroll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~~~~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세로로 말린 두루마리 모양 157"/>
            <p:cNvSpPr/>
            <p:nvPr/>
          </p:nvSpPr>
          <p:spPr bwMode="auto">
            <a:xfrm>
              <a:off x="3296816" y="4851965"/>
              <a:ext cx="432048" cy="521251"/>
            </a:xfrm>
            <a:prstGeom prst="verticalScroll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~~~~</a:t>
              </a:r>
              <a:endPara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" name="직사각형 6"/>
            <p:cNvSpPr/>
            <p:nvPr/>
          </p:nvSpPr>
          <p:spPr bwMode="auto">
            <a:xfrm>
              <a:off x="515800" y="4077072"/>
              <a:ext cx="1772904" cy="187220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647915" y="4293446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647915" y="4647175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647915" y="5011976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647915" y="5594490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" name="TextBox 8"/>
            <p:cNvSpPr txBox="1"/>
            <p:nvPr/>
          </p:nvSpPr>
          <p:spPr bwMode="auto">
            <a:xfrm rot="5400000">
              <a:off x="1282258" y="5347882"/>
              <a:ext cx="190033" cy="1933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…</a:t>
              </a:r>
              <a:endPara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106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34384" y="4365104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34384" y="4944729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51" descr="SY00942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34384" y="5444564"/>
              <a:ext cx="338296" cy="335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직사각형 7"/>
            <p:cNvSpPr/>
            <p:nvPr/>
          </p:nvSpPr>
          <p:spPr bwMode="auto">
            <a:xfrm>
              <a:off x="953965" y="3938048"/>
              <a:ext cx="883994" cy="29755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M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리스트</a:t>
              </a:r>
            </a:p>
          </p:txBody>
        </p:sp>
        <p:sp>
          <p:nvSpPr>
            <p:cNvPr id="228" name="TextBox 227"/>
            <p:cNvSpPr txBox="1"/>
            <p:nvPr/>
          </p:nvSpPr>
          <p:spPr bwMode="auto">
            <a:xfrm>
              <a:off x="6681192" y="4365104"/>
              <a:ext cx="769732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DM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통합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배치</a:t>
              </a:r>
            </a:p>
          </p:txBody>
        </p:sp>
        <p:sp>
          <p:nvSpPr>
            <p:cNvPr id="167" name="TextBox 166"/>
            <p:cNvSpPr txBox="1"/>
            <p:nvPr/>
          </p:nvSpPr>
          <p:spPr bwMode="auto">
            <a:xfrm>
              <a:off x="6681192" y="5044676"/>
              <a:ext cx="7697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200" b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기존유지</a:t>
              </a:r>
              <a:endPara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68" name="TextBox 167"/>
            <p:cNvSpPr txBox="1"/>
            <p:nvPr/>
          </p:nvSpPr>
          <p:spPr bwMode="auto">
            <a:xfrm>
              <a:off x="6681192" y="5539581"/>
              <a:ext cx="769732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200" b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삭제</a:t>
              </a:r>
              <a:endPara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238" name="그룹 237"/>
            <p:cNvGrpSpPr/>
            <p:nvPr/>
          </p:nvGrpSpPr>
          <p:grpSpPr>
            <a:xfrm>
              <a:off x="7655047" y="4204590"/>
              <a:ext cx="883994" cy="1659235"/>
              <a:chOff x="7655047" y="4293446"/>
              <a:chExt cx="883994" cy="2429286"/>
            </a:xfrm>
          </p:grpSpPr>
          <p:sp>
            <p:nvSpPr>
              <p:cNvPr id="147" name="직사각형 146"/>
              <p:cNvSpPr/>
              <p:nvPr/>
            </p:nvSpPr>
            <p:spPr bwMode="auto">
              <a:xfrm>
                <a:off x="7655047" y="4293446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회계</a:t>
                </a:r>
                <a:r>
                  <a:rPr kumimoji="1" lang="en-US" altLang="ko-KR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</a:t>
                </a: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8" name="직사각형 147"/>
              <p:cNvSpPr/>
              <p:nvPr/>
            </p:nvSpPr>
            <p:spPr bwMode="auto">
              <a:xfrm>
                <a:off x="7655047" y="4647175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회계</a:t>
                </a:r>
                <a:r>
                  <a:rPr kumimoji="1" lang="en-US" altLang="ko-KR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’</a:t>
                </a: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9" name="직사각형 148"/>
              <p:cNvSpPr/>
              <p:nvPr/>
            </p:nvSpPr>
            <p:spPr bwMode="auto">
              <a:xfrm>
                <a:off x="7655047" y="5011976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회계</a:t>
                </a:r>
                <a:r>
                  <a:rPr kumimoji="1" lang="en-US" altLang="ko-KR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”</a:t>
                </a: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0" name="직사각형 149"/>
              <p:cNvSpPr/>
              <p:nvPr/>
            </p:nvSpPr>
            <p:spPr bwMode="auto">
              <a:xfrm>
                <a:off x="7655047" y="5363694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상품</a:t>
                </a:r>
              </a:p>
            </p:txBody>
          </p:sp>
          <p:sp>
            <p:nvSpPr>
              <p:cNvPr id="169" name="직사각형 168"/>
              <p:cNvSpPr/>
              <p:nvPr/>
            </p:nvSpPr>
            <p:spPr bwMode="auto">
              <a:xfrm>
                <a:off x="7655047" y="5715412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계약</a:t>
                </a:r>
              </a:p>
            </p:txBody>
          </p:sp>
          <p:sp>
            <p:nvSpPr>
              <p:cNvPr id="170" name="직사각형 169"/>
              <p:cNvSpPr/>
              <p:nvPr/>
            </p:nvSpPr>
            <p:spPr bwMode="auto">
              <a:xfrm>
                <a:off x="7655047" y="6050151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낮은활용</a:t>
                </a: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1" name="직사각형 170"/>
              <p:cNvSpPr/>
              <p:nvPr/>
            </p:nvSpPr>
            <p:spPr bwMode="auto">
              <a:xfrm>
                <a:off x="7655047" y="6425178"/>
                <a:ext cx="883994" cy="29755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b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미사용</a:t>
                </a:r>
                <a:endPara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cxnSp>
          <p:nvCxnSpPr>
            <p:cNvPr id="32" name="직선 화살표 연결선 31"/>
            <p:cNvCxnSpPr>
              <a:stCxn id="91" idx="2"/>
              <a:endCxn id="95" idx="0"/>
            </p:cNvCxnSpPr>
            <p:nvPr/>
          </p:nvCxnSpPr>
          <p:spPr bwMode="auto">
            <a:xfrm>
              <a:off x="1388889" y="3585384"/>
              <a:ext cx="0" cy="27566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/>
              <a:tailEnd type="oval"/>
            </a:ln>
            <a:effectLst/>
          </p:spPr>
        </p:cxnSp>
        <p:cxnSp>
          <p:nvCxnSpPr>
            <p:cNvPr id="176" name="직선 화살표 연결선 175"/>
            <p:cNvCxnSpPr>
              <a:stCxn id="92" idx="2"/>
              <a:endCxn id="96" idx="0"/>
            </p:cNvCxnSpPr>
            <p:nvPr/>
          </p:nvCxnSpPr>
          <p:spPr bwMode="auto">
            <a:xfrm>
              <a:off x="4565402" y="3585384"/>
              <a:ext cx="0" cy="27566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/>
              <a:tailEnd type="oval"/>
            </a:ln>
            <a:effectLst/>
          </p:spPr>
        </p:cxnSp>
        <p:cxnSp>
          <p:nvCxnSpPr>
            <p:cNvPr id="180" name="직선 화살표 연결선 179"/>
            <p:cNvCxnSpPr>
              <a:stCxn id="93" idx="2"/>
              <a:endCxn id="97" idx="0"/>
            </p:cNvCxnSpPr>
            <p:nvPr/>
          </p:nvCxnSpPr>
          <p:spPr bwMode="auto">
            <a:xfrm>
              <a:off x="8054930" y="3585384"/>
              <a:ext cx="0" cy="27566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oval"/>
              <a:tailEnd type="oval"/>
            </a:ln>
            <a:effectLst/>
          </p:spPr>
        </p:cxnSp>
      </p:grpSp>
      <p:grpSp>
        <p:nvGrpSpPr>
          <p:cNvPr id="81" name="그룹 8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0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09" name="TextBox 10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제공 </a:t>
              </a:r>
              <a:r>
                <a:rPr lang="ko-KR" altLang="en-US" sz="140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마트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최적화 절차</a:t>
              </a:r>
            </a:p>
          </p:txBody>
        </p:sp>
        <p:cxnSp>
          <p:nvCxnSpPr>
            <p:cNvPr id="11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8" name="TextBox 11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7578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/>
              <a:t>다차원 분석기능 개선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분석포탈구축</a:t>
            </a:r>
            <a:r>
              <a:rPr lang="en-US" altLang="ko-KR" dirty="0"/>
              <a:t>, </a:t>
            </a:r>
            <a:r>
              <a:rPr lang="ko-KR" altLang="en-US" dirty="0"/>
              <a:t>다차원 분석 보고서 산출 개선</a:t>
            </a:r>
            <a:r>
              <a:rPr lang="en-US" altLang="ko-KR" dirty="0"/>
              <a:t>, </a:t>
            </a:r>
            <a:r>
              <a:rPr lang="ko-KR" altLang="en-US" dirty="0"/>
              <a:t>분석 </a:t>
            </a:r>
            <a:r>
              <a:rPr lang="en-US" altLang="ko-KR" dirty="0"/>
              <a:t>DM </a:t>
            </a:r>
            <a:r>
              <a:rPr lang="ko-KR" altLang="en-US" dirty="0"/>
              <a:t>확대 구성을 통해 다차원 분석기능을 개선함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09384" y="1412776"/>
            <a:ext cx="110976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88900" marR="0" lvl="0" indent="-88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LLUSTRATIVE</a:t>
            </a:r>
            <a:endParaRPr kumimoji="0" lang="ko-KR" altLang="en-US" sz="100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" name="직선 연결선 215"/>
          <p:cNvCxnSpPr/>
          <p:nvPr/>
        </p:nvCxnSpPr>
        <p:spPr bwMode="auto">
          <a:xfrm>
            <a:off x="8451270" y="1431546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직선 연결선 213"/>
          <p:cNvCxnSpPr/>
          <p:nvPr/>
        </p:nvCxnSpPr>
        <p:spPr bwMode="auto">
          <a:xfrm>
            <a:off x="8451270" y="1639054"/>
            <a:ext cx="1032513" cy="1173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</a:t>
            </a: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보고서 수작업 자동화 및 관리 체계 수립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마트 정교화를 통한 분석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업무지원 역량 강화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용자 목적에 맞는 다차원 보고서 요구사항 수집</a:t>
            </a:r>
            <a:endParaRPr kumimoji="0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88900" lvl="0" indent="-88900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 마트 정교화를 위한 요구사항 수집 </a:t>
            </a:r>
            <a:endParaRPr kumimoji="0"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0"/>
          <p:cNvSpPr/>
          <p:nvPr/>
        </p:nvSpPr>
        <p:spPr bwMode="gray">
          <a:xfrm>
            <a:off x="5248340" y="2928152"/>
            <a:ext cx="438461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21" name="Rectangle 30"/>
          <p:cNvSpPr/>
          <p:nvPr/>
        </p:nvSpPr>
        <p:spPr bwMode="gray">
          <a:xfrm>
            <a:off x="326408" y="2928153"/>
            <a:ext cx="4410568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27" name="Rectangle 30"/>
          <p:cNvSpPr/>
          <p:nvPr/>
        </p:nvSpPr>
        <p:spPr bwMode="gray">
          <a:xfrm>
            <a:off x="326408" y="3229910"/>
            <a:ext cx="4410568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Rectangle 30"/>
          <p:cNvSpPr/>
          <p:nvPr/>
        </p:nvSpPr>
        <p:spPr bwMode="gray">
          <a:xfrm>
            <a:off x="5248340" y="3249103"/>
            <a:ext cx="438461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이등변 삼각형 3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4" name="TextBox 153"/>
          <p:cNvSpPr txBox="1"/>
          <p:nvPr/>
        </p:nvSpPr>
        <p:spPr bwMode="auto">
          <a:xfrm>
            <a:off x="5365588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보고서 요청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생성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활용 폐기 관리를 분석 </a:t>
            </a: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포털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구축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수요자 중심의 다차원 </a:t>
            </a: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분석 보고 산출 개선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업무제공마트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분석마트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비정형마트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구성을 통한 분석 </a:t>
            </a:r>
            <a:r>
              <a:rPr lang="en-US" altLang="ko-KR" sz="1100" dirty="0">
                <a:solidFill>
                  <a:srgbClr val="000000"/>
                </a:solidFill>
                <a:latin typeface="맑은 고딕"/>
                <a:ea typeface="맑은 고딕"/>
              </a:rPr>
              <a:t>DM </a:t>
            </a: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확대 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구성</a:t>
            </a:r>
            <a:endParaRPr lang="ko-KR" altLang="en-US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56" name="TextBox 155"/>
          <p:cNvSpPr txBox="1"/>
          <p:nvPr/>
        </p:nvSpPr>
        <p:spPr bwMode="auto">
          <a:xfrm>
            <a:off x="435846" y="5360816"/>
            <a:ext cx="419592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6000" rIns="72000" bIns="72000" rtlCol="0" anchor="ctr" anchorCtr="0">
            <a:no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보고서 생성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폐기 등 보고서 관리 체계 미흡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보고서 수작업 과다로 인한 업무 리드타임 발생</a:t>
            </a:r>
            <a:endParaRPr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단일마트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내 분석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업무지원을 동시 수행으로 인한 부하 과다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26" name="Picture 26" descr="11111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806092" y="3405139"/>
            <a:ext cx="349081" cy="34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 Box 27"/>
          <p:cNvSpPr txBox="1">
            <a:spLocks noChangeAspect="1" noChangeArrowheads="1"/>
          </p:cNvSpPr>
          <p:nvPr/>
        </p:nvSpPr>
        <p:spPr bwMode="auto">
          <a:xfrm>
            <a:off x="5722625" y="3679223"/>
            <a:ext cx="516017" cy="1906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영진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1" name="Picture 28" descr="11111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806092" y="4049522"/>
            <a:ext cx="349081" cy="34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 Box 29"/>
          <p:cNvSpPr txBox="1">
            <a:spLocks noChangeAspect="1" noChangeArrowheads="1"/>
          </p:cNvSpPr>
          <p:nvPr/>
        </p:nvSpPr>
        <p:spPr bwMode="auto">
          <a:xfrm>
            <a:off x="5660917" y="4314877"/>
            <a:ext cx="639433" cy="1906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업부서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3" name="Picture 30" descr="11111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806092" y="4743242"/>
            <a:ext cx="349081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 Box 31"/>
          <p:cNvSpPr txBox="1">
            <a:spLocks noChangeAspect="1" noChangeArrowheads="1"/>
          </p:cNvSpPr>
          <p:nvPr/>
        </p:nvSpPr>
        <p:spPr bwMode="auto">
          <a:xfrm>
            <a:off x="5599209" y="5038516"/>
            <a:ext cx="762849" cy="1906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담당자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3" name="그룹 72"/>
          <p:cNvGrpSpPr/>
          <p:nvPr/>
        </p:nvGrpSpPr>
        <p:grpSpPr>
          <a:xfrm>
            <a:off x="8320258" y="3405139"/>
            <a:ext cx="1097238" cy="1633377"/>
            <a:chOff x="8320258" y="3405139"/>
            <a:chExt cx="1097238" cy="1633377"/>
          </a:xfrm>
        </p:grpSpPr>
        <p:sp>
          <p:nvSpPr>
            <p:cNvPr id="25" name="직사각형 24"/>
            <p:cNvSpPr/>
            <p:nvPr/>
          </p:nvSpPr>
          <p:spPr bwMode="auto">
            <a:xfrm>
              <a:off x="8320258" y="3405139"/>
              <a:ext cx="1097238" cy="163337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8371183" y="3488618"/>
              <a:ext cx="981741" cy="321112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OLAP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8371183" y="3891128"/>
              <a:ext cx="981741" cy="321112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spc="-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d-hoc Query</a:t>
              </a:r>
              <a:endParaRPr kumimoji="1" lang="ko-KR" altLang="en-US" sz="1200" b="0" spc="-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8371183" y="4262517"/>
              <a:ext cx="981741" cy="321112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ining(SAS)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8371183" y="4633905"/>
              <a:ext cx="981741" cy="321112"/>
            </a:xfrm>
            <a:prstGeom prst="rect">
              <a:avLst/>
            </a:prstGeom>
            <a:solidFill>
              <a:schemeClr val="bg1"/>
            </a:solidFill>
            <a:ln w="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시각화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R)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9" name="AutoShape 50"/>
          <p:cNvSpPr>
            <a:spLocks noChangeArrowheads="1"/>
          </p:cNvSpPr>
          <p:nvPr/>
        </p:nvSpPr>
        <p:spPr bwMode="auto">
          <a:xfrm>
            <a:off x="6784559" y="4703762"/>
            <a:ext cx="805970" cy="419100"/>
          </a:xfrm>
          <a:prstGeom prst="can">
            <a:avLst>
              <a:gd name="adj" fmla="val 16762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</a:pPr>
            <a:r>
              <a:rPr kumimoji="1" lang="en-US" altLang="ko-KR" sz="1200" b="0" dirty="0" smtClean="0">
                <a:solidFill>
                  <a:srgbClr val="041C43"/>
                </a:solidFill>
                <a:latin typeface="맑은 고딕" pitchFamily="50" charset="-127"/>
                <a:ea typeface="맑은 고딕" pitchFamily="50" charset="-127"/>
              </a:rPr>
              <a:t>Data Mart</a:t>
            </a:r>
            <a:endParaRPr kumimoji="1" lang="en-US" altLang="ko-KR" sz="1200" b="0" dirty="0">
              <a:solidFill>
                <a:srgbClr val="041C4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6050" y="3343583"/>
            <a:ext cx="779043" cy="478519"/>
          </a:xfrm>
          <a:prstGeom prst="rect">
            <a:avLst/>
          </a:prstGeom>
        </p:spPr>
      </p:pic>
      <p:sp>
        <p:nvSpPr>
          <p:cNvPr id="41" name="Text Box 49"/>
          <p:cNvSpPr txBox="1">
            <a:spLocks noChangeArrowheads="1"/>
          </p:cNvSpPr>
          <p:nvPr/>
        </p:nvSpPr>
        <p:spPr bwMode="auto">
          <a:xfrm>
            <a:off x="6823407" y="3372097"/>
            <a:ext cx="721788" cy="12922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 anchorCtr="0">
            <a:no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</a:pPr>
            <a:r>
              <a:rPr kumimoji="1"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서</a:t>
            </a:r>
            <a:endParaRPr kumimoji="1"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2" name="꺾인 연결선 41"/>
          <p:cNvCxnSpPr>
            <a:stCxn id="39" idx="4"/>
            <a:endCxn id="40" idx="3"/>
          </p:cNvCxnSpPr>
          <p:nvPr/>
        </p:nvCxnSpPr>
        <p:spPr bwMode="auto">
          <a:xfrm flipH="1" flipV="1">
            <a:off x="7575093" y="3582843"/>
            <a:ext cx="15436" cy="1330469"/>
          </a:xfrm>
          <a:prstGeom prst="bentConnector3">
            <a:avLst>
              <a:gd name="adj1" fmla="val -1187718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43" name="직선 화살표 연결선 42"/>
          <p:cNvCxnSpPr>
            <a:stCxn id="35" idx="1"/>
            <a:endCxn id="45" idx="3"/>
          </p:cNvCxnSpPr>
          <p:nvPr/>
        </p:nvCxnSpPr>
        <p:spPr bwMode="auto">
          <a:xfrm flipH="1">
            <a:off x="7575093" y="3649174"/>
            <a:ext cx="796091" cy="596396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44" name="Picture 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96050" y="4001231"/>
            <a:ext cx="782990" cy="44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45" name="Picture 2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40368" y="4092145"/>
            <a:ext cx="534725" cy="306852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</p:pic>
      <p:cxnSp>
        <p:nvCxnSpPr>
          <p:cNvPr id="46" name="직선 화살표 연결선 45"/>
          <p:cNvCxnSpPr>
            <a:stCxn id="36" idx="1"/>
            <a:endCxn id="45" idx="3"/>
          </p:cNvCxnSpPr>
          <p:nvPr/>
        </p:nvCxnSpPr>
        <p:spPr bwMode="auto">
          <a:xfrm flipH="1">
            <a:off x="7575093" y="4051684"/>
            <a:ext cx="806874" cy="193887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7" name="직선 화살표 연결선 46"/>
          <p:cNvCxnSpPr>
            <a:stCxn id="37" idx="1"/>
            <a:endCxn id="45" idx="3"/>
          </p:cNvCxnSpPr>
          <p:nvPr/>
        </p:nvCxnSpPr>
        <p:spPr bwMode="auto">
          <a:xfrm flipH="1" flipV="1">
            <a:off x="7575093" y="4245571"/>
            <a:ext cx="806874" cy="177503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8" name="직선 화살표 연결선 47"/>
          <p:cNvCxnSpPr>
            <a:stCxn id="38" idx="1"/>
            <a:endCxn id="45" idx="3"/>
          </p:cNvCxnSpPr>
          <p:nvPr/>
        </p:nvCxnSpPr>
        <p:spPr bwMode="auto">
          <a:xfrm flipH="1" flipV="1">
            <a:off x="7575093" y="4245570"/>
            <a:ext cx="796091" cy="548891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9" name="직선 화살표 연결선 48"/>
          <p:cNvCxnSpPr>
            <a:stCxn id="26" idx="3"/>
            <a:endCxn id="40" idx="1"/>
          </p:cNvCxnSpPr>
          <p:nvPr/>
        </p:nvCxnSpPr>
        <p:spPr bwMode="auto">
          <a:xfrm>
            <a:off x="6155173" y="3578970"/>
            <a:ext cx="640877" cy="3873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sm" len="sm"/>
            <a:tailEnd type="triangle"/>
          </a:ln>
          <a:effectLst/>
        </p:spPr>
      </p:cxnSp>
      <p:cxnSp>
        <p:nvCxnSpPr>
          <p:cNvPr id="50" name="직선 화살표 연결선 49"/>
          <p:cNvCxnSpPr>
            <a:stCxn id="31" idx="3"/>
            <a:endCxn id="44" idx="1"/>
          </p:cNvCxnSpPr>
          <p:nvPr/>
        </p:nvCxnSpPr>
        <p:spPr bwMode="auto">
          <a:xfrm flipV="1">
            <a:off x="6155173" y="4222424"/>
            <a:ext cx="640877" cy="930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sm" len="sm"/>
            <a:tailEnd type="triangle"/>
          </a:ln>
          <a:effectLst/>
        </p:spPr>
      </p:cxnSp>
      <p:cxnSp>
        <p:nvCxnSpPr>
          <p:cNvPr id="51" name="직선 화살표 연결선 50"/>
          <p:cNvCxnSpPr>
            <a:stCxn id="33" idx="3"/>
            <a:endCxn id="39" idx="2"/>
          </p:cNvCxnSpPr>
          <p:nvPr/>
        </p:nvCxnSpPr>
        <p:spPr bwMode="auto">
          <a:xfrm flipV="1">
            <a:off x="6155173" y="4913312"/>
            <a:ext cx="629386" cy="0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sm" len="sm"/>
            <a:tailEnd type="triangle"/>
          </a:ln>
          <a:effectLst/>
        </p:spPr>
      </p:cxnSp>
      <p:cxnSp>
        <p:nvCxnSpPr>
          <p:cNvPr id="52" name="꺾인 연결선 51"/>
          <p:cNvCxnSpPr>
            <a:stCxn id="39" idx="4"/>
            <a:endCxn id="25" idx="2"/>
          </p:cNvCxnSpPr>
          <p:nvPr/>
        </p:nvCxnSpPr>
        <p:spPr bwMode="auto">
          <a:xfrm>
            <a:off x="7590529" y="4913312"/>
            <a:ext cx="1278348" cy="125205"/>
          </a:xfrm>
          <a:prstGeom prst="bentConnector4">
            <a:avLst>
              <a:gd name="adj1" fmla="val 14867"/>
              <a:gd name="adj2" fmla="val 213965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53" name="직선 화살표 연결선 52"/>
          <p:cNvCxnSpPr>
            <a:endCxn id="44" idx="1"/>
          </p:cNvCxnSpPr>
          <p:nvPr/>
        </p:nvCxnSpPr>
        <p:spPr bwMode="auto">
          <a:xfrm flipV="1">
            <a:off x="6160368" y="4222424"/>
            <a:ext cx="635682" cy="717456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sm" len="sm"/>
            <a:tailEnd type="triangle"/>
          </a:ln>
          <a:effectLst/>
        </p:spPr>
      </p:cxnSp>
      <p:cxnSp>
        <p:nvCxnSpPr>
          <p:cNvPr id="54" name="직선 화살표 연결선 53"/>
          <p:cNvCxnSpPr>
            <a:stCxn id="33" idx="3"/>
            <a:endCxn id="40" idx="1"/>
          </p:cNvCxnSpPr>
          <p:nvPr/>
        </p:nvCxnSpPr>
        <p:spPr bwMode="auto">
          <a:xfrm flipV="1">
            <a:off x="6155173" y="3582843"/>
            <a:ext cx="640877" cy="1334231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sm" len="sm"/>
            <a:tailEnd type="triangle"/>
          </a:ln>
          <a:effectLst/>
        </p:spPr>
      </p:cxnSp>
      <p:sp>
        <p:nvSpPr>
          <p:cNvPr id="55" name="Text Box 49"/>
          <p:cNvSpPr txBox="1">
            <a:spLocks noChangeArrowheads="1"/>
          </p:cNvSpPr>
          <p:nvPr/>
        </p:nvSpPr>
        <p:spPr bwMode="auto">
          <a:xfrm>
            <a:off x="6823407" y="4030380"/>
            <a:ext cx="721788" cy="12922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 anchorCtr="0">
            <a:no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</a:pPr>
            <a:r>
              <a:rPr kumimoji="1" lang="ko-KR" altLang="en-US" sz="1050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포탈</a:t>
            </a:r>
            <a:endParaRPr kumimoji="1"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AutoShape 50"/>
          <p:cNvSpPr>
            <a:spLocks noChangeArrowheads="1"/>
          </p:cNvSpPr>
          <p:nvPr/>
        </p:nvSpPr>
        <p:spPr bwMode="auto">
          <a:xfrm>
            <a:off x="1865625" y="4524758"/>
            <a:ext cx="1087228" cy="623169"/>
          </a:xfrm>
          <a:prstGeom prst="can">
            <a:avLst>
              <a:gd name="adj" fmla="val 16762"/>
            </a:avLst>
          </a:prstGeom>
          <a:solidFill>
            <a:schemeClr val="bg1">
              <a:lumMod val="95000"/>
            </a:schemeClr>
          </a:solidFill>
          <a:ln w="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</a:pPr>
            <a:r>
              <a:rPr kumimoji="1" lang="en-US" altLang="ko-KR" sz="1200" b="0" dirty="0" smtClean="0">
                <a:solidFill>
                  <a:srgbClr val="041C43"/>
                </a:solidFill>
                <a:latin typeface="맑은 고딕" pitchFamily="50" charset="-127"/>
                <a:ea typeface="맑은 고딕" pitchFamily="50" charset="-127"/>
              </a:rPr>
              <a:t>Data Mart</a:t>
            </a:r>
            <a:endParaRPr kumimoji="1" lang="en-US" altLang="ko-KR" sz="1200" b="0" dirty="0">
              <a:solidFill>
                <a:srgbClr val="041C4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1" name="Picture 30" descr="11111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179520" y="3583132"/>
            <a:ext cx="470899" cy="516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3" name="직선 화살표 연결선 22"/>
          <p:cNvCxnSpPr>
            <a:stCxn id="61" idx="2"/>
            <a:endCxn id="60" idx="1"/>
          </p:cNvCxnSpPr>
          <p:nvPr/>
        </p:nvCxnSpPr>
        <p:spPr bwMode="auto">
          <a:xfrm flipH="1">
            <a:off x="2409239" y="4100079"/>
            <a:ext cx="5732" cy="42467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7" name="Text Box 31"/>
          <p:cNvSpPr txBox="1">
            <a:spLocks noChangeAspect="1" noChangeArrowheads="1"/>
          </p:cNvSpPr>
          <p:nvPr/>
        </p:nvSpPr>
        <p:spPr bwMode="auto">
          <a:xfrm>
            <a:off x="1832955" y="3365500"/>
            <a:ext cx="1110146" cy="3693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담당자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8" name="Picture 30" descr="11111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1576" y="4581041"/>
            <a:ext cx="470899" cy="516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Text Box 31"/>
          <p:cNvSpPr txBox="1">
            <a:spLocks noChangeAspect="1" noChangeArrowheads="1"/>
          </p:cNvSpPr>
          <p:nvPr/>
        </p:nvSpPr>
        <p:spPr bwMode="auto">
          <a:xfrm>
            <a:off x="416495" y="4942959"/>
            <a:ext cx="937154" cy="3693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kumimoji="1"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업부서</a:t>
            </a:r>
            <a:endParaRPr kumimoji="1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순서도: 문서 62"/>
          <p:cNvSpPr/>
          <p:nvPr/>
        </p:nvSpPr>
        <p:spPr bwMode="auto">
          <a:xfrm>
            <a:off x="1111820" y="4562157"/>
            <a:ext cx="321113" cy="25908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....</a:t>
            </a:r>
            <a:endParaRPr kumimoji="1" lang="ko-KR" altLang="en-US" sz="1200" b="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화살표 연결선 70"/>
          <p:cNvCxnSpPr>
            <a:stCxn id="68" idx="3"/>
            <a:endCxn id="60" idx="2"/>
          </p:cNvCxnSpPr>
          <p:nvPr/>
        </p:nvCxnSpPr>
        <p:spPr bwMode="auto">
          <a:xfrm flipV="1">
            <a:off x="1092475" y="4836342"/>
            <a:ext cx="773149" cy="317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9" name="직사각형 78"/>
          <p:cNvSpPr/>
          <p:nvPr/>
        </p:nvSpPr>
        <p:spPr bwMode="auto">
          <a:xfrm>
            <a:off x="3283124" y="3683904"/>
            <a:ext cx="1324338" cy="29647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LAP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283124" y="4036371"/>
            <a:ext cx="1324338" cy="29647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spc="-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d-hoc Query</a:t>
            </a:r>
            <a:endParaRPr kumimoji="1" lang="ko-KR" altLang="en-US" sz="1200" b="0" spc="-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283124" y="4388837"/>
            <a:ext cx="1324338" cy="29647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ning(SAS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283124" y="4741303"/>
            <a:ext cx="1324338" cy="29647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각화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R)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3" name="직선 화살표 연결선 82"/>
          <p:cNvCxnSpPr>
            <a:stCxn id="79" idx="1"/>
            <a:endCxn id="61" idx="3"/>
          </p:cNvCxnSpPr>
          <p:nvPr/>
        </p:nvCxnSpPr>
        <p:spPr bwMode="auto">
          <a:xfrm flipH="1">
            <a:off x="2650419" y="3832140"/>
            <a:ext cx="63270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86" name="직선 화살표 연결선 85"/>
          <p:cNvCxnSpPr>
            <a:stCxn id="60" idx="4"/>
            <a:endCxn id="81" idx="1"/>
          </p:cNvCxnSpPr>
          <p:nvPr/>
        </p:nvCxnSpPr>
        <p:spPr bwMode="auto">
          <a:xfrm flipV="1">
            <a:off x="2952853" y="4537072"/>
            <a:ext cx="330271" cy="29927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0" name="직선 화살표 연결선 89"/>
          <p:cNvCxnSpPr>
            <a:stCxn id="60" idx="4"/>
            <a:endCxn id="82" idx="1"/>
          </p:cNvCxnSpPr>
          <p:nvPr/>
        </p:nvCxnSpPr>
        <p:spPr bwMode="auto">
          <a:xfrm>
            <a:off x="2952853" y="4836342"/>
            <a:ext cx="330271" cy="5319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7" name="직선 화살표 연결선 96"/>
          <p:cNvCxnSpPr>
            <a:stCxn id="60" idx="4"/>
            <a:endCxn id="80" idx="1"/>
          </p:cNvCxnSpPr>
          <p:nvPr/>
        </p:nvCxnSpPr>
        <p:spPr bwMode="auto">
          <a:xfrm flipV="1">
            <a:off x="2952853" y="4184606"/>
            <a:ext cx="330271" cy="65173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0" name="직선 화살표 연결선 99"/>
          <p:cNvCxnSpPr>
            <a:stCxn id="60" idx="4"/>
            <a:endCxn id="79" idx="1"/>
          </p:cNvCxnSpPr>
          <p:nvPr/>
        </p:nvCxnSpPr>
        <p:spPr bwMode="auto">
          <a:xfrm flipV="1">
            <a:off x="2952853" y="3832140"/>
            <a:ext cx="330271" cy="100420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4" name="직선 화살표 연결선 103"/>
          <p:cNvCxnSpPr>
            <a:stCxn id="80" idx="1"/>
            <a:endCxn id="61" idx="3"/>
          </p:cNvCxnSpPr>
          <p:nvPr/>
        </p:nvCxnSpPr>
        <p:spPr bwMode="auto">
          <a:xfrm flipH="1" flipV="1">
            <a:off x="2650419" y="3841606"/>
            <a:ext cx="632705" cy="34299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09" name="직선 화살표 연결선 108"/>
          <p:cNvCxnSpPr>
            <a:stCxn id="81" idx="1"/>
          </p:cNvCxnSpPr>
          <p:nvPr/>
        </p:nvCxnSpPr>
        <p:spPr bwMode="auto">
          <a:xfrm flipH="1" flipV="1">
            <a:off x="2650419" y="3829893"/>
            <a:ext cx="632705" cy="70717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3" name="직선 화살표 연결선 112"/>
          <p:cNvCxnSpPr>
            <a:stCxn id="82" idx="1"/>
            <a:endCxn id="61" idx="3"/>
          </p:cNvCxnSpPr>
          <p:nvPr/>
        </p:nvCxnSpPr>
        <p:spPr bwMode="auto">
          <a:xfrm flipH="1" flipV="1">
            <a:off x="2650419" y="3841606"/>
            <a:ext cx="632705" cy="104793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grpSp>
        <p:nvGrpSpPr>
          <p:cNvPr id="93" name="그룹 9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63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다차원 분석기능 개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포탈 구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형 및 비정형 조회를 통한 필요한 정보의 발굴 및 접근을 용이하게 하여 신속한 의사결정을 할 수 있도록 구현되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72480" y="1916112"/>
            <a:ext cx="1177246" cy="282729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정보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1831255" y="1916112"/>
            <a:ext cx="6479999" cy="282729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포털</a:t>
            </a:r>
            <a:endParaRPr lang="ko-KR" alt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31255" y="2203600"/>
            <a:ext cx="6480000" cy="400782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272480" y="2203597"/>
            <a:ext cx="1177246" cy="400782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이등변 삼각형 4"/>
          <p:cNvSpPr/>
          <p:nvPr/>
        </p:nvSpPr>
        <p:spPr bwMode="auto">
          <a:xfrm rot="5400000">
            <a:off x="580296" y="4320741"/>
            <a:ext cx="2170908" cy="130924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원통 5"/>
          <p:cNvSpPr/>
          <p:nvPr/>
        </p:nvSpPr>
        <p:spPr bwMode="auto">
          <a:xfrm>
            <a:off x="417229" y="2698681"/>
            <a:ext cx="887748" cy="590105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제공 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원통 49"/>
          <p:cNvSpPr/>
          <p:nvPr/>
        </p:nvSpPr>
        <p:spPr bwMode="auto">
          <a:xfrm>
            <a:off x="417229" y="3394916"/>
            <a:ext cx="887748" cy="590105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원통 50"/>
          <p:cNvSpPr/>
          <p:nvPr/>
        </p:nvSpPr>
        <p:spPr bwMode="auto">
          <a:xfrm>
            <a:off x="417229" y="4091151"/>
            <a:ext cx="887748" cy="590105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마트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원통 51"/>
          <p:cNvSpPr/>
          <p:nvPr/>
        </p:nvSpPr>
        <p:spPr bwMode="auto">
          <a:xfrm>
            <a:off x="417229" y="4787387"/>
            <a:ext cx="887748" cy="590105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원통 52"/>
          <p:cNvSpPr/>
          <p:nvPr/>
        </p:nvSpPr>
        <p:spPr bwMode="auto">
          <a:xfrm>
            <a:off x="417229" y="5483620"/>
            <a:ext cx="887748" cy="590105"/>
          </a:xfrm>
          <a:prstGeom prst="can">
            <a:avLst>
              <a:gd name="adj" fmla="val 11705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이등변 삼각형 55"/>
          <p:cNvSpPr/>
          <p:nvPr/>
        </p:nvSpPr>
        <p:spPr bwMode="auto">
          <a:xfrm rot="5400000">
            <a:off x="7466385" y="4312637"/>
            <a:ext cx="2170908" cy="147138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8717735" y="1916112"/>
            <a:ext cx="915600" cy="282729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정보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8717735" y="2203597"/>
            <a:ext cx="915600" cy="400782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7" name="Picture 7" descr="036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344" y="2779478"/>
            <a:ext cx="481416" cy="4905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7" descr="036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344" y="3955207"/>
            <a:ext cx="481416" cy="4905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7" descr="036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344" y="5130937"/>
            <a:ext cx="481416" cy="4905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직사각형 59"/>
          <p:cNvSpPr/>
          <p:nvPr/>
        </p:nvSpPr>
        <p:spPr>
          <a:xfrm>
            <a:off x="8890464" y="3245905"/>
            <a:ext cx="590898" cy="3847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진</a:t>
            </a:r>
            <a:endParaRPr kumimoji="1" lang="ko-KR" altLang="en-US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8753339" y="4385451"/>
            <a:ext cx="865151" cy="3847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일반사용자</a:t>
            </a:r>
            <a:endParaRPr kumimoji="1" lang="ko-KR" altLang="en-US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8837334" y="5521318"/>
            <a:ext cx="697164" cy="432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업무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담당자</a:t>
            </a:r>
            <a:endParaRPr kumimoji="1" lang="ko-KR" altLang="en-US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1941016" y="2339121"/>
            <a:ext cx="2081635" cy="15610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1941016" y="2305098"/>
            <a:ext cx="2081635" cy="2169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포털 기능제공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4109452" y="2339121"/>
            <a:ext cx="2081635" cy="15610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109452" y="2305098"/>
            <a:ext cx="2081635" cy="2169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ifecycle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1941016" y="4558377"/>
            <a:ext cx="2081635" cy="15610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941016" y="4537176"/>
            <a:ext cx="2081635" cy="2169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메타정보 제공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4109452" y="4558377"/>
            <a:ext cx="2081635" cy="15610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109452" y="4537176"/>
            <a:ext cx="2081635" cy="2169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지원 기능 제공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2012385" y="3390188"/>
            <a:ext cx="994952" cy="18551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메뉴체계에 따른 보고서 통합관리</a:t>
            </a:r>
          </a:p>
        </p:txBody>
      </p:sp>
      <p:sp>
        <p:nvSpPr>
          <p:cNvPr id="82" name="직사각형 81"/>
          <p:cNvSpPr/>
          <p:nvPr/>
        </p:nvSpPr>
        <p:spPr bwMode="auto">
          <a:xfrm>
            <a:off x="2998951" y="3296804"/>
            <a:ext cx="1116847" cy="1855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현황모니터링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오각형 83"/>
          <p:cNvSpPr/>
          <p:nvPr/>
        </p:nvSpPr>
        <p:spPr bwMode="auto">
          <a:xfrm>
            <a:off x="4152662" y="2581697"/>
            <a:ext cx="478536" cy="257854"/>
          </a:xfrm>
          <a:prstGeom prst="homePlate">
            <a:avLst>
              <a:gd name="adj" fmla="val 14375"/>
            </a:avLst>
          </a:prstGeom>
          <a:solidFill>
            <a:srgbClr val="D6EBF6"/>
          </a:solidFill>
          <a:ln w="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700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건 정의</a:t>
            </a:r>
          </a:p>
        </p:txBody>
      </p:sp>
      <p:sp>
        <p:nvSpPr>
          <p:cNvPr id="85" name="오각형 84"/>
          <p:cNvSpPr/>
          <p:nvPr/>
        </p:nvSpPr>
        <p:spPr bwMode="auto">
          <a:xfrm>
            <a:off x="4650232" y="2581697"/>
            <a:ext cx="478536" cy="257854"/>
          </a:xfrm>
          <a:prstGeom prst="homePlate">
            <a:avLst>
              <a:gd name="adj" fmla="val 14375"/>
            </a:avLst>
          </a:prstGeom>
          <a:solidFill>
            <a:srgbClr val="D6EBF6"/>
          </a:solidFill>
          <a:ln w="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700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ko-KR" altLang="en-US" sz="10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생성</a:t>
            </a:r>
            <a:endParaRPr kumimoji="1" lang="ko-KR" altLang="en-US" sz="10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오각형 85"/>
          <p:cNvSpPr/>
          <p:nvPr/>
        </p:nvSpPr>
        <p:spPr bwMode="auto">
          <a:xfrm>
            <a:off x="5147801" y="2581697"/>
            <a:ext cx="478536" cy="257854"/>
          </a:xfrm>
          <a:prstGeom prst="homePlate">
            <a:avLst>
              <a:gd name="adj" fmla="val 14375"/>
            </a:avLst>
          </a:prstGeom>
          <a:solidFill>
            <a:srgbClr val="D6EBF6"/>
          </a:solidFill>
          <a:ln w="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700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관리</a:t>
            </a:r>
          </a:p>
        </p:txBody>
      </p:sp>
      <p:sp>
        <p:nvSpPr>
          <p:cNvPr id="87" name="오각형 86"/>
          <p:cNvSpPr/>
          <p:nvPr/>
        </p:nvSpPr>
        <p:spPr bwMode="auto">
          <a:xfrm>
            <a:off x="5654126" y="2581697"/>
            <a:ext cx="478536" cy="257854"/>
          </a:xfrm>
          <a:prstGeom prst="homePlate">
            <a:avLst>
              <a:gd name="adj" fmla="val 14375"/>
            </a:avLst>
          </a:prstGeom>
          <a:solidFill>
            <a:srgbClr val="D6EBF6"/>
          </a:solidFill>
          <a:ln w="0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70000"/>
              </a:lnSpc>
              <a:spcBef>
                <a:spcPts val="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폐기</a:t>
            </a:r>
          </a:p>
        </p:txBody>
      </p:sp>
      <p:sp>
        <p:nvSpPr>
          <p:cNvPr id="89" name="직사각형 88"/>
          <p:cNvSpPr/>
          <p:nvPr/>
        </p:nvSpPr>
        <p:spPr bwMode="auto">
          <a:xfrm>
            <a:off x="4162724" y="2987655"/>
            <a:ext cx="1969938" cy="18551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요청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성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활용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폐기에 따른 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ifecycle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 관리원칙 수립 및 구현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156643" y="3351163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규보고서목록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5166006" y="3351163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삭제대상보고서</a:t>
            </a:r>
          </a:p>
        </p:txBody>
      </p:sp>
      <p:sp>
        <p:nvSpPr>
          <p:cNvPr id="94" name="직사각형 93"/>
          <p:cNvSpPr/>
          <p:nvPr/>
        </p:nvSpPr>
        <p:spPr bwMode="auto">
          <a:xfrm>
            <a:off x="4156643" y="360633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est </a:t>
            </a: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166006" y="360633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청 절차 관리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순서도: 자기 디스크 96"/>
          <p:cNvSpPr/>
          <p:nvPr/>
        </p:nvSpPr>
        <p:spPr bwMode="auto">
          <a:xfrm>
            <a:off x="3094744" y="2670712"/>
            <a:ext cx="792088" cy="434036"/>
          </a:xfrm>
          <a:prstGeom prst="flowChartMagneticDisk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사용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g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2012385" y="4803002"/>
            <a:ext cx="1965703" cy="18551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정보 검색 기능 및 </a:t>
            </a:r>
            <a:r>
              <a:rPr kumimoji="1" lang="en-US" altLang="ko-KR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ink </a:t>
            </a: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183154" y="4803002"/>
            <a:ext cx="1965703" cy="18551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자 분석 지원 기능 제공</a:t>
            </a:r>
            <a:endParaRPr kumimoji="1" lang="ko-KR" altLang="en-US" sz="10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4156643" y="500971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게시판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5166006" y="500971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 이력 분석</a:t>
            </a:r>
          </a:p>
        </p:txBody>
      </p:sp>
      <p:sp>
        <p:nvSpPr>
          <p:cNvPr id="103" name="직사각형 102"/>
          <p:cNvSpPr/>
          <p:nvPr/>
        </p:nvSpPr>
        <p:spPr bwMode="auto">
          <a:xfrm>
            <a:off x="4156643" y="5294985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AQ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5166006" y="5294985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문조사 기능</a:t>
            </a:r>
          </a:p>
        </p:txBody>
      </p:sp>
      <p:sp>
        <p:nvSpPr>
          <p:cNvPr id="148" name="직사각형 147"/>
          <p:cNvSpPr/>
          <p:nvPr/>
        </p:nvSpPr>
        <p:spPr bwMode="auto">
          <a:xfrm>
            <a:off x="4156643" y="5580253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도움말</a:t>
            </a:r>
          </a:p>
        </p:txBody>
      </p:sp>
      <p:sp>
        <p:nvSpPr>
          <p:cNvPr id="149" name="직사각형 148"/>
          <p:cNvSpPr/>
          <p:nvPr/>
        </p:nvSpPr>
        <p:spPr bwMode="auto">
          <a:xfrm>
            <a:off x="5166006" y="5580253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검색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4156643" y="5865520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leage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5166006" y="5865520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y Menu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1993335" y="500971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정의</a:t>
            </a:r>
          </a:p>
        </p:txBody>
      </p:sp>
      <p:sp>
        <p:nvSpPr>
          <p:cNvPr id="151" name="직사각형 150"/>
          <p:cNvSpPr/>
          <p:nvPr/>
        </p:nvSpPr>
        <p:spPr bwMode="auto">
          <a:xfrm>
            <a:off x="1993335" y="5231391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항목 정의</a:t>
            </a:r>
          </a:p>
        </p:txBody>
      </p:sp>
      <p:sp>
        <p:nvSpPr>
          <p:cNvPr id="152" name="직사각형 151"/>
          <p:cNvSpPr/>
          <p:nvPr/>
        </p:nvSpPr>
        <p:spPr bwMode="auto">
          <a:xfrm>
            <a:off x="1993335" y="5453064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항목 계산식</a:t>
            </a:r>
          </a:p>
        </p:txBody>
      </p:sp>
      <p:sp>
        <p:nvSpPr>
          <p:cNvPr id="153" name="직사각형 152"/>
          <p:cNvSpPr/>
          <p:nvPr/>
        </p:nvSpPr>
        <p:spPr bwMode="auto">
          <a:xfrm>
            <a:off x="1993335" y="567473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주기</a:t>
            </a:r>
          </a:p>
        </p:txBody>
      </p:sp>
      <p:sp>
        <p:nvSpPr>
          <p:cNvPr id="154" name="직사각형 153"/>
          <p:cNvSpPr/>
          <p:nvPr/>
        </p:nvSpPr>
        <p:spPr bwMode="auto">
          <a:xfrm>
            <a:off x="2999815" y="500971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련 테이블</a:t>
            </a:r>
            <a:r>
              <a:rPr kumimoji="1" lang="en-US" altLang="ko-KR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컬럼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2999815" y="5231391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 보관 주기</a:t>
            </a:r>
          </a:p>
        </p:txBody>
      </p:sp>
      <p:sp>
        <p:nvSpPr>
          <p:cNvPr id="156" name="직사각형 155"/>
          <p:cNvSpPr/>
          <p:nvPr/>
        </p:nvSpPr>
        <p:spPr bwMode="auto">
          <a:xfrm>
            <a:off x="2999815" y="5453064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공 분석 시스템</a:t>
            </a:r>
          </a:p>
        </p:txBody>
      </p:sp>
      <p:sp>
        <p:nvSpPr>
          <p:cNvPr id="157" name="직사각형 156"/>
          <p:cNvSpPr/>
          <p:nvPr/>
        </p:nvSpPr>
        <p:spPr bwMode="auto">
          <a:xfrm>
            <a:off x="2999815" y="5674737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제공시작시점</a:t>
            </a:r>
          </a:p>
        </p:txBody>
      </p:sp>
      <p:sp>
        <p:nvSpPr>
          <p:cNvPr id="158" name="직사각형 157"/>
          <p:cNvSpPr/>
          <p:nvPr/>
        </p:nvSpPr>
        <p:spPr bwMode="auto">
          <a:xfrm>
            <a:off x="1993335" y="5896409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 </a:t>
            </a:r>
            <a:r>
              <a:rPr kumimoji="1" lang="ko-KR" altLang="en-US" sz="9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오너십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2999815" y="5896409"/>
            <a:ext cx="970637" cy="19165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항목</a:t>
            </a:r>
            <a:endParaRPr kumimoji="1" lang="ko-KR" altLang="en-US" sz="9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원통 160"/>
          <p:cNvSpPr/>
          <p:nvPr/>
        </p:nvSpPr>
        <p:spPr bwMode="auto">
          <a:xfrm>
            <a:off x="5254984" y="3968903"/>
            <a:ext cx="778582" cy="484521"/>
          </a:xfrm>
          <a:prstGeom prst="can">
            <a:avLst>
              <a:gd name="adj" fmla="val 17101"/>
            </a:avLst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</a:t>
            </a:r>
            <a: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ortal</a:t>
            </a:r>
            <a:b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9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sitory</a:t>
            </a:r>
            <a:endParaRPr kumimoji="1" lang="ko-KR" altLang="en-US" sz="9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3" name="꺾인 연결선 162"/>
          <p:cNvCxnSpPr>
            <a:stCxn id="78" idx="0"/>
            <a:endCxn id="161" idx="2"/>
          </p:cNvCxnSpPr>
          <p:nvPr/>
        </p:nvCxnSpPr>
        <p:spPr bwMode="auto">
          <a:xfrm rot="5400000" flipH="1" flipV="1">
            <a:off x="3955403" y="3237595"/>
            <a:ext cx="326012" cy="2273150"/>
          </a:xfrm>
          <a:prstGeom prst="bentConnector2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65" name="꺾인 연결선 164"/>
          <p:cNvCxnSpPr>
            <a:stCxn id="65" idx="2"/>
            <a:endCxn id="161" idx="2"/>
          </p:cNvCxnSpPr>
          <p:nvPr/>
        </p:nvCxnSpPr>
        <p:spPr bwMode="auto">
          <a:xfrm rot="16200000" flipH="1">
            <a:off x="3962935" y="2919114"/>
            <a:ext cx="310948" cy="2273150"/>
          </a:xfrm>
          <a:prstGeom prst="bentConnector2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69" name="직선 화살표 연결선 168"/>
          <p:cNvCxnSpPr>
            <a:stCxn id="74" idx="2"/>
            <a:endCxn id="80" idx="0"/>
          </p:cNvCxnSpPr>
          <p:nvPr/>
        </p:nvCxnSpPr>
        <p:spPr bwMode="auto">
          <a:xfrm>
            <a:off x="5150270" y="3900215"/>
            <a:ext cx="0" cy="636961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72" name="타원 171"/>
          <p:cNvSpPr/>
          <p:nvPr/>
        </p:nvSpPr>
        <p:spPr bwMode="auto">
          <a:xfrm>
            <a:off x="6546773" y="2449776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정</a:t>
            </a:r>
          </a:p>
        </p:txBody>
      </p:sp>
      <p:sp>
        <p:nvSpPr>
          <p:cNvPr id="173" name="타원 172"/>
          <p:cNvSpPr/>
          <p:nvPr/>
        </p:nvSpPr>
        <p:spPr bwMode="auto">
          <a:xfrm>
            <a:off x="6546773" y="2803435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권한</a:t>
            </a:r>
          </a:p>
        </p:txBody>
      </p:sp>
      <p:sp>
        <p:nvSpPr>
          <p:cNvPr id="174" name="타원 173"/>
          <p:cNvSpPr/>
          <p:nvPr/>
        </p:nvSpPr>
        <p:spPr bwMode="auto">
          <a:xfrm>
            <a:off x="6546773" y="3157094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메뉴</a:t>
            </a:r>
          </a:p>
        </p:txBody>
      </p:sp>
      <p:sp>
        <p:nvSpPr>
          <p:cNvPr id="175" name="타원 174"/>
          <p:cNvSpPr/>
          <p:nvPr/>
        </p:nvSpPr>
        <p:spPr bwMode="auto">
          <a:xfrm>
            <a:off x="6546773" y="3510753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URL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타원 175"/>
          <p:cNvSpPr/>
          <p:nvPr/>
        </p:nvSpPr>
        <p:spPr bwMode="auto">
          <a:xfrm>
            <a:off x="6546773" y="3864412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 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g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타원 176"/>
          <p:cNvSpPr/>
          <p:nvPr/>
        </p:nvSpPr>
        <p:spPr bwMode="auto">
          <a:xfrm>
            <a:off x="6546773" y="4218071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 메타</a:t>
            </a:r>
          </a:p>
        </p:txBody>
      </p:sp>
      <p:sp>
        <p:nvSpPr>
          <p:cNvPr id="178" name="타원 177"/>
          <p:cNvSpPr/>
          <p:nvPr/>
        </p:nvSpPr>
        <p:spPr bwMode="auto">
          <a:xfrm>
            <a:off x="6546773" y="4571730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R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승인 절차</a:t>
            </a:r>
          </a:p>
        </p:txBody>
      </p:sp>
      <p:sp>
        <p:nvSpPr>
          <p:cNvPr id="179" name="타원 178"/>
          <p:cNvSpPr/>
          <p:nvPr/>
        </p:nvSpPr>
        <p:spPr bwMode="auto">
          <a:xfrm>
            <a:off x="6546773" y="4925389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게시판</a:t>
            </a:r>
          </a:p>
        </p:txBody>
      </p:sp>
      <p:sp>
        <p:nvSpPr>
          <p:cNvPr id="180" name="타원 179"/>
          <p:cNvSpPr/>
          <p:nvPr/>
        </p:nvSpPr>
        <p:spPr bwMode="auto">
          <a:xfrm>
            <a:off x="6546773" y="5279048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FAQ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타원 180"/>
          <p:cNvSpPr/>
          <p:nvPr/>
        </p:nvSpPr>
        <p:spPr bwMode="auto">
          <a:xfrm>
            <a:off x="6546773" y="5632708"/>
            <a:ext cx="697036" cy="307795"/>
          </a:xfrm>
          <a:prstGeom prst="ellipse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문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사</a:t>
            </a:r>
          </a:p>
        </p:txBody>
      </p:sp>
      <p:cxnSp>
        <p:nvCxnSpPr>
          <p:cNvPr id="183" name="꺾인 연결선 182"/>
          <p:cNvCxnSpPr>
            <a:stCxn id="161" idx="4"/>
            <a:endCxn id="181" idx="2"/>
          </p:cNvCxnSpPr>
          <p:nvPr/>
        </p:nvCxnSpPr>
        <p:spPr bwMode="auto">
          <a:xfrm>
            <a:off x="6033566" y="4211164"/>
            <a:ext cx="513207" cy="15754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88" name="꺾인 연결선 187"/>
          <p:cNvCxnSpPr>
            <a:stCxn id="161" idx="4"/>
            <a:endCxn id="180" idx="2"/>
          </p:cNvCxnSpPr>
          <p:nvPr/>
        </p:nvCxnSpPr>
        <p:spPr bwMode="auto">
          <a:xfrm>
            <a:off x="6033566" y="4211164"/>
            <a:ext cx="513207" cy="122178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92" name="꺾인 연결선 191"/>
          <p:cNvCxnSpPr>
            <a:stCxn id="161" idx="4"/>
            <a:endCxn id="179" idx="2"/>
          </p:cNvCxnSpPr>
          <p:nvPr/>
        </p:nvCxnSpPr>
        <p:spPr bwMode="auto">
          <a:xfrm>
            <a:off x="6033566" y="4211164"/>
            <a:ext cx="513207" cy="86812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95" name="꺾인 연결선 194"/>
          <p:cNvCxnSpPr>
            <a:stCxn id="161" idx="4"/>
            <a:endCxn id="178" idx="2"/>
          </p:cNvCxnSpPr>
          <p:nvPr/>
        </p:nvCxnSpPr>
        <p:spPr bwMode="auto">
          <a:xfrm>
            <a:off x="6033566" y="4211164"/>
            <a:ext cx="513207" cy="51446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99" name="꺾인 연결선 198"/>
          <p:cNvCxnSpPr>
            <a:stCxn id="161" idx="4"/>
            <a:endCxn id="177" idx="2"/>
          </p:cNvCxnSpPr>
          <p:nvPr/>
        </p:nvCxnSpPr>
        <p:spPr bwMode="auto">
          <a:xfrm>
            <a:off x="6033566" y="4211164"/>
            <a:ext cx="513207" cy="16080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02" name="꺾인 연결선 201"/>
          <p:cNvCxnSpPr>
            <a:stCxn id="161" idx="4"/>
            <a:endCxn id="176" idx="2"/>
          </p:cNvCxnSpPr>
          <p:nvPr/>
        </p:nvCxnSpPr>
        <p:spPr bwMode="auto">
          <a:xfrm flipV="1">
            <a:off x="6033566" y="4018310"/>
            <a:ext cx="513207" cy="19285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05" name="꺾인 연결선 204"/>
          <p:cNvCxnSpPr>
            <a:stCxn id="161" idx="4"/>
            <a:endCxn id="175" idx="2"/>
          </p:cNvCxnSpPr>
          <p:nvPr/>
        </p:nvCxnSpPr>
        <p:spPr bwMode="auto">
          <a:xfrm flipV="1">
            <a:off x="6033566" y="3664651"/>
            <a:ext cx="513207" cy="54651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08" name="꺾인 연결선 207"/>
          <p:cNvCxnSpPr>
            <a:stCxn id="161" idx="4"/>
            <a:endCxn id="174" idx="2"/>
          </p:cNvCxnSpPr>
          <p:nvPr/>
        </p:nvCxnSpPr>
        <p:spPr bwMode="auto">
          <a:xfrm flipV="1">
            <a:off x="6033566" y="3310992"/>
            <a:ext cx="513207" cy="90017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11" name="꺾인 연결선 210"/>
          <p:cNvCxnSpPr>
            <a:stCxn id="161" idx="4"/>
            <a:endCxn id="173" idx="2"/>
          </p:cNvCxnSpPr>
          <p:nvPr/>
        </p:nvCxnSpPr>
        <p:spPr bwMode="auto">
          <a:xfrm flipV="1">
            <a:off x="6033566" y="2957333"/>
            <a:ext cx="513207" cy="125383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14" name="꺾인 연결선 213"/>
          <p:cNvCxnSpPr>
            <a:stCxn id="161" idx="4"/>
            <a:endCxn id="172" idx="2"/>
          </p:cNvCxnSpPr>
          <p:nvPr/>
        </p:nvCxnSpPr>
        <p:spPr bwMode="auto">
          <a:xfrm flipV="1">
            <a:off x="6033566" y="2603674"/>
            <a:ext cx="513207" cy="16074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218" name="직사각형 217"/>
          <p:cNvSpPr/>
          <p:nvPr/>
        </p:nvSpPr>
        <p:spPr bwMode="auto">
          <a:xfrm>
            <a:off x="7329264" y="2826054"/>
            <a:ext cx="900000" cy="4244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형조회</a:t>
            </a:r>
          </a:p>
        </p:txBody>
      </p:sp>
      <p:sp>
        <p:nvSpPr>
          <p:cNvPr id="219" name="직사각형 218"/>
          <p:cNvSpPr/>
          <p:nvPr/>
        </p:nvSpPr>
        <p:spPr bwMode="auto">
          <a:xfrm>
            <a:off x="7329264" y="4475278"/>
            <a:ext cx="900000" cy="4244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 조회</a:t>
            </a:r>
          </a:p>
        </p:txBody>
      </p:sp>
      <p:sp>
        <p:nvSpPr>
          <p:cNvPr id="222" name="TextBox 221"/>
          <p:cNvSpPr txBox="1"/>
          <p:nvPr/>
        </p:nvSpPr>
        <p:spPr bwMode="auto">
          <a:xfrm>
            <a:off x="7329264" y="3303360"/>
            <a:ext cx="934102" cy="6802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미리 정의된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Format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에 따른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web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등의 화면</a:t>
            </a:r>
          </a:p>
        </p:txBody>
      </p:sp>
      <p:sp>
        <p:nvSpPr>
          <p:cNvPr id="223" name="TextBox 222"/>
          <p:cNvSpPr txBox="1"/>
          <p:nvPr/>
        </p:nvSpPr>
        <p:spPr bwMode="auto">
          <a:xfrm>
            <a:off x="7295162" y="4992927"/>
            <a:ext cx="934102" cy="8502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OLAP, Ad-hoc, SAS, </a:t>
            </a:r>
            <a:r>
              <a:rPr lang="ko-KR" altLang="en-US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시각화를 사용한 다차원분석</a:t>
            </a:r>
          </a:p>
        </p:txBody>
      </p:sp>
      <p:sp>
        <p:nvSpPr>
          <p:cNvPr id="7" name="직사각형 6"/>
          <p:cNvSpPr/>
          <p:nvPr/>
        </p:nvSpPr>
        <p:spPr bwMode="auto">
          <a:xfrm>
            <a:off x="2012385" y="2670712"/>
            <a:ext cx="951587" cy="43274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메뉴체계</a:t>
            </a:r>
          </a:p>
        </p:txBody>
      </p:sp>
      <p:grpSp>
        <p:nvGrpSpPr>
          <p:cNvPr id="119" name="그룹 11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2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8" name="그룹 12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3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1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16" name="TextBox 11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/>
                  <a:ea typeface="맑은 고딕"/>
                </a:rPr>
                <a:t>분석포탈 구현 방안</a:t>
              </a:r>
            </a:p>
          </p:txBody>
        </p:sp>
        <p:cxnSp>
          <p:nvCxnSpPr>
            <p:cNvPr id="117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31" name="TextBox 13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3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1485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다차원 분석기능 개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고서 관리 체계 수립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현재 산재되어 있는 보고서의 분류체계</a:t>
            </a: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수립</a:t>
            </a: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, 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검색기능 부여</a:t>
            </a:r>
            <a:r>
              <a:rPr lang="en-US" altLang="ko-KR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, 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보고서 별 라이프사이클 관리를 통해 무분별한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보고서 </a:t>
            </a: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발생과 비효율 요소를 사전에 </a:t>
            </a:r>
            <a:r>
              <a:rPr lang="ko-KR" altLang="en-US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itchFamily="50" charset="-127"/>
              </a:rPr>
              <a:t>방지함</a:t>
            </a: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 pitchFamily="50" charset="-127"/>
            </a:endParaRPr>
          </a:p>
        </p:txBody>
      </p:sp>
      <p:sp>
        <p:nvSpPr>
          <p:cNvPr id="5" name="Pentagon 20"/>
          <p:cNvSpPr/>
          <p:nvPr/>
        </p:nvSpPr>
        <p:spPr bwMode="auto">
          <a:xfrm>
            <a:off x="3319688" y="1900592"/>
            <a:ext cx="3348001" cy="432000"/>
          </a:xfrm>
          <a:prstGeom prst="homePlate">
            <a:avLst>
              <a:gd name="adj" fmla="val 17056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ctr">
            <a:noAutofit/>
          </a:bodyPr>
          <a:lstStyle/>
          <a:p>
            <a:pPr algn="ctr" eaLnBrk="0" latinLnBrk="0" hangingPunct="0"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보고서 검색체계 수립</a:t>
            </a:r>
            <a:endParaRPr lang="en-US" sz="12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Pentagon 2"/>
          <p:cNvSpPr/>
          <p:nvPr/>
        </p:nvSpPr>
        <p:spPr bwMode="auto">
          <a:xfrm>
            <a:off x="238572" y="1900592"/>
            <a:ext cx="3240000" cy="432000"/>
          </a:xfrm>
          <a:prstGeom prst="homePlate">
            <a:avLst>
              <a:gd name="adj" fmla="val 17056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ctr">
            <a:noAutofit/>
          </a:bodyPr>
          <a:lstStyle/>
          <a:p>
            <a:pPr algn="ctr" eaLnBrk="0" latinLnBrk="0" hangingPunct="0">
              <a:spcAft>
                <a:spcPts val="600"/>
              </a:spcAft>
              <a:buSzPct val="100000"/>
              <a:buFont typeface="Wingdings" pitchFamily="2" charset="2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보고서 분류체계 수립</a:t>
            </a:r>
            <a:endParaRPr lang="en-US" sz="12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320860" y="2374546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defRPr/>
            </a:pPr>
            <a:r>
              <a:rPr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서명</a:t>
            </a:r>
          </a:p>
        </p:txBody>
      </p:sp>
      <p:sp>
        <p:nvSpPr>
          <p:cNvPr id="10" name="Rectangle 45"/>
          <p:cNvSpPr>
            <a:spLocks noChangeArrowheads="1"/>
          </p:cNvSpPr>
          <p:nvPr/>
        </p:nvSpPr>
        <p:spPr bwMode="auto">
          <a:xfrm>
            <a:off x="883540" y="2374546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구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대상 구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세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집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 종류 구분 포함</a:t>
            </a:r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auto">
          <a:xfrm>
            <a:off x="320860" y="2712458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defRPr/>
            </a:pPr>
            <a:r>
              <a:rPr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기</a:t>
            </a:r>
          </a:p>
        </p:txBody>
      </p:sp>
      <p:sp>
        <p:nvSpPr>
          <p:cNvPr id="12" name="Rectangle 45"/>
          <p:cNvSpPr>
            <a:spLocks noChangeArrowheads="1"/>
          </p:cNvSpPr>
          <p:nvPr/>
        </p:nvSpPr>
        <p:spPr bwMode="auto">
          <a:xfrm>
            <a:off x="883540" y="2712458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용점검기간의 기준으로 이용 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기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기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…)</a:t>
            </a: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320860" y="3929289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</a:p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</a:t>
            </a:r>
          </a:p>
        </p:txBody>
      </p:sp>
      <p:sp>
        <p:nvSpPr>
          <p:cNvPr id="14" name="Rectangle 45"/>
          <p:cNvSpPr>
            <a:spLocks noChangeArrowheads="1"/>
          </p:cNvSpPr>
          <p:nvPr/>
        </p:nvSpPr>
        <p:spPr bwMode="auto">
          <a:xfrm>
            <a:off x="883720" y="3929289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이 제한된 경우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고서의 사용기간을 정의 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6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월 이하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1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이하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…)</a:t>
            </a:r>
          </a:p>
        </p:txBody>
      </p:sp>
      <p:sp>
        <p:nvSpPr>
          <p:cNvPr id="15" name="Rectangle 45"/>
          <p:cNvSpPr>
            <a:spLocks noChangeArrowheads="1"/>
          </p:cNvSpPr>
          <p:nvPr/>
        </p:nvSpPr>
        <p:spPr bwMode="auto">
          <a:xfrm>
            <a:off x="320860" y="3050371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r>
              <a:rPr kumimoji="1" lang="en-US" altLang="ko-KR" sz="10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000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</a:p>
        </p:txBody>
      </p:sp>
      <p:sp>
        <p:nvSpPr>
          <p:cNvPr id="16" name="Rectangle 45"/>
          <p:cNvSpPr>
            <a:spLocks noChangeArrowheads="1"/>
          </p:cNvSpPr>
          <p:nvPr/>
        </p:nvSpPr>
        <p:spPr bwMode="auto">
          <a:xfrm>
            <a:off x="883540" y="3050371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 부서 및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보고서에 대한 책임부서 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상기획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차 업무파트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…)</a:t>
            </a:r>
          </a:p>
        </p:txBody>
      </p:sp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320860" y="3388283"/>
            <a:ext cx="468000" cy="168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형태</a:t>
            </a: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883720" y="3388283"/>
            <a:ext cx="2484000" cy="168524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 형태 구분 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형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정형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9" name="Rectangle 45"/>
          <p:cNvSpPr>
            <a:spLocks noChangeArrowheads="1"/>
          </p:cNvSpPr>
          <p:nvPr/>
        </p:nvSpPr>
        <p:spPr bwMode="auto">
          <a:xfrm>
            <a:off x="320860" y="3591377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점</a:t>
            </a: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883720" y="3591377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에게 제공되는 보고서 데이터 시점 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속보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D-1/…)</a:t>
            </a:r>
            <a:endParaRPr kumimoji="1" lang="ko-KR" altLang="en-US" sz="9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320860" y="4267203"/>
            <a:ext cx="468000" cy="303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</a:t>
            </a:r>
          </a:p>
          <a:p>
            <a:pPr algn="ctr" latinLnBrk="0"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kumimoji="1" lang="ko-KR" altLang="en-US" sz="1000" b="1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종류</a:t>
            </a: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883720" y="4267203"/>
            <a:ext cx="2484000" cy="303343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</a:pP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고서 구성항목의 정보 종류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세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집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계</a:t>
            </a:r>
            <a:r>
              <a: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9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3" name="Group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783765"/>
              </p:ext>
            </p:extLst>
          </p:nvPr>
        </p:nvGraphicFramePr>
        <p:xfrm>
          <a:off x="348307" y="4905718"/>
          <a:ext cx="2991970" cy="1316137"/>
        </p:xfrm>
        <a:graphic>
          <a:graphicData uri="http://schemas.openxmlformats.org/drawingml/2006/table">
            <a:tbl>
              <a:tblPr/>
              <a:tblGrid>
                <a:gridCol w="399609"/>
                <a:gridCol w="1008140"/>
                <a:gridCol w="360050"/>
                <a:gridCol w="360050"/>
                <a:gridCol w="360050"/>
                <a:gridCol w="360050"/>
                <a:gridCol w="144021"/>
              </a:tblGrid>
              <a:tr h="33183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명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형태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점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028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L010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심대상고객</a:t>
                      </a: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정보 변경현황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형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tch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2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KT3Z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마케팅 대상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kt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형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/T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B2M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말정산 </a:t>
                      </a:r>
                      <a:r>
                        <a:rPr kumimoji="1" lang="ko-KR" altLang="en-US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레포트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/W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형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tch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KT45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 이용현황 보고서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시간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l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형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/T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8" name="Rectangle 45"/>
          <p:cNvSpPr>
            <a:spLocks noChangeArrowheads="1"/>
          </p:cNvSpPr>
          <p:nvPr/>
        </p:nvSpPr>
        <p:spPr bwMode="auto">
          <a:xfrm>
            <a:off x="296290" y="4812497"/>
            <a:ext cx="3096000" cy="1476000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  <a:defRPr/>
            </a:pPr>
            <a:endParaRPr kumimoji="1" lang="ko-KR" altLang="en-US" sz="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Isosceles Triangle 12"/>
          <p:cNvSpPr/>
          <p:nvPr/>
        </p:nvSpPr>
        <p:spPr bwMode="auto">
          <a:xfrm rot="10800000">
            <a:off x="1286290" y="4649668"/>
            <a:ext cx="1116000" cy="10800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latinLnBrk="0" hangingPunct="0">
              <a:spcAft>
                <a:spcPts val="600"/>
              </a:spcAft>
              <a:buSzPct val="100000"/>
              <a:buFont typeface="Wingdings" pitchFamily="2" charset="2"/>
              <a:buNone/>
            </a:pPr>
            <a:endParaRPr lang="en-US" sz="16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원통 60"/>
          <p:cNvSpPr/>
          <p:nvPr/>
        </p:nvSpPr>
        <p:spPr>
          <a:xfrm>
            <a:off x="3494977" y="2553206"/>
            <a:ext cx="1764000" cy="1801617"/>
          </a:xfrm>
          <a:prstGeom prst="can">
            <a:avLst>
              <a:gd name="adj" fmla="val 6679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18000" tIns="0" rIns="18000" bIns="0" anchor="t"/>
          <a:lstStyle/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고서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D (PK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고서명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스템구분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공주기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주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…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공형태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형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비정형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활용현황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주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최근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달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미사용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달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…)</a:t>
            </a:r>
            <a:endParaRPr kumimoji="1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영역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계약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…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용부서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본점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현장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업본부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레벨 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공통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관리자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담당자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 (Oracle/ Sybase…)</a:t>
            </a:r>
          </a:p>
          <a:p>
            <a:pPr marL="88900" indent="-88900" defTabSz="633413" latinLnBrk="0">
              <a:lnSpc>
                <a:spcPct val="90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컬럼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요약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움말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검색어 등</a:t>
            </a:r>
            <a:r>
              <a:rPr kumimoji="1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gray">
          <a:xfrm>
            <a:off x="3710977" y="2336446"/>
            <a:ext cx="1332000" cy="20787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fontAlgn="auto" latinLnBrk="0">
              <a:lnSpc>
                <a:spcPct val="90000"/>
              </a:lnSpc>
              <a:spcBef>
                <a:spcPct val="35000"/>
              </a:spcBef>
              <a:buClr>
                <a:srgbClr val="006699"/>
              </a:buClr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보고서 사전 </a:t>
            </a:r>
            <a:r>
              <a:rPr lang="en-US" altLang="ko-KR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B</a:t>
            </a:r>
            <a:endParaRPr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32" name="Elbow Connector 15"/>
          <p:cNvCxnSpPr/>
          <p:nvPr/>
        </p:nvCxnSpPr>
        <p:spPr bwMode="auto">
          <a:xfrm>
            <a:off x="5258978" y="2899469"/>
            <a:ext cx="612000" cy="658283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3" name="Rectangle 12"/>
          <p:cNvSpPr>
            <a:spLocks noChangeArrowheads="1"/>
          </p:cNvSpPr>
          <p:nvPr/>
        </p:nvSpPr>
        <p:spPr bwMode="gray">
          <a:xfrm>
            <a:off x="5543900" y="2691628"/>
            <a:ext cx="648000" cy="485051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35000"/>
              </a:spcBef>
              <a:buClr>
                <a:srgbClr val="006699"/>
              </a:buClr>
              <a:defRPr/>
            </a:pPr>
            <a: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“</a:t>
            </a:r>
            <a:r>
              <a:rPr lang="ko-KR" altLang="en-US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통합</a:t>
            </a:r>
            <a: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검색엔진</a:t>
            </a:r>
            <a: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활용</a:t>
            </a:r>
            <a:r>
              <a:rPr lang="en-US" altLang="ko-KR" sz="1100" b="1" i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”</a:t>
            </a:r>
            <a:endParaRPr lang="ko-KR" altLang="en-US" sz="1100" b="1" i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5" name="Line 10"/>
          <p:cNvSpPr>
            <a:spLocks noChangeShapeType="1"/>
          </p:cNvSpPr>
          <p:nvPr/>
        </p:nvSpPr>
        <p:spPr bwMode="gray">
          <a:xfrm>
            <a:off x="5698932" y="3620537"/>
            <a:ext cx="0" cy="724233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endParaRPr kumimoji="1" 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Freeform 148"/>
          <p:cNvSpPr>
            <a:spLocks/>
          </p:cNvSpPr>
          <p:nvPr/>
        </p:nvSpPr>
        <p:spPr bwMode="gray">
          <a:xfrm rot="16002615" flipH="1">
            <a:off x="5972862" y="3745593"/>
            <a:ext cx="55523" cy="50343"/>
          </a:xfrm>
          <a:custGeom>
            <a:avLst/>
            <a:gdLst>
              <a:gd name="T0" fmla="*/ 1763984 w 1554"/>
              <a:gd name="T1" fmla="*/ 21464020 h 1743"/>
              <a:gd name="T2" fmla="*/ 6574597 w 1554"/>
              <a:gd name="T3" fmla="*/ 44794590 h 1743"/>
              <a:gd name="T4" fmla="*/ 12828830 w 1554"/>
              <a:gd name="T5" fmla="*/ 60892601 h 1743"/>
              <a:gd name="T6" fmla="*/ 21808931 w 1554"/>
              <a:gd name="T7" fmla="*/ 77924052 h 1743"/>
              <a:gd name="T8" fmla="*/ 33034361 w 1554"/>
              <a:gd name="T9" fmla="*/ 93322260 h 1743"/>
              <a:gd name="T10" fmla="*/ 47627171 w 1554"/>
              <a:gd name="T11" fmla="*/ 110586644 h 1743"/>
              <a:gd name="T12" fmla="*/ 67511945 w 1554"/>
              <a:gd name="T13" fmla="*/ 129717911 h 1743"/>
              <a:gd name="T14" fmla="*/ 88037828 w 1554"/>
              <a:gd name="T15" fmla="*/ 145815921 h 1743"/>
              <a:gd name="T16" fmla="*/ 111931522 w 1554"/>
              <a:gd name="T17" fmla="*/ 159114293 h 1743"/>
              <a:gd name="T18" fmla="*/ 135985772 w 1554"/>
              <a:gd name="T19" fmla="*/ 168912859 h 1743"/>
              <a:gd name="T20" fmla="*/ 155709953 w 1554"/>
              <a:gd name="T21" fmla="*/ 174395671 h 1743"/>
              <a:gd name="T22" fmla="*/ 173509970 w 1554"/>
              <a:gd name="T23" fmla="*/ 177778668 h 1743"/>
              <a:gd name="T24" fmla="*/ 189225643 w 1554"/>
              <a:gd name="T25" fmla="*/ 180345075 h 1743"/>
              <a:gd name="T26" fmla="*/ 191309987 w 1554"/>
              <a:gd name="T27" fmla="*/ 194576546 h 1743"/>
              <a:gd name="T28" fmla="*/ 216326569 w 1554"/>
              <a:gd name="T29" fmla="*/ 185244529 h 1743"/>
              <a:gd name="T30" fmla="*/ 249040157 w 1554"/>
              <a:gd name="T31" fmla="*/ 179644909 h 1743"/>
              <a:gd name="T32" fmla="*/ 235890570 w 1554"/>
              <a:gd name="T33" fmla="*/ 167046661 h 1743"/>
              <a:gd name="T34" fmla="*/ 226108369 w 1554"/>
              <a:gd name="T35" fmla="*/ 151881749 h 1743"/>
              <a:gd name="T36" fmla="*/ 218731674 w 1554"/>
              <a:gd name="T37" fmla="*/ 127851371 h 1743"/>
              <a:gd name="T38" fmla="*/ 191951508 w 1554"/>
              <a:gd name="T39" fmla="*/ 150948650 h 1743"/>
              <a:gd name="T40" fmla="*/ 166293855 w 1554"/>
              <a:gd name="T41" fmla="*/ 146049196 h 1743"/>
              <a:gd name="T42" fmla="*/ 140155261 w 1554"/>
              <a:gd name="T43" fmla="*/ 137416662 h 1743"/>
              <a:gd name="T44" fmla="*/ 113695506 w 1554"/>
              <a:gd name="T45" fmla="*/ 126101639 h 1743"/>
              <a:gd name="T46" fmla="*/ 83547979 w 1554"/>
              <a:gd name="T47" fmla="*/ 108720104 h 1743"/>
              <a:gd name="T48" fmla="*/ 63342456 w 1554"/>
              <a:gd name="T49" fmla="*/ 94022084 h 1743"/>
              <a:gd name="T50" fmla="*/ 49711916 w 1554"/>
              <a:gd name="T51" fmla="*/ 82006873 h 1743"/>
              <a:gd name="T52" fmla="*/ 40731417 w 1554"/>
              <a:gd name="T53" fmla="*/ 72558048 h 1743"/>
              <a:gd name="T54" fmla="*/ 29666574 w 1554"/>
              <a:gd name="T55" fmla="*/ 61125875 h 1743"/>
              <a:gd name="T56" fmla="*/ 22931394 w 1554"/>
              <a:gd name="T57" fmla="*/ 52493683 h 1743"/>
              <a:gd name="T58" fmla="*/ 17319082 w 1554"/>
              <a:gd name="T59" fmla="*/ 43628205 h 1743"/>
              <a:gd name="T60" fmla="*/ 11545787 w 1554"/>
              <a:gd name="T61" fmla="*/ 31496208 h 1743"/>
              <a:gd name="T62" fmla="*/ 0 w 1554"/>
              <a:gd name="T63" fmla="*/ 0 h 174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554"/>
              <a:gd name="T97" fmla="*/ 0 h 1743"/>
              <a:gd name="T98" fmla="*/ 1554 w 1554"/>
              <a:gd name="T99" fmla="*/ 1743 h 1743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554" h="1743">
                <a:moveTo>
                  <a:pt x="0" y="0"/>
                </a:moveTo>
                <a:lnTo>
                  <a:pt x="11" y="184"/>
                </a:lnTo>
                <a:lnTo>
                  <a:pt x="22" y="276"/>
                </a:lnTo>
                <a:lnTo>
                  <a:pt x="41" y="384"/>
                </a:lnTo>
                <a:lnTo>
                  <a:pt x="59" y="456"/>
                </a:lnTo>
                <a:lnTo>
                  <a:pt x="80" y="522"/>
                </a:lnTo>
                <a:lnTo>
                  <a:pt x="106" y="598"/>
                </a:lnTo>
                <a:lnTo>
                  <a:pt x="136" y="668"/>
                </a:lnTo>
                <a:lnTo>
                  <a:pt x="171" y="736"/>
                </a:lnTo>
                <a:lnTo>
                  <a:pt x="206" y="800"/>
                </a:lnTo>
                <a:lnTo>
                  <a:pt x="255" y="883"/>
                </a:lnTo>
                <a:lnTo>
                  <a:pt x="297" y="948"/>
                </a:lnTo>
                <a:lnTo>
                  <a:pt x="354" y="1023"/>
                </a:lnTo>
                <a:lnTo>
                  <a:pt x="421" y="1112"/>
                </a:lnTo>
                <a:lnTo>
                  <a:pt x="488" y="1186"/>
                </a:lnTo>
                <a:lnTo>
                  <a:pt x="549" y="1250"/>
                </a:lnTo>
                <a:lnTo>
                  <a:pt x="624" y="1311"/>
                </a:lnTo>
                <a:lnTo>
                  <a:pt x="698" y="1364"/>
                </a:lnTo>
                <a:lnTo>
                  <a:pt x="777" y="1412"/>
                </a:lnTo>
                <a:lnTo>
                  <a:pt x="848" y="1448"/>
                </a:lnTo>
                <a:lnTo>
                  <a:pt x="915" y="1476"/>
                </a:lnTo>
                <a:lnTo>
                  <a:pt x="971" y="1495"/>
                </a:lnTo>
                <a:lnTo>
                  <a:pt x="1028" y="1512"/>
                </a:lnTo>
                <a:lnTo>
                  <a:pt x="1082" y="1524"/>
                </a:lnTo>
                <a:lnTo>
                  <a:pt x="1130" y="1536"/>
                </a:lnTo>
                <a:lnTo>
                  <a:pt x="1180" y="1546"/>
                </a:lnTo>
                <a:lnTo>
                  <a:pt x="1095" y="1742"/>
                </a:lnTo>
                <a:lnTo>
                  <a:pt x="1193" y="1668"/>
                </a:lnTo>
                <a:lnTo>
                  <a:pt x="1271" y="1624"/>
                </a:lnTo>
                <a:lnTo>
                  <a:pt x="1349" y="1588"/>
                </a:lnTo>
                <a:lnTo>
                  <a:pt x="1451" y="1558"/>
                </a:lnTo>
                <a:lnTo>
                  <a:pt x="1553" y="1540"/>
                </a:lnTo>
                <a:lnTo>
                  <a:pt x="1520" y="1502"/>
                </a:lnTo>
                <a:lnTo>
                  <a:pt x="1471" y="1432"/>
                </a:lnTo>
                <a:lnTo>
                  <a:pt x="1438" y="1366"/>
                </a:lnTo>
                <a:lnTo>
                  <a:pt x="1410" y="1302"/>
                </a:lnTo>
                <a:lnTo>
                  <a:pt x="1390" y="1230"/>
                </a:lnTo>
                <a:lnTo>
                  <a:pt x="1364" y="1096"/>
                </a:lnTo>
                <a:lnTo>
                  <a:pt x="1278" y="1310"/>
                </a:lnTo>
                <a:lnTo>
                  <a:pt x="1197" y="1294"/>
                </a:lnTo>
                <a:lnTo>
                  <a:pt x="1114" y="1273"/>
                </a:lnTo>
                <a:lnTo>
                  <a:pt x="1037" y="1252"/>
                </a:lnTo>
                <a:lnTo>
                  <a:pt x="954" y="1220"/>
                </a:lnTo>
                <a:lnTo>
                  <a:pt x="874" y="1178"/>
                </a:lnTo>
                <a:lnTo>
                  <a:pt x="790" y="1134"/>
                </a:lnTo>
                <a:lnTo>
                  <a:pt x="709" y="1081"/>
                </a:lnTo>
                <a:lnTo>
                  <a:pt x="607" y="1004"/>
                </a:lnTo>
                <a:lnTo>
                  <a:pt x="521" y="932"/>
                </a:lnTo>
                <a:lnTo>
                  <a:pt x="458" y="872"/>
                </a:lnTo>
                <a:lnTo>
                  <a:pt x="395" y="806"/>
                </a:lnTo>
                <a:lnTo>
                  <a:pt x="351" y="758"/>
                </a:lnTo>
                <a:lnTo>
                  <a:pt x="310" y="703"/>
                </a:lnTo>
                <a:lnTo>
                  <a:pt x="284" y="666"/>
                </a:lnTo>
                <a:lnTo>
                  <a:pt x="254" y="622"/>
                </a:lnTo>
                <a:lnTo>
                  <a:pt x="215" y="564"/>
                </a:lnTo>
                <a:lnTo>
                  <a:pt x="185" y="524"/>
                </a:lnTo>
                <a:lnTo>
                  <a:pt x="165" y="487"/>
                </a:lnTo>
                <a:lnTo>
                  <a:pt x="143" y="450"/>
                </a:lnTo>
                <a:lnTo>
                  <a:pt x="126" y="413"/>
                </a:lnTo>
                <a:lnTo>
                  <a:pt x="108" y="374"/>
                </a:lnTo>
                <a:lnTo>
                  <a:pt x="90" y="330"/>
                </a:lnTo>
                <a:lnTo>
                  <a:pt x="72" y="270"/>
                </a:lnTo>
                <a:lnTo>
                  <a:pt x="41" y="166"/>
                </a:lnTo>
                <a:lnTo>
                  <a:pt x="0" y="0"/>
                </a:lnTo>
              </a:path>
            </a:pathLst>
          </a:custGeom>
          <a:solidFill>
            <a:srgbClr val="4B7D96"/>
          </a:solidFill>
          <a:ln w="19050">
            <a:solidFill>
              <a:srgbClr val="33669A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latinLnBrk="0"/>
            <a:endParaRPr kumimoji="1" lang="en-US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직사각형 68"/>
          <p:cNvSpPr/>
          <p:nvPr/>
        </p:nvSpPr>
        <p:spPr>
          <a:xfrm>
            <a:off x="5332102" y="3629567"/>
            <a:ext cx="1080000" cy="753192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50000"/>
              </a:lnSpc>
            </a:pPr>
            <a:endParaRPr kumimoji="1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69"/>
          <p:cNvSpPr/>
          <p:nvPr/>
        </p:nvSpPr>
        <p:spPr>
          <a:xfrm>
            <a:off x="5429190" y="3664218"/>
            <a:ext cx="956571" cy="692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50000"/>
              </a:lnSpc>
            </a:pPr>
            <a:endParaRPr kumimoji="1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74"/>
          <p:cNvSpPr/>
          <p:nvPr/>
        </p:nvSpPr>
        <p:spPr>
          <a:xfrm>
            <a:off x="5354508" y="3769132"/>
            <a:ext cx="113716" cy="51969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kumimoji="1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77"/>
          <p:cNvSpPr/>
          <p:nvPr/>
        </p:nvSpPr>
        <p:spPr>
          <a:xfrm>
            <a:off x="5490151" y="3767545"/>
            <a:ext cx="895610" cy="51969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 latinLnBrk="0">
              <a:lnSpc>
                <a:spcPct val="150000"/>
              </a:lnSpc>
            </a:pPr>
            <a:r>
              <a:rPr kumimoji="1" lang="ko-KR" altLang="en-US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서 영역</a:t>
            </a:r>
          </a:p>
        </p:txBody>
      </p:sp>
      <p:sp>
        <p:nvSpPr>
          <p:cNvPr id="41" name="Line 11"/>
          <p:cNvSpPr>
            <a:spLocks noChangeShapeType="1"/>
          </p:cNvSpPr>
          <p:nvPr/>
        </p:nvSpPr>
        <p:spPr bwMode="gray">
          <a:xfrm>
            <a:off x="6145899" y="3620537"/>
            <a:ext cx="0" cy="724233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endParaRPr kumimoji="1" 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5338225" y="4306198"/>
            <a:ext cx="185169" cy="69293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50000"/>
              </a:lnSpc>
            </a:pPr>
            <a:endParaRPr kumimoji="1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6" name="직선 연결선 83"/>
          <p:cNvCxnSpPr/>
          <p:nvPr/>
        </p:nvCxnSpPr>
        <p:spPr>
          <a:xfrm flipH="1">
            <a:off x="3494979" y="4089436"/>
            <a:ext cx="2304931" cy="750504"/>
          </a:xfrm>
          <a:prstGeom prst="line">
            <a:avLst/>
          </a:prstGeom>
          <a:noFill/>
          <a:ln w="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직선 연결선 84"/>
          <p:cNvCxnSpPr/>
          <p:nvPr/>
        </p:nvCxnSpPr>
        <p:spPr>
          <a:xfrm>
            <a:off x="6373242" y="4076139"/>
            <a:ext cx="217737" cy="763806"/>
          </a:xfrm>
          <a:prstGeom prst="line">
            <a:avLst/>
          </a:prstGeom>
          <a:noFill/>
          <a:ln w="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Rectangle 50"/>
          <p:cNvSpPr>
            <a:spLocks noChangeArrowheads="1"/>
          </p:cNvSpPr>
          <p:nvPr/>
        </p:nvSpPr>
        <p:spPr bwMode="auto">
          <a:xfrm>
            <a:off x="3494977" y="4839941"/>
            <a:ext cx="3096000" cy="1420505"/>
          </a:xfrm>
          <a:prstGeom prst="rect">
            <a:avLst/>
          </a:prstGeom>
          <a:solidFill>
            <a:schemeClr val="accent3">
              <a:lumMod val="95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latinLnBrk="0">
              <a:buFont typeface="Wingdings" pitchFamily="2" charset="2"/>
              <a:buChar char="§"/>
              <a:defRPr/>
            </a:pPr>
            <a:endParaRPr kumimoji="1" lang="ko-KR" altLang="en-US" sz="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0" name="Group 68"/>
          <p:cNvGrpSpPr/>
          <p:nvPr/>
        </p:nvGrpSpPr>
        <p:grpSpPr>
          <a:xfrm>
            <a:off x="3555270" y="4919868"/>
            <a:ext cx="2965031" cy="1260653"/>
            <a:chOff x="3502417" y="5096053"/>
            <a:chExt cx="2965031" cy="1309903"/>
          </a:xfrm>
        </p:grpSpPr>
        <p:sp>
          <p:nvSpPr>
            <p:cNvPr id="51" name="Text Box 15"/>
            <p:cNvSpPr txBox="1">
              <a:spLocks noChangeArrowheads="1"/>
            </p:cNvSpPr>
            <p:nvPr/>
          </p:nvSpPr>
          <p:spPr bwMode="auto">
            <a:xfrm>
              <a:off x="3502417" y="5096053"/>
              <a:ext cx="463366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제공주기</a:t>
              </a:r>
            </a:p>
          </p:txBody>
        </p:sp>
        <p:sp>
          <p:nvSpPr>
            <p:cNvPr id="52" name="Text Box 17"/>
            <p:cNvSpPr txBox="1">
              <a:spLocks noChangeArrowheads="1"/>
            </p:cNvSpPr>
            <p:nvPr/>
          </p:nvSpPr>
          <p:spPr bwMode="auto">
            <a:xfrm>
              <a:off x="3502417" y="5447683"/>
              <a:ext cx="463366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활용현황</a:t>
              </a:r>
              <a:endParaRPr kumimoji="1" lang="en-US" altLang="ko-KR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Text Box 19"/>
            <p:cNvSpPr txBox="1">
              <a:spLocks noChangeArrowheads="1"/>
            </p:cNvSpPr>
            <p:nvPr/>
          </p:nvSpPr>
          <p:spPr bwMode="auto">
            <a:xfrm>
              <a:off x="3502417" y="5799313"/>
              <a:ext cx="463366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용부점</a:t>
              </a:r>
            </a:p>
          </p:txBody>
        </p:sp>
        <p:sp>
          <p:nvSpPr>
            <p:cNvPr id="54" name="Rectangle 20"/>
            <p:cNvSpPr>
              <a:spLocks noChangeArrowheads="1"/>
            </p:cNvSpPr>
            <p:nvPr/>
          </p:nvSpPr>
          <p:spPr bwMode="auto">
            <a:xfrm>
              <a:off x="3990597" y="509605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일</a:t>
              </a:r>
            </a:p>
          </p:txBody>
        </p:sp>
        <p:sp>
          <p:nvSpPr>
            <p:cNvPr id="55" name="Rectangle 27"/>
            <p:cNvSpPr>
              <a:spLocks noChangeArrowheads="1"/>
            </p:cNvSpPr>
            <p:nvPr/>
          </p:nvSpPr>
          <p:spPr bwMode="auto">
            <a:xfrm>
              <a:off x="3990597" y="544768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근</a:t>
              </a: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 사용</a:t>
              </a:r>
            </a:p>
          </p:txBody>
        </p:sp>
        <p:sp>
          <p:nvSpPr>
            <p:cNvPr id="56" name="Rectangle 30"/>
            <p:cNvSpPr>
              <a:spLocks noChangeArrowheads="1"/>
            </p:cNvSpPr>
            <p:nvPr/>
          </p:nvSpPr>
          <p:spPr bwMode="auto">
            <a:xfrm>
              <a:off x="3990597" y="579931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본점</a:t>
              </a: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장</a:t>
              </a:r>
              <a:endParaRPr kumimoji="1" 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57" name="Group 55"/>
            <p:cNvGrpSpPr/>
            <p:nvPr/>
          </p:nvGrpSpPr>
          <p:grpSpPr>
            <a:xfrm>
              <a:off x="4685149" y="5096053"/>
              <a:ext cx="252000" cy="252000"/>
              <a:chOff x="4993320" y="5277028"/>
              <a:chExt cx="252000" cy="252000"/>
            </a:xfrm>
          </p:grpSpPr>
          <p:sp>
            <p:nvSpPr>
              <p:cNvPr id="84" name="Rectangle 20"/>
              <p:cNvSpPr>
                <a:spLocks noChangeArrowheads="1"/>
              </p:cNvSpPr>
              <p:nvPr/>
            </p:nvSpPr>
            <p:spPr bwMode="auto">
              <a:xfrm>
                <a:off x="4993320" y="5277028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5" name="AutoShape 22"/>
              <p:cNvSpPr>
                <a:spLocks noChangeArrowheads="1"/>
              </p:cNvSpPr>
              <p:nvPr/>
            </p:nvSpPr>
            <p:spPr bwMode="auto">
              <a:xfrm flipV="1">
                <a:off x="5029320" y="5331028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4685149" y="5447683"/>
              <a:ext cx="252000" cy="252000"/>
              <a:chOff x="5070583" y="5756524"/>
              <a:chExt cx="252000" cy="252000"/>
            </a:xfrm>
          </p:grpSpPr>
          <p:sp>
            <p:nvSpPr>
              <p:cNvPr id="82" name="Rectangle 20"/>
              <p:cNvSpPr>
                <a:spLocks noChangeArrowheads="1"/>
              </p:cNvSpPr>
              <p:nvPr/>
            </p:nvSpPr>
            <p:spPr bwMode="auto">
              <a:xfrm>
                <a:off x="5070583" y="5756524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3" name="AutoShape 29"/>
              <p:cNvSpPr>
                <a:spLocks noChangeArrowheads="1"/>
              </p:cNvSpPr>
              <p:nvPr/>
            </p:nvSpPr>
            <p:spPr bwMode="auto">
              <a:xfrm flipV="1">
                <a:off x="5106583" y="5810524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59" name="Group 67"/>
            <p:cNvGrpSpPr/>
            <p:nvPr/>
          </p:nvGrpSpPr>
          <p:grpSpPr>
            <a:xfrm>
              <a:off x="4685149" y="5799313"/>
              <a:ext cx="252000" cy="252000"/>
              <a:chOff x="5093393" y="6171222"/>
              <a:chExt cx="252000" cy="252000"/>
            </a:xfrm>
          </p:grpSpPr>
          <p:sp>
            <p:nvSpPr>
              <p:cNvPr id="80" name="Rectangle 20"/>
              <p:cNvSpPr>
                <a:spLocks noChangeArrowheads="1"/>
              </p:cNvSpPr>
              <p:nvPr/>
            </p:nvSpPr>
            <p:spPr bwMode="auto">
              <a:xfrm>
                <a:off x="5093393" y="6171222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1" name="AutoShape 32"/>
              <p:cNvSpPr>
                <a:spLocks noChangeArrowheads="1"/>
              </p:cNvSpPr>
              <p:nvPr/>
            </p:nvSpPr>
            <p:spPr bwMode="auto">
              <a:xfrm flipV="1">
                <a:off x="5129393" y="6225222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0" name="Text Box 15"/>
            <p:cNvSpPr txBox="1">
              <a:spLocks noChangeArrowheads="1"/>
            </p:cNvSpPr>
            <p:nvPr/>
          </p:nvSpPr>
          <p:spPr bwMode="auto">
            <a:xfrm>
              <a:off x="5045840" y="5096053"/>
              <a:ext cx="468000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제공형태</a:t>
              </a:r>
            </a:p>
          </p:txBody>
        </p:sp>
        <p:sp>
          <p:nvSpPr>
            <p:cNvPr id="61" name="Rectangle 20"/>
            <p:cNvSpPr>
              <a:spLocks noChangeArrowheads="1"/>
            </p:cNvSpPr>
            <p:nvPr/>
          </p:nvSpPr>
          <p:spPr bwMode="auto">
            <a:xfrm>
              <a:off x="5520896" y="509605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형</a:t>
              </a:r>
            </a:p>
          </p:txBody>
        </p:sp>
        <p:grpSp>
          <p:nvGrpSpPr>
            <p:cNvPr id="62" name="Group 115"/>
            <p:cNvGrpSpPr/>
            <p:nvPr/>
          </p:nvGrpSpPr>
          <p:grpSpPr>
            <a:xfrm>
              <a:off x="6215448" y="5096053"/>
              <a:ext cx="252000" cy="252000"/>
              <a:chOff x="4993320" y="5277028"/>
              <a:chExt cx="252000" cy="252000"/>
            </a:xfrm>
          </p:grpSpPr>
          <p:sp>
            <p:nvSpPr>
              <p:cNvPr id="78" name="Rectangle 20"/>
              <p:cNvSpPr>
                <a:spLocks noChangeArrowheads="1"/>
              </p:cNvSpPr>
              <p:nvPr/>
            </p:nvSpPr>
            <p:spPr bwMode="auto">
              <a:xfrm>
                <a:off x="4993320" y="5277028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9" name="AutoShape 22"/>
              <p:cNvSpPr>
                <a:spLocks noChangeArrowheads="1"/>
              </p:cNvSpPr>
              <p:nvPr/>
            </p:nvSpPr>
            <p:spPr bwMode="auto">
              <a:xfrm flipV="1">
                <a:off x="5029320" y="5331028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3" name="Text Box 15"/>
            <p:cNvSpPr txBox="1">
              <a:spLocks noChangeArrowheads="1"/>
            </p:cNvSpPr>
            <p:nvPr/>
          </p:nvSpPr>
          <p:spPr bwMode="auto">
            <a:xfrm>
              <a:off x="5045840" y="5447683"/>
              <a:ext cx="468000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영역</a:t>
              </a:r>
            </a:p>
          </p:txBody>
        </p:sp>
        <p:sp>
          <p:nvSpPr>
            <p:cNvPr id="64" name="Rectangle 20"/>
            <p:cNvSpPr>
              <a:spLocks noChangeArrowheads="1"/>
            </p:cNvSpPr>
            <p:nvPr/>
          </p:nvSpPr>
          <p:spPr bwMode="auto">
            <a:xfrm>
              <a:off x="5520896" y="544768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grpSp>
          <p:nvGrpSpPr>
            <p:cNvPr id="65" name="Group 120"/>
            <p:cNvGrpSpPr/>
            <p:nvPr/>
          </p:nvGrpSpPr>
          <p:grpSpPr>
            <a:xfrm>
              <a:off x="6215448" y="5447683"/>
              <a:ext cx="252000" cy="252000"/>
              <a:chOff x="4993320" y="5277028"/>
              <a:chExt cx="252000" cy="252000"/>
            </a:xfrm>
          </p:grpSpPr>
          <p:sp>
            <p:nvSpPr>
              <p:cNvPr id="76" name="Rectangle 20"/>
              <p:cNvSpPr>
                <a:spLocks noChangeArrowheads="1"/>
              </p:cNvSpPr>
              <p:nvPr/>
            </p:nvSpPr>
            <p:spPr bwMode="auto">
              <a:xfrm>
                <a:off x="4993320" y="5277028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7" name="AutoShape 22"/>
              <p:cNvSpPr>
                <a:spLocks noChangeArrowheads="1"/>
              </p:cNvSpPr>
              <p:nvPr/>
            </p:nvSpPr>
            <p:spPr bwMode="auto">
              <a:xfrm flipV="1">
                <a:off x="5029320" y="5331028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6" name="Text Box 15"/>
            <p:cNvSpPr txBox="1">
              <a:spLocks noChangeArrowheads="1"/>
            </p:cNvSpPr>
            <p:nvPr/>
          </p:nvSpPr>
          <p:spPr bwMode="auto">
            <a:xfrm>
              <a:off x="5045840" y="5799313"/>
              <a:ext cx="468000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레벨</a:t>
              </a:r>
            </a:p>
          </p:txBody>
        </p:sp>
        <p:sp>
          <p:nvSpPr>
            <p:cNvPr id="67" name="Rectangle 20"/>
            <p:cNvSpPr>
              <a:spLocks noChangeArrowheads="1"/>
            </p:cNvSpPr>
            <p:nvPr/>
          </p:nvSpPr>
          <p:spPr bwMode="auto">
            <a:xfrm>
              <a:off x="5520896" y="5799313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공통</a:t>
              </a: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자</a:t>
              </a: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..</a:t>
              </a:r>
              <a:endPara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68" name="Group 126"/>
            <p:cNvGrpSpPr/>
            <p:nvPr/>
          </p:nvGrpSpPr>
          <p:grpSpPr>
            <a:xfrm>
              <a:off x="6215448" y="5799313"/>
              <a:ext cx="252000" cy="252000"/>
              <a:chOff x="4993320" y="5277028"/>
              <a:chExt cx="252000" cy="252000"/>
            </a:xfrm>
          </p:grpSpPr>
          <p:sp>
            <p:nvSpPr>
              <p:cNvPr id="74" name="Rectangle 20"/>
              <p:cNvSpPr>
                <a:spLocks noChangeArrowheads="1"/>
              </p:cNvSpPr>
              <p:nvPr/>
            </p:nvSpPr>
            <p:spPr bwMode="auto">
              <a:xfrm>
                <a:off x="4993320" y="5277028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5" name="AutoShape 22"/>
              <p:cNvSpPr>
                <a:spLocks noChangeArrowheads="1"/>
              </p:cNvSpPr>
              <p:nvPr/>
            </p:nvSpPr>
            <p:spPr bwMode="auto">
              <a:xfrm flipV="1">
                <a:off x="5029320" y="5331028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9" name="Text Box 15"/>
            <p:cNvSpPr txBox="1">
              <a:spLocks noChangeArrowheads="1"/>
            </p:cNvSpPr>
            <p:nvPr/>
          </p:nvSpPr>
          <p:spPr bwMode="auto">
            <a:xfrm>
              <a:off x="5045840" y="6150943"/>
              <a:ext cx="468000" cy="252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noAutofit/>
            </a:bodyPr>
            <a:lstStyle/>
            <a:p>
              <a:pPr latinLnBrk="0"/>
              <a:r>
                <a:rPr kumimoji="1" lang="ko-KR" altLang="en-US" sz="900" b="1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검색어</a:t>
              </a:r>
              <a:endParaRPr kumimoji="1" lang="ko-KR" altLang="en-US" sz="9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Rectangle 20"/>
            <p:cNvSpPr>
              <a:spLocks noChangeArrowheads="1"/>
            </p:cNvSpPr>
            <p:nvPr/>
          </p:nvSpPr>
          <p:spPr bwMode="auto">
            <a:xfrm>
              <a:off x="5520896" y="6153956"/>
              <a:ext cx="648000" cy="25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36000" tIns="0" rIns="0" bIns="0" anchor="ctr" anchorCtr="0">
              <a:noAutofit/>
            </a:bodyPr>
            <a:lstStyle/>
            <a:p>
              <a:pPr latinLnBrk="0">
                <a:defRPr/>
              </a:pP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8</a:t>
              </a: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월 </a:t>
              </a:r>
              <a:r>
                <a:rPr kumimoji="1"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kumimoji="1"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 </a:t>
              </a:r>
              <a:r>
                <a:rPr kumimoji="1" lang="ko-KR" altLang="en-US" sz="8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겟</a:t>
              </a:r>
              <a:endPara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71" name="Group 132"/>
            <p:cNvGrpSpPr/>
            <p:nvPr/>
          </p:nvGrpSpPr>
          <p:grpSpPr>
            <a:xfrm>
              <a:off x="6215448" y="6153956"/>
              <a:ext cx="252000" cy="252000"/>
              <a:chOff x="4993320" y="5277028"/>
              <a:chExt cx="252000" cy="252000"/>
            </a:xfrm>
          </p:grpSpPr>
          <p:sp>
            <p:nvSpPr>
              <p:cNvPr id="72" name="Rectangle 20"/>
              <p:cNvSpPr>
                <a:spLocks noChangeArrowheads="1"/>
              </p:cNvSpPr>
              <p:nvPr/>
            </p:nvSpPr>
            <p:spPr bwMode="auto">
              <a:xfrm>
                <a:off x="4993320" y="5277028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>
                  <a:defRPr/>
                </a:pPr>
                <a:endParaRPr kumimoji="1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3" name="AutoShape 22"/>
              <p:cNvSpPr>
                <a:spLocks noChangeArrowheads="1"/>
              </p:cNvSpPr>
              <p:nvPr/>
            </p:nvSpPr>
            <p:spPr bwMode="auto">
              <a:xfrm flipV="1">
                <a:off x="5029320" y="5331028"/>
                <a:ext cx="180000" cy="144000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noAutofit/>
              </a:bodyPr>
              <a:lstStyle/>
              <a:p>
                <a:pPr latinLnBrk="0"/>
                <a:endParaRPr kumimoji="1" lang="en-US" sz="20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cxnSp>
        <p:nvCxnSpPr>
          <p:cNvPr id="96" name="Straight Connector 76"/>
          <p:cNvCxnSpPr/>
          <p:nvPr/>
        </p:nvCxnSpPr>
        <p:spPr bwMode="auto">
          <a:xfrm>
            <a:off x="3438010" y="2336446"/>
            <a:ext cx="0" cy="391505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46" name="그룹 145"/>
          <p:cNvGrpSpPr/>
          <p:nvPr/>
        </p:nvGrpSpPr>
        <p:grpSpPr>
          <a:xfrm>
            <a:off x="6611710" y="1900592"/>
            <a:ext cx="3008540" cy="4359854"/>
            <a:chOff x="6624410" y="1781324"/>
            <a:chExt cx="3240000" cy="4359854"/>
          </a:xfrm>
        </p:grpSpPr>
        <p:sp>
          <p:nvSpPr>
            <p:cNvPr id="4" name="Pentagon 21"/>
            <p:cNvSpPr/>
            <p:nvPr/>
          </p:nvSpPr>
          <p:spPr bwMode="auto">
            <a:xfrm>
              <a:off x="6624410" y="1781324"/>
              <a:ext cx="3240000" cy="432000"/>
            </a:xfrm>
            <a:prstGeom prst="homePlate">
              <a:avLst>
                <a:gd name="adj" fmla="val 17056"/>
              </a:avLst>
            </a:prstGeom>
            <a:solidFill>
              <a:schemeClr val="accent1">
                <a:lumMod val="50000"/>
              </a:schemeClr>
            </a:solidFill>
            <a:ln w="762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72000" tIns="36000" rIns="36000" bIns="36000" rtlCol="0" anchor="ctr">
              <a:noAutofit/>
            </a:bodyPr>
            <a:lstStyle/>
            <a:p>
              <a:pPr algn="ctr" eaLnBrk="0" latinLnBrk="0" hangingPunct="0">
                <a:spcAft>
                  <a:spcPts val="600"/>
                </a:spcAft>
                <a:buSzPct val="100000"/>
                <a:buFont typeface="Wingdings" pitchFamily="2" charset="2"/>
                <a:buNone/>
              </a:pPr>
              <a:r>
                <a:rPr lang="ko-KR" altLang="en-US" sz="1200" b="1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보고서 </a:t>
              </a:r>
              <a:r>
                <a:rPr lang="en-US" altLang="ko-KR" sz="1200" b="1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Lifecycle </a:t>
              </a:r>
              <a:r>
                <a:rPr lang="ko-KR" altLang="en-US" sz="1200" b="1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관리체계 수립</a:t>
              </a:r>
              <a:endParaRPr lang="en-US" sz="12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Rectangle 45"/>
            <p:cNvSpPr>
              <a:spLocks noChangeArrowheads="1"/>
            </p:cNvSpPr>
            <p:nvPr/>
          </p:nvSpPr>
          <p:spPr bwMode="auto">
            <a:xfrm>
              <a:off x="6683270" y="2253846"/>
              <a:ext cx="468000" cy="31181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주기</a:t>
              </a:r>
            </a:p>
          </p:txBody>
        </p:sp>
        <p:sp>
          <p:nvSpPr>
            <p:cNvPr id="87" name="Rectangle 45"/>
            <p:cNvSpPr>
              <a:spLocks noChangeArrowheads="1"/>
            </p:cNvSpPr>
            <p:nvPr/>
          </p:nvSpPr>
          <p:spPr bwMode="auto">
            <a:xfrm>
              <a:off x="7245952" y="2253846"/>
              <a:ext cx="2484000" cy="311818"/>
            </a:xfrm>
            <a:prstGeom prst="rect">
              <a:avLst/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</a:pP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제 사용주기 관리 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월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기 등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kumimoji="1"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Rectangle 45"/>
            <p:cNvSpPr>
              <a:spLocks noChangeArrowheads="1"/>
            </p:cNvSpPr>
            <p:nvPr/>
          </p:nvSpPr>
          <p:spPr bwMode="auto">
            <a:xfrm>
              <a:off x="6683270" y="2602016"/>
              <a:ext cx="468000" cy="31181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횟수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Rectangle 45"/>
            <p:cNvSpPr>
              <a:spLocks noChangeArrowheads="1"/>
            </p:cNvSpPr>
            <p:nvPr/>
          </p:nvSpPr>
          <p:spPr bwMode="auto">
            <a:xfrm>
              <a:off x="7245952" y="2602016"/>
              <a:ext cx="2484000" cy="311818"/>
            </a:xfrm>
            <a:prstGeom prst="rect">
              <a:avLst/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  <a:defRPr/>
              </a:pPr>
              <a:r>
                <a:rPr lang="ko-KR" altLang="en-US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자 이원 및 사용횟수</a:t>
              </a:r>
              <a:endParaRPr lang="en-US" altLang="ko-KR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Rectangle 45"/>
            <p:cNvSpPr>
              <a:spLocks noChangeArrowheads="1"/>
            </p:cNvSpPr>
            <p:nvPr/>
          </p:nvSpPr>
          <p:spPr bwMode="auto">
            <a:xfrm>
              <a:off x="6683270" y="2950186"/>
              <a:ext cx="468000" cy="31181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미사용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간</a:t>
              </a:r>
            </a:p>
          </p:txBody>
        </p:sp>
        <p:sp>
          <p:nvSpPr>
            <p:cNvPr id="91" name="Rectangle 45"/>
            <p:cNvSpPr>
              <a:spLocks noChangeArrowheads="1"/>
            </p:cNvSpPr>
            <p:nvPr/>
          </p:nvSpPr>
          <p:spPr bwMode="auto">
            <a:xfrm>
              <a:off x="7245952" y="2950186"/>
              <a:ext cx="2484000" cy="311818"/>
            </a:xfrm>
            <a:prstGeom prst="rect">
              <a:avLst/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  <a:defRPr/>
              </a:pPr>
              <a:r>
                <a:rPr kumimoji="1"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레포트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폐기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 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을 위해 미사용기간 관리</a:t>
              </a:r>
              <a:endParaRPr kumimoji="1"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Rectangle 45"/>
            <p:cNvSpPr>
              <a:spLocks noChangeArrowheads="1"/>
            </p:cNvSpPr>
            <p:nvPr/>
          </p:nvSpPr>
          <p:spPr bwMode="auto">
            <a:xfrm>
              <a:off x="6683270" y="3298356"/>
              <a:ext cx="468000" cy="31181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부서</a:t>
              </a:r>
            </a:p>
          </p:txBody>
        </p:sp>
        <p:sp>
          <p:nvSpPr>
            <p:cNvPr id="93" name="Rectangle 45"/>
            <p:cNvSpPr>
              <a:spLocks noChangeArrowheads="1"/>
            </p:cNvSpPr>
            <p:nvPr/>
          </p:nvSpPr>
          <p:spPr bwMode="auto">
            <a:xfrm>
              <a:off x="7246132" y="3298356"/>
              <a:ext cx="2484000" cy="311818"/>
            </a:xfrm>
            <a:prstGeom prst="rect">
              <a:avLst/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  <a:defRPr/>
              </a:pP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서간 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ross Functional 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여부 확인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kumimoji="1" lang="ko-KR" altLang="en-US" sz="9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레포트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범위 확장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94" name="Rectangle 45"/>
            <p:cNvSpPr>
              <a:spLocks noChangeArrowheads="1"/>
            </p:cNvSpPr>
            <p:nvPr/>
          </p:nvSpPr>
          <p:spPr bwMode="auto">
            <a:xfrm>
              <a:off x="6683270" y="3646526"/>
              <a:ext cx="468000" cy="31181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</a:t>
              </a:r>
              <a:endParaRPr lang="en-US" altLang="ko-KR" sz="10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lang="ko-KR" altLang="en-US" sz="1000" kern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직급</a:t>
              </a:r>
            </a:p>
          </p:txBody>
        </p:sp>
        <p:sp>
          <p:nvSpPr>
            <p:cNvPr id="95" name="Rectangle 45"/>
            <p:cNvSpPr>
              <a:spLocks noChangeArrowheads="1"/>
            </p:cNvSpPr>
            <p:nvPr/>
          </p:nvSpPr>
          <p:spPr bwMode="auto">
            <a:xfrm>
              <a:off x="7246132" y="3646526"/>
              <a:ext cx="2484000" cy="311818"/>
            </a:xfrm>
            <a:prstGeom prst="rect">
              <a:avLst/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  <a:defRPr/>
              </a:pP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직급에 따른 상세화 및 요약</a:t>
              </a:r>
              <a:r>
                <a:rPr kumimoji="1" lang="en-US" altLang="ko-KR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간소화</a:t>
              </a:r>
            </a:p>
          </p:txBody>
        </p:sp>
        <p:cxnSp>
          <p:nvCxnSpPr>
            <p:cNvPr id="97" name="Straight Connector 179"/>
            <p:cNvCxnSpPr/>
            <p:nvPr/>
          </p:nvCxnSpPr>
          <p:spPr bwMode="auto">
            <a:xfrm>
              <a:off x="6643474" y="2217178"/>
              <a:ext cx="0" cy="3915052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8" name="Isosceles Triangle 180"/>
            <p:cNvSpPr/>
            <p:nvPr/>
          </p:nvSpPr>
          <p:spPr bwMode="auto">
            <a:xfrm rot="10800000">
              <a:off x="7648700" y="3998361"/>
              <a:ext cx="1116000" cy="10393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eaLnBrk="0" latinLnBrk="0" hangingPunct="0">
                <a:spcAft>
                  <a:spcPts val="600"/>
                </a:spcAft>
                <a:buSzPct val="100000"/>
                <a:buFont typeface="Wingdings" pitchFamily="2" charset="2"/>
                <a:buNone/>
              </a:pPr>
              <a:endParaRPr lang="en-US" sz="16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Rectangle 181"/>
            <p:cNvSpPr>
              <a:spLocks noChangeArrowheads="1"/>
            </p:cNvSpPr>
            <p:nvPr/>
          </p:nvSpPr>
          <p:spPr bwMode="auto">
            <a:xfrm>
              <a:off x="6694700" y="4166329"/>
              <a:ext cx="3024000" cy="1974849"/>
            </a:xfrm>
            <a:prstGeom prst="rect">
              <a:avLst/>
            </a:prstGeom>
            <a:noFill/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marL="85725" indent="-85725" latinLnBrk="0">
                <a:buFont typeface="Wingdings" pitchFamily="2" charset="2"/>
                <a:buChar char="§"/>
                <a:defRPr/>
              </a:pPr>
              <a:endParaRPr kumimoji="1" lang="ko-KR" altLang="en-US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모서리가 둥근 직사각형 56"/>
            <p:cNvSpPr/>
            <p:nvPr/>
          </p:nvSpPr>
          <p:spPr>
            <a:xfrm>
              <a:off x="7487253" y="4214047"/>
              <a:ext cx="540000" cy="62363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30000"/>
                </a:spcBef>
                <a:tabLst>
                  <a:tab pos="182563" algn="l"/>
                </a:tabLst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미사용 기간</a:t>
              </a: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+2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달 발생</a:t>
              </a:r>
            </a:p>
          </p:txBody>
        </p:sp>
        <p:cxnSp>
          <p:nvCxnSpPr>
            <p:cNvPr id="106" name="직선 화살표 연결선 65"/>
            <p:cNvCxnSpPr>
              <a:stCxn id="105" idx="3"/>
              <a:endCxn id="108" idx="1"/>
            </p:cNvCxnSpPr>
            <p:nvPr/>
          </p:nvCxnSpPr>
          <p:spPr>
            <a:xfrm>
              <a:off x="8027253" y="4525866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Rectangle 15"/>
            <p:cNvSpPr>
              <a:spLocks noChangeArrowheads="1"/>
            </p:cNvSpPr>
            <p:nvPr/>
          </p:nvSpPr>
          <p:spPr bwMode="gray">
            <a:xfrm>
              <a:off x="6739078" y="4283313"/>
              <a:ext cx="712800" cy="4851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latinLnBrk="0">
                <a:buClr>
                  <a:srgbClr val="CC0000"/>
                </a:buClr>
                <a:buFont typeface="Wingdings" pitchFamily="2" charset="2"/>
                <a:buNone/>
                <a:defRPr/>
              </a:pPr>
              <a:r>
                <a:rPr lang="ko-KR" altLang="en-US" sz="10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미사용</a:t>
              </a:r>
              <a:r>
                <a:rPr lang="en-US" altLang="ko-KR" sz="10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1" kern="0" dirty="0" err="1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레포트관리</a:t>
              </a:r>
              <a:endParaRPr lang="ko-KR" altLang="en-US" sz="10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모서리가 둥근 직사각형 56"/>
            <p:cNvSpPr/>
            <p:nvPr/>
          </p:nvSpPr>
          <p:spPr>
            <a:xfrm>
              <a:off x="8150588" y="4214047"/>
              <a:ext cx="612000" cy="62363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련부서 자동통지</a:t>
              </a:r>
              <a:endParaRPr kumimoji="1" lang="en-US" altLang="ko-KR" sz="8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 err="1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레포트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atch List 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등재</a:t>
              </a:r>
            </a:p>
          </p:txBody>
        </p:sp>
        <p:sp>
          <p:nvSpPr>
            <p:cNvPr id="109" name="모서리가 둥근 직사각형 56"/>
            <p:cNvSpPr/>
            <p:nvPr/>
          </p:nvSpPr>
          <p:spPr>
            <a:xfrm>
              <a:off x="8885923" y="4214047"/>
              <a:ext cx="756000" cy="62363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달 내</a:t>
              </a: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미 </a:t>
              </a:r>
              <a:r>
                <a:rPr kumimoji="1" lang="ko-KR" altLang="en-US" sz="800" kern="0" dirty="0" err="1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치시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자동폐기</a:t>
              </a: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및 이력관리</a:t>
              </a:r>
            </a:p>
          </p:txBody>
        </p:sp>
        <p:cxnSp>
          <p:nvCxnSpPr>
            <p:cNvPr id="110" name="직선 화살표 연결선 65"/>
            <p:cNvCxnSpPr>
              <a:stCxn id="108" idx="3"/>
              <a:endCxn id="109" idx="1"/>
            </p:cNvCxnSpPr>
            <p:nvPr/>
          </p:nvCxnSpPr>
          <p:spPr>
            <a:xfrm>
              <a:off x="8762588" y="4525866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5"/>
            <p:cNvSpPr>
              <a:spLocks noChangeArrowheads="1"/>
            </p:cNvSpPr>
            <p:nvPr/>
          </p:nvSpPr>
          <p:spPr bwMode="gray">
            <a:xfrm>
              <a:off x="6739078" y="4963171"/>
              <a:ext cx="712800" cy="48510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latinLnBrk="0">
                <a:buClr>
                  <a:srgbClr val="CC0000"/>
                </a:buClr>
                <a:buFont typeface="Wingdings" pitchFamily="2" charset="2"/>
                <a:buNone/>
                <a:defRPr/>
              </a:pPr>
              <a:r>
                <a:rPr lang="en-US" altLang="ko-KR" sz="10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ross Functional </a:t>
              </a:r>
              <a:r>
                <a:rPr lang="ko-KR" altLang="en-US" sz="1000" b="1" kern="0" dirty="0" err="1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레포트관리</a:t>
              </a:r>
              <a:endParaRPr lang="ko-KR" altLang="en-US" sz="10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모서리가 둥근 직사각형 56"/>
            <p:cNvSpPr/>
            <p:nvPr/>
          </p:nvSpPr>
          <p:spPr>
            <a:xfrm>
              <a:off x="7487253" y="4945875"/>
              <a:ext cx="540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30000"/>
                </a:spcBef>
                <a:tabLst>
                  <a:tab pos="182563" algn="l"/>
                </a:tabLst>
                <a:defRPr/>
              </a:pP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 이상 사용부서가 </a:t>
              </a:r>
              <a:r>
                <a:rPr kumimoji="1" lang="en-US" altLang="ko-KR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X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명 이상 활용</a:t>
              </a:r>
            </a:p>
          </p:txBody>
        </p:sp>
        <p:sp>
          <p:nvSpPr>
            <p:cNvPr id="114" name="모서리가 둥근 직사각형 56"/>
            <p:cNvSpPr/>
            <p:nvPr/>
          </p:nvSpPr>
          <p:spPr>
            <a:xfrm>
              <a:off x="8150588" y="4945875"/>
              <a:ext cx="612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부서원 확인을 통해 필요 항목 수령</a:t>
              </a:r>
            </a:p>
          </p:txBody>
        </p:sp>
        <p:sp>
          <p:nvSpPr>
            <p:cNvPr id="115" name="모서리가 둥근 직사각형 56"/>
            <p:cNvSpPr/>
            <p:nvPr/>
          </p:nvSpPr>
          <p:spPr>
            <a:xfrm>
              <a:off x="8885923" y="4945875"/>
              <a:ext cx="756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수령내역 기반으로 </a:t>
              </a:r>
              <a:r>
                <a:rPr kumimoji="1" lang="ko-KR" altLang="en-US" sz="800" kern="0" dirty="0" err="1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레포트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 개선</a:t>
              </a:r>
            </a:p>
          </p:txBody>
        </p:sp>
        <p:cxnSp>
          <p:nvCxnSpPr>
            <p:cNvPr id="116" name="직선 화살표 연결선 65"/>
            <p:cNvCxnSpPr>
              <a:stCxn id="113" idx="3"/>
              <a:endCxn id="114" idx="1"/>
            </p:cNvCxnSpPr>
            <p:nvPr/>
          </p:nvCxnSpPr>
          <p:spPr>
            <a:xfrm>
              <a:off x="8027253" y="5205724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직선 화살표 연결선 65"/>
            <p:cNvCxnSpPr>
              <a:stCxn id="114" idx="3"/>
              <a:endCxn id="115" idx="1"/>
            </p:cNvCxnSpPr>
            <p:nvPr/>
          </p:nvCxnSpPr>
          <p:spPr>
            <a:xfrm>
              <a:off x="8762588" y="5205724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5"/>
            <p:cNvSpPr>
              <a:spLocks noChangeArrowheads="1"/>
            </p:cNvSpPr>
            <p:nvPr/>
          </p:nvSpPr>
          <p:spPr bwMode="gray">
            <a:xfrm>
              <a:off x="6771477" y="5591059"/>
              <a:ext cx="648000" cy="48510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latinLnBrk="0">
                <a:buClr>
                  <a:srgbClr val="CC0000"/>
                </a:buClr>
                <a:buFont typeface="Wingdings" pitchFamily="2" charset="2"/>
                <a:buNone/>
                <a:defRPr/>
              </a:pPr>
              <a:r>
                <a:rPr lang="ko-KR" altLang="en-US" sz="10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임원 </a:t>
              </a:r>
            </a:p>
          </p:txBody>
        </p:sp>
        <p:sp>
          <p:nvSpPr>
            <p:cNvPr id="120" name="모서리가 둥근 직사각형 56"/>
            <p:cNvSpPr/>
            <p:nvPr/>
          </p:nvSpPr>
          <p:spPr>
            <a:xfrm>
              <a:off x="7487253" y="5573763"/>
              <a:ext cx="540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30000"/>
                </a:spcBef>
                <a:tabLst>
                  <a:tab pos="182563" algn="l"/>
                </a:tabLst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임원이 사용하는 </a:t>
              </a:r>
              <a:r>
                <a:rPr kumimoji="1" lang="ko-KR" altLang="en-US" sz="800" kern="0" dirty="0" err="1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레포트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 파악</a:t>
              </a:r>
            </a:p>
          </p:txBody>
        </p:sp>
        <p:sp>
          <p:nvSpPr>
            <p:cNvPr id="121" name="모서리가 둥근 직사각형 56"/>
            <p:cNvSpPr/>
            <p:nvPr/>
          </p:nvSpPr>
          <p:spPr>
            <a:xfrm>
              <a:off x="8150588" y="5573763"/>
              <a:ext cx="612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관련임원 인터뷰를 통해 항목 수령</a:t>
              </a:r>
            </a:p>
          </p:txBody>
        </p:sp>
        <p:sp>
          <p:nvSpPr>
            <p:cNvPr id="122" name="모서리가 둥근 직사각형 56"/>
            <p:cNvSpPr/>
            <p:nvPr/>
          </p:nvSpPr>
          <p:spPr>
            <a:xfrm>
              <a:off x="8885923" y="5573763"/>
              <a:ext cx="756000" cy="519697"/>
            </a:xfrm>
            <a:prstGeom prst="roundRect">
              <a:avLst>
                <a:gd name="adj" fmla="val 7803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2075" indent="-92075" latinLnBrk="0">
                <a:spcBef>
                  <a:spcPct val="300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수령내역 기반으로 </a:t>
              </a:r>
              <a:r>
                <a:rPr kumimoji="1" lang="ko-KR" altLang="en-US" sz="800" kern="0" dirty="0" err="1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레포트</a:t>
              </a:r>
              <a:r>
                <a:rPr kumimoji="1" lang="ko-KR" altLang="en-US" sz="800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 개선</a:t>
              </a:r>
            </a:p>
          </p:txBody>
        </p:sp>
        <p:cxnSp>
          <p:nvCxnSpPr>
            <p:cNvPr id="123" name="직선 화살표 연결선 65"/>
            <p:cNvCxnSpPr>
              <a:stCxn id="121" idx="3"/>
              <a:endCxn id="122" idx="1"/>
            </p:cNvCxnSpPr>
            <p:nvPr/>
          </p:nvCxnSpPr>
          <p:spPr>
            <a:xfrm>
              <a:off x="8762588" y="5833612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직선 화살표 연결선 65"/>
            <p:cNvCxnSpPr>
              <a:stCxn id="120" idx="3"/>
              <a:endCxn id="121" idx="1"/>
            </p:cNvCxnSpPr>
            <p:nvPr/>
          </p:nvCxnSpPr>
          <p:spPr>
            <a:xfrm>
              <a:off x="8027253" y="5833612"/>
              <a:ext cx="12333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232"/>
            <p:cNvCxnSpPr/>
            <p:nvPr/>
          </p:nvCxnSpPr>
          <p:spPr bwMode="auto">
            <a:xfrm>
              <a:off x="6784700" y="4882703"/>
              <a:ext cx="2844000" cy="0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0" name="Straight Connector 235"/>
            <p:cNvCxnSpPr/>
            <p:nvPr/>
          </p:nvCxnSpPr>
          <p:spPr bwMode="auto">
            <a:xfrm>
              <a:off x="6784700" y="5527858"/>
              <a:ext cx="2844000" cy="0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1" name="직사각형 13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5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5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5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5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5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5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9" name="그룹 15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6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13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39" name="TextBox 13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 관리 체계 수립</a:t>
              </a:r>
            </a:p>
          </p:txBody>
        </p:sp>
        <p:cxnSp>
          <p:nvCxnSpPr>
            <p:cNvPr id="14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42" name="TextBox 14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6788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다차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기능 개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ata Mar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대 방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내용 개체 틀 7"/>
          <p:cNvSpPr>
            <a:spLocks noGrp="1"/>
          </p:cNvSpPr>
          <p:nvPr>
            <p:ph idx="1"/>
          </p:nvPr>
        </p:nvSpPr>
        <p:spPr>
          <a:xfrm>
            <a:off x="286043" y="663574"/>
            <a:ext cx="8393781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M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대 구축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로 구성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1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W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수기입력을 이용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DW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마트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확대 구축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는 표준계수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UC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용 비정형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트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구축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9. </a:t>
            </a:r>
            <a:r>
              <a:rPr lang="ko-KR" altLang="en-US" sz="1200" kern="0" dirty="0" err="1" smtClean="0">
                <a:solidFill>
                  <a:srgbClr val="FFFFFF"/>
                </a:solidFill>
              </a:rPr>
              <a:t>정보계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378396" y="2570761"/>
            <a:ext cx="1440064" cy="95033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DW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378397" y="3819099"/>
            <a:ext cx="1440063" cy="950330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1977938" y="3819099"/>
            <a:ext cx="1482556" cy="950330"/>
          </a:xfrm>
          <a:prstGeom prst="rect">
            <a:avLst/>
          </a:prstGeom>
          <a:solidFill>
            <a:schemeClr val="bg1">
              <a:lumMod val="65000"/>
            </a:schemeClr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형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" name="직선 화살표 연결선 15"/>
          <p:cNvCxnSpPr>
            <a:stCxn id="13" idx="3"/>
            <a:endCxn id="15" idx="1"/>
          </p:cNvCxnSpPr>
          <p:nvPr/>
        </p:nvCxnSpPr>
        <p:spPr bwMode="auto">
          <a:xfrm>
            <a:off x="1818460" y="4294264"/>
            <a:ext cx="159478" cy="0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" name="직선 화살표 연결선 17"/>
          <p:cNvCxnSpPr/>
          <p:nvPr/>
        </p:nvCxnSpPr>
        <p:spPr bwMode="auto">
          <a:xfrm>
            <a:off x="2623344" y="4769429"/>
            <a:ext cx="0" cy="298007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1" name="직선 화살표 연결선 20"/>
          <p:cNvCxnSpPr/>
          <p:nvPr/>
        </p:nvCxnSpPr>
        <p:spPr bwMode="auto">
          <a:xfrm>
            <a:off x="2775848" y="4769429"/>
            <a:ext cx="0" cy="298007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sm" len="sm"/>
            <a:tailEnd type="none"/>
          </a:ln>
          <a:effectLst/>
        </p:spPr>
      </p:cxnSp>
      <p:cxnSp>
        <p:nvCxnSpPr>
          <p:cNvPr id="22" name="직선 화살표 연결선 21"/>
          <p:cNvCxnSpPr/>
          <p:nvPr/>
        </p:nvCxnSpPr>
        <p:spPr bwMode="auto">
          <a:xfrm>
            <a:off x="1106776" y="4769429"/>
            <a:ext cx="0" cy="298007"/>
          </a:xfrm>
          <a:prstGeom prst="straightConnector1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" name="꺾인 연결선 26"/>
          <p:cNvCxnSpPr>
            <a:stCxn id="2" idx="3"/>
            <a:endCxn id="15" idx="0"/>
          </p:cNvCxnSpPr>
          <p:nvPr/>
        </p:nvCxnSpPr>
        <p:spPr bwMode="auto">
          <a:xfrm>
            <a:off x="1818460" y="3045926"/>
            <a:ext cx="900756" cy="773173"/>
          </a:xfrm>
          <a:prstGeom prst="bentConnector2">
            <a:avLst/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28" name="직사각형 27"/>
          <p:cNvSpPr/>
          <p:nvPr/>
        </p:nvSpPr>
        <p:spPr bwMode="auto">
          <a:xfrm>
            <a:off x="2041656" y="4088978"/>
            <a:ext cx="647965" cy="29226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계수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2746368" y="4088978"/>
            <a:ext cx="647965" cy="29226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2041656" y="4429203"/>
            <a:ext cx="647965" cy="29226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lnSpc>
                <a:spcPct val="80000"/>
              </a:lnSpc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sh board</a:t>
            </a:r>
            <a:endParaRPr kumimoji="1" lang="ko-KR" altLang="en-US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2746367" y="4429203"/>
            <a:ext cx="647965" cy="29226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결과</a:t>
            </a:r>
          </a:p>
        </p:txBody>
      </p:sp>
      <p:sp>
        <p:nvSpPr>
          <p:cNvPr id="14" name="직사각형 13"/>
          <p:cNvSpPr/>
          <p:nvPr/>
        </p:nvSpPr>
        <p:spPr bwMode="auto">
          <a:xfrm>
            <a:off x="378396" y="5067437"/>
            <a:ext cx="3081190" cy="1062751"/>
          </a:xfrm>
          <a:prstGeom prst="rect">
            <a:avLst/>
          </a:prstGeom>
          <a:solidFill>
            <a:schemeClr val="bg1">
              <a:lumMod val="65000"/>
            </a:schemeClr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EUC)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 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트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460525" y="5416187"/>
            <a:ext cx="1409975" cy="57055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차원분석 기초정보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1993982" y="5416187"/>
            <a:ext cx="1409975" cy="570551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분석 기초정보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419478" y="4191665"/>
            <a:ext cx="647965" cy="45546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약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1124190" y="4191665"/>
            <a:ext cx="647965" cy="45546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집계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419477" y="2845195"/>
            <a:ext cx="1352676" cy="254574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속보성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419477" y="3168559"/>
            <a:ext cx="1352676" cy="254574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대상정보</a:t>
            </a:r>
          </a:p>
        </p:txBody>
      </p:sp>
      <p:sp>
        <p:nvSpPr>
          <p:cNvPr id="41" name="TextBox 40"/>
          <p:cNvSpPr txBox="1"/>
          <p:nvPr/>
        </p:nvSpPr>
        <p:spPr bwMode="auto">
          <a:xfrm>
            <a:off x="2379868" y="2646672"/>
            <a:ext cx="879590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b="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실시간정보</a:t>
            </a:r>
            <a:endParaRPr lang="ko-KR" altLang="en-US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2942881" y="3287474"/>
            <a:ext cx="66084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BI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3613480" y="2480597"/>
            <a:ext cx="997636" cy="3733883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281357" y="2448942"/>
            <a:ext cx="3240000" cy="3765538"/>
          </a:xfrm>
          <a:prstGeom prst="rect">
            <a:avLst/>
          </a:prstGeom>
          <a:noFill/>
          <a:ln w="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81360" y="2183910"/>
            <a:ext cx="3252504" cy="29668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W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613479" y="2183910"/>
            <a:ext cx="1000689" cy="29668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포탈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685686" y="2860228"/>
            <a:ext cx="839824" cy="6791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진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shboard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685686" y="3652928"/>
            <a:ext cx="839824" cy="6791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무진 모니터링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3685686" y="4445627"/>
            <a:ext cx="839824" cy="6791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표준계수 관리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3685686" y="5244424"/>
            <a:ext cx="839824" cy="67912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무진 비정형성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cxnSp>
        <p:nvCxnSpPr>
          <p:cNvPr id="88" name="꺾인 연결선 87"/>
          <p:cNvCxnSpPr/>
          <p:nvPr/>
        </p:nvCxnSpPr>
        <p:spPr bwMode="auto">
          <a:xfrm>
            <a:off x="1818459" y="2948335"/>
            <a:ext cx="1872000" cy="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91" name="타원 90"/>
          <p:cNvSpPr/>
          <p:nvPr/>
        </p:nvSpPr>
        <p:spPr bwMode="auto">
          <a:xfrm>
            <a:off x="1915964" y="3760316"/>
            <a:ext cx="224784" cy="21983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타원 91"/>
          <p:cNvSpPr/>
          <p:nvPr/>
        </p:nvSpPr>
        <p:spPr bwMode="auto">
          <a:xfrm>
            <a:off x="340501" y="4986891"/>
            <a:ext cx="224784" cy="21983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5159505" y="1773312"/>
            <a:ext cx="4392488" cy="3703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3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Mart</a:t>
            </a:r>
            <a:r>
              <a:rPr kumimoji="1" lang="ko-KR" altLang="en-US" sz="13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구축 단계</a:t>
            </a:r>
            <a:endParaRPr kumimoji="1" lang="ko-KR" altLang="en-US" sz="13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5025008" y="2984275"/>
            <a:ext cx="983583" cy="1853428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거래 정보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Front)</a:t>
            </a:r>
          </a:p>
          <a:p>
            <a:pPr marL="85725" indent="-8572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위업무 분석정보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Middle)</a:t>
            </a:r>
          </a:p>
          <a:p>
            <a:pPr marL="85725" indent="-8572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 정보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Back)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5025008" y="2645153"/>
            <a:ext cx="983583" cy="32818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포탈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5025008" y="5416187"/>
            <a:ext cx="983583" cy="821125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1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업 담당자가 수기 작성한 보고서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5025008" y="5077064"/>
            <a:ext cx="983583" cy="32818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업수기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생성보고서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6349876" y="2984275"/>
            <a:ext cx="841338" cy="325303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spcBef>
                <a:spcPct val="50000"/>
              </a:spcBef>
            </a:pP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6349876" y="2645153"/>
            <a:ext cx="841338" cy="32818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kern="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마트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확대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6382111" y="3093504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공통정보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6382111" y="3530667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외부정보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6382111" y="3976123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거래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6382111" y="4421579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6382111" y="4865478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스크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6382111" y="5309376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계</a:t>
            </a:r>
          </a:p>
        </p:txBody>
      </p:sp>
      <p:sp>
        <p:nvSpPr>
          <p:cNvPr id="111" name="직사각형 110"/>
          <p:cNvSpPr/>
          <p:nvPr/>
        </p:nvSpPr>
        <p:spPr bwMode="auto">
          <a:xfrm>
            <a:off x="6382111" y="5734258"/>
            <a:ext cx="778385" cy="36873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쟁정보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7532498" y="2984275"/>
            <a:ext cx="810620" cy="1477082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스크</a:t>
            </a:r>
            <a:r>
              <a:rPr kumimoji="1"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 등 표준계수 및 모니터링 생성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7532498" y="2645153"/>
            <a:ext cx="810620" cy="32818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>
              <a:lnSpc>
                <a:spcPct val="80000"/>
              </a:lnSpc>
            </a:pP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표준계수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생성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8726083" y="2984275"/>
            <a:ext cx="815790" cy="3253036"/>
          </a:xfrm>
          <a:prstGeom prst="rect">
            <a:avLst/>
          </a:prstGeom>
          <a:solidFill>
            <a:schemeClr val="bg1"/>
          </a:solidFill>
          <a:ln w="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spcBef>
                <a:spcPct val="50000"/>
              </a:spcBef>
            </a:pPr>
            <a:r>
              <a: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정형 분석을 위한 대상 데이터 생성</a:t>
            </a:r>
            <a:endParaRPr kumimoji="1"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8726083" y="2645153"/>
            <a:ext cx="815790" cy="32818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>
              <a:lnSpc>
                <a:spcPct val="80000"/>
              </a:lnSpc>
            </a:pP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EUC</a:t>
            </a: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분석</a:t>
            </a:r>
            <a: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보생성</a:t>
            </a:r>
            <a:endParaRPr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오른쪽 화살표 126"/>
          <p:cNvSpPr/>
          <p:nvPr/>
        </p:nvSpPr>
        <p:spPr bwMode="auto">
          <a:xfrm>
            <a:off x="6040826" y="3462234"/>
            <a:ext cx="278331" cy="6758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치</a:t>
            </a:r>
          </a:p>
        </p:txBody>
      </p:sp>
      <p:sp>
        <p:nvSpPr>
          <p:cNvPr id="128" name="오른쪽 화살표 127"/>
          <p:cNvSpPr/>
          <p:nvPr/>
        </p:nvSpPr>
        <p:spPr bwMode="auto">
          <a:xfrm>
            <a:off x="6040826" y="5453882"/>
            <a:ext cx="278331" cy="6758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치</a:t>
            </a:r>
          </a:p>
        </p:txBody>
      </p:sp>
      <p:sp>
        <p:nvSpPr>
          <p:cNvPr id="129" name="오른쪽 화살표 128"/>
          <p:cNvSpPr/>
          <p:nvPr/>
        </p:nvSpPr>
        <p:spPr bwMode="auto">
          <a:xfrm>
            <a:off x="7236818" y="3462234"/>
            <a:ext cx="278331" cy="6758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치</a:t>
            </a:r>
          </a:p>
        </p:txBody>
      </p:sp>
      <p:sp>
        <p:nvSpPr>
          <p:cNvPr id="130" name="오른쪽 화살표 129"/>
          <p:cNvSpPr/>
          <p:nvPr/>
        </p:nvSpPr>
        <p:spPr bwMode="auto">
          <a:xfrm>
            <a:off x="7254167" y="5453882"/>
            <a:ext cx="1425657" cy="6758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치</a:t>
            </a:r>
          </a:p>
        </p:txBody>
      </p:sp>
      <p:sp>
        <p:nvSpPr>
          <p:cNvPr id="131" name="오른쪽 화살표 130"/>
          <p:cNvSpPr/>
          <p:nvPr/>
        </p:nvSpPr>
        <p:spPr bwMode="auto">
          <a:xfrm>
            <a:off x="8401493" y="3462234"/>
            <a:ext cx="278331" cy="6758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8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배치</a:t>
            </a:r>
          </a:p>
        </p:txBody>
      </p:sp>
      <p:sp>
        <p:nvSpPr>
          <p:cNvPr id="134" name="오각형 133"/>
          <p:cNvSpPr/>
          <p:nvPr/>
        </p:nvSpPr>
        <p:spPr bwMode="auto">
          <a:xfrm>
            <a:off x="5025008" y="2183910"/>
            <a:ext cx="2912800" cy="334187"/>
          </a:xfrm>
          <a:prstGeom prst="homePlate">
            <a:avLst>
              <a:gd name="adj" fmla="val 26467"/>
            </a:avLst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마트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확대 구축</a:t>
            </a:r>
          </a:p>
        </p:txBody>
      </p:sp>
      <p:sp>
        <p:nvSpPr>
          <p:cNvPr id="135" name="오각형 134"/>
          <p:cNvSpPr/>
          <p:nvPr/>
        </p:nvSpPr>
        <p:spPr bwMode="auto">
          <a:xfrm>
            <a:off x="7984493" y="2183910"/>
            <a:ext cx="1666451" cy="334187"/>
          </a:xfrm>
          <a:prstGeom prst="homePlate">
            <a:avLst>
              <a:gd name="adj" fmla="val 30389"/>
            </a:avLst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UC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석정보 구축</a:t>
            </a:r>
          </a:p>
        </p:txBody>
      </p:sp>
      <p:sp>
        <p:nvSpPr>
          <p:cNvPr id="133" name="타원 132"/>
          <p:cNvSpPr/>
          <p:nvPr/>
        </p:nvSpPr>
        <p:spPr bwMode="auto">
          <a:xfrm>
            <a:off x="4978322" y="2083063"/>
            <a:ext cx="224784" cy="2431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타원 135"/>
          <p:cNvSpPr/>
          <p:nvPr/>
        </p:nvSpPr>
        <p:spPr bwMode="auto">
          <a:xfrm>
            <a:off x="7929501" y="2083063"/>
            <a:ext cx="224784" cy="2431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273050" y="1773312"/>
            <a:ext cx="4392488" cy="3703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ata Warehouse </a:t>
            </a: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 이미지</a:t>
            </a:r>
            <a:endParaRPr kumimoji="1" lang="ko-KR" altLang="en-US" sz="13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6" name="그룹 9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0" name="그룹 11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8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89" name="TextBox 8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/>
                  <a:ea typeface="맑은 고딕"/>
                </a:rPr>
                <a:t>분석포탈 구현 방안</a:t>
              </a:r>
            </a:p>
          </p:txBody>
        </p:sp>
        <p:cxnSp>
          <p:nvCxnSpPr>
            <p:cNvPr id="9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4004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T </a:t>
            </a:r>
            <a:r>
              <a:rPr lang="ko-KR" altLang="en-US" dirty="0" smtClean="0"/>
              <a:t>아키텍처</a:t>
            </a:r>
            <a:endParaRPr lang="ko-KR" alt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6043" y="663574"/>
            <a:ext cx="8267357" cy="605126"/>
          </a:xfrm>
        </p:spPr>
        <p:txBody>
          <a:bodyPr/>
          <a:lstStyle/>
          <a:p>
            <a:r>
              <a:rPr lang="en-US" altLang="ko-KR" dirty="0" smtClean="0"/>
              <a:t>NH</a:t>
            </a:r>
            <a:r>
              <a:rPr lang="ko-KR" altLang="en-US" dirty="0" smtClean="0"/>
              <a:t>농협카드의 </a:t>
            </a:r>
            <a:r>
              <a:rPr lang="en-US" altLang="ko-KR" dirty="0" smtClean="0"/>
              <a:t>IT</a:t>
            </a:r>
            <a:r>
              <a:rPr lang="ko-KR" altLang="en-US" dirty="0" smtClean="0"/>
              <a:t>측면 이슈와 차세대</a:t>
            </a:r>
            <a:r>
              <a:rPr lang="en-US" altLang="ko-KR" dirty="0"/>
              <a:t> </a:t>
            </a:r>
            <a:r>
              <a:rPr lang="en-US" altLang="ko-KR" dirty="0" smtClean="0"/>
              <a:t>Biz</a:t>
            </a:r>
            <a:r>
              <a:rPr lang="ko-KR" altLang="en-US" dirty="0" smtClean="0"/>
              <a:t> 방향성을 고려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효율적이고 안정적인 운영을 위한 </a:t>
            </a:r>
            <a:r>
              <a:rPr lang="en-US" altLang="ko-KR" dirty="0" smtClean="0"/>
              <a:t>IT </a:t>
            </a:r>
            <a:r>
              <a:rPr lang="ko-KR" altLang="en-US" dirty="0" smtClean="0"/>
              <a:t>개선 과제를 도출하겠음 </a:t>
            </a:r>
            <a:endParaRPr lang="ko-KR" altLang="en-US" dirty="0"/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63" name="Right Arrow 8"/>
          <p:cNvSpPr/>
          <p:nvPr/>
        </p:nvSpPr>
        <p:spPr bwMode="auto">
          <a:xfrm>
            <a:off x="3594164" y="1873925"/>
            <a:ext cx="2155904" cy="4121349"/>
          </a:xfrm>
          <a:prstGeom prst="rightArrow">
            <a:avLst>
              <a:gd name="adj1" fmla="val 66901"/>
              <a:gd name="adj2" fmla="val 1666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고객 서비스 다양화를 위한 인프라 기반 </a:t>
            </a:r>
            <a:r>
              <a:rPr kumimoji="1" lang="ko-KR" altLang="en-US" sz="12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보</a:t>
            </a:r>
            <a:endParaRPr kumimoji="1" lang="en-US" altLang="ko-KR" sz="1200" i="1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en-US" altLang="ko-KR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키텍처 표준 적용 확대</a:t>
            </a:r>
          </a:p>
          <a:p>
            <a:pPr marL="92075" indent="-92075" latinLnBrk="0">
              <a:spcBef>
                <a:spcPct val="50000"/>
              </a:spcBef>
              <a:buFont typeface="Wingdings" panose="05000000000000000000" pitchFamily="2" charset="2"/>
              <a:buChar char="ü"/>
            </a:pPr>
            <a:r>
              <a:rPr kumimoji="1" lang="ko-KR" altLang="en-US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안정적인 </a:t>
            </a:r>
            <a:r>
              <a:rPr kumimoji="1" lang="en-US" altLang="ko-KR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kumimoji="1" lang="ko-KR" altLang="en-US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환경 </a:t>
            </a:r>
            <a:r>
              <a:rPr kumimoji="1" lang="ko-KR" altLang="en-US" sz="12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현</a:t>
            </a:r>
            <a:endParaRPr kumimoji="1" lang="ko-KR" altLang="en-US" sz="1200" i="1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5841718" y="1626171"/>
            <a:ext cx="3771402" cy="430787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 smtClean="0">
                <a:latin typeface="맑은 고딕" pitchFamily="50" charset="-127"/>
                <a:ea typeface="맑은 고딕" pitchFamily="50" charset="-127"/>
              </a:rPr>
              <a:t>아키텍처 영역별 예상 </a:t>
            </a:r>
            <a:r>
              <a:rPr kumimoji="1" lang="ko-KR" altLang="en-US" sz="1400" dirty="0"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kumimoji="1" lang="en-US" altLang="ko-KR" sz="1400" dirty="0">
                <a:latin typeface="맑은 고딕" pitchFamily="50" charset="-127"/>
                <a:ea typeface="맑은 고딕" pitchFamily="50" charset="-127"/>
              </a:rPr>
              <a:t> </a:t>
            </a:r>
            <a:endParaRPr kumimoji="1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5841715" y="2056959"/>
            <a:ext cx="3771404" cy="410509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6725589" y="3470528"/>
            <a:ext cx="275524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데이터 아키텍처 개선 및 데이터 보유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활용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효율화 방안 수립 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6725589" y="3476524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TextBox 67"/>
          <p:cNvSpPr txBox="1"/>
          <p:nvPr/>
        </p:nvSpPr>
        <p:spPr bwMode="auto">
          <a:xfrm>
            <a:off x="6725589" y="4701915"/>
            <a:ext cx="275524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카드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승인시스템 아키텍처 구성 방안 수립 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6725589" y="4701036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Box 69"/>
          <p:cNvSpPr txBox="1"/>
          <p:nvPr/>
        </p:nvSpPr>
        <p:spPr bwMode="auto">
          <a:xfrm>
            <a:off x="6725589" y="5452475"/>
            <a:ext cx="2755244" cy="394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고객정보 보호 강화 및 통합 정보보호 체계 적용 </a:t>
            </a:r>
          </a:p>
        </p:txBody>
      </p:sp>
      <p:sp>
        <p:nvSpPr>
          <p:cNvPr id="71" name="직사각형 77"/>
          <p:cNvSpPr/>
          <p:nvPr/>
        </p:nvSpPr>
        <p:spPr bwMode="auto">
          <a:xfrm>
            <a:off x="6725589" y="5452475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TextBox 71"/>
          <p:cNvSpPr txBox="1"/>
          <p:nvPr/>
        </p:nvSpPr>
        <p:spPr bwMode="auto">
          <a:xfrm>
            <a:off x="6725589" y="2794403"/>
            <a:ext cx="2755244" cy="394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빅데이터 기반 실시간 정보분석 환경 구현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3" name="직사각형 77"/>
          <p:cNvSpPr/>
          <p:nvPr/>
        </p:nvSpPr>
        <p:spPr bwMode="auto">
          <a:xfrm>
            <a:off x="6725589" y="2794403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Rectangle 163"/>
          <p:cNvSpPr/>
          <p:nvPr/>
        </p:nvSpPr>
        <p:spPr bwMode="auto">
          <a:xfrm>
            <a:off x="494038" y="2154219"/>
            <a:ext cx="2832603" cy="1089796"/>
          </a:xfrm>
          <a:prstGeom prst="downArrowCallout">
            <a:avLst>
              <a:gd name="adj1" fmla="val 25000"/>
              <a:gd name="adj2" fmla="val 25000"/>
              <a:gd name="adj3" fmla="val 15410"/>
              <a:gd name="adj4" fmla="val 75000"/>
            </a:avLst>
          </a:prstGeom>
          <a:solidFill>
            <a:srgbClr val="C0C0C0">
              <a:lumMod val="20000"/>
              <a:lumOff val="80000"/>
            </a:srgb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7312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시스템 </a:t>
            </a:r>
            <a:r>
              <a:rPr lang="ko-KR" altLang="en-US" sz="1200" kern="0" dirty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구축 </a:t>
            </a: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이후 </a:t>
            </a:r>
            <a:r>
              <a:rPr lang="ko-KR" altLang="en-US" sz="1200" kern="0" dirty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기존 아키텍처 부분 개선</a:t>
            </a:r>
            <a:r>
              <a:rPr lang="en-US" altLang="ko-KR" sz="1200" kern="0" dirty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kern="0" dirty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및 기능을 추가하는 형태로 아키텍처가 </a:t>
            </a: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복잡해짐</a:t>
            </a:r>
            <a:endParaRPr lang="en-US" altLang="ko-KR" sz="1200" kern="0" dirty="0">
              <a:solidFill>
                <a:srgbClr val="646464">
                  <a:lumMod val="50000"/>
                </a:srgbClr>
              </a:solidFill>
              <a:latin typeface="맑은 고딕"/>
              <a:ea typeface="맑은 고딕"/>
            </a:endParaRPr>
          </a:p>
        </p:txBody>
      </p:sp>
      <p:sp>
        <p:nvSpPr>
          <p:cNvPr id="79" name="Rounded Rectangle 92"/>
          <p:cNvSpPr/>
          <p:nvPr/>
        </p:nvSpPr>
        <p:spPr>
          <a:xfrm>
            <a:off x="359002" y="1626171"/>
            <a:ext cx="3102675" cy="406078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algn="ctr" eaLnBrk="0" hangingPunct="0"/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s-Is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슈</a:t>
            </a:r>
          </a:p>
        </p:txBody>
      </p:sp>
      <p:sp>
        <p:nvSpPr>
          <p:cNvPr id="80" name="Rectangle 94"/>
          <p:cNvSpPr>
            <a:spLocks noChangeArrowheads="1"/>
          </p:cNvSpPr>
          <p:nvPr/>
        </p:nvSpPr>
        <p:spPr bwMode="gray">
          <a:xfrm>
            <a:off x="359002" y="2042824"/>
            <a:ext cx="3102674" cy="4162657"/>
          </a:xfrm>
          <a:prstGeom prst="rect">
            <a:avLst/>
          </a:prstGeom>
          <a:noFill/>
          <a:ln w="6350">
            <a:solidFill>
              <a:srgbClr val="F0F0F0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81" name="Rectangle 163"/>
          <p:cNvSpPr/>
          <p:nvPr/>
        </p:nvSpPr>
        <p:spPr bwMode="auto">
          <a:xfrm>
            <a:off x="494038" y="5118444"/>
            <a:ext cx="2832603" cy="1002864"/>
          </a:xfrm>
          <a:prstGeom prst="upArrowCallout">
            <a:avLst>
              <a:gd name="adj1" fmla="val 25000"/>
              <a:gd name="adj2" fmla="val 25000"/>
              <a:gd name="adj3" fmla="val 17184"/>
              <a:gd name="adj4" fmla="val 75000"/>
            </a:avLst>
          </a:prstGeom>
          <a:solidFill>
            <a:srgbClr val="C0C0C0">
              <a:lumMod val="20000"/>
              <a:lumOff val="80000"/>
            </a:srgb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은행 중심의 </a:t>
            </a:r>
            <a:r>
              <a:rPr lang="en-US" altLang="ko-KR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운영으로 카드업의 특성을 고려한 </a:t>
            </a:r>
            <a:r>
              <a:rPr lang="en-US" altLang="ko-KR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IT </a:t>
            </a:r>
            <a:r>
              <a:rPr lang="ko-KR" altLang="en-US" sz="1200" kern="0" dirty="0" smtClean="0">
                <a:solidFill>
                  <a:srgbClr val="646464">
                    <a:lumMod val="50000"/>
                  </a:srgbClr>
                </a:solidFill>
                <a:latin typeface="맑은 고딕"/>
                <a:ea typeface="맑은 고딕"/>
              </a:rPr>
              <a:t>환경 미흡</a:t>
            </a:r>
            <a:endParaRPr kumimoji="0" lang="en-US" altLang="ko-KR" sz="1200" i="0" u="none" strike="noStrike" kern="0" cap="none" spc="0" normalizeH="0" baseline="0" noProof="0" dirty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82" name="TextBox 81"/>
          <p:cNvSpPr txBox="1"/>
          <p:nvPr/>
        </p:nvSpPr>
        <p:spPr bwMode="auto">
          <a:xfrm>
            <a:off x="6725589" y="2453666"/>
            <a:ext cx="2755244" cy="1971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통합 고객정보 관리 체계 구축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3" name="직사각형 43"/>
          <p:cNvSpPr/>
          <p:nvPr/>
        </p:nvSpPr>
        <p:spPr bwMode="auto">
          <a:xfrm>
            <a:off x="6725589" y="2420972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ounded Rectangle 3"/>
          <p:cNvSpPr/>
          <p:nvPr/>
        </p:nvSpPr>
        <p:spPr bwMode="auto">
          <a:xfrm>
            <a:off x="6003620" y="5240497"/>
            <a:ext cx="609593" cy="7087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안</a:t>
            </a:r>
          </a:p>
        </p:txBody>
      </p:sp>
      <p:sp>
        <p:nvSpPr>
          <p:cNvPr id="85" name="Rounded Rectangle 33"/>
          <p:cNvSpPr/>
          <p:nvPr/>
        </p:nvSpPr>
        <p:spPr bwMode="auto">
          <a:xfrm>
            <a:off x="6003620" y="4286046"/>
            <a:ext cx="609593" cy="7087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프라</a:t>
            </a:r>
          </a:p>
        </p:txBody>
      </p:sp>
      <p:sp>
        <p:nvSpPr>
          <p:cNvPr id="86" name="Rounded Rectangle 34"/>
          <p:cNvSpPr/>
          <p:nvPr/>
        </p:nvSpPr>
        <p:spPr bwMode="auto">
          <a:xfrm>
            <a:off x="6003620" y="3331594"/>
            <a:ext cx="609593" cy="7087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</a:p>
        </p:txBody>
      </p:sp>
      <p:sp>
        <p:nvSpPr>
          <p:cNvPr id="87" name="Rounded Rectangle 37"/>
          <p:cNvSpPr/>
          <p:nvPr/>
        </p:nvSpPr>
        <p:spPr bwMode="auto">
          <a:xfrm>
            <a:off x="6003620" y="2377142"/>
            <a:ext cx="609593" cy="7087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어플리케이션</a:t>
            </a:r>
          </a:p>
        </p:txBody>
      </p:sp>
      <p:sp>
        <p:nvSpPr>
          <p:cNvPr id="88" name="TextBox 87"/>
          <p:cNvSpPr txBox="1"/>
          <p:nvPr/>
        </p:nvSpPr>
        <p:spPr bwMode="auto">
          <a:xfrm>
            <a:off x="6725589" y="4307575"/>
            <a:ext cx="2755244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표준 프레임워크 도입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9" name="직사각형 75"/>
          <p:cNvSpPr/>
          <p:nvPr/>
        </p:nvSpPr>
        <p:spPr bwMode="auto">
          <a:xfrm>
            <a:off x="6725589" y="4307575"/>
            <a:ext cx="245912" cy="26254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Rounded Rectangle 48"/>
          <p:cNvSpPr/>
          <p:nvPr/>
        </p:nvSpPr>
        <p:spPr>
          <a:xfrm>
            <a:off x="3810188" y="2508045"/>
            <a:ext cx="1592163" cy="406078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i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 방향성</a:t>
            </a:r>
            <a:endParaRPr kumimoji="1" lang="ko-KR" altLang="en-US" sz="1400" i="1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8" name="Group 4"/>
          <p:cNvGrpSpPr/>
          <p:nvPr/>
        </p:nvGrpSpPr>
        <p:grpSpPr>
          <a:xfrm>
            <a:off x="461226" y="3126110"/>
            <a:ext cx="2898227" cy="2096619"/>
            <a:chOff x="461226" y="3980506"/>
            <a:chExt cx="2898227" cy="2096619"/>
          </a:xfrm>
        </p:grpSpPr>
        <p:sp>
          <p:nvSpPr>
            <p:cNvPr id="100" name="Rounded Rectangle 96"/>
            <p:cNvSpPr/>
            <p:nvPr/>
          </p:nvSpPr>
          <p:spPr>
            <a:xfrm>
              <a:off x="461226" y="3980506"/>
              <a:ext cx="2898227" cy="347098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AP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중복 기능으로 재사용성 저하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01" name="Rounded Rectangle 98"/>
            <p:cNvSpPr/>
            <p:nvPr/>
          </p:nvSpPr>
          <p:spPr>
            <a:xfrm>
              <a:off x="461226" y="4417886"/>
              <a:ext cx="2898227" cy="347098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신기술 적용에 유연하지 않은 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프레임워크 운영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02" name="Rounded Rectangle 102"/>
            <p:cNvSpPr/>
            <p:nvPr/>
          </p:nvSpPr>
          <p:spPr>
            <a:xfrm>
              <a:off x="461226" y="4855266"/>
              <a:ext cx="2898227" cy="347098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표준화 부재로 추가 업무 발생 시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 대응이 느림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04" name="Rounded Rectangle 104"/>
            <p:cNvSpPr/>
            <p:nvPr/>
          </p:nvSpPr>
          <p:spPr>
            <a:xfrm>
              <a:off x="461226" y="5292646"/>
              <a:ext cx="2898227" cy="347098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데이터 표준 및 관리의 어려움으로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데이터 중복 존재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06" name="Rounded Rectangle 106"/>
            <p:cNvSpPr/>
            <p:nvPr/>
          </p:nvSpPr>
          <p:spPr>
            <a:xfrm>
              <a:off x="461226" y="5730027"/>
              <a:ext cx="2898227" cy="347098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인프라 구성이 복잡하고 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rPr>
                <a:t>운영 효율성이 떨어짐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8" name="그룹 7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2376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   </a:t>
            </a:r>
            <a:r>
              <a:rPr lang="ko-KR" altLang="en-US" dirty="0" smtClean="0"/>
              <a:t>통합 고객정보 관리 체계 구축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28988" cy="605126"/>
          </a:xfrm>
        </p:spPr>
        <p:txBody>
          <a:bodyPr/>
          <a:lstStyle/>
          <a:p>
            <a:r>
              <a:rPr lang="ko-KR" altLang="en-US" dirty="0" smtClean="0"/>
              <a:t>통합 고객 </a:t>
            </a:r>
            <a:r>
              <a:rPr lang="en-US" altLang="ko-KR" dirty="0" smtClean="0"/>
              <a:t>DB </a:t>
            </a:r>
            <a:r>
              <a:rPr lang="ko-KR" altLang="en-US" dirty="0" smtClean="0"/>
              <a:t>및 고객 </a:t>
            </a:r>
            <a:r>
              <a:rPr lang="en-US" altLang="ko-KR" dirty="0" smtClean="0"/>
              <a:t>Single View</a:t>
            </a:r>
            <a:r>
              <a:rPr lang="ko-KR" altLang="en-US" dirty="0" smtClean="0"/>
              <a:t>를 구현하고</a:t>
            </a:r>
            <a:r>
              <a:rPr lang="en-US" altLang="ko-KR" dirty="0" smtClean="0"/>
              <a:t>,</a:t>
            </a:r>
            <a:r>
              <a:rPr lang="ko-KR" altLang="en-US" dirty="0" smtClean="0"/>
              <a:t> 개인정보보호 요건에 따라 거래</a:t>
            </a:r>
            <a:r>
              <a:rPr lang="en-US" altLang="ko-KR" dirty="0" smtClean="0"/>
              <a:t>/</a:t>
            </a:r>
            <a:r>
              <a:rPr lang="ko-KR" altLang="en-US" dirty="0" smtClean="0"/>
              <a:t>비거래 고객의 정보를 획득</a:t>
            </a:r>
            <a:r>
              <a:rPr lang="en-US" altLang="ko-KR" dirty="0"/>
              <a:t>/</a:t>
            </a:r>
            <a:r>
              <a:rPr lang="ko-KR" altLang="en-US" dirty="0" smtClean="0"/>
              <a:t>유지</a:t>
            </a:r>
            <a:r>
              <a:rPr lang="en-US" altLang="ko-KR" dirty="0" smtClean="0"/>
              <a:t>/</a:t>
            </a:r>
            <a:r>
              <a:rPr lang="ko-KR" altLang="en-US" dirty="0" smtClean="0"/>
              <a:t>마케팅</a:t>
            </a:r>
            <a:r>
              <a:rPr lang="en-US" altLang="ko-KR" dirty="0" smtClean="0"/>
              <a:t>/</a:t>
            </a:r>
            <a:r>
              <a:rPr lang="ko-KR" altLang="en-US" dirty="0" smtClean="0"/>
              <a:t>분석 등에 활용할 수 있는 체계를 구현함</a:t>
            </a:r>
            <a:endParaRPr lang="ko-KR" altLang="en-US" dirty="0"/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77" name="모서리가 둥근 직사각형 139"/>
          <p:cNvSpPr/>
          <p:nvPr/>
        </p:nvSpPr>
        <p:spPr bwMode="auto">
          <a:xfrm>
            <a:off x="814760" y="3708524"/>
            <a:ext cx="3168650" cy="1339850"/>
          </a:xfrm>
          <a:prstGeom prst="roundRect">
            <a:avLst>
              <a:gd name="adj" fmla="val 8468"/>
            </a:avLst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AutoShape 90"/>
          <p:cNvSpPr>
            <a:spLocks noChangeArrowheads="1"/>
          </p:cNvSpPr>
          <p:nvPr/>
        </p:nvSpPr>
        <p:spPr bwMode="auto">
          <a:xfrm>
            <a:off x="2072060" y="3773611"/>
            <a:ext cx="1831975" cy="1152525"/>
          </a:xfrm>
          <a:prstGeom prst="can">
            <a:avLst>
              <a:gd name="adj" fmla="val 25650"/>
            </a:avLst>
          </a:prstGeom>
          <a:solidFill>
            <a:srgbClr val="D6EBF6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ct val="20000"/>
              </a:spcBef>
              <a:spcAft>
                <a:spcPts val="0"/>
              </a:spcAft>
              <a:defRPr/>
            </a:pPr>
            <a:endParaRPr lang="en-US" altLang="ko-KR" sz="11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68"/>
          <p:cNvSpPr txBox="1">
            <a:spLocks noChangeArrowheads="1"/>
          </p:cNvSpPr>
          <p:nvPr/>
        </p:nvSpPr>
        <p:spPr bwMode="auto">
          <a:xfrm>
            <a:off x="2691185" y="3711699"/>
            <a:ext cx="6477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marL="87313" indent="-87313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200" u="sng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정보 통합 </a:t>
            </a:r>
            <a:r>
              <a:rPr lang="en-US" altLang="ko-KR" sz="12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</a:p>
        </p:txBody>
      </p:sp>
      <p:sp>
        <p:nvSpPr>
          <p:cNvPr id="80" name="타원 64"/>
          <p:cNvSpPr/>
          <p:nvPr/>
        </p:nvSpPr>
        <p:spPr bwMode="auto">
          <a:xfrm>
            <a:off x="2897560" y="4802311"/>
            <a:ext cx="215900" cy="2159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</a:pPr>
            <a:r>
              <a:rPr lang="en-US" altLang="ko-KR" sz="100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99" name="AutoShape 578"/>
          <p:cNvSpPr>
            <a:spLocks noChangeArrowheads="1"/>
          </p:cNvSpPr>
          <p:nvPr/>
        </p:nvSpPr>
        <p:spPr bwMode="auto">
          <a:xfrm>
            <a:off x="4377110" y="3722811"/>
            <a:ext cx="1223962" cy="1358900"/>
          </a:xfrm>
          <a:prstGeom prst="roundRect">
            <a:avLst>
              <a:gd name="adj" fmla="val 2755"/>
            </a:avLst>
          </a:prstGeom>
          <a:solidFill>
            <a:srgbClr val="FFFFFF"/>
          </a:soli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46800" tIns="46800" rIns="46800" bIns="46800" anchor="ctr"/>
          <a:lstStyle/>
          <a:p>
            <a:pPr marL="90488" indent="-90488" algn="ctr" fontAlgn="auto" latinLnBrk="0">
              <a:lnSpc>
                <a:spcPct val="104000"/>
              </a:lnSpc>
              <a:spcBef>
                <a:spcPct val="30000"/>
              </a:spcBef>
              <a:spcAft>
                <a:spcPts val="0"/>
              </a:spcAft>
              <a:defRPr/>
            </a:pPr>
            <a:endParaRPr lang="en-US" altLang="ko-KR" sz="11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AutoShape 557"/>
          <p:cNvSpPr>
            <a:spLocks noChangeArrowheads="1"/>
          </p:cNvSpPr>
          <p:nvPr/>
        </p:nvSpPr>
        <p:spPr bwMode="gray">
          <a:xfrm>
            <a:off x="4440610" y="3972049"/>
            <a:ext cx="1090612" cy="296862"/>
          </a:xfrm>
          <a:prstGeom prst="roundRect">
            <a:avLst>
              <a:gd name="adj" fmla="val 15000"/>
            </a:avLst>
          </a:prstGeom>
          <a:solidFill>
            <a:srgbClr val="1B3A87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</a:pPr>
            <a:r>
              <a:rPr lang="ko-KR" altLang="en-US" sz="900" kern="0" dirty="0">
                <a:latin typeface="맑은 고딕" pitchFamily="50" charset="-127"/>
                <a:ea typeface="맑은 고딕" pitchFamily="50" charset="-127"/>
              </a:rPr>
              <a:t>고객 데이터 </a:t>
            </a:r>
            <a:r>
              <a:rPr lang="en-US" altLang="ko-KR" sz="900" kern="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900" kern="0" dirty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900" kern="0" dirty="0">
                <a:latin typeface="맑은 고딕" pitchFamily="50" charset="-127"/>
                <a:ea typeface="맑은 고딕" pitchFamily="50" charset="-127"/>
              </a:rPr>
              <a:t>품질 관리</a:t>
            </a:r>
          </a:p>
        </p:txBody>
      </p:sp>
      <p:sp>
        <p:nvSpPr>
          <p:cNvPr id="101" name="TextBox 195"/>
          <p:cNvSpPr txBox="1">
            <a:spLocks noChangeArrowheads="1"/>
          </p:cNvSpPr>
          <p:nvPr/>
        </p:nvSpPr>
        <p:spPr bwMode="auto">
          <a:xfrm>
            <a:off x="4502522" y="3722811"/>
            <a:ext cx="91440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04000"/>
              </a:lnSpc>
              <a:spcBef>
                <a:spcPct val="30000"/>
              </a:spcBef>
            </a:pPr>
            <a:r>
              <a:rPr lang="en-US" altLang="ko-KR" sz="11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ontrol Tower</a:t>
            </a:r>
          </a:p>
        </p:txBody>
      </p:sp>
      <p:sp>
        <p:nvSpPr>
          <p:cNvPr id="102" name="AutoShape 557"/>
          <p:cNvSpPr>
            <a:spLocks noChangeArrowheads="1"/>
          </p:cNvSpPr>
          <p:nvPr/>
        </p:nvSpPr>
        <p:spPr bwMode="gray">
          <a:xfrm>
            <a:off x="4440610" y="4343524"/>
            <a:ext cx="1089025" cy="296862"/>
          </a:xfrm>
          <a:prstGeom prst="roundRect">
            <a:avLst>
              <a:gd name="adj" fmla="val 15000"/>
            </a:avLst>
          </a:prstGeom>
          <a:solidFill>
            <a:srgbClr val="1B3A87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</a:pPr>
            <a:r>
              <a:rPr lang="ko-KR" altLang="en-US" sz="900" kern="0" dirty="0">
                <a:latin typeface="맑은 고딕" pitchFamily="50" charset="-127"/>
                <a:ea typeface="맑은 고딕" pitchFamily="50" charset="-127"/>
              </a:rPr>
              <a:t>고객 데이터 </a:t>
            </a:r>
            <a:r>
              <a:rPr lang="en-US" altLang="ko-KR" sz="900" kern="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900" kern="0" dirty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900" kern="0" dirty="0">
                <a:latin typeface="맑은 고딕" pitchFamily="50" charset="-127"/>
                <a:ea typeface="맑은 고딕" pitchFamily="50" charset="-127"/>
              </a:rPr>
              <a:t>모니터링</a:t>
            </a:r>
          </a:p>
        </p:txBody>
      </p:sp>
      <p:sp>
        <p:nvSpPr>
          <p:cNvPr id="103" name="타원 90"/>
          <p:cNvSpPr/>
          <p:nvPr/>
        </p:nvSpPr>
        <p:spPr bwMode="auto">
          <a:xfrm>
            <a:off x="4126285" y="3733924"/>
            <a:ext cx="217487" cy="2159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</a:pPr>
            <a:r>
              <a:rPr lang="en-US" altLang="ko-KR" sz="10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104" name="AutoShape 557"/>
          <p:cNvSpPr>
            <a:spLocks noChangeArrowheads="1"/>
          </p:cNvSpPr>
          <p:nvPr/>
        </p:nvSpPr>
        <p:spPr bwMode="gray">
          <a:xfrm>
            <a:off x="4440610" y="4713411"/>
            <a:ext cx="1090612" cy="296863"/>
          </a:xfrm>
          <a:prstGeom prst="roundRect">
            <a:avLst>
              <a:gd name="adj" fmla="val 15000"/>
            </a:avLst>
          </a:prstGeom>
          <a:solidFill>
            <a:srgbClr val="1B3A87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</a:pPr>
            <a:r>
              <a:rPr lang="ko-KR" altLang="en-US" sz="900" kern="0" dirty="0">
                <a:latin typeface="맑은 고딕" pitchFamily="50" charset="-127"/>
                <a:ea typeface="맑은 고딕" pitchFamily="50" charset="-127"/>
              </a:rPr>
              <a:t>정보보호 체계 관리</a:t>
            </a:r>
          </a:p>
        </p:txBody>
      </p:sp>
      <p:cxnSp>
        <p:nvCxnSpPr>
          <p:cNvPr id="105" name="직선 화살표 연결선 102"/>
          <p:cNvCxnSpPr>
            <a:cxnSpLocks noChangeShapeType="1"/>
          </p:cNvCxnSpPr>
          <p:nvPr/>
        </p:nvCxnSpPr>
        <p:spPr bwMode="auto">
          <a:xfrm>
            <a:off x="3923085" y="4426074"/>
            <a:ext cx="434975" cy="1587"/>
          </a:xfrm>
          <a:prstGeom prst="straightConnector1">
            <a:avLst/>
          </a:prstGeom>
          <a:noFill/>
          <a:ln w="28575" algn="ctr">
            <a:solidFill>
              <a:srgbClr val="243944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6" name="AutoShape 90"/>
          <p:cNvSpPr>
            <a:spLocks noChangeArrowheads="1"/>
          </p:cNvSpPr>
          <p:nvPr/>
        </p:nvSpPr>
        <p:spPr bwMode="auto">
          <a:xfrm>
            <a:off x="938585" y="3756149"/>
            <a:ext cx="647700" cy="179387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집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AutoShape 90"/>
          <p:cNvSpPr>
            <a:spLocks noChangeArrowheads="1"/>
          </p:cNvSpPr>
          <p:nvPr/>
        </p:nvSpPr>
        <p:spPr bwMode="auto">
          <a:xfrm>
            <a:off x="938585" y="4173661"/>
            <a:ext cx="647700" cy="179388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채권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AutoShape 90"/>
          <p:cNvSpPr>
            <a:spLocks noChangeArrowheads="1"/>
          </p:cNvSpPr>
          <p:nvPr/>
        </p:nvSpPr>
        <p:spPr bwMode="auto">
          <a:xfrm>
            <a:off x="938585" y="4591174"/>
            <a:ext cx="647700" cy="179387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8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AutoShape 90"/>
          <p:cNvSpPr>
            <a:spLocks noChangeArrowheads="1"/>
          </p:cNvSpPr>
          <p:nvPr/>
        </p:nvSpPr>
        <p:spPr bwMode="auto">
          <a:xfrm>
            <a:off x="938585" y="3964111"/>
            <a:ext cx="647700" cy="180975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승인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AutoShape 90"/>
          <p:cNvSpPr>
            <a:spLocks noChangeArrowheads="1"/>
          </p:cNvSpPr>
          <p:nvPr/>
        </p:nvSpPr>
        <p:spPr bwMode="auto">
          <a:xfrm>
            <a:off x="938585" y="4383211"/>
            <a:ext cx="647700" cy="179388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CRM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AutoShape 90"/>
          <p:cNvSpPr>
            <a:spLocks noChangeArrowheads="1"/>
          </p:cNvSpPr>
          <p:nvPr/>
        </p:nvSpPr>
        <p:spPr bwMode="auto">
          <a:xfrm>
            <a:off x="938585" y="4800724"/>
            <a:ext cx="647700" cy="179387"/>
          </a:xfrm>
          <a:prstGeom prst="can">
            <a:avLst>
              <a:gd name="adj" fmla="val 25650"/>
            </a:avLst>
          </a:prstGeom>
          <a:solidFill>
            <a:srgbClr val="FFFFFF"/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홈페이지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24" name="Picture 4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635" y="4167311"/>
            <a:ext cx="1787525" cy="58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5" name="직선 화살표 연결선 199"/>
          <p:cNvCxnSpPr>
            <a:stCxn id="106" idx="4"/>
            <a:endCxn id="78" idx="2"/>
          </p:cNvCxnSpPr>
          <p:nvPr/>
        </p:nvCxnSpPr>
        <p:spPr bwMode="auto">
          <a:xfrm>
            <a:off x="1586285" y="3846636"/>
            <a:ext cx="485775" cy="503238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26" name="직선 화살표 연결선 202"/>
          <p:cNvCxnSpPr>
            <a:stCxn id="109" idx="4"/>
            <a:endCxn id="78" idx="2"/>
          </p:cNvCxnSpPr>
          <p:nvPr/>
        </p:nvCxnSpPr>
        <p:spPr bwMode="auto">
          <a:xfrm>
            <a:off x="1586285" y="4054599"/>
            <a:ext cx="485775" cy="295275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27" name="직선 화살표 연결선 205"/>
          <p:cNvCxnSpPr>
            <a:stCxn id="107" idx="4"/>
            <a:endCxn id="78" idx="2"/>
          </p:cNvCxnSpPr>
          <p:nvPr/>
        </p:nvCxnSpPr>
        <p:spPr bwMode="auto">
          <a:xfrm>
            <a:off x="1586285" y="4264149"/>
            <a:ext cx="485775" cy="85725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28" name="직선 화살표 연결선 208"/>
          <p:cNvCxnSpPr>
            <a:stCxn id="110" idx="4"/>
            <a:endCxn id="78" idx="2"/>
          </p:cNvCxnSpPr>
          <p:nvPr/>
        </p:nvCxnSpPr>
        <p:spPr bwMode="auto">
          <a:xfrm flipV="1">
            <a:off x="1586285" y="4349874"/>
            <a:ext cx="485775" cy="122237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29" name="직선 화살표 연결선 211"/>
          <p:cNvCxnSpPr>
            <a:stCxn id="108" idx="4"/>
            <a:endCxn id="78" idx="2"/>
          </p:cNvCxnSpPr>
          <p:nvPr/>
        </p:nvCxnSpPr>
        <p:spPr bwMode="auto">
          <a:xfrm flipV="1">
            <a:off x="1586285" y="4349874"/>
            <a:ext cx="485775" cy="331787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30" name="직선 화살표 연결선 214"/>
          <p:cNvCxnSpPr>
            <a:stCxn id="123" idx="4"/>
            <a:endCxn id="78" idx="2"/>
          </p:cNvCxnSpPr>
          <p:nvPr/>
        </p:nvCxnSpPr>
        <p:spPr bwMode="auto">
          <a:xfrm flipV="1">
            <a:off x="1586285" y="4349874"/>
            <a:ext cx="485775" cy="539750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31" name="위쪽 화살표 234"/>
          <p:cNvSpPr/>
          <p:nvPr/>
        </p:nvSpPr>
        <p:spPr bwMode="auto">
          <a:xfrm>
            <a:off x="2818185" y="5220369"/>
            <a:ext cx="360362" cy="252413"/>
          </a:xfrm>
          <a:prstGeom prst="upArrow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indent="-92075" algn="ctr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TextBox 88"/>
          <p:cNvSpPr txBox="1">
            <a:spLocks noChangeArrowheads="1"/>
          </p:cNvSpPr>
          <p:nvPr/>
        </p:nvSpPr>
        <p:spPr bwMode="auto">
          <a:xfrm>
            <a:off x="3103935" y="5210844"/>
            <a:ext cx="133191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ingle View</a:t>
            </a:r>
          </a:p>
        </p:txBody>
      </p:sp>
      <p:sp>
        <p:nvSpPr>
          <p:cNvPr id="133" name="모서리가 둥근 직사각형 236"/>
          <p:cNvSpPr/>
          <p:nvPr/>
        </p:nvSpPr>
        <p:spPr bwMode="auto">
          <a:xfrm>
            <a:off x="638546" y="5508366"/>
            <a:ext cx="5012953" cy="686319"/>
          </a:xfrm>
          <a:prstGeom prst="roundRect">
            <a:avLst>
              <a:gd name="adj" fmla="val 8915"/>
            </a:avLst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indent="-92075" algn="ctr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0" name="Picture 105" descr="Picture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725" y="5611537"/>
            <a:ext cx="316965" cy="370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105" descr="Picture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631" y="5611537"/>
            <a:ext cx="316965" cy="370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" name="Picture 105" descr="Picture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537" y="5611537"/>
            <a:ext cx="316965" cy="370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" name="Picture 105" descr="Picture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0443" y="5611537"/>
            <a:ext cx="316965" cy="370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05" descr="Picture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505" y="5611537"/>
            <a:ext cx="316965" cy="370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5" name="TextBox 88"/>
          <p:cNvSpPr txBox="1">
            <a:spLocks noChangeArrowheads="1"/>
          </p:cNvSpPr>
          <p:nvPr/>
        </p:nvSpPr>
        <p:spPr bwMode="auto">
          <a:xfrm>
            <a:off x="1471871" y="5937250"/>
            <a:ext cx="62134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집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심사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6" name="TextBox 88"/>
          <p:cNvSpPr txBox="1">
            <a:spLocks noChangeArrowheads="1"/>
          </p:cNvSpPr>
          <p:nvPr/>
        </p:nvSpPr>
        <p:spPr bwMode="auto">
          <a:xfrm>
            <a:off x="2233871" y="5937250"/>
            <a:ext cx="62134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TextBox 88"/>
          <p:cNvSpPr txBox="1">
            <a:spLocks noChangeArrowheads="1"/>
          </p:cNvSpPr>
          <p:nvPr/>
        </p:nvSpPr>
        <p:spPr bwMode="auto">
          <a:xfrm>
            <a:off x="3014921" y="5937250"/>
            <a:ext cx="62134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권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TextBox 88"/>
          <p:cNvSpPr txBox="1">
            <a:spLocks noChangeArrowheads="1"/>
          </p:cNvSpPr>
          <p:nvPr/>
        </p:nvSpPr>
        <p:spPr bwMode="auto">
          <a:xfrm>
            <a:off x="3776921" y="5937250"/>
            <a:ext cx="62134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en-US" altLang="ko-KR" sz="10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RM</a:t>
            </a:r>
          </a:p>
        </p:txBody>
      </p:sp>
      <p:sp>
        <p:nvSpPr>
          <p:cNvPr id="159" name="TextBox 88"/>
          <p:cNvSpPr txBox="1">
            <a:spLocks noChangeArrowheads="1"/>
          </p:cNvSpPr>
          <p:nvPr/>
        </p:nvSpPr>
        <p:spPr bwMode="auto">
          <a:xfrm>
            <a:off x="4763701" y="5937250"/>
            <a:ext cx="62134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000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0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  <a:endParaRPr lang="en-US" altLang="ko-KR" sz="10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TextBox 88"/>
          <p:cNvSpPr txBox="1">
            <a:spLocks noChangeArrowheads="1"/>
          </p:cNvSpPr>
          <p:nvPr/>
        </p:nvSpPr>
        <p:spPr bwMode="auto">
          <a:xfrm>
            <a:off x="426443" y="5714206"/>
            <a:ext cx="133191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NH</a:t>
            </a: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농협카드</a:t>
            </a: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오각형 74"/>
          <p:cNvSpPr/>
          <p:nvPr/>
        </p:nvSpPr>
        <p:spPr bwMode="auto">
          <a:xfrm>
            <a:off x="6033150" y="1620301"/>
            <a:ext cx="3565376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62" name="TextBox 161"/>
          <p:cNvSpPr txBox="1"/>
          <p:nvPr>
            <p:custDataLst>
              <p:tags r:id="rId1"/>
            </p:custDataLst>
          </p:nvPr>
        </p:nvSpPr>
        <p:spPr>
          <a:xfrm>
            <a:off x="6044804" y="2069752"/>
            <a:ext cx="1123200" cy="157769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ko-KR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b="1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u="none" strike="noStrike" kern="0" cap="none" spc="0" normalizeH="0" baseline="0" noProof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통합고객 </a:t>
            </a:r>
            <a:r>
              <a:rPr lang="en-US" altLang="ko-KR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DB </a:t>
            </a:r>
            <a:r>
              <a:rPr lang="ko-KR" altLang="en-US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구축 및 </a:t>
            </a:r>
            <a:r>
              <a:rPr kumimoji="0" lang="ko-KR" altLang="en-US" sz="1200" u="none" strike="noStrike" kern="0" cap="none" spc="0" normalizeH="0" baseline="0" noProof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고객 </a:t>
            </a:r>
            <a:r>
              <a:rPr kumimoji="0" lang="en-US" altLang="ko-KR" sz="1200" u="none" strike="noStrike" kern="0" cap="none" spc="0" normalizeH="0" baseline="0" noProof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Single</a:t>
            </a:r>
            <a:r>
              <a:rPr lang="en-US" altLang="ko-KR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-View </a:t>
            </a:r>
            <a:r>
              <a:rPr lang="ko-KR" altLang="en-US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구</a:t>
            </a:r>
            <a:r>
              <a:rPr lang="ko-KR" altLang="en-US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현</a:t>
            </a:r>
            <a:endParaRPr kumimoji="0" lang="ko-KR" altLang="en-US" sz="1200" u="none" strike="noStrike" kern="0" cap="none" spc="0" normalizeH="0" baseline="0" noProof="0" dirty="0">
              <a:ln>
                <a:solidFill>
                  <a:srgbClr val="FFD200">
                    <a:alpha val="0"/>
                  </a:srgbClr>
                </a:solidFill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3" name="Rectangle 89"/>
          <p:cNvSpPr/>
          <p:nvPr>
            <p:custDataLst>
              <p:tags r:id="rId2"/>
            </p:custDataLst>
          </p:nvPr>
        </p:nvSpPr>
        <p:spPr>
          <a:xfrm>
            <a:off x="7237606" y="2069750"/>
            <a:ext cx="2360919" cy="157769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통합대상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고객 범위 및 기준 정의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정보보호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및 요건에 부합하는 고객정보 통합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통합 유형별 관리기준 및 항목 정의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endParaRPr lang="ko-KR" altLang="en-US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endParaRPr lang="ko-KR" altLang="en-US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</p:txBody>
      </p:sp>
      <p:sp>
        <p:nvSpPr>
          <p:cNvPr id="146" name="TextBox 145"/>
          <p:cNvSpPr txBox="1"/>
          <p:nvPr>
            <p:custDataLst>
              <p:tags r:id="rId3"/>
            </p:custDataLst>
          </p:nvPr>
        </p:nvSpPr>
        <p:spPr>
          <a:xfrm>
            <a:off x="6044804" y="3700247"/>
            <a:ext cx="1123200" cy="125583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ko-KR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b="1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ko-KR" altLang="en-US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개인정보보호 </a:t>
            </a:r>
            <a:r>
              <a:rPr lang="ko-KR" altLang="en-US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요건 기반의 </a:t>
            </a:r>
            <a:r>
              <a:rPr lang="ko-KR" altLang="en-US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고객정보 </a:t>
            </a:r>
            <a:r>
              <a:rPr lang="en-US" altLang="ko-KR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Lifecycle </a:t>
            </a:r>
            <a:r>
              <a:rPr lang="ko-KR" altLang="en-US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147" name="Rectangle 89"/>
          <p:cNvSpPr/>
          <p:nvPr>
            <p:custDataLst>
              <p:tags r:id="rId4"/>
            </p:custDataLst>
          </p:nvPr>
        </p:nvSpPr>
        <p:spPr>
          <a:xfrm>
            <a:off x="7237606" y="3700245"/>
            <a:ext cx="2360919" cy="125583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개인정보 수집 및 활용 동의 내역 기반의 고객정보 관리</a:t>
            </a:r>
            <a:endParaRPr lang="en-US" altLang="ko-KR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고객의 주요식별 정보에 대한 통합 암호화 관리 </a:t>
            </a:r>
            <a:endParaRPr lang="en-US" altLang="ko-KR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고객정보 접근 주체 </a:t>
            </a:r>
            <a:r>
              <a:rPr lang="en-US" altLang="ko-KR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/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사용자 그룹 별 권한 차등화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</p:txBody>
      </p:sp>
      <p:sp>
        <p:nvSpPr>
          <p:cNvPr id="164" name="TextBox 163"/>
          <p:cNvSpPr txBox="1"/>
          <p:nvPr>
            <p:custDataLst>
              <p:tags r:id="rId5"/>
            </p:custDataLst>
          </p:nvPr>
        </p:nvSpPr>
        <p:spPr>
          <a:xfrm>
            <a:off x="6044804" y="5008882"/>
            <a:ext cx="1123200" cy="129866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ko-KR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b="1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ko-KR" altLang="en-US" sz="1200" kern="0" dirty="0" smtClean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고객정보 </a:t>
            </a:r>
            <a:r>
              <a:rPr lang="en-US" altLang="ko-KR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Control Tower </a:t>
            </a:r>
            <a:r>
              <a:rPr lang="ko-KR" altLang="en-US" sz="1200" kern="0" dirty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latin typeface="맑은 고딕"/>
                <a:ea typeface="맑은 고딕"/>
              </a:rPr>
              <a:t>기반의 품질 및 정보보호 관리 체계 강화</a:t>
            </a:r>
            <a:endParaRPr kumimoji="0" lang="ko-KR" altLang="en-US" sz="1200" u="none" strike="noStrike" kern="0" cap="none" spc="0" normalizeH="0" baseline="0" noProof="0" dirty="0">
              <a:ln>
                <a:solidFill>
                  <a:srgbClr val="FFD200">
                    <a:alpha val="0"/>
                  </a:srgbClr>
                </a:solidFill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5" name="Rectangle 89"/>
          <p:cNvSpPr/>
          <p:nvPr>
            <p:custDataLst>
              <p:tags r:id="rId6"/>
            </p:custDataLst>
          </p:nvPr>
        </p:nvSpPr>
        <p:spPr>
          <a:xfrm>
            <a:off x="7237606" y="5008880"/>
            <a:ext cx="2360919" cy="129866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고객 데이터 품질 관리 체계 확립</a:t>
            </a:r>
            <a:endParaRPr lang="en-US" altLang="ko-KR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사용자 권한 그룹 별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고객 유형 별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정보 항목 별 접근 권한에 대한 체계적 관리 및 암호화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적용 방안 수립</a:t>
            </a:r>
            <a:endParaRPr lang="ko-KR" altLang="en-US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</p:txBody>
      </p:sp>
      <p:sp>
        <p:nvSpPr>
          <p:cNvPr id="171" name="Pentagon 170"/>
          <p:cNvSpPr/>
          <p:nvPr/>
        </p:nvSpPr>
        <p:spPr>
          <a:xfrm>
            <a:off x="898235" y="2168748"/>
            <a:ext cx="1508023" cy="352872"/>
          </a:xfrm>
          <a:prstGeom prst="homePlate">
            <a:avLst>
              <a:gd name="adj" fmla="val 22002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</a:p>
        </p:txBody>
      </p:sp>
      <p:sp>
        <p:nvSpPr>
          <p:cNvPr id="172" name="Pentagon 171"/>
          <p:cNvSpPr/>
          <p:nvPr/>
        </p:nvSpPr>
        <p:spPr>
          <a:xfrm>
            <a:off x="2423632" y="2168748"/>
            <a:ext cx="1508023" cy="352872"/>
          </a:xfrm>
          <a:prstGeom prst="homePlate">
            <a:avLst>
              <a:gd name="adj" fmla="val 22002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  <a:endParaRPr lang="ko-KR" altLang="en-US" sz="11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3" name="Pentagon 172"/>
          <p:cNvSpPr/>
          <p:nvPr/>
        </p:nvSpPr>
        <p:spPr>
          <a:xfrm>
            <a:off x="3949033" y="2168748"/>
            <a:ext cx="1508023" cy="352872"/>
          </a:xfrm>
          <a:prstGeom prst="homePlate">
            <a:avLst>
              <a:gd name="adj" fmla="val 22002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기</a:t>
            </a:r>
            <a:endParaRPr lang="ko-KR" altLang="en-US" sz="11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5" name="AutoShape 557"/>
          <p:cNvSpPr>
            <a:spLocks noChangeArrowheads="1"/>
          </p:cNvSpPr>
          <p:nvPr/>
        </p:nvSpPr>
        <p:spPr bwMode="gray">
          <a:xfrm>
            <a:off x="920552" y="30085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개인정보 </a:t>
            </a:r>
            <a:r>
              <a:rPr lang="ko-KR" altLang="en-US" sz="1050" kern="0" smtClean="0">
                <a:latin typeface="맑은 고딕" pitchFamily="50" charset="-127"/>
                <a:ea typeface="맑은 고딕" pitchFamily="50" charset="-127"/>
              </a:rPr>
              <a:t>수집 절차 적정성확보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AutoShape 557"/>
          <p:cNvSpPr>
            <a:spLocks noChangeArrowheads="1"/>
          </p:cNvSpPr>
          <p:nvPr/>
        </p:nvSpPr>
        <p:spPr bwMode="gray">
          <a:xfrm>
            <a:off x="2419152" y="26275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고객정보 암호화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AutoShape 557"/>
          <p:cNvSpPr>
            <a:spLocks noChangeArrowheads="1"/>
          </p:cNvSpPr>
          <p:nvPr/>
        </p:nvSpPr>
        <p:spPr bwMode="gray">
          <a:xfrm>
            <a:off x="2419152" y="30085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고객정보 접근제어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8" name="AutoShape 557"/>
          <p:cNvSpPr>
            <a:spLocks noChangeArrowheads="1"/>
          </p:cNvSpPr>
          <p:nvPr/>
        </p:nvSpPr>
        <p:spPr bwMode="gray">
          <a:xfrm>
            <a:off x="4006652" y="26275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거래종료고객관리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9" name="AutoShape 557"/>
          <p:cNvSpPr>
            <a:spLocks noChangeArrowheads="1"/>
          </p:cNvSpPr>
          <p:nvPr/>
        </p:nvSpPr>
        <p:spPr bwMode="gray">
          <a:xfrm>
            <a:off x="4006652" y="29831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고객정보파기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0" name="타원 90"/>
          <p:cNvSpPr/>
          <p:nvPr/>
        </p:nvSpPr>
        <p:spPr bwMode="auto">
          <a:xfrm>
            <a:off x="697285" y="2132856"/>
            <a:ext cx="217487" cy="215900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</a:pPr>
            <a:r>
              <a:rPr lang="en-US" altLang="ko-KR" sz="10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181" name="AutoShape 557"/>
          <p:cNvSpPr>
            <a:spLocks noChangeArrowheads="1"/>
          </p:cNvSpPr>
          <p:nvPr/>
        </p:nvSpPr>
        <p:spPr bwMode="gray">
          <a:xfrm>
            <a:off x="920552" y="2627536"/>
            <a:ext cx="1331912" cy="298450"/>
          </a:xfrm>
          <a:prstGeom prst="roundRect">
            <a:avLst>
              <a:gd name="adj" fmla="val 31000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algn="ctr" eaLnBrk="0" fontAlgn="auto" latinLnBrk="0" hangingPunct="0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defRPr/>
            </a:pPr>
            <a:r>
              <a:rPr lang="ko-KR" altLang="en-US" sz="1050" kern="0" dirty="0" smtClean="0">
                <a:latin typeface="맑은 고딕" pitchFamily="50" charset="-127"/>
                <a:ea typeface="맑은 고딕" pitchFamily="50" charset="-127"/>
              </a:rPr>
              <a:t>고객정보 </a:t>
            </a:r>
            <a:r>
              <a:rPr lang="ko-KR" altLang="en-US" sz="1050" kern="0" smtClean="0">
                <a:latin typeface="맑은 고딕" pitchFamily="50" charset="-127"/>
                <a:ea typeface="맑은 고딕" pitchFamily="50" charset="-127"/>
              </a:rPr>
              <a:t>정확성 확보</a:t>
            </a:r>
            <a:endParaRPr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위쪽 화살표 234"/>
          <p:cNvSpPr/>
          <p:nvPr/>
        </p:nvSpPr>
        <p:spPr bwMode="auto">
          <a:xfrm rot="10800000">
            <a:off x="2818185" y="3391569"/>
            <a:ext cx="360362" cy="252413"/>
          </a:xfrm>
          <a:prstGeom prst="upArrow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indent="-92075" algn="ctr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3" name="TextBox 88"/>
          <p:cNvSpPr txBox="1">
            <a:spLocks noChangeArrowheads="1"/>
          </p:cNvSpPr>
          <p:nvPr/>
        </p:nvSpPr>
        <p:spPr bwMode="auto">
          <a:xfrm>
            <a:off x="3451672" y="3369344"/>
            <a:ext cx="133191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가는각진제목체" pitchFamily="18" charset="-127"/>
              </a:defRPr>
            </a:lvl9pPr>
          </a:lstStyle>
          <a:p>
            <a:pPr algn="ctr" eaLnBrk="1" latinLnBrk="0" hangingPunct="1">
              <a:lnSpc>
                <a:spcPct val="110000"/>
              </a:lnSpc>
              <a:spcBef>
                <a:spcPct val="50000"/>
              </a:spcBef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정보 관리의 가시성 확보</a:t>
            </a: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6" name="그룹 7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81" name="그룹 80"/>
          <p:cNvGrpSpPr/>
          <p:nvPr/>
        </p:nvGrpSpPr>
        <p:grpSpPr>
          <a:xfrm>
            <a:off x="488504" y="1620301"/>
            <a:ext cx="5105695" cy="352800"/>
            <a:chOff x="1397655" y="1982397"/>
            <a:chExt cx="4014787" cy="365811"/>
          </a:xfrm>
        </p:grpSpPr>
        <p:sp>
          <p:nvSpPr>
            <p:cNvPr id="82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dirty="0">
                  <a:latin typeface="맑은 고딕"/>
                  <a:ea typeface="맑은 고딕"/>
                </a:rPr>
                <a:t>개인정보보호 기반의 고객정보 </a:t>
              </a:r>
              <a:r>
                <a:rPr kumimoji="0" lang="en-US" altLang="ko-KR" sz="1300" kern="0" dirty="0">
                  <a:latin typeface="맑은 고딕"/>
                  <a:ea typeface="맑은 고딕"/>
                </a:rPr>
                <a:t>Lifecycle </a:t>
              </a:r>
              <a:r>
                <a:rPr kumimoji="0" lang="ko-KR" altLang="en-US" sz="1300" kern="0" dirty="0">
                  <a:latin typeface="맑은 고딕"/>
                  <a:ea typeface="맑은 고딕"/>
                </a:rPr>
                <a:t>관리</a:t>
              </a:r>
            </a:p>
          </p:txBody>
        </p:sp>
        <p:sp>
          <p:nvSpPr>
            <p:cNvPr id="83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99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통합대상 고객정보 기준을 수립하여 고객정보 통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상 영역 및 항목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487785" y="2282060"/>
            <a:ext cx="9034078" cy="3682193"/>
            <a:chOff x="664039" y="2601832"/>
            <a:chExt cx="8681571" cy="3347448"/>
          </a:xfrm>
        </p:grpSpPr>
        <p:sp>
          <p:nvSpPr>
            <p:cNvPr id="75" name="Text Box 7"/>
            <p:cNvSpPr txBox="1">
              <a:spLocks noChangeArrowheads="1"/>
            </p:cNvSpPr>
            <p:nvPr/>
          </p:nvSpPr>
          <p:spPr bwMode="gray">
            <a:xfrm>
              <a:off x="664039" y="2653238"/>
              <a:ext cx="3056237" cy="3296042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rgbClr val="91919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lvl1pPr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4358691" y="2601832"/>
              <a:ext cx="4986919" cy="3334477"/>
              <a:chOff x="2680451" y="1915860"/>
              <a:chExt cx="5033563" cy="3564000"/>
            </a:xfrm>
          </p:grpSpPr>
          <p:sp>
            <p:nvSpPr>
              <p:cNvPr id="78" name="모서리가 둥근 직사각형 38"/>
              <p:cNvSpPr/>
              <p:nvPr/>
            </p:nvSpPr>
            <p:spPr>
              <a:xfrm>
                <a:off x="2680451" y="1915860"/>
                <a:ext cx="5033563" cy="3564000"/>
              </a:xfrm>
              <a:prstGeom prst="roundRect">
                <a:avLst>
                  <a:gd name="adj" fmla="val 1617"/>
                </a:avLst>
              </a:prstGeom>
              <a:solidFill>
                <a:srgbClr val="FFFFFF">
                  <a:lumMod val="95000"/>
                </a:srgbClr>
              </a:solidFill>
              <a:ln w="19050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rtlCol="0" anchor="t"/>
              <a:lstStyle/>
              <a:p>
                <a:pPr marL="0" marR="0" lvl="0" indent="0" algn="ctr" defTabSz="914400" eaLnBrk="0" fontAlgn="auto" latinLnBrk="0" hangingPunct="0">
                  <a:lnSpc>
                    <a:spcPct val="110000"/>
                  </a:lnSpc>
                  <a:spcBef>
                    <a:spcPts val="60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/>
                </a:endParaRPr>
              </a:p>
            </p:txBody>
          </p:sp>
          <p:sp>
            <p:nvSpPr>
              <p:cNvPr id="79" name="Rectangle 26"/>
              <p:cNvSpPr>
                <a:spLocks noChangeArrowheads="1"/>
              </p:cNvSpPr>
              <p:nvPr/>
            </p:nvSpPr>
            <p:spPr bwMode="auto">
              <a:xfrm>
                <a:off x="2812137" y="2018127"/>
                <a:ext cx="1143000" cy="1071562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0" name="Rectangle 27"/>
              <p:cNvSpPr>
                <a:spLocks noChangeArrowheads="1"/>
              </p:cNvSpPr>
              <p:nvPr/>
            </p:nvSpPr>
            <p:spPr bwMode="auto">
              <a:xfrm>
                <a:off x="4024987" y="2018127"/>
                <a:ext cx="1141412" cy="1071562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1" name="Rectangle 28"/>
              <p:cNvSpPr>
                <a:spLocks noChangeArrowheads="1"/>
              </p:cNvSpPr>
              <p:nvPr/>
            </p:nvSpPr>
            <p:spPr bwMode="auto">
              <a:xfrm>
                <a:off x="5236249" y="2018127"/>
                <a:ext cx="1143000" cy="1071562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2" name="Rectangle 29"/>
              <p:cNvSpPr>
                <a:spLocks noChangeArrowheads="1"/>
              </p:cNvSpPr>
              <p:nvPr/>
            </p:nvSpPr>
            <p:spPr bwMode="auto">
              <a:xfrm>
                <a:off x="6449099" y="2018127"/>
                <a:ext cx="1141413" cy="1071562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3" name="Rectangle 30"/>
              <p:cNvSpPr>
                <a:spLocks noChangeArrowheads="1"/>
              </p:cNvSpPr>
              <p:nvPr/>
            </p:nvSpPr>
            <p:spPr bwMode="auto">
              <a:xfrm>
                <a:off x="2815312" y="3156364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4" name="Rectangle 31"/>
              <p:cNvSpPr>
                <a:spLocks noChangeArrowheads="1"/>
              </p:cNvSpPr>
              <p:nvPr/>
            </p:nvSpPr>
            <p:spPr bwMode="auto">
              <a:xfrm>
                <a:off x="4024987" y="3156364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5" name="Rectangle 32"/>
              <p:cNvSpPr>
                <a:spLocks noChangeArrowheads="1"/>
              </p:cNvSpPr>
              <p:nvPr/>
            </p:nvSpPr>
            <p:spPr bwMode="auto">
              <a:xfrm>
                <a:off x="5236249" y="3156364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6" name="Rectangle 33"/>
              <p:cNvSpPr>
                <a:spLocks noChangeArrowheads="1"/>
              </p:cNvSpPr>
              <p:nvPr/>
            </p:nvSpPr>
            <p:spPr bwMode="auto">
              <a:xfrm>
                <a:off x="6449099" y="3156364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7" name="Rectangle 34"/>
              <p:cNvSpPr>
                <a:spLocks noChangeArrowheads="1"/>
              </p:cNvSpPr>
              <p:nvPr/>
            </p:nvSpPr>
            <p:spPr bwMode="auto">
              <a:xfrm>
                <a:off x="2812137" y="4297777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8" name="Rectangle 35"/>
              <p:cNvSpPr>
                <a:spLocks noChangeArrowheads="1"/>
              </p:cNvSpPr>
              <p:nvPr/>
            </p:nvSpPr>
            <p:spPr bwMode="auto">
              <a:xfrm>
                <a:off x="4024987" y="4297777"/>
                <a:ext cx="1141412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89" name="Rectangle 36"/>
              <p:cNvSpPr>
                <a:spLocks noChangeArrowheads="1"/>
              </p:cNvSpPr>
              <p:nvPr/>
            </p:nvSpPr>
            <p:spPr bwMode="auto">
              <a:xfrm>
                <a:off x="5236249" y="4297777"/>
                <a:ext cx="1143000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90" name="Rectangle 37"/>
              <p:cNvSpPr>
                <a:spLocks noChangeArrowheads="1"/>
              </p:cNvSpPr>
              <p:nvPr/>
            </p:nvSpPr>
            <p:spPr bwMode="auto">
              <a:xfrm>
                <a:off x="6449099" y="4297777"/>
                <a:ext cx="1141413" cy="1073150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맑은 고딕" pitchFamily="50" charset="-127"/>
                </a:endParaRPr>
              </a:p>
            </p:txBody>
          </p:sp>
          <p:sp>
            <p:nvSpPr>
              <p:cNvPr id="91" name="Text Box 38"/>
              <p:cNvSpPr txBox="1">
                <a:spLocks noChangeArrowheads="1"/>
              </p:cNvSpPr>
              <p:nvPr/>
            </p:nvSpPr>
            <p:spPr bwMode="auto">
              <a:xfrm>
                <a:off x="2839124" y="2035589"/>
                <a:ext cx="1089025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공통  정보</a:t>
                </a:r>
              </a:p>
            </p:txBody>
          </p:sp>
          <p:sp>
            <p:nvSpPr>
              <p:cNvPr id="92" name="Text Box 39"/>
              <p:cNvSpPr txBox="1">
                <a:spLocks noChangeArrowheads="1"/>
              </p:cNvSpPr>
              <p:nvPr/>
            </p:nvSpPr>
            <p:spPr bwMode="auto">
              <a:xfrm>
                <a:off x="4051973" y="2035589"/>
                <a:ext cx="1087438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 고객  정보</a:t>
                </a:r>
              </a:p>
            </p:txBody>
          </p:sp>
          <p:sp>
            <p:nvSpPr>
              <p:cNvPr id="93" name="Text Box 40"/>
              <p:cNvSpPr txBox="1">
                <a:spLocks noChangeArrowheads="1"/>
              </p:cNvSpPr>
              <p:nvPr/>
            </p:nvSpPr>
            <p:spPr bwMode="auto">
              <a:xfrm>
                <a:off x="5263237" y="2035589"/>
                <a:ext cx="1089025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 고객  정보</a:t>
                </a:r>
              </a:p>
            </p:txBody>
          </p:sp>
          <p:sp>
            <p:nvSpPr>
              <p:cNvPr id="94" name="Text Box 41"/>
              <p:cNvSpPr txBox="1">
                <a:spLocks noChangeArrowheads="1"/>
              </p:cNvSpPr>
              <p:nvPr/>
            </p:nvSpPr>
            <p:spPr bwMode="auto">
              <a:xfrm>
                <a:off x="6476087" y="2035589"/>
                <a:ext cx="1089025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관계  정보</a:t>
                </a:r>
              </a:p>
            </p:txBody>
          </p:sp>
          <p:sp>
            <p:nvSpPr>
              <p:cNvPr id="95" name="Text Box 42"/>
              <p:cNvSpPr txBox="1">
                <a:spLocks noChangeArrowheads="1"/>
              </p:cNvSpPr>
              <p:nvPr/>
            </p:nvSpPr>
            <p:spPr bwMode="auto">
              <a:xfrm>
                <a:off x="5263237" y="4315239"/>
                <a:ext cx="1089025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상품  정보</a:t>
                </a:r>
              </a:p>
            </p:txBody>
          </p:sp>
          <p:sp>
            <p:nvSpPr>
              <p:cNvPr id="96" name="Text Box 43"/>
              <p:cNvSpPr txBox="1">
                <a:spLocks noChangeArrowheads="1"/>
              </p:cNvSpPr>
              <p:nvPr/>
            </p:nvSpPr>
            <p:spPr bwMode="auto">
              <a:xfrm>
                <a:off x="2839124" y="4315239"/>
                <a:ext cx="1103313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외부 기관 정보</a:t>
                </a:r>
              </a:p>
            </p:txBody>
          </p:sp>
          <p:sp>
            <p:nvSpPr>
              <p:cNvPr id="97" name="Text Box 44"/>
              <p:cNvSpPr txBox="1">
                <a:spLocks noChangeArrowheads="1"/>
              </p:cNvSpPr>
              <p:nvPr/>
            </p:nvSpPr>
            <p:spPr bwMode="auto">
              <a:xfrm>
                <a:off x="5250537" y="3166524"/>
                <a:ext cx="1114425" cy="2520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조직</a:t>
                </a:r>
                <a:r>
                  <a:rPr kumimoji="0" lang="en-US" altLang="ko-KR" sz="10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10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채널  정보</a:t>
                </a:r>
              </a:p>
            </p:txBody>
          </p:sp>
          <p:sp>
            <p:nvSpPr>
              <p:cNvPr id="98" name="Text Box 45"/>
              <p:cNvSpPr txBox="1">
                <a:spLocks noChangeArrowheads="1"/>
              </p:cNvSpPr>
              <p:nvPr/>
            </p:nvSpPr>
            <p:spPr bwMode="auto">
              <a:xfrm>
                <a:off x="4044037" y="4315239"/>
                <a:ext cx="1103312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분석 정보</a:t>
                </a:r>
              </a:p>
            </p:txBody>
          </p:sp>
          <p:sp>
            <p:nvSpPr>
              <p:cNvPr id="99" name="Text Box 46"/>
              <p:cNvSpPr txBox="1">
                <a:spLocks noChangeArrowheads="1"/>
              </p:cNvSpPr>
              <p:nvPr/>
            </p:nvSpPr>
            <p:spPr bwMode="auto">
              <a:xfrm>
                <a:off x="2839124" y="3166524"/>
                <a:ext cx="1089025" cy="2520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접촉  정보</a:t>
                </a:r>
              </a:p>
            </p:txBody>
          </p:sp>
          <p:sp>
            <p:nvSpPr>
              <p:cNvPr id="100" name="Text Box 47"/>
              <p:cNvSpPr txBox="1">
                <a:spLocks noChangeArrowheads="1"/>
              </p:cNvSpPr>
              <p:nvPr/>
            </p:nvSpPr>
            <p:spPr bwMode="auto">
              <a:xfrm>
                <a:off x="6476087" y="3166524"/>
                <a:ext cx="1089025" cy="2520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신용  정보</a:t>
                </a:r>
              </a:p>
            </p:txBody>
          </p:sp>
          <p:sp>
            <p:nvSpPr>
              <p:cNvPr id="101" name="Text Box 48"/>
              <p:cNvSpPr txBox="1">
                <a:spLocks noChangeArrowheads="1"/>
              </p:cNvSpPr>
              <p:nvPr/>
            </p:nvSpPr>
            <p:spPr bwMode="auto">
              <a:xfrm>
                <a:off x="4051973" y="3166524"/>
                <a:ext cx="1087438" cy="2520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sng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캠페인  정보</a:t>
                </a:r>
              </a:p>
            </p:txBody>
          </p:sp>
          <p:sp>
            <p:nvSpPr>
              <p:cNvPr id="102" name="Text Box 49"/>
              <p:cNvSpPr txBox="1">
                <a:spLocks noChangeArrowheads="1"/>
              </p:cNvSpPr>
              <p:nvPr/>
            </p:nvSpPr>
            <p:spPr bwMode="auto">
              <a:xfrm>
                <a:off x="6491962" y="4315239"/>
                <a:ext cx="1044575" cy="246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none"/>
              <a:lstStyle>
                <a:lvl1pPr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sng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타 정보</a:t>
                </a:r>
              </a:p>
            </p:txBody>
          </p:sp>
          <p:sp>
            <p:nvSpPr>
              <p:cNvPr id="103" name="Text Box 67"/>
              <p:cNvSpPr txBox="1">
                <a:spLocks noChangeArrowheads="1"/>
              </p:cNvSpPr>
              <p:nvPr/>
            </p:nvSpPr>
            <p:spPr bwMode="auto">
              <a:xfrm>
                <a:off x="2839124" y="2235614"/>
                <a:ext cx="1041400" cy="7477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행 고객 번호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명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거래자 구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국가 코드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화번호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주소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4" name="Text Box 72"/>
              <p:cNvSpPr txBox="1">
                <a:spLocks noChangeArrowheads="1"/>
              </p:cNvSpPr>
              <p:nvPr/>
            </p:nvSpPr>
            <p:spPr bwMode="auto">
              <a:xfrm>
                <a:off x="4051973" y="2235614"/>
                <a:ext cx="1073150" cy="5207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생년월일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결혼 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기념일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직업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/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직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연소득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주거 형태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보호 정보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5" name="Text Box 73"/>
              <p:cNvSpPr txBox="1">
                <a:spLocks noChangeArrowheads="1"/>
              </p:cNvSpPr>
              <p:nvPr/>
            </p:nvSpPr>
            <p:spPr bwMode="auto">
              <a:xfrm>
                <a:off x="5263237" y="2235614"/>
                <a:ext cx="1042988" cy="557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설립일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업종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 형태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 규모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종업원수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모기업 법인번호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6" name="Text Box 74"/>
              <p:cNvSpPr txBox="1">
                <a:spLocks noChangeArrowheads="1"/>
              </p:cNvSpPr>
              <p:nvPr/>
            </p:nvSpPr>
            <p:spPr bwMode="auto">
              <a:xfrm>
                <a:off x="6476087" y="2235614"/>
                <a:ext cx="1042987" cy="7223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법인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: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 관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: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 관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업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: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 관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: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 관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7" name="Text Box 75"/>
              <p:cNvSpPr txBox="1">
                <a:spLocks noChangeArrowheads="1"/>
              </p:cNvSpPr>
              <p:nvPr/>
            </p:nvSpPr>
            <p:spPr bwMode="auto">
              <a:xfrm>
                <a:off x="5263237" y="4516852"/>
                <a:ext cx="1093788" cy="7699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보유 상품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자 납입 주기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차기 이자 납입일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만기 정보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8" name="Text Box 78"/>
              <p:cNvSpPr txBox="1">
                <a:spLocks noChangeArrowheads="1"/>
              </p:cNvSpPr>
              <p:nvPr/>
            </p:nvSpPr>
            <p:spPr bwMode="auto">
              <a:xfrm>
                <a:off x="2839124" y="4512089"/>
                <a:ext cx="1073150" cy="3175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은행연합회 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CRT 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한국신용평가 정보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KCB 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Cretop </a:t>
                </a: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</a:t>
                </a:r>
              </a:p>
            </p:txBody>
          </p:sp>
          <p:sp>
            <p:nvSpPr>
              <p:cNvPr id="109" name="Text Box 79"/>
              <p:cNvSpPr txBox="1">
                <a:spLocks noChangeArrowheads="1"/>
              </p:cNvSpPr>
              <p:nvPr/>
            </p:nvSpPr>
            <p:spPr bwMode="auto">
              <a:xfrm>
                <a:off x="5250537" y="3379871"/>
                <a:ext cx="1042988" cy="8121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담당 영업점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유관 부서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채널관계 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채널 활용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선호 채널 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0" name="Text Box 80"/>
              <p:cNvSpPr txBox="1">
                <a:spLocks noChangeArrowheads="1"/>
              </p:cNvSpPr>
              <p:nvPr/>
            </p:nvSpPr>
            <p:spPr bwMode="auto">
              <a:xfrm>
                <a:off x="4044037" y="4516852"/>
                <a:ext cx="1042988" cy="7254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</a:t>
                </a: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Segment</a:t>
                </a: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선호도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추천상품</a:t>
                </a: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endParaRPr kumimoji="0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1" name="Text Box 82"/>
              <p:cNvSpPr txBox="1">
                <a:spLocks noChangeArrowheads="1"/>
              </p:cNvSpPr>
              <p:nvPr/>
            </p:nvSpPr>
            <p:spPr bwMode="auto">
              <a:xfrm>
                <a:off x="2839124" y="3379872"/>
                <a:ext cx="1080000" cy="7351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상담 정보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민원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불만 내용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민원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불만 대응 내역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안내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설문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2" name="Text Box 83"/>
              <p:cNvSpPr txBox="1">
                <a:spLocks noChangeArrowheads="1"/>
              </p:cNvSpPr>
              <p:nvPr/>
            </p:nvSpPr>
            <p:spPr bwMode="auto">
              <a:xfrm>
                <a:off x="6476087" y="3379871"/>
                <a:ext cx="1073150" cy="5207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적용 신용 평가 모형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ASS / BSS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스코어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문가 평가 등급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 신용 등급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3" name="Text Box 84"/>
              <p:cNvSpPr txBox="1">
                <a:spLocks noChangeArrowheads="1"/>
              </p:cNvSpPr>
              <p:nvPr/>
            </p:nvSpPr>
            <p:spPr bwMode="auto">
              <a:xfrm>
                <a:off x="4051973" y="3379871"/>
                <a:ext cx="1042988" cy="5207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캠페인 식별 번호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캠페인 수행 내역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캠페인 반응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DM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반송사유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E-mail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반송 사유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연계 가입 여부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4" name="Text Box 85"/>
              <p:cNvSpPr txBox="1">
                <a:spLocks noChangeArrowheads="1"/>
              </p:cNvSpPr>
              <p:nvPr/>
            </p:nvSpPr>
            <p:spPr bwMode="auto">
              <a:xfrm>
                <a:off x="6485612" y="4508914"/>
                <a:ext cx="1042987" cy="3175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82550" marR="0" lvl="0" indent="-8255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•"/>
                  <a:tabLst/>
                  <a:defRPr/>
                </a:pPr>
                <a:endParaRPr kumimoji="0" lang="en-US" altLang="ko-KR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5" name="Text Box 83"/>
              <p:cNvSpPr txBox="1">
                <a:spLocks noChangeArrowheads="1"/>
              </p:cNvSpPr>
              <p:nvPr/>
            </p:nvSpPr>
            <p:spPr bwMode="auto">
              <a:xfrm>
                <a:off x="6485612" y="4522028"/>
                <a:ext cx="1073150" cy="5207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lIns="18000" rIns="18000"/>
              <a:lstStyle>
                <a:lvl1pPr marL="82550" indent="-825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1pPr>
                <a:lvl2pPr marL="742950" indent="-28575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2pPr>
                <a:lvl3pPr marL="11430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3pPr>
                <a:lvl4pPr marL="16002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4pPr>
                <a:lvl5pPr marL="2057400" indent="-228600" eaLnBrk="0" hangingPunct="0"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Arial" pitchFamily="34" charset="0"/>
                    <a:ea typeface="가는각진제목체" charset="-127"/>
                  </a:defRPr>
                </a:lvl9pPr>
              </a:lstStyle>
              <a:p>
                <a:pPr marL="82550" marR="0" lvl="0" indent="-8255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80808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……</a:t>
                </a:r>
              </a:p>
            </p:txBody>
          </p:sp>
        </p:grpSp>
        <p:sp>
          <p:nvSpPr>
            <p:cNvPr id="116" name="Rectangle 9"/>
            <p:cNvSpPr>
              <a:spLocks noChangeArrowheads="1"/>
            </p:cNvSpPr>
            <p:nvPr/>
          </p:nvSpPr>
          <p:spPr bwMode="auto">
            <a:xfrm>
              <a:off x="1115832" y="3316610"/>
              <a:ext cx="2152650" cy="46831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46464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charset="0"/>
                </a:rPr>
                <a:t>전사적으로 공통적으로 활용가치가 있는 고객정보</a:t>
              </a:r>
            </a:p>
          </p:txBody>
        </p:sp>
        <p:sp>
          <p:nvSpPr>
            <p:cNvPr id="117" name="Rectangle 10"/>
            <p:cNvSpPr>
              <a:spLocks noChangeArrowheads="1"/>
            </p:cNvSpPr>
            <p:nvPr/>
          </p:nvSpPr>
          <p:spPr bwMode="auto">
            <a:xfrm>
              <a:off x="1115832" y="4214550"/>
              <a:ext cx="2152650" cy="46196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46464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charset="0"/>
                </a:rPr>
                <a:t>접점의 고객응대역량 강화를 위해 필요한 고객정보</a:t>
              </a:r>
            </a:p>
          </p:txBody>
        </p:sp>
        <p:sp>
          <p:nvSpPr>
            <p:cNvPr id="118" name="Rectangle 11"/>
            <p:cNvSpPr>
              <a:spLocks noChangeArrowheads="1"/>
            </p:cNvSpPr>
            <p:nvPr/>
          </p:nvSpPr>
          <p:spPr bwMode="auto">
            <a:xfrm>
              <a:off x="1115832" y="5106140"/>
              <a:ext cx="2152650" cy="46355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46464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charset="0"/>
                </a:rPr>
                <a:t>고객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charset="0"/>
                </a:rPr>
                <a:t>Insight 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 charset="0"/>
                </a:rPr>
                <a:t>강화를 위해 필요한 고객정보</a:t>
              </a:r>
            </a:p>
          </p:txBody>
        </p:sp>
        <p:sp>
          <p:nvSpPr>
            <p:cNvPr id="119" name="AutoShape 31"/>
            <p:cNvSpPr>
              <a:spLocks noChangeArrowheads="1"/>
            </p:cNvSpPr>
            <p:nvPr/>
          </p:nvSpPr>
          <p:spPr bwMode="gray">
            <a:xfrm rot="5400000">
              <a:off x="3044968" y="4260880"/>
              <a:ext cx="1884363" cy="228600"/>
            </a:xfrm>
            <a:prstGeom prst="triangle">
              <a:avLst>
                <a:gd name="adj" fmla="val 50000"/>
              </a:avLst>
            </a:prstGeom>
            <a:solidFill>
              <a:srgbClr val="FFFFFF">
                <a:lumMod val="85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0" name="Text Box 8"/>
            <p:cNvSpPr txBox="1">
              <a:spLocks noChangeArrowheads="1"/>
            </p:cNvSpPr>
            <p:nvPr/>
          </p:nvSpPr>
          <p:spPr bwMode="auto">
            <a:xfrm>
              <a:off x="1269424" y="2896074"/>
              <a:ext cx="1845466" cy="1958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spcBef>
                  <a:spcPct val="0"/>
                </a:spcBef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algn="l">
                <a:spcBef>
                  <a:spcPct val="0"/>
                </a:spcBef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algn="l">
                <a:spcBef>
                  <a:spcPct val="0"/>
                </a:spcBef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latinLnBrk="0">
                <a:spcAft>
                  <a:spcPct val="15000"/>
                </a:spcAft>
                <a:buClr>
                  <a:srgbClr val="000000"/>
                </a:buClr>
                <a:buFont typeface="Times" pitchFamily="18" charset="0"/>
                <a:buNone/>
              </a:pPr>
              <a:r>
                <a:rPr lang="ko-KR" altLang="en-US" sz="140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통합대상 고객정보 정의</a:t>
              </a:r>
            </a:p>
          </p:txBody>
        </p:sp>
      </p:grpSp>
      <p:grpSp>
        <p:nvGrpSpPr>
          <p:cNvPr id="12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26" name="TextBox 12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 및 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ngle-View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현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 고객정보 대상 항목 정의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27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9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70" name="TextBox 6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1" name="그룹 12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2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2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4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542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 여러 원장에 분산되어 있는 고객정보의 효율적인 관리를 위하여 정보보호 필요성과 업무 통합 필요성에 따라 고객정보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지 유형으로 정의하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류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25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26" name="TextBox 12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 및 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ngle-View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현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형별 고객정보 통합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27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1" name="Group 190"/>
          <p:cNvGrpSpPr/>
          <p:nvPr/>
        </p:nvGrpSpPr>
        <p:grpSpPr>
          <a:xfrm>
            <a:off x="426719" y="2132856"/>
            <a:ext cx="6728824" cy="3253062"/>
            <a:chOff x="2393281" y="2381088"/>
            <a:chExt cx="6808191" cy="3304824"/>
          </a:xfrm>
        </p:grpSpPr>
        <p:sp>
          <p:nvSpPr>
            <p:cNvPr id="192" name="양쪽 모서리가 둥근 사각형 72"/>
            <p:cNvSpPr/>
            <p:nvPr/>
          </p:nvSpPr>
          <p:spPr>
            <a:xfrm>
              <a:off x="3066234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개인정보</a:t>
              </a:r>
            </a:p>
          </p:txBody>
        </p:sp>
        <p:sp>
          <p:nvSpPr>
            <p:cNvPr id="193" name="양쪽 모서리가 둥근 사각형 75"/>
            <p:cNvSpPr/>
            <p:nvPr/>
          </p:nvSpPr>
          <p:spPr>
            <a:xfrm>
              <a:off x="3940465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동의 이력</a:t>
              </a:r>
            </a:p>
          </p:txBody>
        </p:sp>
        <p:sp>
          <p:nvSpPr>
            <p:cNvPr id="194" name="양쪽 모서리가 둥근 사각형 83"/>
            <p:cNvSpPr/>
            <p:nvPr/>
          </p:nvSpPr>
          <p:spPr>
            <a:xfrm>
              <a:off x="4814696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계약</a:t>
              </a:r>
            </a:p>
          </p:txBody>
        </p:sp>
        <p:sp>
          <p:nvSpPr>
            <p:cNvPr id="195" name="양쪽 모서리가 둥근 사각형 86"/>
            <p:cNvSpPr/>
            <p:nvPr/>
          </p:nvSpPr>
          <p:spPr>
            <a:xfrm>
              <a:off x="5688926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접촉 이력</a:t>
              </a:r>
            </a:p>
          </p:txBody>
        </p:sp>
        <p:sp>
          <p:nvSpPr>
            <p:cNvPr id="196" name="양쪽 모서리가 둥근 사각형 87"/>
            <p:cNvSpPr/>
            <p:nvPr/>
          </p:nvSpPr>
          <p:spPr>
            <a:xfrm>
              <a:off x="6563157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분석요약</a:t>
              </a:r>
            </a:p>
          </p:txBody>
        </p:sp>
        <p:sp>
          <p:nvSpPr>
            <p:cNvPr id="197" name="양쪽 모서리가 둥근 사각형 100"/>
            <p:cNvSpPr/>
            <p:nvPr/>
          </p:nvSpPr>
          <p:spPr>
            <a:xfrm>
              <a:off x="7437387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wrap="none"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신용정보</a:t>
              </a:r>
              <a:endParaRPr lang="ko-KR" altLang="en-US" sz="90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98" name="양쪽 모서리가 둥근 사각형 101"/>
            <p:cNvSpPr/>
            <p:nvPr/>
          </p:nvSpPr>
          <p:spPr>
            <a:xfrm>
              <a:off x="8311617" y="2381088"/>
              <a:ext cx="850641" cy="218856"/>
            </a:xfrm>
            <a:prstGeom prst="round2SameRect">
              <a:avLst/>
            </a:prstGeom>
            <a:solidFill>
              <a:srgbClr val="9BBB59">
                <a:lumMod val="20000"/>
                <a:lumOff val="80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wrap="none"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en-US" altLang="ko-KR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…</a:t>
              </a:r>
              <a:endParaRPr lang="ko-KR" altLang="en-US" sz="90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199" name="직사각형 104"/>
            <p:cNvSpPr/>
            <p:nvPr/>
          </p:nvSpPr>
          <p:spPr>
            <a:xfrm>
              <a:off x="3942022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0" name="직사각형 109"/>
            <p:cNvSpPr/>
            <p:nvPr/>
          </p:nvSpPr>
          <p:spPr>
            <a:xfrm>
              <a:off x="3066233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1" name="모서리가 둥근 직사각형 120"/>
            <p:cNvSpPr/>
            <p:nvPr/>
          </p:nvSpPr>
          <p:spPr>
            <a:xfrm>
              <a:off x="2982462" y="2610104"/>
              <a:ext cx="6219010" cy="1527595"/>
            </a:xfrm>
            <a:prstGeom prst="roundRect">
              <a:avLst>
                <a:gd name="adj" fmla="val 1617"/>
              </a:avLst>
            </a:prstGeom>
            <a:noFill/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2" name="모서리가 둥근 직사각형 121"/>
            <p:cNvSpPr/>
            <p:nvPr/>
          </p:nvSpPr>
          <p:spPr>
            <a:xfrm>
              <a:off x="2982462" y="4180320"/>
              <a:ext cx="6219010" cy="703249"/>
            </a:xfrm>
            <a:prstGeom prst="roundRect">
              <a:avLst>
                <a:gd name="adj" fmla="val 1617"/>
              </a:avLst>
            </a:prstGeom>
            <a:noFill/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3" name="모서리가 둥근 직사각형 122"/>
            <p:cNvSpPr/>
            <p:nvPr/>
          </p:nvSpPr>
          <p:spPr>
            <a:xfrm>
              <a:off x="2982462" y="4926190"/>
              <a:ext cx="6219010" cy="703249"/>
            </a:xfrm>
            <a:prstGeom prst="roundRect">
              <a:avLst>
                <a:gd name="adj" fmla="val 1617"/>
              </a:avLst>
            </a:prstGeom>
            <a:noFill/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4" name="모서리가 둥근 직사각형 124"/>
            <p:cNvSpPr/>
            <p:nvPr/>
          </p:nvSpPr>
          <p:spPr>
            <a:xfrm>
              <a:off x="2393281" y="2610104"/>
              <a:ext cx="624396" cy="1527595"/>
            </a:xfrm>
            <a:prstGeom prst="roundRect">
              <a:avLst>
                <a:gd name="adj" fmla="val 1617"/>
              </a:avLst>
            </a:prstGeom>
            <a:solidFill>
              <a:sysClr val="window" lastClr="FFFFFF">
                <a:lumMod val="95000"/>
              </a:sysClr>
            </a:solidFill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계약 고객 및 </a:t>
              </a:r>
              <a:r>
                <a:rPr lang="en-US" altLang="ko-KR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/>
              </a:r>
              <a:br>
                <a:rPr lang="en-US" altLang="ko-KR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</a:b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잠재 고객</a:t>
              </a:r>
              <a:endParaRPr lang="ko-KR" altLang="en-US" sz="700" b="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5" name="모서리가 둥근 직사각형 125"/>
            <p:cNvSpPr/>
            <p:nvPr/>
          </p:nvSpPr>
          <p:spPr>
            <a:xfrm>
              <a:off x="2393282" y="4180320"/>
              <a:ext cx="624396" cy="703249"/>
            </a:xfrm>
            <a:prstGeom prst="roundRect">
              <a:avLst>
                <a:gd name="adj" fmla="val 1617"/>
              </a:avLst>
            </a:prstGeom>
            <a:solidFill>
              <a:sysClr val="window" lastClr="FFFFFF">
                <a:lumMod val="95000"/>
              </a:sysClr>
            </a:solidFill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이해 관계자</a:t>
              </a:r>
              <a:endParaRPr lang="ko-KR" altLang="en-US" sz="700" b="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6" name="모서리가 둥근 직사각형 126"/>
            <p:cNvSpPr/>
            <p:nvPr/>
          </p:nvSpPr>
          <p:spPr>
            <a:xfrm>
              <a:off x="2393282" y="4926190"/>
              <a:ext cx="624396" cy="703249"/>
            </a:xfrm>
            <a:prstGeom prst="roundRect">
              <a:avLst>
                <a:gd name="adj" fmla="val 1617"/>
              </a:avLst>
            </a:prstGeom>
            <a:solidFill>
              <a:sysClr val="window" lastClr="FFFFFF">
                <a:lumMod val="95000"/>
              </a:sysClr>
            </a:solidFill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비즈니스 파트너</a:t>
              </a:r>
              <a:endParaRPr lang="ko-KR" altLang="en-US" sz="700" b="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7" name="직사각형 129"/>
            <p:cNvSpPr/>
            <p:nvPr/>
          </p:nvSpPr>
          <p:spPr>
            <a:xfrm>
              <a:off x="3066233" y="2610104"/>
              <a:ext cx="1724872" cy="3019335"/>
            </a:xfrm>
            <a:prstGeom prst="rect">
              <a:avLst/>
            </a:prstGeom>
            <a:solidFill>
              <a:srgbClr val="9BBB59">
                <a:lumMod val="60000"/>
                <a:lumOff val="40000"/>
                <a:alpha val="85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전체 통합</a:t>
              </a:r>
              <a:r>
                <a:rPr lang="en-US" altLang="ko-KR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/>
              </a:r>
              <a:br>
                <a:rPr lang="en-US" altLang="ko-KR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</a:br>
              <a:r>
                <a:rPr lang="en-US" altLang="ko-KR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(</a:t>
              </a:r>
              <a:r>
                <a:rPr lang="ko-KR" altLang="en-US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정보보호 관점</a:t>
              </a:r>
              <a:r>
                <a:rPr lang="en-US" altLang="ko-KR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)</a:t>
              </a:r>
              <a:endParaRPr lang="ko-KR" altLang="en-US" sz="1100" b="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8" name="직사각형 130"/>
            <p:cNvSpPr/>
            <p:nvPr/>
          </p:nvSpPr>
          <p:spPr>
            <a:xfrm>
              <a:off x="4814696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09" name="직사각형 131"/>
            <p:cNvSpPr/>
            <p:nvPr/>
          </p:nvSpPr>
          <p:spPr>
            <a:xfrm>
              <a:off x="5688926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10" name="직사각형 132"/>
            <p:cNvSpPr/>
            <p:nvPr/>
          </p:nvSpPr>
          <p:spPr>
            <a:xfrm>
              <a:off x="6563157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11" name="직사각형 133"/>
            <p:cNvSpPr/>
            <p:nvPr/>
          </p:nvSpPr>
          <p:spPr>
            <a:xfrm>
              <a:off x="7437387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12" name="직사각형 134"/>
            <p:cNvSpPr/>
            <p:nvPr/>
          </p:nvSpPr>
          <p:spPr>
            <a:xfrm>
              <a:off x="8311617" y="2616871"/>
              <a:ext cx="850641" cy="3069041"/>
            </a:xfrm>
            <a:prstGeom prst="rect">
              <a:avLst/>
            </a:prstGeom>
            <a:noFill/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t"/>
            <a:lstStyle/>
            <a:p>
              <a:pPr algn="ctr" eaLnBrk="0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ko-KR" altLang="en-US" sz="700" b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13" name="자유형 151"/>
            <p:cNvSpPr/>
            <p:nvPr/>
          </p:nvSpPr>
          <p:spPr>
            <a:xfrm>
              <a:off x="4813950" y="2616913"/>
              <a:ext cx="4345994" cy="3020448"/>
            </a:xfrm>
            <a:custGeom>
              <a:avLst/>
              <a:gdLst>
                <a:gd name="connsiteX0" fmla="*/ 0 w 5499100"/>
                <a:gd name="connsiteY0" fmla="*/ 0 h 3416300"/>
                <a:gd name="connsiteX1" fmla="*/ 0 w 5499100"/>
                <a:gd name="connsiteY1" fmla="*/ 3416300 h 3416300"/>
                <a:gd name="connsiteX2" fmla="*/ 2184400 w 5499100"/>
                <a:gd name="connsiteY2" fmla="*/ 3409950 h 3416300"/>
                <a:gd name="connsiteX3" fmla="*/ 2184400 w 5499100"/>
                <a:gd name="connsiteY3" fmla="*/ 1727200 h 3416300"/>
                <a:gd name="connsiteX4" fmla="*/ 3289300 w 5499100"/>
                <a:gd name="connsiteY4" fmla="*/ 1727200 h 3416300"/>
                <a:gd name="connsiteX5" fmla="*/ 3289300 w 5499100"/>
                <a:gd name="connsiteY5" fmla="*/ 603250 h 3416300"/>
                <a:gd name="connsiteX6" fmla="*/ 5499100 w 5499100"/>
                <a:gd name="connsiteY6" fmla="*/ 603250 h 3416300"/>
                <a:gd name="connsiteX7" fmla="*/ 5499100 w 5499100"/>
                <a:gd name="connsiteY7" fmla="*/ 6350 h 3416300"/>
                <a:gd name="connsiteX8" fmla="*/ 0 w 5499100"/>
                <a:gd name="connsiteY8" fmla="*/ 0 h 3416300"/>
                <a:gd name="connsiteX0" fmla="*/ 185737 w 5499100"/>
                <a:gd name="connsiteY0" fmla="*/ 274637 h 3409950"/>
                <a:gd name="connsiteX1" fmla="*/ 0 w 5499100"/>
                <a:gd name="connsiteY1" fmla="*/ 3409950 h 3409950"/>
                <a:gd name="connsiteX2" fmla="*/ 2184400 w 5499100"/>
                <a:gd name="connsiteY2" fmla="*/ 3403600 h 3409950"/>
                <a:gd name="connsiteX3" fmla="*/ 2184400 w 5499100"/>
                <a:gd name="connsiteY3" fmla="*/ 1720850 h 3409950"/>
                <a:gd name="connsiteX4" fmla="*/ 3289300 w 5499100"/>
                <a:gd name="connsiteY4" fmla="*/ 1720850 h 3409950"/>
                <a:gd name="connsiteX5" fmla="*/ 3289300 w 5499100"/>
                <a:gd name="connsiteY5" fmla="*/ 596900 h 3409950"/>
                <a:gd name="connsiteX6" fmla="*/ 5499100 w 5499100"/>
                <a:gd name="connsiteY6" fmla="*/ 596900 h 3409950"/>
                <a:gd name="connsiteX7" fmla="*/ 5499100 w 5499100"/>
                <a:gd name="connsiteY7" fmla="*/ 0 h 3409950"/>
                <a:gd name="connsiteX8" fmla="*/ 185737 w 5499100"/>
                <a:gd name="connsiteY8" fmla="*/ 274637 h 3409950"/>
                <a:gd name="connsiteX0" fmla="*/ 4762 w 5499100"/>
                <a:gd name="connsiteY0" fmla="*/ 7937 h 3409950"/>
                <a:gd name="connsiteX1" fmla="*/ 0 w 5499100"/>
                <a:gd name="connsiteY1" fmla="*/ 3409950 h 3409950"/>
                <a:gd name="connsiteX2" fmla="*/ 2184400 w 5499100"/>
                <a:gd name="connsiteY2" fmla="*/ 3403600 h 3409950"/>
                <a:gd name="connsiteX3" fmla="*/ 2184400 w 5499100"/>
                <a:gd name="connsiteY3" fmla="*/ 1720850 h 3409950"/>
                <a:gd name="connsiteX4" fmla="*/ 3289300 w 5499100"/>
                <a:gd name="connsiteY4" fmla="*/ 1720850 h 3409950"/>
                <a:gd name="connsiteX5" fmla="*/ 3289300 w 5499100"/>
                <a:gd name="connsiteY5" fmla="*/ 596900 h 3409950"/>
                <a:gd name="connsiteX6" fmla="*/ 5499100 w 5499100"/>
                <a:gd name="connsiteY6" fmla="*/ 596900 h 3409950"/>
                <a:gd name="connsiteX7" fmla="*/ 5499100 w 5499100"/>
                <a:gd name="connsiteY7" fmla="*/ 0 h 3409950"/>
                <a:gd name="connsiteX8" fmla="*/ 4762 w 5499100"/>
                <a:gd name="connsiteY8" fmla="*/ 7937 h 3409950"/>
                <a:gd name="connsiteX0" fmla="*/ 4762 w 5499100"/>
                <a:gd name="connsiteY0" fmla="*/ 0 h 3402013"/>
                <a:gd name="connsiteX1" fmla="*/ 0 w 5499100"/>
                <a:gd name="connsiteY1" fmla="*/ 3402013 h 3402013"/>
                <a:gd name="connsiteX2" fmla="*/ 2184400 w 5499100"/>
                <a:gd name="connsiteY2" fmla="*/ 3395663 h 3402013"/>
                <a:gd name="connsiteX3" fmla="*/ 2184400 w 5499100"/>
                <a:gd name="connsiteY3" fmla="*/ 1712913 h 3402013"/>
                <a:gd name="connsiteX4" fmla="*/ 3289300 w 5499100"/>
                <a:gd name="connsiteY4" fmla="*/ 1712913 h 3402013"/>
                <a:gd name="connsiteX5" fmla="*/ 3289300 w 5499100"/>
                <a:gd name="connsiteY5" fmla="*/ 588963 h 3402013"/>
                <a:gd name="connsiteX6" fmla="*/ 5499100 w 5499100"/>
                <a:gd name="connsiteY6" fmla="*/ 588963 h 3402013"/>
                <a:gd name="connsiteX7" fmla="*/ 5341937 w 5499100"/>
                <a:gd name="connsiteY7" fmla="*/ 225426 h 3402013"/>
                <a:gd name="connsiteX8" fmla="*/ 4762 w 5499100"/>
                <a:gd name="connsiteY8" fmla="*/ 0 h 3402013"/>
                <a:gd name="connsiteX0" fmla="*/ 4762 w 5503862"/>
                <a:gd name="connsiteY0" fmla="*/ 0 h 3402013"/>
                <a:gd name="connsiteX1" fmla="*/ 0 w 5503862"/>
                <a:gd name="connsiteY1" fmla="*/ 3402013 h 3402013"/>
                <a:gd name="connsiteX2" fmla="*/ 2184400 w 5503862"/>
                <a:gd name="connsiteY2" fmla="*/ 3395663 h 3402013"/>
                <a:gd name="connsiteX3" fmla="*/ 2184400 w 5503862"/>
                <a:gd name="connsiteY3" fmla="*/ 1712913 h 3402013"/>
                <a:gd name="connsiteX4" fmla="*/ 3289300 w 5503862"/>
                <a:gd name="connsiteY4" fmla="*/ 1712913 h 3402013"/>
                <a:gd name="connsiteX5" fmla="*/ 3289300 w 5503862"/>
                <a:gd name="connsiteY5" fmla="*/ 588963 h 3402013"/>
                <a:gd name="connsiteX6" fmla="*/ 5499100 w 5503862"/>
                <a:gd name="connsiteY6" fmla="*/ 588963 h 3402013"/>
                <a:gd name="connsiteX7" fmla="*/ 5503862 w 5503862"/>
                <a:gd name="connsiteY7" fmla="*/ 1589 h 3402013"/>
                <a:gd name="connsiteX8" fmla="*/ 4762 w 5503862"/>
                <a:gd name="connsiteY8" fmla="*/ 0 h 3402013"/>
                <a:gd name="connsiteX0" fmla="*/ 4762 w 5499311"/>
                <a:gd name="connsiteY0" fmla="*/ 0 h 3402013"/>
                <a:gd name="connsiteX1" fmla="*/ 0 w 5499311"/>
                <a:gd name="connsiteY1" fmla="*/ 3402013 h 3402013"/>
                <a:gd name="connsiteX2" fmla="*/ 2184400 w 5499311"/>
                <a:gd name="connsiteY2" fmla="*/ 3395663 h 3402013"/>
                <a:gd name="connsiteX3" fmla="*/ 2184400 w 5499311"/>
                <a:gd name="connsiteY3" fmla="*/ 1712913 h 3402013"/>
                <a:gd name="connsiteX4" fmla="*/ 3289300 w 5499311"/>
                <a:gd name="connsiteY4" fmla="*/ 1712913 h 3402013"/>
                <a:gd name="connsiteX5" fmla="*/ 3289300 w 5499311"/>
                <a:gd name="connsiteY5" fmla="*/ 588963 h 3402013"/>
                <a:gd name="connsiteX6" fmla="*/ 5499100 w 5499311"/>
                <a:gd name="connsiteY6" fmla="*/ 588963 h 3402013"/>
                <a:gd name="connsiteX7" fmla="*/ 5494337 w 5499311"/>
                <a:gd name="connsiteY7" fmla="*/ 1589 h 3402013"/>
                <a:gd name="connsiteX8" fmla="*/ 4762 w 5499311"/>
                <a:gd name="connsiteY8" fmla="*/ 0 h 3402013"/>
                <a:gd name="connsiteX0" fmla="*/ 4762 w 5494795"/>
                <a:gd name="connsiteY0" fmla="*/ 0 h 3402013"/>
                <a:gd name="connsiteX1" fmla="*/ 0 w 5494795"/>
                <a:gd name="connsiteY1" fmla="*/ 3402013 h 3402013"/>
                <a:gd name="connsiteX2" fmla="*/ 2184400 w 5494795"/>
                <a:gd name="connsiteY2" fmla="*/ 3395663 h 3402013"/>
                <a:gd name="connsiteX3" fmla="*/ 2184400 w 5494795"/>
                <a:gd name="connsiteY3" fmla="*/ 1712913 h 3402013"/>
                <a:gd name="connsiteX4" fmla="*/ 3289300 w 5494795"/>
                <a:gd name="connsiteY4" fmla="*/ 1712913 h 3402013"/>
                <a:gd name="connsiteX5" fmla="*/ 3289300 w 5494795"/>
                <a:gd name="connsiteY5" fmla="*/ 588963 h 3402013"/>
                <a:gd name="connsiteX6" fmla="*/ 5494337 w 5494795"/>
                <a:gd name="connsiteY6" fmla="*/ 588963 h 3402013"/>
                <a:gd name="connsiteX7" fmla="*/ 5494337 w 5494795"/>
                <a:gd name="connsiteY7" fmla="*/ 1589 h 3402013"/>
                <a:gd name="connsiteX8" fmla="*/ 4762 w 5494795"/>
                <a:gd name="connsiteY8" fmla="*/ 0 h 3402013"/>
                <a:gd name="connsiteX0" fmla="*/ 4762 w 5494795"/>
                <a:gd name="connsiteY0" fmla="*/ 0 h 3402013"/>
                <a:gd name="connsiteX1" fmla="*/ 0 w 5494795"/>
                <a:gd name="connsiteY1" fmla="*/ 3402013 h 3402013"/>
                <a:gd name="connsiteX2" fmla="*/ 2184400 w 5494795"/>
                <a:gd name="connsiteY2" fmla="*/ 3395663 h 3402013"/>
                <a:gd name="connsiteX3" fmla="*/ 2184400 w 5494795"/>
                <a:gd name="connsiteY3" fmla="*/ 1712913 h 3402013"/>
                <a:gd name="connsiteX4" fmla="*/ 3289300 w 5494795"/>
                <a:gd name="connsiteY4" fmla="*/ 1712913 h 3402013"/>
                <a:gd name="connsiteX5" fmla="*/ 3289300 w 5494795"/>
                <a:gd name="connsiteY5" fmla="*/ 1358583 h 3402013"/>
                <a:gd name="connsiteX6" fmla="*/ 5494337 w 5494795"/>
                <a:gd name="connsiteY6" fmla="*/ 588963 h 3402013"/>
                <a:gd name="connsiteX7" fmla="*/ 5494337 w 5494795"/>
                <a:gd name="connsiteY7" fmla="*/ 1589 h 3402013"/>
                <a:gd name="connsiteX8" fmla="*/ 4762 w 5494795"/>
                <a:gd name="connsiteY8" fmla="*/ 0 h 3402013"/>
                <a:gd name="connsiteX0" fmla="*/ 4762 w 5494795"/>
                <a:gd name="connsiteY0" fmla="*/ 0 h 3402013"/>
                <a:gd name="connsiteX1" fmla="*/ 0 w 5494795"/>
                <a:gd name="connsiteY1" fmla="*/ 3402013 h 3402013"/>
                <a:gd name="connsiteX2" fmla="*/ 2184400 w 5494795"/>
                <a:gd name="connsiteY2" fmla="*/ 3395663 h 3402013"/>
                <a:gd name="connsiteX3" fmla="*/ 2184400 w 5494795"/>
                <a:gd name="connsiteY3" fmla="*/ 1712913 h 3402013"/>
                <a:gd name="connsiteX4" fmla="*/ 3289300 w 5494795"/>
                <a:gd name="connsiteY4" fmla="*/ 1712913 h 3402013"/>
                <a:gd name="connsiteX5" fmla="*/ 3289300 w 5494795"/>
                <a:gd name="connsiteY5" fmla="*/ 1358583 h 3402013"/>
                <a:gd name="connsiteX6" fmla="*/ 5494337 w 5494795"/>
                <a:gd name="connsiteY6" fmla="*/ 1358583 h 3402013"/>
                <a:gd name="connsiteX7" fmla="*/ 5494337 w 5494795"/>
                <a:gd name="connsiteY7" fmla="*/ 1589 h 3402013"/>
                <a:gd name="connsiteX8" fmla="*/ 4762 w 5494795"/>
                <a:gd name="connsiteY8" fmla="*/ 0 h 340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94795" h="3402013">
                  <a:moveTo>
                    <a:pt x="4762" y="0"/>
                  </a:moveTo>
                  <a:cubicBezTo>
                    <a:pt x="3175" y="1134004"/>
                    <a:pt x="1587" y="2268009"/>
                    <a:pt x="0" y="3402013"/>
                  </a:cubicBezTo>
                  <a:lnTo>
                    <a:pt x="2184400" y="3395663"/>
                  </a:lnTo>
                  <a:lnTo>
                    <a:pt x="2184400" y="1712913"/>
                  </a:lnTo>
                  <a:lnTo>
                    <a:pt x="3289300" y="1712913"/>
                  </a:lnTo>
                  <a:lnTo>
                    <a:pt x="3289300" y="1358583"/>
                  </a:lnTo>
                  <a:lnTo>
                    <a:pt x="5494337" y="1358583"/>
                  </a:lnTo>
                  <a:cubicBezTo>
                    <a:pt x="5495924" y="1162792"/>
                    <a:pt x="5492750" y="197380"/>
                    <a:pt x="5494337" y="1589"/>
                  </a:cubicBezTo>
                  <a:lnTo>
                    <a:pt x="4762" y="0"/>
                  </a:lnTo>
                  <a:close/>
                </a:path>
              </a:pathLst>
            </a:custGeom>
            <a:solidFill>
              <a:srgbClr val="9BBB59">
                <a:lumMod val="40000"/>
                <a:lumOff val="60000"/>
                <a:alpha val="85000"/>
              </a:srgbClr>
            </a:solidFill>
            <a:ln w="12700">
              <a:solidFill>
                <a:sysClr val="windowText" lastClr="000000">
                  <a:lumMod val="50000"/>
                  <a:lumOff val="50000"/>
                </a:sysClr>
              </a:solidFill>
            </a:ln>
          </p:spPr>
          <p:txBody>
            <a:bodyPr lIns="72000" tIns="72000" rIns="72000" bIns="72000" rtlCol="0" anchor="t"/>
            <a:lstStyle/>
            <a:p>
              <a:pPr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en-US" altLang="ko-KR" sz="9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	</a:t>
              </a:r>
              <a:r>
                <a:rPr lang="en-US" altLang="ko-KR" sz="10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 </a:t>
              </a:r>
              <a:r>
                <a:rPr lang="ko-KR" altLang="en-US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부분적 통합</a:t>
              </a:r>
              <a:endParaRPr lang="en-US" altLang="ko-KR" sz="1100" b="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214" name="자유형 152"/>
            <p:cNvSpPr/>
            <p:nvPr/>
          </p:nvSpPr>
          <p:spPr>
            <a:xfrm>
              <a:off x="6558733" y="3856834"/>
              <a:ext cx="2604367" cy="1771572"/>
            </a:xfrm>
            <a:custGeom>
              <a:avLst/>
              <a:gdLst>
                <a:gd name="connsiteX0" fmla="*/ 7620 w 5486400"/>
                <a:gd name="connsiteY0" fmla="*/ 2804160 h 3451860"/>
                <a:gd name="connsiteX1" fmla="*/ 0 w 5486400"/>
                <a:gd name="connsiteY1" fmla="*/ 3451860 h 3451860"/>
                <a:gd name="connsiteX2" fmla="*/ 5486400 w 5486400"/>
                <a:gd name="connsiteY2" fmla="*/ 3444240 h 3451860"/>
                <a:gd name="connsiteX3" fmla="*/ 5486400 w 5486400"/>
                <a:gd name="connsiteY3" fmla="*/ 0 h 3451860"/>
                <a:gd name="connsiteX4" fmla="*/ 3314700 w 5486400"/>
                <a:gd name="connsiteY4" fmla="*/ 0 h 3451860"/>
                <a:gd name="connsiteX5" fmla="*/ 3314700 w 5486400"/>
                <a:gd name="connsiteY5" fmla="*/ 1127760 h 3451860"/>
                <a:gd name="connsiteX6" fmla="*/ 2217420 w 5486400"/>
                <a:gd name="connsiteY6" fmla="*/ 1135380 h 3451860"/>
                <a:gd name="connsiteX7" fmla="*/ 2217420 w 5486400"/>
                <a:gd name="connsiteY7" fmla="*/ 2819400 h 3451860"/>
                <a:gd name="connsiteX8" fmla="*/ 7620 w 5486400"/>
                <a:gd name="connsiteY8" fmla="*/ 2804160 h 3451860"/>
                <a:gd name="connsiteX0" fmla="*/ 7620 w 5486400"/>
                <a:gd name="connsiteY0" fmla="*/ 2804160 h 3632835"/>
                <a:gd name="connsiteX1" fmla="*/ 0 w 5486400"/>
                <a:gd name="connsiteY1" fmla="*/ 3632835 h 3632835"/>
                <a:gd name="connsiteX2" fmla="*/ 5486400 w 5486400"/>
                <a:gd name="connsiteY2" fmla="*/ 3444240 h 3632835"/>
                <a:gd name="connsiteX3" fmla="*/ 5486400 w 5486400"/>
                <a:gd name="connsiteY3" fmla="*/ 0 h 3632835"/>
                <a:gd name="connsiteX4" fmla="*/ 3314700 w 5486400"/>
                <a:gd name="connsiteY4" fmla="*/ 0 h 3632835"/>
                <a:gd name="connsiteX5" fmla="*/ 3314700 w 5486400"/>
                <a:gd name="connsiteY5" fmla="*/ 1127760 h 3632835"/>
                <a:gd name="connsiteX6" fmla="*/ 2217420 w 5486400"/>
                <a:gd name="connsiteY6" fmla="*/ 1135380 h 3632835"/>
                <a:gd name="connsiteX7" fmla="*/ 2217420 w 5486400"/>
                <a:gd name="connsiteY7" fmla="*/ 2819400 h 3632835"/>
                <a:gd name="connsiteX8" fmla="*/ 7620 w 5486400"/>
                <a:gd name="connsiteY8" fmla="*/ 2804160 h 3632835"/>
                <a:gd name="connsiteX0" fmla="*/ 2858 w 5481638"/>
                <a:gd name="connsiteY0" fmla="*/ 2804160 h 3628072"/>
                <a:gd name="connsiteX1" fmla="*/ 0 w 5481638"/>
                <a:gd name="connsiteY1" fmla="*/ 3628072 h 3628072"/>
                <a:gd name="connsiteX2" fmla="*/ 5481638 w 5481638"/>
                <a:gd name="connsiteY2" fmla="*/ 3444240 h 3628072"/>
                <a:gd name="connsiteX3" fmla="*/ 5481638 w 5481638"/>
                <a:gd name="connsiteY3" fmla="*/ 0 h 3628072"/>
                <a:gd name="connsiteX4" fmla="*/ 3309938 w 5481638"/>
                <a:gd name="connsiteY4" fmla="*/ 0 h 3628072"/>
                <a:gd name="connsiteX5" fmla="*/ 3309938 w 5481638"/>
                <a:gd name="connsiteY5" fmla="*/ 1127760 h 3628072"/>
                <a:gd name="connsiteX6" fmla="*/ 2212658 w 5481638"/>
                <a:gd name="connsiteY6" fmla="*/ 1135380 h 3628072"/>
                <a:gd name="connsiteX7" fmla="*/ 2212658 w 5481638"/>
                <a:gd name="connsiteY7" fmla="*/ 2819400 h 3628072"/>
                <a:gd name="connsiteX8" fmla="*/ 2858 w 5481638"/>
                <a:gd name="connsiteY8" fmla="*/ 2804160 h 3628072"/>
                <a:gd name="connsiteX0" fmla="*/ 2858 w 5486400"/>
                <a:gd name="connsiteY0" fmla="*/ 2804160 h 3629978"/>
                <a:gd name="connsiteX1" fmla="*/ 0 w 5486400"/>
                <a:gd name="connsiteY1" fmla="*/ 3628072 h 3629978"/>
                <a:gd name="connsiteX2" fmla="*/ 5486400 w 5486400"/>
                <a:gd name="connsiteY2" fmla="*/ 3629978 h 3629978"/>
                <a:gd name="connsiteX3" fmla="*/ 5481638 w 5486400"/>
                <a:gd name="connsiteY3" fmla="*/ 0 h 3629978"/>
                <a:gd name="connsiteX4" fmla="*/ 3309938 w 5486400"/>
                <a:gd name="connsiteY4" fmla="*/ 0 h 3629978"/>
                <a:gd name="connsiteX5" fmla="*/ 3309938 w 5486400"/>
                <a:gd name="connsiteY5" fmla="*/ 1127760 h 3629978"/>
                <a:gd name="connsiteX6" fmla="*/ 2212658 w 5486400"/>
                <a:gd name="connsiteY6" fmla="*/ 1135380 h 3629978"/>
                <a:gd name="connsiteX7" fmla="*/ 2212658 w 5486400"/>
                <a:gd name="connsiteY7" fmla="*/ 2819400 h 3629978"/>
                <a:gd name="connsiteX8" fmla="*/ 2858 w 5486400"/>
                <a:gd name="connsiteY8" fmla="*/ 2804160 h 3629978"/>
                <a:gd name="connsiteX0" fmla="*/ 2858 w 5486400"/>
                <a:gd name="connsiteY0" fmla="*/ 2804160 h 3629978"/>
                <a:gd name="connsiteX1" fmla="*/ 0 w 5486400"/>
                <a:gd name="connsiteY1" fmla="*/ 3628072 h 3629978"/>
                <a:gd name="connsiteX2" fmla="*/ 5486400 w 5486400"/>
                <a:gd name="connsiteY2" fmla="*/ 3629978 h 3629978"/>
                <a:gd name="connsiteX3" fmla="*/ 5481638 w 5486400"/>
                <a:gd name="connsiteY3" fmla="*/ 0 h 3629978"/>
                <a:gd name="connsiteX4" fmla="*/ 3317558 w 5486400"/>
                <a:gd name="connsiteY4" fmla="*/ 800100 h 3629978"/>
                <a:gd name="connsiteX5" fmla="*/ 3309938 w 5486400"/>
                <a:gd name="connsiteY5" fmla="*/ 1127760 h 3629978"/>
                <a:gd name="connsiteX6" fmla="*/ 2212658 w 5486400"/>
                <a:gd name="connsiteY6" fmla="*/ 1135380 h 3629978"/>
                <a:gd name="connsiteX7" fmla="*/ 2212658 w 5486400"/>
                <a:gd name="connsiteY7" fmla="*/ 2819400 h 3629978"/>
                <a:gd name="connsiteX8" fmla="*/ 2858 w 5486400"/>
                <a:gd name="connsiteY8" fmla="*/ 2804160 h 3629978"/>
                <a:gd name="connsiteX0" fmla="*/ 2858 w 5497006"/>
                <a:gd name="connsiteY0" fmla="*/ 2004060 h 2829878"/>
                <a:gd name="connsiteX1" fmla="*/ 0 w 5497006"/>
                <a:gd name="connsiteY1" fmla="*/ 2827972 h 2829878"/>
                <a:gd name="connsiteX2" fmla="*/ 5486400 w 5497006"/>
                <a:gd name="connsiteY2" fmla="*/ 2829878 h 2829878"/>
                <a:gd name="connsiteX3" fmla="*/ 5496878 w 5497006"/>
                <a:gd name="connsiteY3" fmla="*/ 0 h 2829878"/>
                <a:gd name="connsiteX4" fmla="*/ 3317558 w 5497006"/>
                <a:gd name="connsiteY4" fmla="*/ 0 h 2829878"/>
                <a:gd name="connsiteX5" fmla="*/ 3309938 w 5497006"/>
                <a:gd name="connsiteY5" fmla="*/ 327660 h 2829878"/>
                <a:gd name="connsiteX6" fmla="*/ 2212658 w 5497006"/>
                <a:gd name="connsiteY6" fmla="*/ 335280 h 2829878"/>
                <a:gd name="connsiteX7" fmla="*/ 2212658 w 5497006"/>
                <a:gd name="connsiteY7" fmla="*/ 2019300 h 2829878"/>
                <a:gd name="connsiteX8" fmla="*/ 2858 w 5497006"/>
                <a:gd name="connsiteY8" fmla="*/ 2004060 h 2829878"/>
                <a:gd name="connsiteX0" fmla="*/ 2858 w 5497006"/>
                <a:gd name="connsiteY0" fmla="*/ 2011680 h 2837498"/>
                <a:gd name="connsiteX1" fmla="*/ 0 w 5497006"/>
                <a:gd name="connsiteY1" fmla="*/ 2835592 h 2837498"/>
                <a:gd name="connsiteX2" fmla="*/ 5486400 w 5497006"/>
                <a:gd name="connsiteY2" fmla="*/ 2837498 h 2837498"/>
                <a:gd name="connsiteX3" fmla="*/ 5496878 w 5497006"/>
                <a:gd name="connsiteY3" fmla="*/ 7620 h 2837498"/>
                <a:gd name="connsiteX4" fmla="*/ 3302318 w 5497006"/>
                <a:gd name="connsiteY4" fmla="*/ 0 h 2837498"/>
                <a:gd name="connsiteX5" fmla="*/ 3309938 w 5497006"/>
                <a:gd name="connsiteY5" fmla="*/ 335280 h 2837498"/>
                <a:gd name="connsiteX6" fmla="*/ 2212658 w 5497006"/>
                <a:gd name="connsiteY6" fmla="*/ 342900 h 2837498"/>
                <a:gd name="connsiteX7" fmla="*/ 2212658 w 5497006"/>
                <a:gd name="connsiteY7" fmla="*/ 2026920 h 2837498"/>
                <a:gd name="connsiteX8" fmla="*/ 2858 w 5497006"/>
                <a:gd name="connsiteY8" fmla="*/ 2011680 h 2837498"/>
                <a:gd name="connsiteX0" fmla="*/ 2858 w 5486400"/>
                <a:gd name="connsiteY0" fmla="*/ 201168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35280 h 2837498"/>
                <a:gd name="connsiteX6" fmla="*/ 2212658 w 5486400"/>
                <a:gd name="connsiteY6" fmla="*/ 342900 h 2837498"/>
                <a:gd name="connsiteX7" fmla="*/ 2212658 w 5486400"/>
                <a:gd name="connsiteY7" fmla="*/ 2026920 h 2837498"/>
                <a:gd name="connsiteX8" fmla="*/ 2858 w 5486400"/>
                <a:gd name="connsiteY8" fmla="*/ 201168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35280 h 2837498"/>
                <a:gd name="connsiteX6" fmla="*/ 2212658 w 5486400"/>
                <a:gd name="connsiteY6" fmla="*/ 342900 h 2837498"/>
                <a:gd name="connsiteX7" fmla="*/ 2212658 w 5486400"/>
                <a:gd name="connsiteY7" fmla="*/ 202692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35280 h 2837498"/>
                <a:gd name="connsiteX6" fmla="*/ 2212658 w 5486400"/>
                <a:gd name="connsiteY6" fmla="*/ 342900 h 2837498"/>
                <a:gd name="connsiteX7" fmla="*/ 2212658 w 5486400"/>
                <a:gd name="connsiteY7" fmla="*/ 204978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35280 h 2837498"/>
                <a:gd name="connsiteX6" fmla="*/ 2212658 w 5486400"/>
                <a:gd name="connsiteY6" fmla="*/ 342900 h 2837498"/>
                <a:gd name="connsiteX7" fmla="*/ 2193608 w 5486400"/>
                <a:gd name="connsiteY7" fmla="*/ 204978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35280 h 2837498"/>
                <a:gd name="connsiteX6" fmla="*/ 2199958 w 5486400"/>
                <a:gd name="connsiteY6" fmla="*/ 368300 h 2837498"/>
                <a:gd name="connsiteX7" fmla="*/ 2193608 w 5486400"/>
                <a:gd name="connsiteY7" fmla="*/ 204978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297238 w 5486400"/>
                <a:gd name="connsiteY5" fmla="*/ 373380 h 2837498"/>
                <a:gd name="connsiteX6" fmla="*/ 2199958 w 5486400"/>
                <a:gd name="connsiteY6" fmla="*/ 368300 h 2837498"/>
                <a:gd name="connsiteX7" fmla="*/ 2193608 w 5486400"/>
                <a:gd name="connsiteY7" fmla="*/ 204978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7401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73380 h 2837498"/>
                <a:gd name="connsiteX6" fmla="*/ 2199958 w 5486400"/>
                <a:gd name="connsiteY6" fmla="*/ 368300 h 2837498"/>
                <a:gd name="connsiteX7" fmla="*/ 2193608 w 5486400"/>
                <a:gd name="connsiteY7" fmla="*/ 2049780 h 2837498"/>
                <a:gd name="connsiteX8" fmla="*/ 2858 w 5486400"/>
                <a:gd name="connsiteY8" fmla="*/ 2042160 h 2837498"/>
                <a:gd name="connsiteX0" fmla="*/ 2858 w 5486400"/>
                <a:gd name="connsiteY0" fmla="*/ 204216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8036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73380 h 2837498"/>
                <a:gd name="connsiteX6" fmla="*/ 2199958 w 5486400"/>
                <a:gd name="connsiteY6" fmla="*/ 368300 h 2837498"/>
                <a:gd name="connsiteX7" fmla="*/ 2193608 w 5486400"/>
                <a:gd name="connsiteY7" fmla="*/ 2049780 h 2837498"/>
                <a:gd name="connsiteX8" fmla="*/ 2858 w 5486400"/>
                <a:gd name="connsiteY8" fmla="*/ 2042160 h 2837498"/>
                <a:gd name="connsiteX0" fmla="*/ 2193608 w 5486400"/>
                <a:gd name="connsiteY0" fmla="*/ 2049780 h 2837498"/>
                <a:gd name="connsiteX1" fmla="*/ 0 w 5486400"/>
                <a:gd name="connsiteY1" fmla="*/ 2835592 h 2837498"/>
                <a:gd name="connsiteX2" fmla="*/ 5486400 w 5486400"/>
                <a:gd name="connsiteY2" fmla="*/ 2837498 h 2837498"/>
                <a:gd name="connsiteX3" fmla="*/ 5480368 w 5486400"/>
                <a:gd name="connsiteY3" fmla="*/ 0 h 2837498"/>
                <a:gd name="connsiteX4" fmla="*/ 3302318 w 5486400"/>
                <a:gd name="connsiteY4" fmla="*/ 0 h 2837498"/>
                <a:gd name="connsiteX5" fmla="*/ 3309938 w 5486400"/>
                <a:gd name="connsiteY5" fmla="*/ 373380 h 2837498"/>
                <a:gd name="connsiteX6" fmla="*/ 2199958 w 5486400"/>
                <a:gd name="connsiteY6" fmla="*/ 368300 h 2837498"/>
                <a:gd name="connsiteX7" fmla="*/ 2193608 w 5486400"/>
                <a:gd name="connsiteY7" fmla="*/ 2049780 h 2837498"/>
                <a:gd name="connsiteX0" fmla="*/ 0 w 3292792"/>
                <a:gd name="connsiteY0" fmla="*/ 2049780 h 2837498"/>
                <a:gd name="connsiteX1" fmla="*/ 3292792 w 3292792"/>
                <a:gd name="connsiteY1" fmla="*/ 2837498 h 2837498"/>
                <a:gd name="connsiteX2" fmla="*/ 3286760 w 3292792"/>
                <a:gd name="connsiteY2" fmla="*/ 0 h 2837498"/>
                <a:gd name="connsiteX3" fmla="*/ 1108710 w 3292792"/>
                <a:gd name="connsiteY3" fmla="*/ 0 h 2837498"/>
                <a:gd name="connsiteX4" fmla="*/ 1116330 w 3292792"/>
                <a:gd name="connsiteY4" fmla="*/ 373380 h 2837498"/>
                <a:gd name="connsiteX5" fmla="*/ 6350 w 3292792"/>
                <a:gd name="connsiteY5" fmla="*/ 368300 h 2837498"/>
                <a:gd name="connsiteX6" fmla="*/ 0 w 3292792"/>
                <a:gd name="connsiteY6" fmla="*/ 2049780 h 2837498"/>
                <a:gd name="connsiteX0" fmla="*/ 0 w 3306718"/>
                <a:gd name="connsiteY0" fmla="*/ 2049780 h 2075089"/>
                <a:gd name="connsiteX1" fmla="*/ 3306718 w 3306718"/>
                <a:gd name="connsiteY1" fmla="*/ 2075089 h 2075089"/>
                <a:gd name="connsiteX2" fmla="*/ 3286760 w 3306718"/>
                <a:gd name="connsiteY2" fmla="*/ 0 h 2075089"/>
                <a:gd name="connsiteX3" fmla="*/ 1108710 w 3306718"/>
                <a:gd name="connsiteY3" fmla="*/ 0 h 2075089"/>
                <a:gd name="connsiteX4" fmla="*/ 1116330 w 3306718"/>
                <a:gd name="connsiteY4" fmla="*/ 373380 h 2075089"/>
                <a:gd name="connsiteX5" fmla="*/ 6350 w 3306718"/>
                <a:gd name="connsiteY5" fmla="*/ 368300 h 2075089"/>
                <a:gd name="connsiteX6" fmla="*/ 0 w 3306718"/>
                <a:gd name="connsiteY6" fmla="*/ 2049780 h 2075089"/>
                <a:gd name="connsiteX0" fmla="*/ 0 w 3320644"/>
                <a:gd name="connsiteY0" fmla="*/ 2049780 h 2060141"/>
                <a:gd name="connsiteX1" fmla="*/ 3320644 w 3320644"/>
                <a:gd name="connsiteY1" fmla="*/ 2060141 h 2060141"/>
                <a:gd name="connsiteX2" fmla="*/ 3286760 w 3320644"/>
                <a:gd name="connsiteY2" fmla="*/ 0 h 2060141"/>
                <a:gd name="connsiteX3" fmla="*/ 1108710 w 3320644"/>
                <a:gd name="connsiteY3" fmla="*/ 0 h 2060141"/>
                <a:gd name="connsiteX4" fmla="*/ 1116330 w 3320644"/>
                <a:gd name="connsiteY4" fmla="*/ 373380 h 2060141"/>
                <a:gd name="connsiteX5" fmla="*/ 6350 w 3320644"/>
                <a:gd name="connsiteY5" fmla="*/ 368300 h 2060141"/>
                <a:gd name="connsiteX6" fmla="*/ 0 w 3320644"/>
                <a:gd name="connsiteY6" fmla="*/ 2049780 h 2060141"/>
                <a:gd name="connsiteX0" fmla="*/ 0 w 3292793"/>
                <a:gd name="connsiteY0" fmla="*/ 2049780 h 2049781"/>
                <a:gd name="connsiteX1" fmla="*/ 3292793 w 3292793"/>
                <a:gd name="connsiteY1" fmla="*/ 2047345 h 2049781"/>
                <a:gd name="connsiteX2" fmla="*/ 3286760 w 3292793"/>
                <a:gd name="connsiteY2" fmla="*/ 0 h 2049781"/>
                <a:gd name="connsiteX3" fmla="*/ 1108710 w 3292793"/>
                <a:gd name="connsiteY3" fmla="*/ 0 h 2049781"/>
                <a:gd name="connsiteX4" fmla="*/ 1116330 w 3292793"/>
                <a:gd name="connsiteY4" fmla="*/ 373380 h 2049781"/>
                <a:gd name="connsiteX5" fmla="*/ 6350 w 3292793"/>
                <a:gd name="connsiteY5" fmla="*/ 368300 h 2049781"/>
                <a:gd name="connsiteX6" fmla="*/ 0 w 3292793"/>
                <a:gd name="connsiteY6" fmla="*/ 2049780 h 2049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92793" h="2049781">
                  <a:moveTo>
                    <a:pt x="0" y="2049780"/>
                  </a:moveTo>
                  <a:lnTo>
                    <a:pt x="3292793" y="2047345"/>
                  </a:lnTo>
                  <a:cubicBezTo>
                    <a:pt x="3291206" y="837352"/>
                    <a:pt x="3288347" y="1209993"/>
                    <a:pt x="3286760" y="0"/>
                  </a:cubicBezTo>
                  <a:lnTo>
                    <a:pt x="1108710" y="0"/>
                  </a:lnTo>
                  <a:cubicBezTo>
                    <a:pt x="1107017" y="124460"/>
                    <a:pt x="1118023" y="248920"/>
                    <a:pt x="1116330" y="373380"/>
                  </a:cubicBezTo>
                  <a:lnTo>
                    <a:pt x="6350" y="368300"/>
                  </a:lnTo>
                  <a:cubicBezTo>
                    <a:pt x="4233" y="928793"/>
                    <a:pt x="2117" y="1489287"/>
                    <a:pt x="0" y="2049780"/>
                  </a:cubicBezTo>
                  <a:close/>
                </a:path>
              </a:pathLst>
            </a:custGeom>
            <a:solidFill>
              <a:srgbClr val="9BBB59">
                <a:lumMod val="20000"/>
                <a:lumOff val="80000"/>
                <a:alpha val="85000"/>
              </a:srgbClr>
            </a:solidFill>
            <a:ln w="12700">
              <a:solidFill>
                <a:sysClr val="windowText" lastClr="000000">
                  <a:lumMod val="50000"/>
                  <a:lumOff val="50000"/>
                </a:sysClr>
              </a:solidFill>
            </a:ln>
          </p:spPr>
          <p:txBody>
            <a:bodyPr lIns="72000" tIns="72000" rIns="72000" bIns="72000" rtlCol="0" anchor="ctr"/>
            <a:lstStyle/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ko-KR" altLang="en-US" sz="120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    업무별 관리</a:t>
              </a:r>
              <a:endParaRPr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  <a:p>
              <a:pPr algn="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endParaRPr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endParaRPr>
            </a:p>
            <a:p>
              <a:pPr algn="ctr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200"/>
                </a:spcAft>
                <a:buClr>
                  <a:srgbClr val="7D0900"/>
                </a:buClr>
              </a:pPr>
              <a:r>
                <a:rPr lang="en-US" altLang="ko-KR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		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rPr>
                <a:t> </a:t>
              </a:r>
            </a:p>
          </p:txBody>
        </p:sp>
        <p:grpSp>
          <p:nvGrpSpPr>
            <p:cNvPr id="215" name="그룹 4"/>
            <p:cNvGrpSpPr/>
            <p:nvPr/>
          </p:nvGrpSpPr>
          <p:grpSpPr>
            <a:xfrm>
              <a:off x="4869820" y="3094497"/>
              <a:ext cx="3370869" cy="2059505"/>
              <a:chOff x="3766338" y="2924944"/>
              <a:chExt cx="4261910" cy="2319677"/>
            </a:xfrm>
          </p:grpSpPr>
          <p:sp>
            <p:nvSpPr>
              <p:cNvPr id="230" name="직사각형 153"/>
              <p:cNvSpPr/>
              <p:nvPr/>
            </p:nvSpPr>
            <p:spPr>
              <a:xfrm>
                <a:off x="3766338" y="292494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업무별 계약정보</a:t>
                </a:r>
              </a:p>
            </p:txBody>
          </p:sp>
          <p:sp>
            <p:nvSpPr>
              <p:cNvPr id="231" name="직사각형 154"/>
              <p:cNvSpPr/>
              <p:nvPr/>
            </p:nvSpPr>
            <p:spPr>
              <a:xfrm>
                <a:off x="3766338" y="5028597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제휴 계약</a:t>
                </a:r>
              </a:p>
            </p:txBody>
          </p:sp>
          <p:sp>
            <p:nvSpPr>
              <p:cNvPr id="232" name="직사각형 156"/>
              <p:cNvSpPr/>
              <p:nvPr/>
            </p:nvSpPr>
            <p:spPr>
              <a:xfrm>
                <a:off x="4871659" y="292494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상담 이력</a:t>
                </a:r>
              </a:p>
            </p:txBody>
          </p:sp>
          <p:sp>
            <p:nvSpPr>
              <p:cNvPr id="233" name="직사각형 157"/>
              <p:cNvSpPr/>
              <p:nvPr/>
            </p:nvSpPr>
            <p:spPr>
              <a:xfrm>
                <a:off x="4871659" y="3179686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SMS/DM 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등</a:t>
                </a:r>
              </a:p>
            </p:txBody>
          </p:sp>
          <p:sp>
            <p:nvSpPr>
              <p:cNvPr id="234" name="직사각형 158"/>
              <p:cNvSpPr/>
              <p:nvPr/>
            </p:nvSpPr>
            <p:spPr>
              <a:xfrm>
                <a:off x="4871659" y="343210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정보 변경 이력</a:t>
                </a:r>
              </a:p>
            </p:txBody>
          </p:sp>
          <p:sp>
            <p:nvSpPr>
              <p:cNvPr id="235" name="직사각형 159"/>
              <p:cNvSpPr/>
              <p:nvPr/>
            </p:nvSpPr>
            <p:spPr>
              <a:xfrm>
                <a:off x="4871659" y="3686846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…</a:t>
                </a:r>
                <a:endParaRPr lang="ko-KR" altLang="en-US" sz="700" b="0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Arial"/>
                </a:endParaRPr>
              </a:p>
            </p:txBody>
          </p:sp>
          <p:sp>
            <p:nvSpPr>
              <p:cNvPr id="236" name="직사각형 160"/>
              <p:cNvSpPr/>
              <p:nvPr/>
            </p:nvSpPr>
            <p:spPr>
              <a:xfrm>
                <a:off x="4871659" y="5028597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상담 이력</a:t>
                </a:r>
              </a:p>
            </p:txBody>
          </p:sp>
          <p:sp>
            <p:nvSpPr>
              <p:cNvPr id="237" name="직사각형 161"/>
              <p:cNvSpPr/>
              <p:nvPr/>
            </p:nvSpPr>
            <p:spPr>
              <a:xfrm>
                <a:off x="7092144" y="292494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개인</a:t>
                </a: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/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법인한도</a:t>
                </a:r>
              </a:p>
            </p:txBody>
          </p:sp>
          <p:sp>
            <p:nvSpPr>
              <p:cNvPr id="238" name="직사각형 162"/>
              <p:cNvSpPr/>
              <p:nvPr/>
            </p:nvSpPr>
            <p:spPr>
              <a:xfrm>
                <a:off x="7092144" y="3179685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리스크 등급</a:t>
                </a:r>
              </a:p>
            </p:txBody>
          </p:sp>
          <p:sp>
            <p:nvSpPr>
              <p:cNvPr id="239" name="직사각형 163"/>
              <p:cNvSpPr/>
              <p:nvPr/>
            </p:nvSpPr>
            <p:spPr>
              <a:xfrm>
                <a:off x="7092144" y="3432105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기관별연체금액</a:t>
                </a:r>
              </a:p>
            </p:txBody>
          </p:sp>
        </p:grpSp>
        <p:grpSp>
          <p:nvGrpSpPr>
            <p:cNvPr id="216" name="그룹 1"/>
            <p:cNvGrpSpPr/>
            <p:nvPr/>
          </p:nvGrpSpPr>
          <p:grpSpPr>
            <a:xfrm>
              <a:off x="3121359" y="3094497"/>
              <a:ext cx="2486033" cy="2509783"/>
              <a:chOff x="1555696" y="2924944"/>
              <a:chExt cx="3143180" cy="2826837"/>
            </a:xfrm>
          </p:grpSpPr>
          <p:sp>
            <p:nvSpPr>
              <p:cNvPr id="217" name="직사각형 135"/>
              <p:cNvSpPr/>
              <p:nvPr/>
            </p:nvSpPr>
            <p:spPr>
              <a:xfrm>
                <a:off x="1555696" y="292494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개인 식별정보</a:t>
                </a:r>
              </a:p>
            </p:txBody>
          </p:sp>
          <p:sp>
            <p:nvSpPr>
              <p:cNvPr id="218" name="직사각형 136"/>
              <p:cNvSpPr/>
              <p:nvPr/>
            </p:nvSpPr>
            <p:spPr>
              <a:xfrm>
                <a:off x="1555696" y="3179686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주소</a:t>
                </a: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/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연락처</a:t>
                </a:r>
              </a:p>
            </p:txBody>
          </p:sp>
          <p:sp>
            <p:nvSpPr>
              <p:cNvPr id="219" name="직사각형 137"/>
              <p:cNvSpPr/>
              <p:nvPr/>
            </p:nvSpPr>
            <p:spPr>
              <a:xfrm>
                <a:off x="1555696" y="343210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기본 정보</a:t>
                </a:r>
              </a:p>
            </p:txBody>
          </p:sp>
          <p:sp>
            <p:nvSpPr>
              <p:cNvPr id="220" name="직사각형 138"/>
              <p:cNvSpPr/>
              <p:nvPr/>
            </p:nvSpPr>
            <p:spPr>
              <a:xfrm>
                <a:off x="3762772" y="3686846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재정</a:t>
                </a: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/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재무정보</a:t>
                </a:r>
              </a:p>
            </p:txBody>
          </p:sp>
          <p:sp>
            <p:nvSpPr>
              <p:cNvPr id="221" name="직사각형 139"/>
              <p:cNvSpPr/>
              <p:nvPr/>
            </p:nvSpPr>
            <p:spPr>
              <a:xfrm>
                <a:off x="1555696" y="4193275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개인 식별정보</a:t>
                </a:r>
              </a:p>
            </p:txBody>
          </p:sp>
          <p:sp>
            <p:nvSpPr>
              <p:cNvPr id="222" name="직사각형 140"/>
              <p:cNvSpPr/>
              <p:nvPr/>
            </p:nvSpPr>
            <p:spPr>
              <a:xfrm>
                <a:off x="1555696" y="4448017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주소</a:t>
                </a: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/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연락처</a:t>
                </a:r>
              </a:p>
            </p:txBody>
          </p:sp>
          <p:sp>
            <p:nvSpPr>
              <p:cNvPr id="223" name="직사각형 141"/>
              <p:cNvSpPr/>
              <p:nvPr/>
            </p:nvSpPr>
            <p:spPr>
              <a:xfrm>
                <a:off x="1555696" y="4700435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기본 정보</a:t>
                </a:r>
              </a:p>
            </p:txBody>
          </p:sp>
          <p:sp>
            <p:nvSpPr>
              <p:cNvPr id="224" name="직사각형 142"/>
              <p:cNvSpPr/>
              <p:nvPr/>
            </p:nvSpPr>
            <p:spPr>
              <a:xfrm>
                <a:off x="1555696" y="5028597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개인 식별정보</a:t>
                </a:r>
              </a:p>
            </p:txBody>
          </p:sp>
          <p:sp>
            <p:nvSpPr>
              <p:cNvPr id="225" name="직사각형 143"/>
              <p:cNvSpPr/>
              <p:nvPr/>
            </p:nvSpPr>
            <p:spPr>
              <a:xfrm>
                <a:off x="1555696" y="5283339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주소</a:t>
                </a:r>
                <a:r>
                  <a:rPr lang="en-US" altLang="ko-KR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/</a:t>
                </a: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연락처</a:t>
                </a:r>
              </a:p>
            </p:txBody>
          </p:sp>
          <p:sp>
            <p:nvSpPr>
              <p:cNvPr id="226" name="직사각형 144"/>
              <p:cNvSpPr/>
              <p:nvPr/>
            </p:nvSpPr>
            <p:spPr>
              <a:xfrm>
                <a:off x="1555696" y="5535757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기본 정보</a:t>
                </a:r>
              </a:p>
            </p:txBody>
          </p:sp>
          <p:sp>
            <p:nvSpPr>
              <p:cNvPr id="227" name="직사각형 148"/>
              <p:cNvSpPr/>
              <p:nvPr/>
            </p:nvSpPr>
            <p:spPr>
              <a:xfrm>
                <a:off x="2661017" y="2924944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고객 동의정보</a:t>
                </a:r>
              </a:p>
            </p:txBody>
          </p:sp>
          <p:sp>
            <p:nvSpPr>
              <p:cNvPr id="228" name="직사각형 149"/>
              <p:cNvSpPr/>
              <p:nvPr/>
            </p:nvSpPr>
            <p:spPr>
              <a:xfrm>
                <a:off x="2661017" y="3179686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법인 동의정보</a:t>
                </a:r>
              </a:p>
            </p:txBody>
          </p:sp>
          <p:sp>
            <p:nvSpPr>
              <p:cNvPr id="229" name="직사각형 150"/>
              <p:cNvSpPr/>
              <p:nvPr/>
            </p:nvSpPr>
            <p:spPr>
              <a:xfrm>
                <a:off x="2661017" y="4193275"/>
                <a:ext cx="936104" cy="216024"/>
              </a:xfrm>
              <a:prstGeom prst="rect">
                <a:avLst/>
              </a:prstGeom>
              <a:solidFill>
                <a:sysClr val="window" lastClr="FFFFFF"/>
              </a:solidFill>
              <a:ln w="317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wrap="none" lIns="72000" tIns="72000" rIns="72000" bIns="72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</a:pPr>
                <a:r>
                  <a:rPr lang="ko-KR" altLang="en-US" sz="700" b="0" kern="0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Arial"/>
                  </a:rPr>
                  <a:t>정보수집동의</a:t>
                </a:r>
              </a:p>
            </p:txBody>
          </p:sp>
        </p:grpSp>
      </p:grpSp>
      <p:sp>
        <p:nvSpPr>
          <p:cNvPr id="241" name="Oval 240"/>
          <p:cNvSpPr/>
          <p:nvPr/>
        </p:nvSpPr>
        <p:spPr>
          <a:xfrm>
            <a:off x="1275362" y="2330809"/>
            <a:ext cx="234426" cy="234426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algn="ctr" eaLnBrk="0" latin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000" dirty="0">
                <a:solidFill>
                  <a:srgbClr val="FFFFFF"/>
                </a:solidFill>
                <a:latin typeface="맑은 고딕"/>
                <a:ea typeface="맑은 고딕"/>
                <a:cs typeface="Arial"/>
              </a:rPr>
              <a:t>1</a:t>
            </a:r>
            <a:endParaRPr lang="ko-KR" altLang="en-US" sz="1000" dirty="0">
              <a:solidFill>
                <a:srgbClr val="FFFFFF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242" name="Oval 241"/>
          <p:cNvSpPr/>
          <p:nvPr/>
        </p:nvSpPr>
        <p:spPr>
          <a:xfrm>
            <a:off x="3602704" y="2330809"/>
            <a:ext cx="234426" cy="234426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algn="ctr" eaLnBrk="0" latin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000" dirty="0">
                <a:solidFill>
                  <a:srgbClr val="FFFFFF"/>
                </a:solidFill>
                <a:latin typeface="맑은 고딕"/>
                <a:ea typeface="맑은 고딕"/>
                <a:cs typeface="Arial"/>
              </a:rPr>
              <a:t>2</a:t>
            </a:r>
            <a:endParaRPr lang="ko-KR" altLang="en-US" sz="1000" dirty="0">
              <a:solidFill>
                <a:srgbClr val="FFFFFF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243" name="Oval 242"/>
          <p:cNvSpPr/>
          <p:nvPr/>
        </p:nvSpPr>
        <p:spPr>
          <a:xfrm>
            <a:off x="4560606" y="4010853"/>
            <a:ext cx="234426" cy="234426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algn="ctr" eaLnBrk="0" latinLnBrk="0" hangingPunct="0">
              <a:spcBef>
                <a:spcPts val="0"/>
              </a:spcBef>
              <a:buClr>
                <a:srgbClr val="7D0900"/>
              </a:buClr>
            </a:pPr>
            <a:r>
              <a:rPr lang="en-US" altLang="ko-KR" sz="1000" dirty="0">
                <a:solidFill>
                  <a:srgbClr val="FFFFFF"/>
                </a:solidFill>
                <a:latin typeface="맑은 고딕"/>
                <a:ea typeface="맑은 고딕"/>
                <a:cs typeface="Arial"/>
              </a:rPr>
              <a:t>3</a:t>
            </a:r>
            <a:endParaRPr lang="ko-KR" altLang="en-US" sz="1000" dirty="0">
              <a:solidFill>
                <a:srgbClr val="FFFFFF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245" name="Oval 244"/>
          <p:cNvSpPr/>
          <p:nvPr/>
        </p:nvSpPr>
        <p:spPr>
          <a:xfrm>
            <a:off x="7257140" y="2157427"/>
            <a:ext cx="216000" cy="21600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1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  <a:cs typeface="Arial"/>
            </a:endParaRPr>
          </a:p>
        </p:txBody>
      </p:sp>
      <p:sp>
        <p:nvSpPr>
          <p:cNvPr id="246" name="Rectangle 28"/>
          <p:cNvSpPr>
            <a:spLocks noChangeArrowheads="1"/>
          </p:cNvSpPr>
          <p:nvPr/>
        </p:nvSpPr>
        <p:spPr bwMode="gray">
          <a:xfrm>
            <a:off x="7525658" y="2369620"/>
            <a:ext cx="1908628" cy="116247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808080"/>
            </a:solidFill>
            <a:prstDash val="solid"/>
          </a:ln>
          <a:effectLst/>
        </p:spPr>
        <p:txBody>
          <a:bodyPr lIns="72000" tIns="36000" rIns="72000" bIns="36000" anchor="ctr"/>
          <a:lstStyle/>
          <a:p>
            <a:pPr marL="174625" marR="0" lvl="1" indent="-17462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고객의 개인정보 및 동의 이력은 고객 정보 보호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상이므로 개인정보보호법에 기반하여 전체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합함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47" name="Snip Single Corner Rectangle 246"/>
          <p:cNvSpPr/>
          <p:nvPr/>
        </p:nvSpPr>
        <p:spPr>
          <a:xfrm>
            <a:off x="7525658" y="2132856"/>
            <a:ext cx="1908628" cy="246100"/>
          </a:xfrm>
          <a:prstGeom prst="snip1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전체통합</a:t>
            </a:r>
          </a:p>
        </p:txBody>
      </p:sp>
      <p:sp>
        <p:nvSpPr>
          <p:cNvPr id="249" name="Oval 248"/>
          <p:cNvSpPr/>
          <p:nvPr/>
        </p:nvSpPr>
        <p:spPr>
          <a:xfrm>
            <a:off x="7266675" y="3770083"/>
            <a:ext cx="216000" cy="21600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2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  <a:cs typeface="Arial"/>
            </a:endParaRPr>
          </a:p>
        </p:txBody>
      </p:sp>
      <p:sp>
        <p:nvSpPr>
          <p:cNvPr id="250" name="Rectangle 28"/>
          <p:cNvSpPr>
            <a:spLocks noChangeArrowheads="1"/>
          </p:cNvSpPr>
          <p:nvPr/>
        </p:nvSpPr>
        <p:spPr bwMode="gray">
          <a:xfrm>
            <a:off x="7532914" y="3991612"/>
            <a:ext cx="1915886" cy="70599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808080"/>
            </a:solidFill>
            <a:prstDash val="solid"/>
          </a:ln>
          <a:effectLst/>
        </p:spPr>
        <p:txBody>
          <a:bodyPr anchor="ctr"/>
          <a:lstStyle/>
          <a:p>
            <a:pPr marL="174625" marR="0" lvl="1" indent="-17462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 영역별 통합 필요성에 따라 부분적으로 통합함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51" name="Snip Single Corner Rectangle 250"/>
          <p:cNvSpPr/>
          <p:nvPr/>
        </p:nvSpPr>
        <p:spPr>
          <a:xfrm>
            <a:off x="7532914" y="3745512"/>
            <a:ext cx="1915886" cy="246100"/>
          </a:xfrm>
          <a:prstGeom prst="snip1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부분적 통합</a:t>
            </a:r>
          </a:p>
        </p:txBody>
      </p:sp>
      <p:sp>
        <p:nvSpPr>
          <p:cNvPr id="253" name="Oval 252"/>
          <p:cNvSpPr/>
          <p:nvPr/>
        </p:nvSpPr>
        <p:spPr>
          <a:xfrm>
            <a:off x="7260706" y="4935594"/>
            <a:ext cx="216000" cy="21600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3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  <a:cs typeface="Arial"/>
            </a:endParaRPr>
          </a:p>
        </p:txBody>
      </p:sp>
      <p:sp>
        <p:nvSpPr>
          <p:cNvPr id="254" name="Rectangle 28"/>
          <p:cNvSpPr>
            <a:spLocks noChangeArrowheads="1"/>
          </p:cNvSpPr>
          <p:nvPr/>
        </p:nvSpPr>
        <p:spPr bwMode="gray">
          <a:xfrm>
            <a:off x="7532914" y="5157123"/>
            <a:ext cx="1915886" cy="709766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808080"/>
            </a:solidFill>
            <a:prstDash val="solid"/>
          </a:ln>
          <a:effectLst/>
        </p:spPr>
        <p:txBody>
          <a:bodyPr anchor="ctr"/>
          <a:lstStyle/>
          <a:p>
            <a:pPr marL="174625" marR="0" lvl="1" indent="-17462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 업무별 세부 정보는 개별적으로 관리함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55" name="Snip Single Corner Rectangle 254"/>
          <p:cNvSpPr/>
          <p:nvPr/>
        </p:nvSpPr>
        <p:spPr>
          <a:xfrm>
            <a:off x="7532914" y="4911023"/>
            <a:ext cx="1915886" cy="246100"/>
          </a:xfrm>
          <a:prstGeom prst="snip1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0" tIns="72000" rIns="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업무별 관리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463684" y="5517232"/>
            <a:ext cx="6691860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</a:pPr>
            <a:r>
              <a:rPr kumimoji="1" lang="en-US" altLang="ko-KR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“</a:t>
            </a:r>
            <a:r>
              <a:rPr kumimoji="1" lang="ko-KR" altLang="en-US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정보보호 필요성 및 업무 통합의 필요성에 따라 </a:t>
            </a:r>
            <a:r>
              <a:rPr kumimoji="1" lang="en-US" altLang="ko-KR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/>
            </a:r>
            <a:br>
              <a:rPr kumimoji="1" lang="en-US" altLang="ko-KR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</a:br>
            <a:r>
              <a:rPr kumimoji="1" lang="ko-KR" altLang="en-US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고객정보를 </a:t>
            </a:r>
            <a:r>
              <a:rPr kumimoji="1" lang="en-US" altLang="ko-KR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3</a:t>
            </a:r>
            <a:r>
              <a:rPr kumimoji="1" lang="ko-KR" altLang="en-US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가지 유형으로 분류하여 관리</a:t>
            </a:r>
            <a:r>
              <a:rPr kumimoji="1" lang="en-US" altLang="ko-KR" i="1" dirty="0" smtClean="0">
                <a:solidFill>
                  <a:srgbClr val="CC3300"/>
                </a:solidFill>
                <a:latin typeface="맑은 고딕" pitchFamily="50" charset="-127"/>
                <a:ea typeface="맑은 고딕"/>
              </a:rPr>
              <a:t>“</a:t>
            </a:r>
            <a:endParaRPr kumimoji="1" lang="ko-KR" altLang="en-US" i="1" dirty="0" smtClean="0">
              <a:solidFill>
                <a:srgbClr val="CC3300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26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9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90" name="TextBox 8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5" name="그룹 10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4" name="그룹 11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175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End-to-End(E2E)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의 전사 업무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화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업무 처리 효율을 제고하고</a:t>
            </a:r>
            <a:r>
              <a:rPr lang="en-US" altLang="ko-KR" dirty="0"/>
              <a:t>(Operational Excellence),</a:t>
            </a:r>
            <a:r>
              <a:rPr lang="ko-KR" altLang="en-US" dirty="0"/>
              <a:t> 업무간의 통합</a:t>
            </a:r>
            <a:r>
              <a:rPr lang="en-US" altLang="ko-KR" dirty="0"/>
              <a:t>, </a:t>
            </a:r>
            <a:r>
              <a:rPr lang="ko-KR" altLang="en-US" dirty="0"/>
              <a:t>재무 및 경영관리와 유기적으로 연계하는 </a:t>
            </a:r>
            <a:r>
              <a:rPr lang="en-US" altLang="ko-KR" dirty="0"/>
              <a:t>E2E </a:t>
            </a:r>
            <a:r>
              <a:rPr lang="ko-KR" altLang="en-US" dirty="0"/>
              <a:t>통합 사상을 근간으로 추진할 것임</a:t>
            </a:r>
          </a:p>
        </p:txBody>
      </p:sp>
      <p:sp>
        <p:nvSpPr>
          <p:cNvPr id="122" name="직사각형 121"/>
          <p:cNvSpPr/>
          <p:nvPr/>
        </p:nvSpPr>
        <p:spPr bwMode="auto">
          <a:xfrm>
            <a:off x="416687" y="2030082"/>
            <a:ext cx="857256" cy="1890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사업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계획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목표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4" name="그룹 126"/>
          <p:cNvGrpSpPr/>
          <p:nvPr/>
        </p:nvGrpSpPr>
        <p:grpSpPr>
          <a:xfrm>
            <a:off x="1819908" y="1895082"/>
            <a:ext cx="7848001" cy="4320000"/>
            <a:chOff x="1401738" y="1571612"/>
            <a:chExt cx="8072494" cy="4572032"/>
          </a:xfrm>
        </p:grpSpPr>
        <p:sp>
          <p:nvSpPr>
            <p:cNvPr id="63" name="직사각형 62"/>
            <p:cNvSpPr/>
            <p:nvPr/>
          </p:nvSpPr>
          <p:spPr bwMode="auto">
            <a:xfrm>
              <a:off x="7980569" y="3721100"/>
              <a:ext cx="1330149" cy="8890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7885558" y="2794000"/>
              <a:ext cx="1425160" cy="8890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5741118" y="2794000"/>
              <a:ext cx="2185245" cy="16560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4282543" y="4526900"/>
              <a:ext cx="2438607" cy="14040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7" name="직사각형 66"/>
            <p:cNvSpPr/>
            <p:nvPr/>
          </p:nvSpPr>
          <p:spPr bwMode="auto">
            <a:xfrm>
              <a:off x="1606718" y="3689364"/>
              <a:ext cx="2596958" cy="2254236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4282543" y="2794000"/>
              <a:ext cx="1361819" cy="16560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4148473" y="1708237"/>
              <a:ext cx="5162245" cy="10033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1606718" y="1708237"/>
              <a:ext cx="2596958" cy="1930400"/>
            </a:xfrm>
            <a:prstGeom prst="rect">
              <a:avLst/>
            </a:prstGeom>
            <a:solidFill>
              <a:srgbClr val="365AA8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2340063" y="30386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상품개발</a:t>
              </a: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2340063" y="378864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회원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가맹점 모집</a:t>
              </a:r>
              <a:endPara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6661780" y="20480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상품모니터링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5488662" y="5244851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마케팅 실행</a:t>
              </a:r>
              <a:endPara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6661780" y="378864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승인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매출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b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청구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입금</a:t>
              </a: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8074436" y="378864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채권관리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en-US" altLang="ko-K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Collection)</a:t>
              </a:r>
              <a:endPara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4404925" y="378864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고객관리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</a:t>
              </a:r>
              <a:r>
                <a:rPr kumimoji="1"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회원</a:t>
              </a:r>
              <a: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 </a:t>
              </a:r>
              <a:r>
                <a:rPr kumimoji="1"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가맹점</a:t>
              </a:r>
              <a: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</a:t>
              </a:r>
              <a:b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1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제휴파트너</a:t>
              </a:r>
              <a: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  <a:endPara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1694461" y="4622551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채널관리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</a:t>
              </a:r>
              <a:r>
                <a:rPr kumimoji="1" lang="ko-KR" altLang="en-US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영업점</a:t>
              </a:r>
              <a: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계열사</a:t>
              </a:r>
              <a: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</a:t>
              </a:r>
              <a:b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모집인</a:t>
              </a:r>
              <a: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 </a:t>
              </a:r>
              <a:r>
                <a:rPr kumimoji="1" lang="ko-KR" altLang="en-US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행복센터</a:t>
              </a:r>
              <a:r>
                <a:rPr kumimoji="1" lang="en-US" altLang="ko-KR" sz="105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  <a:endParaRPr kumimoji="1"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cxnSp>
          <p:nvCxnSpPr>
            <p:cNvPr id="79" name="직선 화살표 연결선 18"/>
            <p:cNvCxnSpPr>
              <a:stCxn id="78" idx="0"/>
              <a:endCxn id="72" idx="2"/>
            </p:cNvCxnSpPr>
            <p:nvPr/>
          </p:nvCxnSpPr>
          <p:spPr bwMode="auto">
            <a:xfrm rot="5400000" flipH="1" flipV="1">
              <a:off x="2424536" y="4152797"/>
              <a:ext cx="293908" cy="645602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80" name="직선 화살표 연결선 79"/>
            <p:cNvCxnSpPr>
              <a:stCxn id="71" idx="2"/>
              <a:endCxn id="72" idx="0"/>
            </p:cNvCxnSpPr>
            <p:nvPr/>
          </p:nvCxnSpPr>
          <p:spPr bwMode="auto">
            <a:xfrm rot="5400000">
              <a:off x="2789277" y="3683723"/>
              <a:ext cx="210030" cy="1397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81" name="직사각형 80"/>
            <p:cNvSpPr/>
            <p:nvPr/>
          </p:nvSpPr>
          <p:spPr bwMode="auto">
            <a:xfrm>
              <a:off x="1694461" y="20480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시장조사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Market Sensing)</a:t>
              </a:r>
              <a:endPara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cxnSp>
          <p:nvCxnSpPr>
            <p:cNvPr id="82" name="직선 화살표 연결선 31"/>
            <p:cNvCxnSpPr>
              <a:stCxn id="81" idx="2"/>
              <a:endCxn id="71" idx="0"/>
            </p:cNvCxnSpPr>
            <p:nvPr/>
          </p:nvCxnSpPr>
          <p:spPr bwMode="auto">
            <a:xfrm rot="16200000" flipH="1">
              <a:off x="2346190" y="2490512"/>
              <a:ext cx="450600" cy="645602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83" name="직사각형 82"/>
            <p:cNvSpPr/>
            <p:nvPr/>
          </p:nvSpPr>
          <p:spPr bwMode="auto">
            <a:xfrm>
              <a:off x="2988071" y="20480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상품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포트폴리오</a:t>
              </a:r>
            </a:p>
          </p:txBody>
        </p:sp>
        <p:cxnSp>
          <p:nvCxnSpPr>
            <p:cNvPr id="84" name="직선 화살표 연결선 83"/>
            <p:cNvCxnSpPr>
              <a:stCxn id="81" idx="3"/>
              <a:endCxn id="83" idx="1"/>
            </p:cNvCxnSpPr>
            <p:nvPr/>
          </p:nvCxnSpPr>
          <p:spPr bwMode="auto">
            <a:xfrm>
              <a:off x="2802919" y="2318013"/>
              <a:ext cx="185152" cy="158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85" name="직선 화살표 연결선 45"/>
            <p:cNvCxnSpPr>
              <a:stCxn id="83" idx="2"/>
              <a:endCxn id="71" idx="0"/>
            </p:cNvCxnSpPr>
            <p:nvPr/>
          </p:nvCxnSpPr>
          <p:spPr bwMode="auto">
            <a:xfrm rot="5400000">
              <a:off x="2992995" y="2489309"/>
              <a:ext cx="450600" cy="6480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86" name="직선 화살표 연결선 38"/>
            <p:cNvCxnSpPr>
              <a:stCxn id="73" idx="1"/>
              <a:endCxn id="83" idx="3"/>
            </p:cNvCxnSpPr>
            <p:nvPr/>
          </p:nvCxnSpPr>
          <p:spPr bwMode="auto">
            <a:xfrm rot="10800000">
              <a:off x="4096529" y="2318013"/>
              <a:ext cx="2565252" cy="158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87" name="직사각형 86"/>
            <p:cNvSpPr/>
            <p:nvPr/>
          </p:nvSpPr>
          <p:spPr bwMode="auto">
            <a:xfrm>
              <a:off x="2988071" y="4622551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심사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한도</a:t>
              </a:r>
            </a:p>
          </p:txBody>
        </p:sp>
        <p:cxnSp>
          <p:nvCxnSpPr>
            <p:cNvPr id="88" name="직선 화살표 연결선 53"/>
            <p:cNvCxnSpPr>
              <a:stCxn id="87" idx="0"/>
              <a:endCxn id="72" idx="2"/>
            </p:cNvCxnSpPr>
            <p:nvPr/>
          </p:nvCxnSpPr>
          <p:spPr bwMode="auto">
            <a:xfrm rot="16200000" flipV="1">
              <a:off x="3071341" y="4151593"/>
              <a:ext cx="293908" cy="6480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89" name="직선 화살표 연결선 88"/>
            <p:cNvCxnSpPr>
              <a:stCxn id="72" idx="3"/>
              <a:endCxn id="77" idx="1"/>
            </p:cNvCxnSpPr>
            <p:nvPr/>
          </p:nvCxnSpPr>
          <p:spPr bwMode="auto">
            <a:xfrm>
              <a:off x="3448520" y="4058643"/>
              <a:ext cx="956404" cy="158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90" name="직선 화살표 연결선 38"/>
            <p:cNvCxnSpPr>
              <a:stCxn id="81" idx="1"/>
              <a:endCxn id="102" idx="2"/>
            </p:cNvCxnSpPr>
            <p:nvPr/>
          </p:nvCxnSpPr>
          <p:spPr bwMode="auto">
            <a:xfrm rot="10800000" flipH="1" flipV="1">
              <a:off x="1694461" y="2318013"/>
              <a:ext cx="3264693" cy="2844538"/>
            </a:xfrm>
            <a:prstGeom prst="bentConnector4">
              <a:avLst>
                <a:gd name="adj1" fmla="val -6160"/>
                <a:gd name="adj2" fmla="val 129467"/>
              </a:avLst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91" name="직선 화살표 연결선 62"/>
            <p:cNvCxnSpPr>
              <a:endCxn id="75" idx="1"/>
            </p:cNvCxnSpPr>
            <p:nvPr/>
          </p:nvCxnSpPr>
          <p:spPr bwMode="auto">
            <a:xfrm rot="5400000" flipH="1" flipV="1">
              <a:off x="5851707" y="4422331"/>
              <a:ext cx="1173759" cy="446386"/>
            </a:xfrm>
            <a:prstGeom prst="curvedConnector2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92" name="직선 화살표 연결선 91"/>
            <p:cNvCxnSpPr>
              <a:stCxn id="75" idx="3"/>
              <a:endCxn id="76" idx="1"/>
            </p:cNvCxnSpPr>
            <p:nvPr/>
          </p:nvCxnSpPr>
          <p:spPr bwMode="auto">
            <a:xfrm>
              <a:off x="7770237" y="4058643"/>
              <a:ext cx="304199" cy="158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93" name="직사각형 92"/>
            <p:cNvSpPr/>
            <p:nvPr/>
          </p:nvSpPr>
          <p:spPr bwMode="auto">
            <a:xfrm>
              <a:off x="5868529" y="30386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가맹점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매출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정산</a:t>
              </a:r>
            </a:p>
          </p:txBody>
        </p:sp>
        <p:cxnSp>
          <p:nvCxnSpPr>
            <p:cNvPr id="94" name="직선 화살표 연결선 76"/>
            <p:cNvCxnSpPr>
              <a:stCxn id="75" idx="0"/>
              <a:endCxn id="93" idx="3"/>
            </p:cNvCxnSpPr>
            <p:nvPr/>
          </p:nvCxnSpPr>
          <p:spPr bwMode="auto">
            <a:xfrm rot="16200000" flipV="1">
              <a:off x="6856482" y="3429117"/>
              <a:ext cx="480030" cy="239022"/>
            </a:xfrm>
            <a:prstGeom prst="bentConnector2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95" name="직선 화살표 연결선 94"/>
            <p:cNvCxnSpPr>
              <a:stCxn id="75" idx="0"/>
              <a:endCxn id="73" idx="2"/>
            </p:cNvCxnSpPr>
            <p:nvPr/>
          </p:nvCxnSpPr>
          <p:spPr bwMode="auto">
            <a:xfrm rot="5400000" flipH="1" flipV="1">
              <a:off x="6615693" y="3188423"/>
              <a:ext cx="1200630" cy="1397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96" name="직사각형 95"/>
            <p:cNvSpPr/>
            <p:nvPr/>
          </p:nvSpPr>
          <p:spPr bwMode="auto">
            <a:xfrm>
              <a:off x="7443858" y="30386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부정사용관리</a:t>
              </a:r>
            </a:p>
          </p:txBody>
        </p:sp>
        <p:cxnSp>
          <p:nvCxnSpPr>
            <p:cNvPr id="97" name="직선 화살표 연결선 76"/>
            <p:cNvCxnSpPr>
              <a:stCxn id="75" idx="0"/>
              <a:endCxn id="96" idx="1"/>
            </p:cNvCxnSpPr>
            <p:nvPr/>
          </p:nvCxnSpPr>
          <p:spPr bwMode="auto">
            <a:xfrm rot="5400000" flipH="1" flipV="1">
              <a:off x="7089918" y="3434703"/>
              <a:ext cx="480030" cy="227850"/>
            </a:xfrm>
            <a:prstGeom prst="bentConnector2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98" name="직사각형 97"/>
            <p:cNvSpPr/>
            <p:nvPr/>
          </p:nvSpPr>
          <p:spPr bwMode="auto">
            <a:xfrm>
              <a:off x="4404925" y="3038613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VOC</a:t>
              </a:r>
              <a:endPara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cxnSp>
          <p:nvCxnSpPr>
            <p:cNvPr id="99" name="Shape 153"/>
            <p:cNvCxnSpPr>
              <a:stCxn id="77" idx="2"/>
              <a:endCxn id="102" idx="0"/>
            </p:cNvCxnSpPr>
            <p:nvPr/>
          </p:nvCxnSpPr>
          <p:spPr bwMode="auto">
            <a:xfrm rot="5400000">
              <a:off x="4812200" y="4475692"/>
              <a:ext cx="293908" cy="1397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00" name="직선 화살표 연결선 99"/>
            <p:cNvCxnSpPr>
              <a:stCxn id="77" idx="3"/>
              <a:endCxn id="75" idx="1"/>
            </p:cNvCxnSpPr>
            <p:nvPr/>
          </p:nvCxnSpPr>
          <p:spPr bwMode="auto">
            <a:xfrm>
              <a:off x="5513382" y="4058643"/>
              <a:ext cx="1148397" cy="158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01" name="직선 화살표 연결선 38"/>
            <p:cNvCxnSpPr>
              <a:stCxn id="98" idx="2"/>
              <a:endCxn id="77" idx="0"/>
            </p:cNvCxnSpPr>
            <p:nvPr/>
          </p:nvCxnSpPr>
          <p:spPr bwMode="auto">
            <a:xfrm rot="5400000">
              <a:off x="4854139" y="3683723"/>
              <a:ext cx="210030" cy="1397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02" name="직사각형 101"/>
            <p:cNvSpPr/>
            <p:nvPr/>
          </p:nvSpPr>
          <p:spPr bwMode="auto">
            <a:xfrm>
              <a:off x="4404925" y="4622551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마케팅 기획</a:t>
              </a:r>
            </a:p>
          </p:txBody>
        </p:sp>
        <p:cxnSp>
          <p:nvCxnSpPr>
            <p:cNvPr id="103" name="직선 화살표 연결선 185"/>
            <p:cNvCxnSpPr>
              <a:stCxn id="102" idx="3"/>
            </p:cNvCxnSpPr>
            <p:nvPr/>
          </p:nvCxnSpPr>
          <p:spPr bwMode="auto">
            <a:xfrm>
              <a:off x="5513382" y="4892551"/>
              <a:ext cx="366835" cy="324000"/>
            </a:xfrm>
            <a:prstGeom prst="bentConnector2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04" name="직사각형 103"/>
            <p:cNvSpPr/>
            <p:nvPr/>
          </p:nvSpPr>
          <p:spPr bwMode="auto">
            <a:xfrm>
              <a:off x="2340063" y="5244851"/>
              <a:ext cx="1108458" cy="54000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시너지</a:t>
              </a:r>
              <a: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</a:t>
              </a:r>
              <a:r>
                <a: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금융</a:t>
              </a:r>
              <a:r>
                <a:rPr kumimoji="1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+</a:t>
              </a:r>
              <a:r>
                <a: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유통</a:t>
              </a:r>
              <a:r>
                <a:rPr kumimoji="1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  <a:endPara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05" name="직사각형 104"/>
            <p:cNvSpPr/>
            <p:nvPr>
              <p:custDataLst>
                <p:tags r:id="rId1"/>
              </p:custDataLst>
            </p:nvPr>
          </p:nvSpPr>
          <p:spPr bwMode="auto">
            <a:xfrm>
              <a:off x="1606718" y="1714500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1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773915" y="1651000"/>
              <a:ext cx="391364" cy="27238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상품</a:t>
              </a: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785089" y="3632200"/>
              <a:ext cx="391364" cy="27238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영업</a:t>
              </a:r>
            </a:p>
          </p:txBody>
        </p:sp>
        <p:sp>
          <p:nvSpPr>
            <p:cNvPr id="108" name="직사각형 107"/>
            <p:cNvSpPr/>
            <p:nvPr>
              <p:custDataLst>
                <p:tags r:id="rId2"/>
              </p:custDataLst>
            </p:nvPr>
          </p:nvSpPr>
          <p:spPr bwMode="auto">
            <a:xfrm>
              <a:off x="1606718" y="3689364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2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09" name="직사각형 108"/>
            <p:cNvSpPr/>
            <p:nvPr>
              <p:custDataLst>
                <p:tags r:id="rId3"/>
              </p:custDataLst>
            </p:nvPr>
          </p:nvSpPr>
          <p:spPr bwMode="auto">
            <a:xfrm>
              <a:off x="4282543" y="2794000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3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4472477" y="2743200"/>
              <a:ext cx="391364" cy="27238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고객</a:t>
              </a:r>
            </a:p>
          </p:txBody>
        </p:sp>
        <p:sp>
          <p:nvSpPr>
            <p:cNvPr id="111" name="직사각형 110"/>
            <p:cNvSpPr/>
            <p:nvPr>
              <p:custDataLst>
                <p:tags r:id="rId4"/>
              </p:custDataLst>
            </p:nvPr>
          </p:nvSpPr>
          <p:spPr bwMode="auto">
            <a:xfrm>
              <a:off x="4282543" y="5750900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4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4483649" y="5676900"/>
              <a:ext cx="549654" cy="27238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마케팅</a:t>
              </a:r>
            </a:p>
          </p:txBody>
        </p:sp>
        <p:sp>
          <p:nvSpPr>
            <p:cNvPr id="113" name="직사각형 112"/>
            <p:cNvSpPr/>
            <p:nvPr>
              <p:custDataLst>
                <p:tags r:id="rId5"/>
              </p:custDataLst>
            </p:nvPr>
          </p:nvSpPr>
          <p:spPr bwMode="auto">
            <a:xfrm>
              <a:off x="5741118" y="2794000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5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5936080" y="2743200"/>
              <a:ext cx="1854643" cy="27238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매출</a:t>
              </a:r>
            </a:p>
          </p:txBody>
        </p:sp>
        <p:sp>
          <p:nvSpPr>
            <p:cNvPr id="115" name="직사각형 114"/>
            <p:cNvSpPr/>
            <p:nvPr>
              <p:custDataLst>
                <p:tags r:id="rId6"/>
              </p:custDataLst>
            </p:nvPr>
          </p:nvSpPr>
          <p:spPr bwMode="auto">
            <a:xfrm>
              <a:off x="7980569" y="4430100"/>
              <a:ext cx="190021" cy="18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6</a:t>
              </a:r>
              <a:endParaRPr kumimoji="1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8192935" y="4356100"/>
              <a:ext cx="391364" cy="27238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l" defTabSz="914400" rtl="0" eaLnBrk="0" fontAlgn="t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회수</a:t>
              </a:r>
            </a:p>
          </p:txBody>
        </p:sp>
        <p:cxnSp>
          <p:nvCxnSpPr>
            <p:cNvPr id="117" name="직선 화살표 연결선 116"/>
            <p:cNvCxnSpPr>
              <a:stCxn id="104" idx="0"/>
              <a:endCxn id="72" idx="2"/>
            </p:cNvCxnSpPr>
            <p:nvPr/>
          </p:nvCxnSpPr>
          <p:spPr bwMode="auto">
            <a:xfrm rot="5400000" flipH="1" flipV="1">
              <a:off x="2436188" y="4786842"/>
              <a:ext cx="916208" cy="1397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24" name="직사각형 123"/>
            <p:cNvSpPr/>
            <p:nvPr/>
          </p:nvSpPr>
          <p:spPr bwMode="auto">
            <a:xfrm>
              <a:off x="1401738" y="1571612"/>
              <a:ext cx="8072494" cy="457203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dashDot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5" name="직사각형 124"/>
          <p:cNvSpPr/>
          <p:nvPr/>
        </p:nvSpPr>
        <p:spPr bwMode="auto">
          <a:xfrm>
            <a:off x="416687" y="4182206"/>
            <a:ext cx="857256" cy="1890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t" latinLnBrk="0" hangingPunct="0">
              <a:spcBef>
                <a:spcPct val="50000"/>
              </a:spcBef>
              <a:spcAft>
                <a:spcPct val="5000"/>
              </a:spcAft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성과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물량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</a:t>
            </a:r>
            <a:b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손익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09530" y="1895082"/>
            <a:ext cx="1071570" cy="4320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Dot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오른쪽 화살표 127"/>
          <p:cNvSpPr/>
          <p:nvPr/>
        </p:nvSpPr>
        <p:spPr bwMode="auto">
          <a:xfrm>
            <a:off x="1452538" y="2705082"/>
            <a:ext cx="285752" cy="405000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오른쪽 화살표 128"/>
          <p:cNvSpPr/>
          <p:nvPr/>
        </p:nvSpPr>
        <p:spPr bwMode="auto">
          <a:xfrm flipH="1">
            <a:off x="1452538" y="4797582"/>
            <a:ext cx="285752" cy="405000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TextBox 130"/>
          <p:cNvSpPr txBox="1"/>
          <p:nvPr/>
        </p:nvSpPr>
        <p:spPr bwMode="auto">
          <a:xfrm>
            <a:off x="4953000" y="1364529"/>
            <a:ext cx="1205129" cy="5035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가치사슬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(Biz. Process)</a:t>
            </a:r>
            <a:endParaRPr lang="ko-KR" altLang="en-US" sz="14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32" name="TextBox 131"/>
          <p:cNvSpPr txBox="1"/>
          <p:nvPr/>
        </p:nvSpPr>
        <p:spPr bwMode="auto">
          <a:xfrm>
            <a:off x="334930" y="1364529"/>
            <a:ext cx="1125877" cy="5035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경영관리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(Biz. Mgmt.)</a:t>
            </a:r>
            <a:endParaRPr lang="ko-KR" altLang="en-US" sz="14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33" name="위쪽 화살표 132"/>
          <p:cNvSpPr/>
          <p:nvPr/>
        </p:nvSpPr>
        <p:spPr bwMode="auto">
          <a:xfrm>
            <a:off x="2987050" y="2227254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위쪽 화살표 133"/>
          <p:cNvSpPr/>
          <p:nvPr/>
        </p:nvSpPr>
        <p:spPr bwMode="auto">
          <a:xfrm>
            <a:off x="5595942" y="316864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위쪽 화살표 134"/>
          <p:cNvSpPr/>
          <p:nvPr/>
        </p:nvSpPr>
        <p:spPr bwMode="auto">
          <a:xfrm>
            <a:off x="7024702" y="3163886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위쪽 화살표 135"/>
          <p:cNvSpPr/>
          <p:nvPr/>
        </p:nvSpPr>
        <p:spPr bwMode="auto">
          <a:xfrm>
            <a:off x="5621342" y="388302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7" name="위쪽 화살표 136"/>
          <p:cNvSpPr/>
          <p:nvPr/>
        </p:nvSpPr>
        <p:spPr bwMode="auto">
          <a:xfrm>
            <a:off x="3595678" y="528638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위쪽 화살표 137"/>
          <p:cNvSpPr/>
          <p:nvPr/>
        </p:nvSpPr>
        <p:spPr bwMode="auto">
          <a:xfrm>
            <a:off x="4213220" y="2252654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위쪽 화살표 138"/>
          <p:cNvSpPr/>
          <p:nvPr/>
        </p:nvSpPr>
        <p:spPr bwMode="auto">
          <a:xfrm>
            <a:off x="7810520" y="388302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위쪽 화살표 139"/>
          <p:cNvSpPr/>
          <p:nvPr/>
        </p:nvSpPr>
        <p:spPr bwMode="auto">
          <a:xfrm>
            <a:off x="5595942" y="4643446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위쪽 화살표 140"/>
          <p:cNvSpPr/>
          <p:nvPr/>
        </p:nvSpPr>
        <p:spPr bwMode="auto">
          <a:xfrm>
            <a:off x="6667512" y="5240350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위쪽 화살표 141"/>
          <p:cNvSpPr/>
          <p:nvPr/>
        </p:nvSpPr>
        <p:spPr bwMode="auto">
          <a:xfrm>
            <a:off x="3595678" y="314324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위쪽 화살표 142"/>
          <p:cNvSpPr/>
          <p:nvPr/>
        </p:nvSpPr>
        <p:spPr bwMode="auto">
          <a:xfrm>
            <a:off x="7810520" y="2214554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위쪽 화살표 143"/>
          <p:cNvSpPr/>
          <p:nvPr/>
        </p:nvSpPr>
        <p:spPr bwMode="auto">
          <a:xfrm>
            <a:off x="9167842" y="385762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위쪽 화살표 144"/>
          <p:cNvSpPr/>
          <p:nvPr/>
        </p:nvSpPr>
        <p:spPr bwMode="auto">
          <a:xfrm>
            <a:off x="8583638" y="3168648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6" name="위쪽 화살표 145"/>
          <p:cNvSpPr/>
          <p:nvPr/>
        </p:nvSpPr>
        <p:spPr bwMode="auto">
          <a:xfrm>
            <a:off x="2978136" y="4656146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7" name="직선 화살표 연결선 146"/>
          <p:cNvCxnSpPr>
            <a:stCxn id="122" idx="2"/>
            <a:endCxn id="125" idx="0"/>
          </p:cNvCxnSpPr>
          <p:nvPr/>
        </p:nvCxnSpPr>
        <p:spPr bwMode="auto">
          <a:xfrm rot="5400000">
            <a:off x="714253" y="4051144"/>
            <a:ext cx="262124" cy="1588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21" name="위쪽 화살표 120"/>
          <p:cNvSpPr/>
          <p:nvPr/>
        </p:nvSpPr>
        <p:spPr bwMode="auto">
          <a:xfrm>
            <a:off x="4232987" y="4704497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위쪽 화살표 122"/>
          <p:cNvSpPr/>
          <p:nvPr/>
        </p:nvSpPr>
        <p:spPr bwMode="auto">
          <a:xfrm>
            <a:off x="3609532" y="3803951"/>
            <a:ext cx="180000" cy="214314"/>
          </a:xfrm>
          <a:prstGeom prst="upArrow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39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 및 고객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ngle-View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현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고객 정보 관리 기준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통합 이후 정합성 있는 고객정보를 관리하기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립 및 수립된 관리기준이 설계에 반영되어야 함</a:t>
            </a:r>
          </a:p>
        </p:txBody>
      </p:sp>
      <p:sp>
        <p:nvSpPr>
          <p:cNvPr id="4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8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3" name="그룹 6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6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32" name="Text Box 563"/>
          <p:cNvSpPr txBox="1">
            <a:spLocks noChangeArrowheads="1"/>
          </p:cNvSpPr>
          <p:nvPr/>
        </p:nvSpPr>
        <p:spPr bwMode="gray">
          <a:xfrm>
            <a:off x="734411" y="2615948"/>
            <a:ext cx="1176338" cy="99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defRPr sz="1100" b="1" kern="0">
                <a:solidFill>
                  <a:prstClr val="black"/>
                </a:solidFill>
                <a:latin typeface="맑은 고딕"/>
                <a:cs typeface="Arial"/>
              </a:defRPr>
            </a:lvl1pPr>
          </a:lstStyle>
          <a:p>
            <a:pPr latinLnBrk="0"/>
            <a:r>
              <a:rPr lang="ko-KR" altLang="en-US" sz="1200" dirty="0">
                <a:ea typeface="맑은 고딕"/>
              </a:rPr>
              <a:t>최신 </a:t>
            </a:r>
            <a:r>
              <a:rPr lang="ko-KR" altLang="en-US" sz="1200" dirty="0" smtClean="0">
                <a:ea typeface="맑은 고딕"/>
              </a:rPr>
              <a:t>정보를 </a:t>
            </a:r>
            <a:r>
              <a:rPr lang="en-US" altLang="ko-KR" sz="1200" dirty="0" smtClean="0">
                <a:ea typeface="맑은 고딕"/>
              </a:rPr>
              <a:t/>
            </a:r>
            <a:br>
              <a:rPr lang="en-US" altLang="ko-KR" sz="1200" dirty="0" smtClean="0">
                <a:ea typeface="맑은 고딕"/>
              </a:rPr>
            </a:br>
            <a:r>
              <a:rPr lang="ko-KR" altLang="en-US" sz="1200" dirty="0" smtClean="0">
                <a:ea typeface="맑은 고딕"/>
              </a:rPr>
              <a:t>최우선 적용</a:t>
            </a:r>
            <a:endParaRPr lang="ko-KR" altLang="en-US" sz="1200" dirty="0">
              <a:ea typeface="맑은 고딕"/>
            </a:endParaRPr>
          </a:p>
        </p:txBody>
      </p:sp>
      <p:sp>
        <p:nvSpPr>
          <p:cNvPr id="35" name="Text Box 14"/>
          <p:cNvSpPr txBox="1">
            <a:spLocks noChangeArrowheads="1"/>
          </p:cNvSpPr>
          <p:nvPr/>
        </p:nvSpPr>
        <p:spPr bwMode="auto">
          <a:xfrm>
            <a:off x="2080226" y="2633383"/>
            <a:ext cx="7091363" cy="99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marL="171450" marR="0" lvl="0" indent="-171450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기본적으로 새로 갱신된 정보를 최우선으로 적용함</a:t>
            </a:r>
          </a:p>
          <a:p>
            <a:pPr marL="273050" marR="0" lvl="1" indent="-93663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윤디자인고딕"/>
              <a:buChar char="-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논리적으로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통합 관리하는 서브시스템의 경우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고객 정보 </a:t>
            </a: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엔티티마다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 “</a:t>
            </a: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최종수정일시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” 항목을 관리</a:t>
            </a:r>
          </a:p>
          <a:p>
            <a:pPr marL="273050" marR="0" lvl="1" indent="-93663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윤디자인고딕"/>
              <a:buChar char="-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고객정보통합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DB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로 정보 변경 요청이 발생할 경우 </a:t>
            </a: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최종수정일시를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 비교하여 시스템적으로 최신 정보를 우선 적용함</a:t>
            </a:r>
          </a:p>
        </p:txBody>
      </p:sp>
      <p:sp>
        <p:nvSpPr>
          <p:cNvPr id="33" name="Text Box 563"/>
          <p:cNvSpPr txBox="1">
            <a:spLocks noChangeArrowheads="1"/>
          </p:cNvSpPr>
          <p:nvPr/>
        </p:nvSpPr>
        <p:spPr bwMode="gray">
          <a:xfrm>
            <a:off x="734411" y="3814900"/>
            <a:ext cx="1176338" cy="99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defRPr sz="1100" b="1" kern="0">
                <a:solidFill>
                  <a:prstClr val="black"/>
                </a:solidFill>
                <a:latin typeface="맑은 고딕"/>
                <a:cs typeface="Arial"/>
              </a:defRPr>
            </a:lvl1pPr>
          </a:lstStyle>
          <a:p>
            <a:pPr latinLnBrk="0"/>
            <a:r>
              <a:rPr lang="ko-KR" altLang="en-US" sz="1200" dirty="0" smtClean="0">
                <a:ea typeface="맑은 고딕"/>
              </a:rPr>
              <a:t>고객이 </a:t>
            </a:r>
            <a:r>
              <a:rPr lang="ko-KR" altLang="en-US" sz="1200" dirty="0">
                <a:ea typeface="맑은 고딕"/>
              </a:rPr>
              <a:t>직접 </a:t>
            </a:r>
            <a:r>
              <a:rPr lang="ko-KR" altLang="en-US" sz="1200" dirty="0" smtClean="0">
                <a:ea typeface="맑은 고딕"/>
              </a:rPr>
              <a:t>입력한 정보를 최우선 적용</a:t>
            </a:r>
            <a:endParaRPr lang="ko-KR" altLang="en-US" sz="1200" dirty="0">
              <a:ea typeface="맑은 고딕"/>
            </a:endParaRPr>
          </a:p>
        </p:txBody>
      </p:sp>
      <p:sp>
        <p:nvSpPr>
          <p:cNvPr id="36" name="Text Box 15"/>
          <p:cNvSpPr txBox="1">
            <a:spLocks noChangeArrowheads="1"/>
          </p:cNvSpPr>
          <p:nvPr/>
        </p:nvSpPr>
        <p:spPr bwMode="auto">
          <a:xfrm>
            <a:off x="2080226" y="3832335"/>
            <a:ext cx="7091363" cy="99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marL="171450" marR="0" lvl="0" indent="-171450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Web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환경에서 고객이 직접 수정한 정보를 최우선으로 적용함</a:t>
            </a:r>
          </a:p>
          <a:p>
            <a:pPr marL="273050" marR="0" lvl="1" indent="-93663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윤디자인고딕"/>
              <a:buChar char="-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Web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회원 가입 고객이 직접 본인 정보를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변경 시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, 타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시스템에서 동일한 날 정보가 수정되었을 때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/>
            </a:r>
            <a:b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</a:b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고객이 직접 입력한 정보를 우선적으로 적용함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34" name="Text Box 563"/>
          <p:cNvSpPr txBox="1">
            <a:spLocks noChangeArrowheads="1"/>
          </p:cNvSpPr>
          <p:nvPr/>
        </p:nvSpPr>
        <p:spPr bwMode="gray">
          <a:xfrm>
            <a:off x="734411" y="5013853"/>
            <a:ext cx="1176338" cy="99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defRPr sz="1100" b="1" kern="0">
                <a:solidFill>
                  <a:prstClr val="black"/>
                </a:solidFill>
                <a:latin typeface="맑은 고딕"/>
                <a:cs typeface="Arial"/>
              </a:defRPr>
            </a:lvl1pPr>
          </a:lstStyle>
          <a:p>
            <a:pPr latinLnBrk="0"/>
            <a:r>
              <a:rPr lang="ko-KR" altLang="en-US" sz="1200" dirty="0">
                <a:ea typeface="맑은 고딕"/>
              </a:rPr>
              <a:t>데이터 </a:t>
            </a:r>
            <a:r>
              <a:rPr lang="en-US" altLang="ko-KR" sz="1200" dirty="0">
                <a:ea typeface="맑은 고딕"/>
              </a:rPr>
              <a:t>Stewardship </a:t>
            </a:r>
            <a:br>
              <a:rPr lang="en-US" altLang="ko-KR" sz="1200" dirty="0">
                <a:ea typeface="맑은 고딕"/>
              </a:rPr>
            </a:br>
            <a:r>
              <a:rPr lang="ko-KR" altLang="en-US" sz="1200" dirty="0">
                <a:ea typeface="맑은 고딕"/>
              </a:rPr>
              <a:t>우선</a:t>
            </a:r>
          </a:p>
        </p:txBody>
      </p:sp>
      <p:sp>
        <p:nvSpPr>
          <p:cNvPr id="37" name="Text Box 16"/>
          <p:cNvSpPr txBox="1">
            <a:spLocks noChangeArrowheads="1"/>
          </p:cNvSpPr>
          <p:nvPr/>
        </p:nvSpPr>
        <p:spPr bwMode="auto">
          <a:xfrm>
            <a:off x="2080226" y="5031288"/>
            <a:ext cx="7091363" cy="990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marL="171450" marR="0" lvl="0" indent="-171450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특정 고객 정보 항목의 경우 데이터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Stewardship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에 따라 정보 갱신 적용 제한</a:t>
            </a:r>
          </a:p>
          <a:p>
            <a:pPr marL="273050" marR="0" lvl="1" indent="-93663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윤디자인고딕"/>
              <a:buChar char="-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모든 사용자가 최초 입력은 가능하나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값의 변경은 데이터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Stewardship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을 가진 조직에서만 가능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  <a:p>
            <a:pPr marL="273050" marR="0" lvl="1" indent="-93663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윤디자인고딕"/>
              <a:buChar char="-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여신심사부에서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 심사과정에서 입력한 고객의 </a:t>
            </a: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연소득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 금액 입력 시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해당 정보를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1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년간 변경 불가하도록 하는 등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업무 상 가장 신뢰성있는 부서의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S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tewardship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을 적용하여 데이터 정확성 확보</a:t>
            </a:r>
          </a:p>
        </p:txBody>
      </p:sp>
      <p:sp>
        <p:nvSpPr>
          <p:cNvPr id="49" name="Text Box 563"/>
          <p:cNvSpPr txBox="1">
            <a:spLocks noChangeArrowheads="1"/>
          </p:cNvSpPr>
          <p:nvPr/>
        </p:nvSpPr>
        <p:spPr bwMode="gray">
          <a:xfrm>
            <a:off x="734411" y="2046485"/>
            <a:ext cx="1176338" cy="41985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defRPr sz="1100" b="1" kern="0">
                <a:solidFill>
                  <a:prstClr val="black"/>
                </a:solidFill>
                <a:latin typeface="맑은 고딕"/>
                <a:cs typeface="Arial"/>
              </a:defRPr>
            </a:lvl1pPr>
          </a:lstStyle>
          <a:p>
            <a:pPr latinLnBrk="0"/>
            <a:r>
              <a:rPr lang="ko-KR" altLang="en-US" sz="1200" dirty="0" smtClean="0">
                <a:ea typeface="맑은 고딕"/>
              </a:rPr>
              <a:t>관리 기준</a:t>
            </a:r>
            <a:endParaRPr lang="ko-KR" altLang="en-US" sz="1200" dirty="0">
              <a:ea typeface="맑은 고딕"/>
            </a:endParaRPr>
          </a:p>
        </p:txBody>
      </p:sp>
      <p:sp>
        <p:nvSpPr>
          <p:cNvPr id="50" name="Text Box 563"/>
          <p:cNvSpPr txBox="1">
            <a:spLocks noChangeArrowheads="1"/>
          </p:cNvSpPr>
          <p:nvPr/>
        </p:nvSpPr>
        <p:spPr bwMode="gray">
          <a:xfrm>
            <a:off x="2080225" y="2046485"/>
            <a:ext cx="7091363" cy="41985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eaLnBrk="0" fontAlgn="auto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defRPr sz="1100" b="1" kern="0">
                <a:solidFill>
                  <a:prstClr val="black"/>
                </a:solidFill>
                <a:latin typeface="맑은 고딕"/>
                <a:cs typeface="Arial"/>
              </a:defRPr>
            </a:lvl1pPr>
          </a:lstStyle>
          <a:p>
            <a:pPr latinLnBrk="0"/>
            <a:r>
              <a:rPr lang="ko-KR" altLang="en-US" sz="1200" dirty="0" smtClean="0">
                <a:ea typeface="맑은 고딕"/>
              </a:rPr>
              <a:t>상세 설명</a:t>
            </a:r>
            <a:endParaRPr lang="ko-KR" altLang="en-US" sz="1200" dirty="0">
              <a:ea typeface="맑은 고딕"/>
            </a:endParaRPr>
          </a:p>
        </p:txBody>
      </p:sp>
      <p:cxnSp>
        <p:nvCxnSpPr>
          <p:cNvPr id="11" name="직선 연결선 10"/>
          <p:cNvCxnSpPr/>
          <p:nvPr/>
        </p:nvCxnSpPr>
        <p:spPr bwMode="auto">
          <a:xfrm>
            <a:off x="2076122" y="3727859"/>
            <a:ext cx="709546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51" name="직선 연결선 50"/>
          <p:cNvCxnSpPr/>
          <p:nvPr/>
        </p:nvCxnSpPr>
        <p:spPr bwMode="auto">
          <a:xfrm>
            <a:off x="2076122" y="4926811"/>
            <a:ext cx="709546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6049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이 동의하지 않은 개인정보에 대해서는 사전에 수집이 불가하도록 개인정보 수집 목적에 맞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절차를 수립함</a:t>
            </a:r>
            <a:r>
              <a:rPr lang="en-US" altLang="ko-KR" dirty="0"/>
              <a:t> </a:t>
            </a:r>
            <a:r>
              <a:rPr lang="en-US" altLang="ko-KR" dirty="0" smtClean="0"/>
              <a:t>(</a:t>
            </a:r>
            <a:r>
              <a:rPr lang="ko-KR" altLang="en-US" dirty="0" smtClean="0"/>
              <a:t>계속</a:t>
            </a:r>
            <a:r>
              <a:rPr lang="en-US" altLang="ko-KR" dirty="0" smtClean="0"/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보호 요건 기반의 고객정보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fecycle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수집 프로세스 정의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7" name="Pentagon 146"/>
          <p:cNvSpPr/>
          <p:nvPr/>
        </p:nvSpPr>
        <p:spPr>
          <a:xfrm>
            <a:off x="274644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8" name="Pentagon 147"/>
          <p:cNvSpPr/>
          <p:nvPr/>
        </p:nvSpPr>
        <p:spPr>
          <a:xfrm>
            <a:off x="777111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marR="0" lvl="0" indent="-176213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</a:p>
        </p:txBody>
      </p:sp>
      <p:sp>
        <p:nvSpPr>
          <p:cNvPr id="149" name="Pentagon 148"/>
          <p:cNvSpPr/>
          <p:nvPr/>
        </p:nvSpPr>
        <p:spPr>
          <a:xfrm>
            <a:off x="1279579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marR="0" lvl="0" indent="-176213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파기</a:t>
            </a:r>
          </a:p>
        </p:txBody>
      </p:sp>
      <p:sp>
        <p:nvSpPr>
          <p:cNvPr id="154" name="직사각형 15"/>
          <p:cNvSpPr/>
          <p:nvPr/>
        </p:nvSpPr>
        <p:spPr>
          <a:xfrm>
            <a:off x="6227320" y="2519524"/>
            <a:ext cx="3334320" cy="95899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현재 동의서 버전이 관리되지 않아 고객이 동의하지 않은 정보를 보유 및 제공 가능성 존재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고객별 정보 이용 동의 및 고객별 동의서 버전을 연계하여 관리 할 수 있는 체계 수립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5" name="Rectangle 9"/>
          <p:cNvSpPr>
            <a:spLocks noChangeArrowheads="1"/>
          </p:cNvSpPr>
          <p:nvPr/>
        </p:nvSpPr>
        <p:spPr bwMode="auto">
          <a:xfrm>
            <a:off x="5189460" y="2519524"/>
            <a:ext cx="974360" cy="968749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집 동의서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버전 관리</a:t>
            </a:r>
          </a:p>
        </p:txBody>
      </p:sp>
      <p:sp>
        <p:nvSpPr>
          <p:cNvPr id="156" name="Oval 155"/>
          <p:cNvSpPr/>
          <p:nvPr/>
        </p:nvSpPr>
        <p:spPr>
          <a:xfrm>
            <a:off x="5043989" y="2348880"/>
            <a:ext cx="257212" cy="25721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7" name="직사각형 15"/>
          <p:cNvSpPr/>
          <p:nvPr/>
        </p:nvSpPr>
        <p:spPr>
          <a:xfrm>
            <a:off x="6227320" y="3724210"/>
            <a:ext cx="3334320" cy="105280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업무 목적별 필수 항목의 개인정보만 수집될 수 있도록 개인정보 수집 범위를 정의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해외 송금 업무 등의 고객 등록 시 개인정보 수집 목적 및 기간에 대한 세부 지침 수립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8" name="Rectangle 9"/>
          <p:cNvSpPr>
            <a:spLocks noChangeArrowheads="1"/>
          </p:cNvSpPr>
          <p:nvPr/>
        </p:nvSpPr>
        <p:spPr bwMode="auto">
          <a:xfrm>
            <a:off x="5189460" y="3724210"/>
            <a:ext cx="974360" cy="1063514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수집범위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</p:txBody>
      </p:sp>
      <p:sp>
        <p:nvSpPr>
          <p:cNvPr id="159" name="Oval 158"/>
          <p:cNvSpPr/>
          <p:nvPr/>
        </p:nvSpPr>
        <p:spPr>
          <a:xfrm>
            <a:off x="5043989" y="3553566"/>
            <a:ext cx="257212" cy="25721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61" name="Group 160"/>
          <p:cNvGrpSpPr/>
          <p:nvPr/>
        </p:nvGrpSpPr>
        <p:grpSpPr>
          <a:xfrm>
            <a:off x="506820" y="2485490"/>
            <a:ext cx="4284961" cy="3715149"/>
            <a:chOff x="681989" y="2807873"/>
            <a:chExt cx="3221059" cy="3459479"/>
          </a:xfrm>
        </p:grpSpPr>
        <p:sp>
          <p:nvSpPr>
            <p:cNvPr id="167" name="AutoShape 181"/>
            <p:cNvSpPr>
              <a:spLocks noChangeArrowheads="1"/>
            </p:cNvSpPr>
            <p:nvPr/>
          </p:nvSpPr>
          <p:spPr bwMode="auto">
            <a:xfrm>
              <a:off x="821832" y="2807873"/>
              <a:ext cx="634715" cy="250825"/>
            </a:xfrm>
            <a:prstGeom prst="flowChartTerminator">
              <a:avLst/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거래 발생</a:t>
              </a:r>
            </a:p>
          </p:txBody>
        </p:sp>
        <p:sp>
          <p:nvSpPr>
            <p:cNvPr id="168" name="Rectangle 9"/>
            <p:cNvSpPr>
              <a:spLocks noChangeArrowheads="1"/>
            </p:cNvSpPr>
            <p:nvPr/>
          </p:nvSpPr>
          <p:spPr bwMode="auto">
            <a:xfrm>
              <a:off x="1856656" y="5451047"/>
              <a:ext cx="935038" cy="33133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련 서류 이미지 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SCAN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관</a:t>
              </a:r>
            </a:p>
          </p:txBody>
        </p:sp>
        <p:sp>
          <p:nvSpPr>
            <p:cNvPr id="169" name="순서도: 수동 연산 181"/>
            <p:cNvSpPr>
              <a:spLocks noChangeArrowheads="1"/>
            </p:cNvSpPr>
            <p:nvPr/>
          </p:nvSpPr>
          <p:spPr bwMode="auto">
            <a:xfrm>
              <a:off x="681989" y="3243802"/>
              <a:ext cx="914400" cy="379719"/>
            </a:xfrm>
            <a:prstGeom prst="flowChartManualOperation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 신청서 접수</a:t>
              </a:r>
            </a:p>
          </p:txBody>
        </p:sp>
        <p:cxnSp>
          <p:nvCxnSpPr>
            <p:cNvPr id="170" name="직선 화살표 연결선 243"/>
            <p:cNvCxnSpPr>
              <a:cxnSpLocks noChangeShapeType="1"/>
              <a:stCxn id="167" idx="2"/>
              <a:endCxn id="169" idx="0"/>
            </p:cNvCxnSpPr>
            <p:nvPr/>
          </p:nvCxnSpPr>
          <p:spPr bwMode="auto">
            <a:xfrm flipH="1">
              <a:off x="1139189" y="3058698"/>
              <a:ext cx="2" cy="185104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sp>
          <p:nvSpPr>
            <p:cNvPr id="171" name="Rectangle 9"/>
            <p:cNvSpPr>
              <a:spLocks noChangeArrowheads="1"/>
            </p:cNvSpPr>
            <p:nvPr/>
          </p:nvSpPr>
          <p:spPr bwMode="auto">
            <a:xfrm>
              <a:off x="748140" y="3794576"/>
              <a:ext cx="782098" cy="2159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 신청서 작성</a:t>
              </a:r>
            </a:p>
          </p:txBody>
        </p:sp>
        <p:cxnSp>
          <p:nvCxnSpPr>
            <p:cNvPr id="172" name="직선 화살표 연결선 243"/>
            <p:cNvCxnSpPr>
              <a:cxnSpLocks noChangeShapeType="1"/>
              <a:stCxn id="169" idx="2"/>
              <a:endCxn id="171" idx="0"/>
            </p:cNvCxnSpPr>
            <p:nvPr/>
          </p:nvCxnSpPr>
          <p:spPr bwMode="auto">
            <a:xfrm>
              <a:off x="1139189" y="3623521"/>
              <a:ext cx="0" cy="171055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sp>
          <p:nvSpPr>
            <p:cNvPr id="173" name="Rectangle 9"/>
            <p:cNvSpPr>
              <a:spLocks noChangeArrowheads="1"/>
            </p:cNvSpPr>
            <p:nvPr/>
          </p:nvSpPr>
          <p:spPr bwMode="auto">
            <a:xfrm>
              <a:off x="1856656" y="4218771"/>
              <a:ext cx="935038" cy="2159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산 등록</a:t>
              </a:r>
            </a:p>
          </p:txBody>
        </p:sp>
        <p:sp>
          <p:nvSpPr>
            <p:cNvPr id="174" name="Rectangle 9"/>
            <p:cNvSpPr>
              <a:spLocks noChangeArrowheads="1"/>
            </p:cNvSpPr>
            <p:nvPr/>
          </p:nvSpPr>
          <p:spPr bwMode="auto">
            <a:xfrm>
              <a:off x="1856656" y="4589068"/>
              <a:ext cx="935038" cy="2159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류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파일링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5" name="순서도: 수동 연산 181"/>
            <p:cNvSpPr>
              <a:spLocks noChangeArrowheads="1"/>
            </p:cNvSpPr>
            <p:nvPr/>
          </p:nvSpPr>
          <p:spPr bwMode="auto">
            <a:xfrm>
              <a:off x="1866975" y="4937451"/>
              <a:ext cx="914400" cy="353571"/>
            </a:xfrm>
            <a:prstGeom prst="flowChartManualOperation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센터 앞 서류 발송</a:t>
              </a:r>
            </a:p>
          </p:txBody>
        </p:sp>
        <p:sp>
          <p:nvSpPr>
            <p:cNvPr id="176" name="순서도: 수동 연산 181"/>
            <p:cNvSpPr>
              <a:spLocks noChangeArrowheads="1"/>
            </p:cNvSpPr>
            <p:nvPr/>
          </p:nvSpPr>
          <p:spPr bwMode="auto">
            <a:xfrm>
              <a:off x="1866975" y="5928164"/>
              <a:ext cx="914400" cy="339188"/>
            </a:xfrm>
            <a:prstGeom prst="flowChartManualOperation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련 서류 보관</a:t>
              </a:r>
            </a:p>
          </p:txBody>
        </p:sp>
        <p:sp>
          <p:nvSpPr>
            <p:cNvPr id="177" name="Rectangle 9"/>
            <p:cNvSpPr>
              <a:spLocks noChangeArrowheads="1"/>
            </p:cNvSpPr>
            <p:nvPr/>
          </p:nvSpPr>
          <p:spPr bwMode="auto">
            <a:xfrm>
              <a:off x="748140" y="4278675"/>
              <a:ext cx="782098" cy="2159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본인 확인</a:t>
              </a:r>
            </a:p>
          </p:txBody>
        </p:sp>
        <p:cxnSp>
          <p:nvCxnSpPr>
            <p:cNvPr id="178" name="직선 화살표 연결선 243"/>
            <p:cNvCxnSpPr>
              <a:cxnSpLocks noChangeShapeType="1"/>
              <a:stCxn id="171" idx="2"/>
              <a:endCxn id="177" idx="0"/>
            </p:cNvCxnSpPr>
            <p:nvPr/>
          </p:nvCxnSpPr>
          <p:spPr bwMode="auto">
            <a:xfrm>
              <a:off x="1139189" y="4010475"/>
              <a:ext cx="0" cy="268200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79" name="직선 화살표 연결선 243"/>
            <p:cNvCxnSpPr>
              <a:cxnSpLocks noChangeShapeType="1"/>
              <a:stCxn id="168" idx="2"/>
              <a:endCxn id="176" idx="0"/>
            </p:cNvCxnSpPr>
            <p:nvPr/>
          </p:nvCxnSpPr>
          <p:spPr bwMode="auto">
            <a:xfrm>
              <a:off x="2324175" y="5782383"/>
              <a:ext cx="0" cy="145781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sp>
          <p:nvSpPr>
            <p:cNvPr id="180" name="AutoShape 9"/>
            <p:cNvSpPr>
              <a:spLocks noChangeArrowheads="1"/>
            </p:cNvSpPr>
            <p:nvPr/>
          </p:nvSpPr>
          <p:spPr bwMode="auto">
            <a:xfrm>
              <a:off x="1757438" y="3151249"/>
              <a:ext cx="1133475" cy="375128"/>
            </a:xfrm>
            <a:prstGeom prst="flowChartDecision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리인 여부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1" name="Rectangle 9"/>
            <p:cNvSpPr>
              <a:spLocks noChangeArrowheads="1"/>
            </p:cNvSpPr>
            <p:nvPr/>
          </p:nvSpPr>
          <p:spPr bwMode="auto">
            <a:xfrm>
              <a:off x="1856656" y="3730562"/>
              <a:ext cx="935038" cy="329089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 수집 동의서 </a:t>
              </a:r>
              <a:r>
                <a:rPr kumimoji="0" lang="ko-KR" altLang="en-US" sz="105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징구</a:t>
              </a:r>
              <a:endPara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2" name="Rectangle 9"/>
            <p:cNvSpPr>
              <a:spLocks noChangeArrowheads="1"/>
            </p:cNvSpPr>
            <p:nvPr/>
          </p:nvSpPr>
          <p:spPr bwMode="auto">
            <a:xfrm>
              <a:off x="3112951" y="3230864"/>
              <a:ext cx="790097" cy="2159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목적 확인</a:t>
              </a:r>
            </a:p>
          </p:txBody>
        </p:sp>
        <p:sp>
          <p:nvSpPr>
            <p:cNvPr id="183" name="Rectangle 9"/>
            <p:cNvSpPr>
              <a:spLocks noChangeArrowheads="1"/>
            </p:cNvSpPr>
            <p:nvPr/>
          </p:nvSpPr>
          <p:spPr bwMode="auto">
            <a:xfrm>
              <a:off x="3112951" y="3741347"/>
              <a:ext cx="790097" cy="307519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46464">
                  <a:lumMod val="7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소 개인정보 설정</a:t>
              </a:r>
            </a:p>
          </p:txBody>
        </p:sp>
        <p:cxnSp>
          <p:nvCxnSpPr>
            <p:cNvPr id="184" name="꺾인 연결선 182"/>
            <p:cNvCxnSpPr>
              <a:cxnSpLocks noChangeShapeType="1"/>
              <a:stCxn id="177" idx="3"/>
              <a:endCxn id="180" idx="1"/>
            </p:cNvCxnSpPr>
            <p:nvPr/>
          </p:nvCxnSpPr>
          <p:spPr bwMode="auto">
            <a:xfrm flipV="1">
              <a:off x="1530238" y="3338813"/>
              <a:ext cx="227200" cy="1047812"/>
            </a:xfrm>
            <a:prstGeom prst="bentConnector3">
              <a:avLst>
                <a:gd name="adj1" fmla="val 50000"/>
              </a:avLst>
            </a:prstGeom>
            <a:noFill/>
            <a:ln w="12700" algn="ctr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85" name="직선 화살표 연결선 243"/>
            <p:cNvCxnSpPr>
              <a:cxnSpLocks noChangeShapeType="1"/>
              <a:stCxn id="180" idx="3"/>
              <a:endCxn id="182" idx="1"/>
            </p:cNvCxnSpPr>
            <p:nvPr/>
          </p:nvCxnSpPr>
          <p:spPr bwMode="auto">
            <a:xfrm>
              <a:off x="2890913" y="3338813"/>
              <a:ext cx="222038" cy="2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86" name="직선 화살표 연결선 243"/>
            <p:cNvCxnSpPr>
              <a:cxnSpLocks noChangeShapeType="1"/>
              <a:stCxn id="182" idx="2"/>
              <a:endCxn id="183" idx="0"/>
            </p:cNvCxnSpPr>
            <p:nvPr/>
          </p:nvCxnSpPr>
          <p:spPr bwMode="auto">
            <a:xfrm>
              <a:off x="3508000" y="3446765"/>
              <a:ext cx="0" cy="294583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87" name="직선 화살표 연결선 243"/>
            <p:cNvCxnSpPr>
              <a:cxnSpLocks noChangeShapeType="1"/>
              <a:stCxn id="183" idx="1"/>
              <a:endCxn id="181" idx="3"/>
            </p:cNvCxnSpPr>
            <p:nvPr/>
          </p:nvCxnSpPr>
          <p:spPr bwMode="auto">
            <a:xfrm flipH="1">
              <a:off x="2791694" y="3895107"/>
              <a:ext cx="321257" cy="0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88" name="직선 화살표 연결선 243"/>
            <p:cNvCxnSpPr>
              <a:cxnSpLocks noChangeShapeType="1"/>
              <a:stCxn id="180" idx="2"/>
              <a:endCxn id="181" idx="0"/>
            </p:cNvCxnSpPr>
            <p:nvPr/>
          </p:nvCxnSpPr>
          <p:spPr bwMode="auto">
            <a:xfrm flipH="1">
              <a:off x="2324175" y="3526377"/>
              <a:ext cx="1" cy="204185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89" name="직선 화살표 연결선 243"/>
            <p:cNvCxnSpPr>
              <a:cxnSpLocks noChangeShapeType="1"/>
              <a:stCxn id="181" idx="2"/>
              <a:endCxn id="173" idx="0"/>
            </p:cNvCxnSpPr>
            <p:nvPr/>
          </p:nvCxnSpPr>
          <p:spPr bwMode="auto">
            <a:xfrm>
              <a:off x="2324175" y="4059651"/>
              <a:ext cx="0" cy="159119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90" name="직선 화살표 연결선 243"/>
            <p:cNvCxnSpPr>
              <a:cxnSpLocks noChangeShapeType="1"/>
              <a:stCxn id="173" idx="2"/>
              <a:endCxn id="174" idx="0"/>
            </p:cNvCxnSpPr>
            <p:nvPr/>
          </p:nvCxnSpPr>
          <p:spPr bwMode="auto">
            <a:xfrm>
              <a:off x="2324175" y="4434671"/>
              <a:ext cx="0" cy="154397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91" name="직선 화살표 연결선 243"/>
            <p:cNvCxnSpPr>
              <a:cxnSpLocks noChangeShapeType="1"/>
              <a:stCxn id="174" idx="2"/>
              <a:endCxn id="175" idx="0"/>
            </p:cNvCxnSpPr>
            <p:nvPr/>
          </p:nvCxnSpPr>
          <p:spPr bwMode="auto">
            <a:xfrm>
              <a:off x="2324175" y="4804969"/>
              <a:ext cx="0" cy="132483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cxnSp>
          <p:nvCxnSpPr>
            <p:cNvPr id="192" name="직선 화살표 연결선 243"/>
            <p:cNvCxnSpPr>
              <a:cxnSpLocks noChangeShapeType="1"/>
              <a:stCxn id="175" idx="2"/>
              <a:endCxn id="168" idx="0"/>
            </p:cNvCxnSpPr>
            <p:nvPr/>
          </p:nvCxnSpPr>
          <p:spPr bwMode="auto">
            <a:xfrm>
              <a:off x="2324175" y="5291022"/>
              <a:ext cx="0" cy="160025"/>
            </a:xfrm>
            <a:prstGeom prst="straightConnector1">
              <a:avLst/>
            </a:prstGeom>
            <a:noFill/>
            <a:ln w="9525">
              <a:solidFill>
                <a:srgbClr val="646464">
                  <a:lumMod val="75000"/>
                </a:srgbClr>
              </a:solidFill>
              <a:round/>
              <a:headEnd/>
              <a:tailEnd type="triangle" w="med" len="med"/>
            </a:ln>
          </p:spPr>
        </p:cxnSp>
        <p:sp>
          <p:nvSpPr>
            <p:cNvPr id="193" name="TextBox 181"/>
            <p:cNvSpPr txBox="1">
              <a:spLocks noChangeArrowheads="1"/>
            </p:cNvSpPr>
            <p:nvPr/>
          </p:nvSpPr>
          <p:spPr bwMode="auto">
            <a:xfrm>
              <a:off x="2895492" y="3108283"/>
              <a:ext cx="199066" cy="227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Y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4" name="TextBox 181"/>
            <p:cNvSpPr txBox="1">
              <a:spLocks noChangeArrowheads="1"/>
            </p:cNvSpPr>
            <p:nvPr/>
          </p:nvSpPr>
          <p:spPr bwMode="auto">
            <a:xfrm>
              <a:off x="2324176" y="3487809"/>
              <a:ext cx="219551" cy="227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N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62" name="AutoShape 181"/>
          <p:cNvSpPr>
            <a:spLocks noChangeArrowheads="1"/>
          </p:cNvSpPr>
          <p:nvPr/>
        </p:nvSpPr>
        <p:spPr bwMode="auto">
          <a:xfrm>
            <a:off x="3724886" y="5964765"/>
            <a:ext cx="844359" cy="287218"/>
          </a:xfrm>
          <a:prstGeom prst="flowChartTerminator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거래 완료</a:t>
            </a:r>
          </a:p>
        </p:txBody>
      </p:sp>
      <p:cxnSp>
        <p:nvCxnSpPr>
          <p:cNvPr id="163" name="꺾인 연결선 182"/>
          <p:cNvCxnSpPr>
            <a:cxnSpLocks noChangeShapeType="1"/>
            <a:stCxn id="175" idx="3"/>
            <a:endCxn id="162" idx="1"/>
          </p:cNvCxnSpPr>
          <p:nvPr/>
        </p:nvCxnSpPr>
        <p:spPr bwMode="auto">
          <a:xfrm>
            <a:off x="3177982" y="4962304"/>
            <a:ext cx="546904" cy="1146070"/>
          </a:xfrm>
          <a:prstGeom prst="bentConnector3">
            <a:avLst>
              <a:gd name="adj1" fmla="val 50000"/>
            </a:avLst>
          </a:prstGeom>
          <a:noFill/>
          <a:ln w="12700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164" name="Oval 163"/>
          <p:cNvSpPr/>
          <p:nvPr/>
        </p:nvSpPr>
        <p:spPr>
          <a:xfrm>
            <a:off x="1872066" y="3366732"/>
            <a:ext cx="257212" cy="28634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3581336" y="3310095"/>
            <a:ext cx="257212" cy="28634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1872066" y="5733856"/>
            <a:ext cx="257212" cy="28634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5" name="직사각형 15"/>
          <p:cNvSpPr/>
          <p:nvPr/>
        </p:nvSpPr>
        <p:spPr>
          <a:xfrm>
            <a:off x="6227320" y="4972439"/>
            <a:ext cx="3334320" cy="105280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서류 실물 관리 체계의 전산화 체계 수립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58775" marR="0" lvl="0" indent="-184150" defTabSz="91440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※</a:t>
            </a:r>
            <a:r>
              <a:rPr kumimoji="0" lang="en-US" altLang="ko-KR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BIR-001 </a:t>
            </a:r>
            <a:r>
              <a:rPr kumimoji="0" lang="ko-KR" alt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스마트 워크를 위한 혁신과제 상세화 및 구축요건 정의 시 업무 요건 전달</a:t>
            </a:r>
            <a:endParaRPr kumimoji="0" lang="en-US" altLang="ko-KR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6" name="Rectangle 9"/>
          <p:cNvSpPr>
            <a:spLocks noChangeArrowheads="1"/>
          </p:cNvSpPr>
          <p:nvPr/>
        </p:nvSpPr>
        <p:spPr bwMode="auto">
          <a:xfrm>
            <a:off x="5189460" y="4972439"/>
            <a:ext cx="974360" cy="1063514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실물 관리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체계 전산화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5043989" y="4801795"/>
            <a:ext cx="257212" cy="257212"/>
          </a:xfrm>
          <a:prstGeom prst="ellipse">
            <a:avLst/>
          </a:prstGeom>
          <a:solidFill>
            <a:srgbClr val="002060"/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1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72" name="TextBox 7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7" name="그룹 8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9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6" name="그룹 9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9900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고객이 동의하지 않은 개인정보에 대해서는 사전에 수집이 불가하도록 개인정보 수집 목적에 맞게 절차를 수립함</a:t>
            </a:r>
            <a:r>
              <a:rPr lang="en-US" altLang="ko-KR" dirty="0"/>
              <a:t> 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보호 요건 기반의 고객정보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fecycle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 암호화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1" name="Group 460"/>
          <p:cNvGrpSpPr/>
          <p:nvPr/>
        </p:nvGrpSpPr>
        <p:grpSpPr>
          <a:xfrm>
            <a:off x="507115" y="2468531"/>
            <a:ext cx="4071160" cy="2798563"/>
            <a:chOff x="5113338" y="1658938"/>
            <a:chExt cx="4586287" cy="3295650"/>
          </a:xfrm>
        </p:grpSpPr>
        <p:sp>
          <p:nvSpPr>
            <p:cNvPr id="462" name="desk1"/>
            <p:cNvSpPr>
              <a:spLocks noEditPoints="1" noChangeArrowheads="1"/>
            </p:cNvSpPr>
            <p:nvPr/>
          </p:nvSpPr>
          <p:spPr bwMode="auto">
            <a:xfrm>
              <a:off x="8416925" y="1658938"/>
              <a:ext cx="1282700" cy="43180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ko-KR" altLang="en-US" sz="900" kern="0" dirty="0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중요 데이터</a:t>
              </a:r>
              <a:endParaRPr lang="en-US" altLang="ko-KR" sz="900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인가된 사용자</a:t>
              </a:r>
            </a:p>
          </p:txBody>
        </p:sp>
        <p:sp>
          <p:nvSpPr>
            <p:cNvPr id="463" name="Line 368"/>
            <p:cNvSpPr>
              <a:spLocks noChangeShapeType="1"/>
            </p:cNvSpPr>
            <p:nvPr/>
          </p:nvSpPr>
          <p:spPr bwMode="auto">
            <a:xfrm flipV="1">
              <a:off x="5507038" y="2932113"/>
              <a:ext cx="2255837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lIns="54000" tIns="0" rIns="90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4" name="Line 369"/>
            <p:cNvSpPr>
              <a:spLocks noChangeShapeType="1"/>
            </p:cNvSpPr>
            <p:nvPr/>
          </p:nvSpPr>
          <p:spPr bwMode="auto">
            <a:xfrm>
              <a:off x="5518150" y="2505075"/>
              <a:ext cx="3175" cy="428625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lIns="54000" tIns="0" rIns="90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65" name="Picture 371" descr="Bule User sm"/>
            <p:cNvPicPr preferRelativeResize="0">
              <a:picLocks noChangeAspect="1" noChangeArrowheads="1"/>
            </p:cNvPicPr>
            <p:nvPr/>
          </p:nvPicPr>
          <p:blipFill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663" y="2000250"/>
              <a:ext cx="30162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6" name="Line 372"/>
            <p:cNvSpPr>
              <a:spLocks noChangeShapeType="1"/>
            </p:cNvSpPr>
            <p:nvPr/>
          </p:nvSpPr>
          <p:spPr bwMode="auto">
            <a:xfrm>
              <a:off x="7753350" y="2409825"/>
              <a:ext cx="1588" cy="531813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lIns="54000" tIns="0" rIns="90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7" name="Line 377"/>
            <p:cNvSpPr>
              <a:spLocks noChangeShapeType="1"/>
            </p:cNvSpPr>
            <p:nvPr/>
          </p:nvSpPr>
          <p:spPr bwMode="auto">
            <a:xfrm>
              <a:off x="6607175" y="2403475"/>
              <a:ext cx="23813" cy="1501775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arrow" w="med" len="med"/>
            </a:ln>
          </p:spPr>
          <p:txBody>
            <a:bodyPr lIns="54000" tIns="0" rIns="90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8" name="Line 378"/>
            <p:cNvSpPr>
              <a:spLocks noChangeShapeType="1"/>
            </p:cNvSpPr>
            <p:nvPr/>
          </p:nvSpPr>
          <p:spPr bwMode="auto">
            <a:xfrm>
              <a:off x="6630988" y="2936875"/>
              <a:ext cx="854075" cy="1017588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arrow" w="med" len="med"/>
            </a:ln>
          </p:spPr>
          <p:txBody>
            <a:bodyPr lIns="54000" tIns="0" rIns="90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9" name="Line 382"/>
            <p:cNvSpPr>
              <a:spLocks noChangeShapeType="1"/>
            </p:cNvSpPr>
            <p:nvPr/>
          </p:nvSpPr>
          <p:spPr bwMode="auto">
            <a:xfrm flipH="1">
              <a:off x="7770813" y="2647950"/>
              <a:ext cx="1062037" cy="137795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arrow" w="med" len="med"/>
            </a:ln>
          </p:spPr>
          <p:txBody>
            <a:bodyPr lIns="54000" tIns="0" rIns="9000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0" name="Oval 389"/>
            <p:cNvSpPr>
              <a:spLocks noChangeArrowheads="1"/>
            </p:cNvSpPr>
            <p:nvPr/>
          </p:nvSpPr>
          <p:spPr bwMode="auto">
            <a:xfrm>
              <a:off x="8448675" y="2844800"/>
              <a:ext cx="312738" cy="266700"/>
            </a:xfrm>
            <a:prstGeom prst="ellipse">
              <a:avLst/>
            </a:prstGeom>
            <a:noFill/>
            <a:ln w="57150">
              <a:solidFill>
                <a:srgbClr val="33CCCC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1" name="Text Box 348"/>
            <p:cNvSpPr txBox="1">
              <a:spLocks noChangeArrowheads="1"/>
            </p:cNvSpPr>
            <p:nvPr/>
          </p:nvSpPr>
          <p:spPr bwMode="auto">
            <a:xfrm>
              <a:off x="5113338" y="1677988"/>
              <a:ext cx="903278" cy="2728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일반 사용자</a:t>
              </a:r>
            </a:p>
          </p:txBody>
        </p:sp>
        <p:sp>
          <p:nvSpPr>
            <p:cNvPr id="472" name="Text Box 353"/>
            <p:cNvSpPr txBox="1">
              <a:spLocks noChangeArrowheads="1"/>
            </p:cNvSpPr>
            <p:nvPr/>
          </p:nvSpPr>
          <p:spPr bwMode="auto">
            <a:xfrm>
              <a:off x="6032500" y="1677988"/>
              <a:ext cx="1175958" cy="2728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개발</a:t>
              </a:r>
              <a:r>
                <a:rPr lang="en-US" altLang="ko-KR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운영담당자</a:t>
              </a:r>
            </a:p>
          </p:txBody>
        </p:sp>
        <p:sp>
          <p:nvSpPr>
            <p:cNvPr id="473" name="Text Box 356"/>
            <p:cNvSpPr txBox="1">
              <a:spLocks noChangeArrowheads="1"/>
            </p:cNvSpPr>
            <p:nvPr/>
          </p:nvSpPr>
          <p:spPr bwMode="auto">
            <a:xfrm>
              <a:off x="7254875" y="1677988"/>
              <a:ext cx="1033298" cy="2728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비인가 사용자</a:t>
              </a:r>
            </a:p>
          </p:txBody>
        </p:sp>
        <p:grpSp>
          <p:nvGrpSpPr>
            <p:cNvPr id="474" name="Group 224"/>
            <p:cNvGrpSpPr>
              <a:grpSpLocks/>
            </p:cNvGrpSpPr>
            <p:nvPr/>
          </p:nvGrpSpPr>
          <p:grpSpPr bwMode="auto">
            <a:xfrm>
              <a:off x="5668963" y="4281488"/>
              <a:ext cx="1146175" cy="549275"/>
              <a:chOff x="2394" y="2366"/>
              <a:chExt cx="2708" cy="747"/>
            </a:xfrm>
          </p:grpSpPr>
          <p:grpSp>
            <p:nvGrpSpPr>
              <p:cNvPr id="558" name="Group 225"/>
              <p:cNvGrpSpPr>
                <a:grpSpLocks/>
              </p:cNvGrpSpPr>
              <p:nvPr/>
            </p:nvGrpSpPr>
            <p:grpSpPr bwMode="auto">
              <a:xfrm>
                <a:off x="2392" y="2987"/>
                <a:ext cx="2703" cy="125"/>
                <a:chOff x="2641" y="2591"/>
                <a:chExt cx="863" cy="529"/>
              </a:xfrm>
            </p:grpSpPr>
            <p:sp>
              <p:nvSpPr>
                <p:cNvPr id="604" name="AutoShape 226"/>
                <p:cNvSpPr>
                  <a:spLocks noChangeArrowheads="1"/>
                </p:cNvSpPr>
                <p:nvPr/>
              </p:nvSpPr>
              <p:spPr bwMode="auto">
                <a:xfrm>
                  <a:off x="3215" y="2594"/>
                  <a:ext cx="145" cy="530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605" name="AutoShape 227"/>
                <p:cNvSpPr>
                  <a:spLocks noChangeArrowheads="1"/>
                </p:cNvSpPr>
                <p:nvPr/>
              </p:nvSpPr>
              <p:spPr bwMode="auto">
                <a:xfrm>
                  <a:off x="3360" y="2594"/>
                  <a:ext cx="144" cy="530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606" name="AutoShape 228"/>
                <p:cNvSpPr>
                  <a:spLocks noChangeArrowheads="1"/>
                </p:cNvSpPr>
                <p:nvPr/>
              </p:nvSpPr>
              <p:spPr bwMode="auto">
                <a:xfrm>
                  <a:off x="3072" y="2594"/>
                  <a:ext cx="144" cy="530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607" name="Group 229"/>
                <p:cNvGrpSpPr>
                  <a:grpSpLocks/>
                </p:cNvGrpSpPr>
                <p:nvPr/>
              </p:nvGrpSpPr>
              <p:grpSpPr bwMode="auto">
                <a:xfrm>
                  <a:off x="2641" y="2591"/>
                  <a:ext cx="431" cy="529"/>
                  <a:chOff x="3073" y="2063"/>
                  <a:chExt cx="431" cy="529"/>
                </a:xfrm>
              </p:grpSpPr>
              <p:sp>
                <p:nvSpPr>
                  <p:cNvPr id="608" name="AutoShape 230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66"/>
                    <a:ext cx="146" cy="530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609" name="AutoShape 231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66"/>
                    <a:ext cx="144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610" name="AutoShape 232"/>
                  <p:cNvSpPr>
                    <a:spLocks noChangeArrowheads="1"/>
                  </p:cNvSpPr>
                  <p:nvPr/>
                </p:nvSpPr>
                <p:spPr bwMode="auto">
                  <a:xfrm>
                    <a:off x="3069" y="2066"/>
                    <a:ext cx="146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59" name="Group 233"/>
              <p:cNvGrpSpPr>
                <a:grpSpLocks/>
              </p:cNvGrpSpPr>
              <p:nvPr/>
            </p:nvGrpSpPr>
            <p:grpSpPr bwMode="auto">
              <a:xfrm>
                <a:off x="2394" y="2613"/>
                <a:ext cx="2708" cy="125"/>
                <a:chOff x="2640" y="2062"/>
                <a:chExt cx="864" cy="144"/>
              </a:xfrm>
            </p:grpSpPr>
            <p:grpSp>
              <p:nvGrpSpPr>
                <p:cNvPr id="596" name="Group 234"/>
                <p:cNvGrpSpPr>
                  <a:grpSpLocks/>
                </p:cNvGrpSpPr>
                <p:nvPr/>
              </p:nvGrpSpPr>
              <p:grpSpPr bwMode="auto">
                <a:xfrm>
                  <a:off x="2640" y="2062"/>
                  <a:ext cx="433" cy="144"/>
                  <a:chOff x="3072" y="2061"/>
                  <a:chExt cx="433" cy="529"/>
                </a:xfrm>
              </p:grpSpPr>
              <p:sp>
                <p:nvSpPr>
                  <p:cNvPr id="601" name="AutoShape 235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57"/>
                    <a:ext cx="146" cy="530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602" name="AutoShape 236"/>
                  <p:cNvSpPr>
                    <a:spLocks noChangeArrowheads="1"/>
                  </p:cNvSpPr>
                  <p:nvPr/>
                </p:nvSpPr>
                <p:spPr bwMode="auto">
                  <a:xfrm>
                    <a:off x="3362" y="2057"/>
                    <a:ext cx="147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603" name="AutoShape 237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7"/>
                    <a:ext cx="144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97" name="Group 238"/>
                <p:cNvGrpSpPr>
                  <a:grpSpLocks/>
                </p:cNvGrpSpPr>
                <p:nvPr/>
              </p:nvGrpSpPr>
              <p:grpSpPr bwMode="auto">
                <a:xfrm>
                  <a:off x="3073" y="2062"/>
                  <a:ext cx="431" cy="144"/>
                  <a:chOff x="3073" y="2061"/>
                  <a:chExt cx="431" cy="529"/>
                </a:xfrm>
              </p:grpSpPr>
              <p:sp>
                <p:nvSpPr>
                  <p:cNvPr id="598" name="AutoShape 239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57"/>
                    <a:ext cx="146" cy="530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99" name="AutoShape 240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57"/>
                    <a:ext cx="144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600" name="AutoShape 241"/>
                  <p:cNvSpPr>
                    <a:spLocks noChangeArrowheads="1"/>
                  </p:cNvSpPr>
                  <p:nvPr/>
                </p:nvSpPr>
                <p:spPr bwMode="auto">
                  <a:xfrm>
                    <a:off x="3073" y="2057"/>
                    <a:ext cx="144" cy="530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60" name="Group 242"/>
              <p:cNvGrpSpPr>
                <a:grpSpLocks/>
              </p:cNvGrpSpPr>
              <p:nvPr/>
            </p:nvGrpSpPr>
            <p:grpSpPr bwMode="auto">
              <a:xfrm>
                <a:off x="2392" y="2864"/>
                <a:ext cx="2703" cy="123"/>
                <a:chOff x="2641" y="2595"/>
                <a:chExt cx="863" cy="524"/>
              </a:xfrm>
            </p:grpSpPr>
            <p:sp>
              <p:nvSpPr>
                <p:cNvPr id="589" name="AutoShape 243"/>
                <p:cNvSpPr>
                  <a:spLocks noChangeArrowheads="1"/>
                </p:cNvSpPr>
                <p:nvPr/>
              </p:nvSpPr>
              <p:spPr bwMode="auto">
                <a:xfrm>
                  <a:off x="3215" y="2598"/>
                  <a:ext cx="145" cy="524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90" name="AutoShape 244"/>
                <p:cNvSpPr>
                  <a:spLocks noChangeArrowheads="1"/>
                </p:cNvSpPr>
                <p:nvPr/>
              </p:nvSpPr>
              <p:spPr bwMode="auto">
                <a:xfrm>
                  <a:off x="3360" y="2598"/>
                  <a:ext cx="144" cy="524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91" name="AutoShape 245"/>
                <p:cNvSpPr>
                  <a:spLocks noChangeArrowheads="1"/>
                </p:cNvSpPr>
                <p:nvPr/>
              </p:nvSpPr>
              <p:spPr bwMode="auto">
                <a:xfrm>
                  <a:off x="3072" y="2598"/>
                  <a:ext cx="144" cy="524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592" name="Group 246"/>
                <p:cNvGrpSpPr>
                  <a:grpSpLocks/>
                </p:cNvGrpSpPr>
                <p:nvPr/>
              </p:nvGrpSpPr>
              <p:grpSpPr bwMode="auto">
                <a:xfrm>
                  <a:off x="2641" y="2595"/>
                  <a:ext cx="431" cy="524"/>
                  <a:chOff x="3073" y="2067"/>
                  <a:chExt cx="431" cy="524"/>
                </a:xfrm>
              </p:grpSpPr>
              <p:sp>
                <p:nvSpPr>
                  <p:cNvPr id="593" name="AutoShape 247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70"/>
                    <a:ext cx="146" cy="524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94" name="AutoShape 248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70"/>
                    <a:ext cx="144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95" name="AutoShape 249"/>
                  <p:cNvSpPr>
                    <a:spLocks noChangeArrowheads="1"/>
                  </p:cNvSpPr>
                  <p:nvPr/>
                </p:nvSpPr>
                <p:spPr bwMode="auto">
                  <a:xfrm>
                    <a:off x="3069" y="2070"/>
                    <a:ext cx="146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61" name="Group 250"/>
              <p:cNvGrpSpPr>
                <a:grpSpLocks/>
              </p:cNvGrpSpPr>
              <p:nvPr/>
            </p:nvGrpSpPr>
            <p:grpSpPr bwMode="auto">
              <a:xfrm>
                <a:off x="2392" y="2739"/>
                <a:ext cx="2703" cy="125"/>
                <a:chOff x="2641" y="2590"/>
                <a:chExt cx="863" cy="533"/>
              </a:xfrm>
            </p:grpSpPr>
            <p:sp>
              <p:nvSpPr>
                <p:cNvPr id="582" name="AutoShape 251"/>
                <p:cNvSpPr>
                  <a:spLocks noChangeArrowheads="1"/>
                </p:cNvSpPr>
                <p:nvPr/>
              </p:nvSpPr>
              <p:spPr bwMode="auto">
                <a:xfrm>
                  <a:off x="3215" y="2592"/>
                  <a:ext cx="145" cy="534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83" name="AutoShape 252"/>
                <p:cNvSpPr>
                  <a:spLocks noChangeArrowheads="1"/>
                </p:cNvSpPr>
                <p:nvPr/>
              </p:nvSpPr>
              <p:spPr bwMode="auto">
                <a:xfrm>
                  <a:off x="3360" y="2592"/>
                  <a:ext cx="144" cy="534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84" name="AutoShape 253"/>
                <p:cNvSpPr>
                  <a:spLocks noChangeArrowheads="1"/>
                </p:cNvSpPr>
                <p:nvPr/>
              </p:nvSpPr>
              <p:spPr bwMode="auto">
                <a:xfrm>
                  <a:off x="3072" y="2592"/>
                  <a:ext cx="144" cy="534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585" name="Group 254"/>
                <p:cNvGrpSpPr>
                  <a:grpSpLocks/>
                </p:cNvGrpSpPr>
                <p:nvPr/>
              </p:nvGrpSpPr>
              <p:grpSpPr bwMode="auto">
                <a:xfrm>
                  <a:off x="2641" y="2590"/>
                  <a:ext cx="431" cy="533"/>
                  <a:chOff x="3073" y="2062"/>
                  <a:chExt cx="431" cy="533"/>
                </a:xfrm>
              </p:grpSpPr>
              <p:sp>
                <p:nvSpPr>
                  <p:cNvPr id="586" name="AutoShape 255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64"/>
                    <a:ext cx="146" cy="534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87" name="AutoShape 256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64"/>
                    <a:ext cx="144" cy="53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88" name="AutoShape 257"/>
                  <p:cNvSpPr>
                    <a:spLocks noChangeArrowheads="1"/>
                  </p:cNvSpPr>
                  <p:nvPr/>
                </p:nvSpPr>
                <p:spPr bwMode="auto">
                  <a:xfrm>
                    <a:off x="3069" y="2064"/>
                    <a:ext cx="146" cy="53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62" name="Group 258"/>
              <p:cNvGrpSpPr>
                <a:grpSpLocks/>
              </p:cNvGrpSpPr>
              <p:nvPr/>
            </p:nvGrpSpPr>
            <p:grpSpPr bwMode="auto">
              <a:xfrm>
                <a:off x="2394" y="2490"/>
                <a:ext cx="2708" cy="123"/>
                <a:chOff x="2640" y="2065"/>
                <a:chExt cx="864" cy="143"/>
              </a:xfrm>
            </p:grpSpPr>
            <p:grpSp>
              <p:nvGrpSpPr>
                <p:cNvPr id="574" name="Group 259"/>
                <p:cNvGrpSpPr>
                  <a:grpSpLocks/>
                </p:cNvGrpSpPr>
                <p:nvPr/>
              </p:nvGrpSpPr>
              <p:grpSpPr bwMode="auto">
                <a:xfrm>
                  <a:off x="2640" y="2065"/>
                  <a:ext cx="433" cy="143"/>
                  <a:chOff x="3072" y="2065"/>
                  <a:chExt cx="433" cy="524"/>
                </a:xfrm>
              </p:grpSpPr>
              <p:sp>
                <p:nvSpPr>
                  <p:cNvPr id="579" name="AutoShape 260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61"/>
                    <a:ext cx="146" cy="524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80" name="AutoShape 261"/>
                  <p:cNvSpPr>
                    <a:spLocks noChangeArrowheads="1"/>
                  </p:cNvSpPr>
                  <p:nvPr/>
                </p:nvSpPr>
                <p:spPr bwMode="auto">
                  <a:xfrm>
                    <a:off x="3362" y="2061"/>
                    <a:ext cx="147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81" name="AutoShape 262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61"/>
                    <a:ext cx="144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75" name="Group 263"/>
                <p:cNvGrpSpPr>
                  <a:grpSpLocks/>
                </p:cNvGrpSpPr>
                <p:nvPr/>
              </p:nvGrpSpPr>
              <p:grpSpPr bwMode="auto">
                <a:xfrm>
                  <a:off x="3073" y="2065"/>
                  <a:ext cx="431" cy="143"/>
                  <a:chOff x="3073" y="2065"/>
                  <a:chExt cx="431" cy="524"/>
                </a:xfrm>
              </p:grpSpPr>
              <p:sp>
                <p:nvSpPr>
                  <p:cNvPr id="576" name="AutoShape 264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61"/>
                    <a:ext cx="146" cy="524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77" name="AutoShape 265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61"/>
                    <a:ext cx="144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78" name="AutoShape 266"/>
                  <p:cNvSpPr>
                    <a:spLocks noChangeArrowheads="1"/>
                  </p:cNvSpPr>
                  <p:nvPr/>
                </p:nvSpPr>
                <p:spPr bwMode="auto">
                  <a:xfrm>
                    <a:off x="3073" y="2061"/>
                    <a:ext cx="144" cy="524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63" name="Group 267"/>
              <p:cNvGrpSpPr>
                <a:grpSpLocks/>
              </p:cNvGrpSpPr>
              <p:nvPr/>
            </p:nvGrpSpPr>
            <p:grpSpPr bwMode="auto">
              <a:xfrm>
                <a:off x="2394" y="2365"/>
                <a:ext cx="2708" cy="125"/>
                <a:chOff x="2640" y="2063"/>
                <a:chExt cx="864" cy="144"/>
              </a:xfrm>
            </p:grpSpPr>
            <p:grpSp>
              <p:nvGrpSpPr>
                <p:cNvPr id="566" name="Group 268"/>
                <p:cNvGrpSpPr>
                  <a:grpSpLocks/>
                </p:cNvGrpSpPr>
                <p:nvPr/>
              </p:nvGrpSpPr>
              <p:grpSpPr bwMode="auto">
                <a:xfrm>
                  <a:off x="2640" y="2063"/>
                  <a:ext cx="433" cy="144"/>
                  <a:chOff x="3072" y="2064"/>
                  <a:chExt cx="433" cy="529"/>
                </a:xfrm>
              </p:grpSpPr>
              <p:sp>
                <p:nvSpPr>
                  <p:cNvPr id="571" name="AutoShape 269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68"/>
                    <a:ext cx="146" cy="521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72" name="AutoShape 270"/>
                  <p:cNvSpPr>
                    <a:spLocks noChangeArrowheads="1"/>
                  </p:cNvSpPr>
                  <p:nvPr/>
                </p:nvSpPr>
                <p:spPr bwMode="auto">
                  <a:xfrm>
                    <a:off x="3362" y="2068"/>
                    <a:ext cx="147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73" name="AutoShape 271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68"/>
                    <a:ext cx="144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67" name="Group 272"/>
                <p:cNvGrpSpPr>
                  <a:grpSpLocks/>
                </p:cNvGrpSpPr>
                <p:nvPr/>
              </p:nvGrpSpPr>
              <p:grpSpPr bwMode="auto">
                <a:xfrm>
                  <a:off x="3073" y="2063"/>
                  <a:ext cx="431" cy="144"/>
                  <a:chOff x="3073" y="2064"/>
                  <a:chExt cx="431" cy="529"/>
                </a:xfrm>
              </p:grpSpPr>
              <p:sp>
                <p:nvSpPr>
                  <p:cNvPr id="568" name="AutoShape 273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68"/>
                    <a:ext cx="146" cy="521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69" name="AutoShape 274"/>
                  <p:cNvSpPr>
                    <a:spLocks noChangeArrowheads="1"/>
                  </p:cNvSpPr>
                  <p:nvPr/>
                </p:nvSpPr>
                <p:spPr bwMode="auto">
                  <a:xfrm>
                    <a:off x="3360" y="2068"/>
                    <a:ext cx="144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70" name="AutoShape 275"/>
                  <p:cNvSpPr>
                    <a:spLocks noChangeArrowheads="1"/>
                  </p:cNvSpPr>
                  <p:nvPr/>
                </p:nvSpPr>
                <p:spPr bwMode="auto">
                  <a:xfrm>
                    <a:off x="3073" y="2068"/>
                    <a:ext cx="144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sp>
            <p:nvSpPr>
              <p:cNvPr id="564" name="Rectangle 276"/>
              <p:cNvSpPr>
                <a:spLocks noChangeArrowheads="1"/>
              </p:cNvSpPr>
              <p:nvPr/>
            </p:nvSpPr>
            <p:spPr bwMode="auto">
              <a:xfrm>
                <a:off x="4202" y="2739"/>
                <a:ext cx="450" cy="374"/>
              </a:xfrm>
              <a:prstGeom prst="rect">
                <a:avLst/>
              </a:prstGeom>
              <a:solidFill>
                <a:srgbClr val="969696">
                  <a:alpha val="50195"/>
                </a:srgb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65" name="Rectangle 277"/>
              <p:cNvSpPr>
                <a:spLocks noChangeArrowheads="1"/>
              </p:cNvSpPr>
              <p:nvPr/>
            </p:nvSpPr>
            <p:spPr bwMode="auto">
              <a:xfrm>
                <a:off x="4202" y="2366"/>
                <a:ext cx="450" cy="373"/>
              </a:xfrm>
              <a:prstGeom prst="rect">
                <a:avLst/>
              </a:prstGeom>
              <a:solidFill>
                <a:srgbClr val="808080">
                  <a:alpha val="50195"/>
                </a:srgb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75" name="Group 278"/>
            <p:cNvGrpSpPr>
              <a:grpSpLocks/>
            </p:cNvGrpSpPr>
            <p:nvPr/>
          </p:nvGrpSpPr>
          <p:grpSpPr bwMode="auto">
            <a:xfrm>
              <a:off x="6958013" y="4306888"/>
              <a:ext cx="860425" cy="434975"/>
              <a:chOff x="2394" y="2366"/>
              <a:chExt cx="2708" cy="747"/>
            </a:xfrm>
          </p:grpSpPr>
          <p:grpSp>
            <p:nvGrpSpPr>
              <p:cNvPr id="505" name="Group 279"/>
              <p:cNvGrpSpPr>
                <a:grpSpLocks/>
              </p:cNvGrpSpPr>
              <p:nvPr/>
            </p:nvGrpSpPr>
            <p:grpSpPr bwMode="auto">
              <a:xfrm>
                <a:off x="2384" y="2985"/>
                <a:ext cx="2709" cy="125"/>
                <a:chOff x="2640" y="2590"/>
                <a:chExt cx="865" cy="530"/>
              </a:xfrm>
            </p:grpSpPr>
            <p:sp>
              <p:nvSpPr>
                <p:cNvPr id="551" name="AutoShape 280"/>
                <p:cNvSpPr>
                  <a:spLocks noChangeArrowheads="1"/>
                </p:cNvSpPr>
                <p:nvPr/>
              </p:nvSpPr>
              <p:spPr bwMode="auto">
                <a:xfrm>
                  <a:off x="3216" y="2589"/>
                  <a:ext cx="145" cy="532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52" name="AutoShape 281"/>
                <p:cNvSpPr>
                  <a:spLocks noChangeArrowheads="1"/>
                </p:cNvSpPr>
                <p:nvPr/>
              </p:nvSpPr>
              <p:spPr bwMode="auto">
                <a:xfrm>
                  <a:off x="3361" y="2589"/>
                  <a:ext cx="144" cy="532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53" name="AutoShape 282"/>
                <p:cNvSpPr>
                  <a:spLocks noChangeArrowheads="1"/>
                </p:cNvSpPr>
                <p:nvPr/>
              </p:nvSpPr>
              <p:spPr bwMode="auto">
                <a:xfrm>
                  <a:off x="3074" y="2589"/>
                  <a:ext cx="144" cy="532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554" name="Group 283"/>
                <p:cNvGrpSpPr>
                  <a:grpSpLocks/>
                </p:cNvGrpSpPr>
                <p:nvPr/>
              </p:nvGrpSpPr>
              <p:grpSpPr bwMode="auto">
                <a:xfrm>
                  <a:off x="2640" y="2590"/>
                  <a:ext cx="434" cy="530"/>
                  <a:chOff x="3072" y="2062"/>
                  <a:chExt cx="434" cy="530"/>
                </a:xfrm>
              </p:grpSpPr>
              <p:sp>
                <p:nvSpPr>
                  <p:cNvPr id="555" name="AutoShape 284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61"/>
                    <a:ext cx="145" cy="532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56" name="AutoShape 285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61"/>
                    <a:ext cx="145" cy="532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57" name="AutoShape 286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61"/>
                    <a:ext cx="144" cy="532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06" name="Group 287"/>
              <p:cNvGrpSpPr>
                <a:grpSpLocks/>
              </p:cNvGrpSpPr>
              <p:nvPr/>
            </p:nvGrpSpPr>
            <p:grpSpPr bwMode="auto">
              <a:xfrm>
                <a:off x="2394" y="2618"/>
                <a:ext cx="2708" cy="126"/>
                <a:chOff x="2640" y="2065"/>
                <a:chExt cx="864" cy="145"/>
              </a:xfrm>
            </p:grpSpPr>
            <p:grpSp>
              <p:nvGrpSpPr>
                <p:cNvPr id="543" name="Group 288"/>
                <p:cNvGrpSpPr>
                  <a:grpSpLocks/>
                </p:cNvGrpSpPr>
                <p:nvPr/>
              </p:nvGrpSpPr>
              <p:grpSpPr bwMode="auto">
                <a:xfrm>
                  <a:off x="2640" y="2065"/>
                  <a:ext cx="432" cy="145"/>
                  <a:chOff x="3072" y="2060"/>
                  <a:chExt cx="432" cy="530"/>
                </a:xfrm>
              </p:grpSpPr>
              <p:sp>
                <p:nvSpPr>
                  <p:cNvPr id="548" name="AutoShape 289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55"/>
                    <a:ext cx="145" cy="539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49" name="AutoShape 290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55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50" name="AutoShape 291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5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44" name="Group 292"/>
                <p:cNvGrpSpPr>
                  <a:grpSpLocks/>
                </p:cNvGrpSpPr>
                <p:nvPr/>
              </p:nvGrpSpPr>
              <p:grpSpPr bwMode="auto">
                <a:xfrm>
                  <a:off x="3072" y="2065"/>
                  <a:ext cx="432" cy="145"/>
                  <a:chOff x="3072" y="2060"/>
                  <a:chExt cx="432" cy="530"/>
                </a:xfrm>
              </p:grpSpPr>
              <p:sp>
                <p:nvSpPr>
                  <p:cNvPr id="545" name="AutoShape 293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55"/>
                    <a:ext cx="145" cy="539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46" name="AutoShape 294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55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47" name="AutoShape 295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5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07" name="Group 296"/>
              <p:cNvGrpSpPr>
                <a:grpSpLocks/>
              </p:cNvGrpSpPr>
              <p:nvPr/>
            </p:nvGrpSpPr>
            <p:grpSpPr bwMode="auto">
              <a:xfrm>
                <a:off x="2384" y="2867"/>
                <a:ext cx="2709" cy="123"/>
                <a:chOff x="2640" y="2596"/>
                <a:chExt cx="865" cy="522"/>
              </a:xfrm>
            </p:grpSpPr>
            <p:sp>
              <p:nvSpPr>
                <p:cNvPr id="536" name="AutoShape 297"/>
                <p:cNvSpPr>
                  <a:spLocks noChangeArrowheads="1"/>
                </p:cNvSpPr>
                <p:nvPr/>
              </p:nvSpPr>
              <p:spPr bwMode="auto">
                <a:xfrm>
                  <a:off x="3216" y="2599"/>
                  <a:ext cx="145" cy="521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37" name="AutoShape 298"/>
                <p:cNvSpPr>
                  <a:spLocks noChangeArrowheads="1"/>
                </p:cNvSpPr>
                <p:nvPr/>
              </p:nvSpPr>
              <p:spPr bwMode="auto">
                <a:xfrm>
                  <a:off x="3361" y="2599"/>
                  <a:ext cx="144" cy="521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38" name="AutoShape 299"/>
                <p:cNvSpPr>
                  <a:spLocks noChangeArrowheads="1"/>
                </p:cNvSpPr>
                <p:nvPr/>
              </p:nvSpPr>
              <p:spPr bwMode="auto">
                <a:xfrm>
                  <a:off x="3074" y="2599"/>
                  <a:ext cx="144" cy="521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539" name="Group 300"/>
                <p:cNvGrpSpPr>
                  <a:grpSpLocks/>
                </p:cNvGrpSpPr>
                <p:nvPr/>
              </p:nvGrpSpPr>
              <p:grpSpPr bwMode="auto">
                <a:xfrm>
                  <a:off x="2640" y="2596"/>
                  <a:ext cx="434" cy="522"/>
                  <a:chOff x="3072" y="2068"/>
                  <a:chExt cx="434" cy="522"/>
                </a:xfrm>
              </p:grpSpPr>
              <p:sp>
                <p:nvSpPr>
                  <p:cNvPr id="540" name="AutoShape 301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71"/>
                    <a:ext cx="145" cy="521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41" name="AutoShape 302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71"/>
                    <a:ext cx="145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42" name="AutoShape 303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71"/>
                    <a:ext cx="144" cy="521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08" name="Group 304"/>
              <p:cNvGrpSpPr>
                <a:grpSpLocks/>
              </p:cNvGrpSpPr>
              <p:nvPr/>
            </p:nvGrpSpPr>
            <p:grpSpPr bwMode="auto">
              <a:xfrm>
                <a:off x="2384" y="2738"/>
                <a:ext cx="2709" cy="125"/>
                <a:chOff x="2640" y="2590"/>
                <a:chExt cx="865" cy="534"/>
              </a:xfrm>
            </p:grpSpPr>
            <p:sp>
              <p:nvSpPr>
                <p:cNvPr id="529" name="AutoShape 305"/>
                <p:cNvSpPr>
                  <a:spLocks noChangeArrowheads="1"/>
                </p:cNvSpPr>
                <p:nvPr/>
              </p:nvSpPr>
              <p:spPr bwMode="auto">
                <a:xfrm>
                  <a:off x="3216" y="2585"/>
                  <a:ext cx="145" cy="536"/>
                </a:xfrm>
                <a:prstGeom prst="flowChartProcess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30" name="AutoShape 306"/>
                <p:cNvSpPr>
                  <a:spLocks noChangeArrowheads="1"/>
                </p:cNvSpPr>
                <p:nvPr/>
              </p:nvSpPr>
              <p:spPr bwMode="auto">
                <a:xfrm>
                  <a:off x="3361" y="2585"/>
                  <a:ext cx="144" cy="536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31" name="AutoShape 307"/>
                <p:cNvSpPr>
                  <a:spLocks noChangeArrowheads="1"/>
                </p:cNvSpPr>
                <p:nvPr/>
              </p:nvSpPr>
              <p:spPr bwMode="auto">
                <a:xfrm>
                  <a:off x="3074" y="2585"/>
                  <a:ext cx="144" cy="536"/>
                </a:xfrm>
                <a:prstGeom prst="flowChartProcess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ko-KR" altLang="en-US" sz="1100" kern="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grpSp>
              <p:nvGrpSpPr>
                <p:cNvPr id="532" name="Group 308"/>
                <p:cNvGrpSpPr>
                  <a:grpSpLocks/>
                </p:cNvGrpSpPr>
                <p:nvPr/>
              </p:nvGrpSpPr>
              <p:grpSpPr bwMode="auto">
                <a:xfrm>
                  <a:off x="2640" y="2590"/>
                  <a:ext cx="434" cy="534"/>
                  <a:chOff x="3072" y="2062"/>
                  <a:chExt cx="434" cy="534"/>
                </a:xfrm>
              </p:grpSpPr>
              <p:sp>
                <p:nvSpPr>
                  <p:cNvPr id="533" name="AutoShape 309"/>
                  <p:cNvSpPr>
                    <a:spLocks noChangeArrowheads="1"/>
                  </p:cNvSpPr>
                  <p:nvPr/>
                </p:nvSpPr>
                <p:spPr bwMode="auto">
                  <a:xfrm>
                    <a:off x="3216" y="2057"/>
                    <a:ext cx="145" cy="536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34" name="AutoShape 310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57"/>
                    <a:ext cx="145" cy="536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35" name="AutoShape 311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7"/>
                    <a:ext cx="144" cy="536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09" name="Group 312"/>
              <p:cNvGrpSpPr>
                <a:grpSpLocks/>
              </p:cNvGrpSpPr>
              <p:nvPr/>
            </p:nvGrpSpPr>
            <p:grpSpPr bwMode="auto">
              <a:xfrm>
                <a:off x="2394" y="2486"/>
                <a:ext cx="2708" cy="122"/>
                <a:chOff x="2640" y="2063"/>
                <a:chExt cx="864" cy="142"/>
              </a:xfrm>
            </p:grpSpPr>
            <p:grpSp>
              <p:nvGrpSpPr>
                <p:cNvPr id="521" name="Group 313"/>
                <p:cNvGrpSpPr>
                  <a:grpSpLocks/>
                </p:cNvGrpSpPr>
                <p:nvPr/>
              </p:nvGrpSpPr>
              <p:grpSpPr bwMode="auto">
                <a:xfrm>
                  <a:off x="2640" y="2063"/>
                  <a:ext cx="432" cy="142"/>
                  <a:chOff x="3072" y="2066"/>
                  <a:chExt cx="432" cy="522"/>
                </a:xfrm>
              </p:grpSpPr>
              <p:sp>
                <p:nvSpPr>
                  <p:cNvPr id="526" name="AutoShape 314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66"/>
                    <a:ext cx="145" cy="525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27" name="AutoShape 315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66"/>
                    <a:ext cx="143" cy="525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28" name="AutoShape 316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66"/>
                    <a:ext cx="143" cy="525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22" name="Group 317"/>
                <p:cNvGrpSpPr>
                  <a:grpSpLocks/>
                </p:cNvGrpSpPr>
                <p:nvPr/>
              </p:nvGrpSpPr>
              <p:grpSpPr bwMode="auto">
                <a:xfrm>
                  <a:off x="3072" y="2063"/>
                  <a:ext cx="432" cy="142"/>
                  <a:chOff x="3072" y="2066"/>
                  <a:chExt cx="432" cy="522"/>
                </a:xfrm>
              </p:grpSpPr>
              <p:sp>
                <p:nvSpPr>
                  <p:cNvPr id="523" name="AutoShape 318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66"/>
                    <a:ext cx="145" cy="525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24" name="AutoShape 319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66"/>
                    <a:ext cx="143" cy="525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25" name="AutoShape 320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66"/>
                    <a:ext cx="143" cy="525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10" name="Group 321"/>
              <p:cNvGrpSpPr>
                <a:grpSpLocks/>
              </p:cNvGrpSpPr>
              <p:nvPr/>
            </p:nvGrpSpPr>
            <p:grpSpPr bwMode="auto">
              <a:xfrm>
                <a:off x="2394" y="2370"/>
                <a:ext cx="2708" cy="126"/>
                <a:chOff x="2640" y="2066"/>
                <a:chExt cx="864" cy="145"/>
              </a:xfrm>
            </p:grpSpPr>
            <p:grpSp>
              <p:nvGrpSpPr>
                <p:cNvPr id="513" name="Group 322"/>
                <p:cNvGrpSpPr>
                  <a:grpSpLocks/>
                </p:cNvGrpSpPr>
                <p:nvPr/>
              </p:nvGrpSpPr>
              <p:grpSpPr bwMode="auto">
                <a:xfrm>
                  <a:off x="2640" y="2066"/>
                  <a:ext cx="432" cy="145"/>
                  <a:chOff x="3072" y="2064"/>
                  <a:chExt cx="432" cy="530"/>
                </a:xfrm>
              </p:grpSpPr>
              <p:sp>
                <p:nvSpPr>
                  <p:cNvPr id="518" name="AutoShape 323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59"/>
                    <a:ext cx="145" cy="539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19" name="AutoShape 324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59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20" name="AutoShape 325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9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  <p:grpSp>
              <p:nvGrpSpPr>
                <p:cNvPr id="514" name="Group 326"/>
                <p:cNvGrpSpPr>
                  <a:grpSpLocks/>
                </p:cNvGrpSpPr>
                <p:nvPr/>
              </p:nvGrpSpPr>
              <p:grpSpPr bwMode="auto">
                <a:xfrm>
                  <a:off x="3072" y="2066"/>
                  <a:ext cx="432" cy="145"/>
                  <a:chOff x="3072" y="2064"/>
                  <a:chExt cx="432" cy="530"/>
                </a:xfrm>
              </p:grpSpPr>
              <p:sp>
                <p:nvSpPr>
                  <p:cNvPr id="515" name="AutoShape 327"/>
                  <p:cNvSpPr>
                    <a:spLocks noChangeArrowheads="1"/>
                  </p:cNvSpPr>
                  <p:nvPr/>
                </p:nvSpPr>
                <p:spPr bwMode="auto">
                  <a:xfrm>
                    <a:off x="3215" y="2059"/>
                    <a:ext cx="145" cy="539"/>
                  </a:xfrm>
                  <a:prstGeom prst="flowChartProcess">
                    <a:avLst/>
                  </a:prstGeom>
                  <a:solidFill>
                    <a:srgbClr val="009999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16" name="AutoShape 328"/>
                  <p:cNvSpPr>
                    <a:spLocks noChangeArrowheads="1"/>
                  </p:cNvSpPr>
                  <p:nvPr/>
                </p:nvSpPr>
                <p:spPr bwMode="auto">
                  <a:xfrm>
                    <a:off x="3361" y="2059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  <p:sp>
                <p:nvSpPr>
                  <p:cNvPr id="517" name="AutoShape 329"/>
                  <p:cNvSpPr>
                    <a:spLocks noChangeArrowheads="1"/>
                  </p:cNvSpPr>
                  <p:nvPr/>
                </p:nvSpPr>
                <p:spPr bwMode="auto">
                  <a:xfrm>
                    <a:off x="3072" y="2059"/>
                    <a:ext cx="143" cy="539"/>
                  </a:xfrm>
                  <a:prstGeom prst="flowChartProcess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ko-KR" altLang="en-US" sz="1100" kern="0" dirty="0">
                      <a:solidFill>
                        <a:srgbClr val="000000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/>
                    </a:endParaRPr>
                  </a:p>
                </p:txBody>
              </p:sp>
            </p:grpSp>
          </p:grpSp>
          <p:sp>
            <p:nvSpPr>
              <p:cNvPr id="511" name="Rectangle 330"/>
              <p:cNvSpPr>
                <a:spLocks noChangeArrowheads="1"/>
              </p:cNvSpPr>
              <p:nvPr/>
            </p:nvSpPr>
            <p:spPr bwMode="auto">
              <a:xfrm>
                <a:off x="4198" y="2742"/>
                <a:ext cx="455" cy="371"/>
              </a:xfrm>
              <a:prstGeom prst="rect">
                <a:avLst/>
              </a:prstGeom>
              <a:solidFill>
                <a:srgbClr val="969696">
                  <a:alpha val="50195"/>
                </a:srgb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12" name="Rectangle 331"/>
              <p:cNvSpPr>
                <a:spLocks noChangeArrowheads="1"/>
              </p:cNvSpPr>
              <p:nvPr/>
            </p:nvSpPr>
            <p:spPr bwMode="auto">
              <a:xfrm>
                <a:off x="4198" y="2366"/>
                <a:ext cx="455" cy="376"/>
              </a:xfrm>
              <a:prstGeom prst="rect">
                <a:avLst/>
              </a:prstGeom>
              <a:solidFill>
                <a:srgbClr val="808080">
                  <a:alpha val="50195"/>
                </a:srgb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1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476" name="Text Box 332"/>
            <p:cNvSpPr txBox="1">
              <a:spLocks noChangeArrowheads="1"/>
            </p:cNvSpPr>
            <p:nvPr/>
          </p:nvSpPr>
          <p:spPr bwMode="auto">
            <a:xfrm>
              <a:off x="5772150" y="4035426"/>
              <a:ext cx="903278" cy="2718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ko-KR" altLang="en-US" sz="900" kern="0" dirty="0">
                  <a:solidFill>
                    <a:srgbClr val="000066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일반 </a:t>
              </a:r>
              <a:r>
                <a:rPr kumimoji="1" lang="ko-KR" altLang="en-US" sz="900" kern="0" dirty="0" err="1">
                  <a:solidFill>
                    <a:srgbClr val="000066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데이타</a:t>
              </a:r>
              <a:endParaRPr kumimoji="1" lang="ko-KR" altLang="en-US" sz="900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7" name="Rectangle 333"/>
            <p:cNvSpPr>
              <a:spLocks noChangeArrowheads="1"/>
            </p:cNvSpPr>
            <p:nvPr/>
          </p:nvSpPr>
          <p:spPr bwMode="auto">
            <a:xfrm>
              <a:off x="6886575" y="4035425"/>
              <a:ext cx="1003300" cy="781050"/>
            </a:xfrm>
            <a:prstGeom prst="rect">
              <a:avLst/>
            </a:prstGeom>
            <a:solidFill>
              <a:srgbClr val="C0C0C0">
                <a:alpha val="74901"/>
              </a:srgbClr>
            </a:solidFill>
            <a:ln w="28575" algn="ctr">
              <a:solidFill>
                <a:srgbClr val="A5002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lnSpc>
                  <a:spcPct val="110000"/>
                </a:lnSpc>
                <a:buFont typeface="Wingdings" pitchFamily="2" charset="2"/>
                <a:defRPr sz="1400" b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  <a:lvl2pPr marL="742950" indent="-285750" latinLnBrk="1">
                <a:spcBef>
                  <a:spcPct val="25000"/>
                </a:spcBef>
                <a:spcAft>
                  <a:spcPct val="15000"/>
                </a:spcAft>
                <a:buClr>
                  <a:schemeClr val="accent2"/>
                </a:buClr>
                <a:buFont typeface="Arial" pitchFamily="34" charset="0"/>
                <a:buChar char="–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lr>
                  <a:schemeClr val="accent2"/>
                </a:buClr>
                <a:buChar char="•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–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9pPr>
            </a:lstStyle>
            <a:p>
              <a:pPr fontAlgn="auto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lang="ko-KR" altLang="en-US" sz="1100" kern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78" name="Rectangle 334"/>
            <p:cNvSpPr>
              <a:spLocks noChangeArrowheads="1"/>
            </p:cNvSpPr>
            <p:nvPr/>
          </p:nvSpPr>
          <p:spPr bwMode="auto">
            <a:xfrm>
              <a:off x="7043737" y="4084638"/>
              <a:ext cx="728112" cy="434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110000"/>
                </a:lnSpc>
                <a:buFont typeface="Wingdings" pitchFamily="2" charset="2"/>
                <a:defRPr sz="1400" b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  <a:lvl2pPr marL="742950" indent="-285750" latinLnBrk="1">
                <a:spcBef>
                  <a:spcPct val="25000"/>
                </a:spcBef>
                <a:spcAft>
                  <a:spcPct val="15000"/>
                </a:spcAft>
                <a:buClr>
                  <a:schemeClr val="accent2"/>
                </a:buClr>
                <a:buFont typeface="Arial" pitchFamily="34" charset="0"/>
                <a:buChar char="–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lr>
                  <a:schemeClr val="accent2"/>
                </a:buClr>
                <a:buChar char="•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–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Arial" pitchFamily="34" charset="0"/>
                <a:buChar char="&gt;"/>
                <a:defRPr kumimoji="1">
                  <a:solidFill>
                    <a:schemeClr val="tx1"/>
                  </a:solidFill>
                  <a:latin typeface="굴림" pitchFamily="50" charset="-127"/>
                  <a:ea typeface="맑은 고딕" pitchFamily="50" charset="-127"/>
                </a:defRPr>
              </a:lvl9pPr>
            </a:lstStyle>
            <a:p>
              <a:pPr fontAlgn="auto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kern="0" dirty="0" smtClean="0">
                  <a:solidFill>
                    <a:srgbClr val="000000"/>
                  </a:solidFill>
                </a:rPr>
                <a:t>암호화된</a:t>
              </a:r>
            </a:p>
            <a:p>
              <a:pPr fontAlgn="auto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kern="0" dirty="0" smtClean="0">
                  <a:solidFill>
                    <a:srgbClr val="000000"/>
                  </a:solidFill>
                </a:rPr>
                <a:t>개인정보</a:t>
              </a:r>
            </a:p>
          </p:txBody>
        </p:sp>
        <p:sp>
          <p:nvSpPr>
            <p:cNvPr id="479" name="AutoShape 335"/>
            <p:cNvSpPr>
              <a:spLocks noChangeArrowheads="1"/>
            </p:cNvSpPr>
            <p:nvPr/>
          </p:nvSpPr>
          <p:spPr bwMode="auto">
            <a:xfrm>
              <a:off x="5627688" y="3544888"/>
              <a:ext cx="2508250" cy="1409700"/>
            </a:xfrm>
            <a:prstGeom prst="can">
              <a:avLst>
                <a:gd name="adj" fmla="val 20736"/>
              </a:avLst>
            </a:prstGeom>
            <a:noFill/>
            <a:ln w="6350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80" name="Picture 62" descr="MCj04315990000[1]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6713" y="3863975"/>
              <a:ext cx="358775" cy="363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81" name="그룹 84"/>
            <p:cNvGrpSpPr>
              <a:grpSpLocks/>
            </p:cNvGrpSpPr>
            <p:nvPr/>
          </p:nvGrpSpPr>
          <p:grpSpPr bwMode="auto">
            <a:xfrm>
              <a:off x="8607425" y="2139950"/>
              <a:ext cx="571500" cy="438150"/>
              <a:chOff x="1214414" y="428604"/>
              <a:chExt cx="526591" cy="438253"/>
            </a:xfrm>
          </p:grpSpPr>
          <p:pic>
            <p:nvPicPr>
              <p:cNvPr id="503" name="Picture 55" descr="Untitled-9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4" name="Picture 191" descr="사람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482" name="Picture 339" descr="bs00740_"/>
            <p:cNvPicPr>
              <a:picLocks noChangeAspect="1" noChangeArrowheads="1"/>
            </p:cNvPicPr>
            <p:nvPr/>
          </p:nvPicPr>
          <p:blipFill>
            <a:blip r:embed="rId6" cstate="print">
              <a:lum bright="34000" contrast="3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991187">
              <a:off x="8605044" y="2823369"/>
              <a:ext cx="357188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3" name="Oval 388"/>
            <p:cNvSpPr>
              <a:spLocks noChangeArrowheads="1"/>
            </p:cNvSpPr>
            <p:nvPr/>
          </p:nvSpPr>
          <p:spPr bwMode="auto">
            <a:xfrm>
              <a:off x="6465888" y="3324225"/>
              <a:ext cx="314325" cy="266700"/>
            </a:xfrm>
            <a:prstGeom prst="ellipse">
              <a:avLst/>
            </a:prstGeom>
            <a:noFill/>
            <a:ln w="57150">
              <a:solidFill>
                <a:srgbClr val="33CCCC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84" name="Picture 359" descr="StatusMarks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8088" y="2486025"/>
              <a:ext cx="428625" cy="36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5" name="Picture 359" descr="StatusMarks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3563" y="3273425"/>
              <a:ext cx="427037" cy="36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86" name="그룹 84"/>
            <p:cNvGrpSpPr>
              <a:grpSpLocks/>
            </p:cNvGrpSpPr>
            <p:nvPr/>
          </p:nvGrpSpPr>
          <p:grpSpPr bwMode="auto">
            <a:xfrm>
              <a:off x="5175250" y="1995488"/>
              <a:ext cx="363538" cy="279400"/>
              <a:chOff x="1214414" y="428604"/>
              <a:chExt cx="526591" cy="438253"/>
            </a:xfrm>
          </p:grpSpPr>
          <p:pic>
            <p:nvPicPr>
              <p:cNvPr id="501" name="Picture 55" descr="Untitled-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2" name="Picture 191" descr="사람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87" name="그룹 84"/>
            <p:cNvGrpSpPr>
              <a:grpSpLocks/>
            </p:cNvGrpSpPr>
            <p:nvPr/>
          </p:nvGrpSpPr>
          <p:grpSpPr bwMode="auto">
            <a:xfrm>
              <a:off x="5565775" y="1995488"/>
              <a:ext cx="363538" cy="279400"/>
              <a:chOff x="1214414" y="428604"/>
              <a:chExt cx="526591" cy="438253"/>
            </a:xfrm>
          </p:grpSpPr>
          <p:pic>
            <p:nvPicPr>
              <p:cNvPr id="499" name="Picture 55" descr="Untitled-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0" name="Picture 191" descr="사람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88" name="그룹 84"/>
            <p:cNvGrpSpPr>
              <a:grpSpLocks/>
            </p:cNvGrpSpPr>
            <p:nvPr/>
          </p:nvGrpSpPr>
          <p:grpSpPr bwMode="auto">
            <a:xfrm>
              <a:off x="5408613" y="2284413"/>
              <a:ext cx="365125" cy="279400"/>
              <a:chOff x="1214414" y="428604"/>
              <a:chExt cx="526591" cy="438253"/>
            </a:xfrm>
          </p:grpSpPr>
          <p:pic>
            <p:nvPicPr>
              <p:cNvPr id="497" name="Picture 55" descr="Untitled-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8" name="Picture 191" descr="사람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89" name="그룹 84"/>
            <p:cNvGrpSpPr>
              <a:grpSpLocks/>
            </p:cNvGrpSpPr>
            <p:nvPr/>
          </p:nvGrpSpPr>
          <p:grpSpPr bwMode="auto">
            <a:xfrm>
              <a:off x="6267450" y="1995488"/>
              <a:ext cx="363538" cy="279400"/>
              <a:chOff x="1214414" y="428604"/>
              <a:chExt cx="526591" cy="438253"/>
            </a:xfrm>
          </p:grpSpPr>
          <p:pic>
            <p:nvPicPr>
              <p:cNvPr id="495" name="Picture 55" descr="Untitled-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6" name="Picture 191" descr="사람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90" name="그룹 84"/>
            <p:cNvGrpSpPr>
              <a:grpSpLocks/>
            </p:cNvGrpSpPr>
            <p:nvPr/>
          </p:nvGrpSpPr>
          <p:grpSpPr bwMode="auto">
            <a:xfrm>
              <a:off x="6657975" y="1995488"/>
              <a:ext cx="363538" cy="279400"/>
              <a:chOff x="1214414" y="428604"/>
              <a:chExt cx="526591" cy="438253"/>
            </a:xfrm>
          </p:grpSpPr>
          <p:pic>
            <p:nvPicPr>
              <p:cNvPr id="493" name="Picture 55" descr="Untitled-9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1500166" y="551635"/>
                <a:ext cx="240839" cy="315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4" name="Picture 191" descr="사람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1214414" y="428604"/>
                <a:ext cx="357190" cy="400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91" name="Text Box 387"/>
            <p:cNvSpPr txBox="1">
              <a:spLocks noChangeArrowheads="1"/>
            </p:cNvSpPr>
            <p:nvPr/>
          </p:nvSpPr>
          <p:spPr bwMode="auto">
            <a:xfrm>
              <a:off x="6845300" y="2932112"/>
              <a:ext cx="2030413" cy="4675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CC"/>
                </a:buClr>
                <a:buFontTx/>
                <a:buChar char="•"/>
                <a:defRPr/>
              </a:pPr>
              <a:r>
                <a:rPr lang="ko-KR" altLang="en-US" sz="900" kern="0" dirty="0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평문조회 불가</a:t>
              </a:r>
            </a:p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CC"/>
                </a:buClr>
                <a:buFontTx/>
                <a:buChar char="•"/>
                <a:defRPr/>
              </a:pPr>
              <a:r>
                <a:rPr lang="ko-KR" altLang="en-US" sz="900" kern="0" dirty="0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개인정보 접근 로그 저장</a:t>
              </a:r>
            </a:p>
          </p:txBody>
        </p:sp>
        <p:sp>
          <p:nvSpPr>
            <p:cNvPr id="492" name="Text Box 353"/>
            <p:cNvSpPr txBox="1">
              <a:spLocks noChangeArrowheads="1"/>
            </p:cNvSpPr>
            <p:nvPr/>
          </p:nvSpPr>
          <p:spPr bwMode="auto">
            <a:xfrm>
              <a:off x="7985125" y="4052889"/>
              <a:ext cx="1568789" cy="46755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7889FB"/>
              </a:solidFill>
              <a:prstDash val="solid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altLang="ko-KR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Ex) </a:t>
              </a: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주민번호 </a:t>
              </a:r>
              <a:r>
                <a:rPr lang="en-US" altLang="ko-KR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암호화</a:t>
              </a:r>
              <a:r>
                <a:rPr lang="en-US" altLang="ko-KR" sz="90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altLang="ko-KR" sz="900" kern="0" dirty="0">
                  <a:solidFill>
                    <a:srgbClr val="0066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Xs40sl4123kdss9azs</a:t>
              </a:r>
              <a:endParaRPr lang="ko-KR" altLang="en-US" sz="900" kern="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pic>
        <p:nvPicPr>
          <p:cNvPr id="611" name="Picture 221" descr="화살표_4"/>
          <p:cNvPicPr>
            <a:picLocks noChangeAspect="1" noChangeArrowheads="1"/>
          </p:cNvPicPr>
          <p:nvPr/>
        </p:nvPicPr>
        <p:blipFill>
          <a:blip r:embed="rId10" cstate="print">
            <a:lum bright="-72000"/>
          </a:blip>
          <a:srcRect/>
          <a:stretch>
            <a:fillRect/>
          </a:stretch>
        </p:blipFill>
        <p:spPr bwMode="auto">
          <a:xfrm rot="5400000">
            <a:off x="2376082" y="3726684"/>
            <a:ext cx="365499" cy="3406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2" name="TextBox 611"/>
          <p:cNvSpPr txBox="1"/>
          <p:nvPr/>
        </p:nvSpPr>
        <p:spPr>
          <a:xfrm>
            <a:off x="391365" y="5559874"/>
            <a:ext cx="4824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buFont typeface="Arial" pitchFamily="34" charset="0"/>
              <a:buChar char="•"/>
            </a:pP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개인정보를 암호화 하여 안전하게 저장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-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유식별정보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민번호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전면허번호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권번호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국인 등록번호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소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락처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유효기간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>
              <a:buFontTx/>
              <a:buChar char="•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원적 데이터 암호화 보관으로 외부 유출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무력화</a:t>
            </a:r>
            <a:endParaRPr kumimoji="1" lang="ko-KR" altLang="en-US" sz="1200" i="1" dirty="0" smtClean="0">
              <a:solidFill>
                <a:srgbClr val="CC33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14" name="Group 613"/>
          <p:cNvGrpSpPr/>
          <p:nvPr/>
        </p:nvGrpSpPr>
        <p:grpSpPr>
          <a:xfrm>
            <a:off x="5133529" y="2420888"/>
            <a:ext cx="4178300" cy="3865943"/>
            <a:chOff x="593137" y="2276872"/>
            <a:chExt cx="4178300" cy="3865943"/>
          </a:xfrm>
        </p:grpSpPr>
        <p:grpSp>
          <p:nvGrpSpPr>
            <p:cNvPr id="615" name="Group 614"/>
            <p:cNvGrpSpPr/>
            <p:nvPr/>
          </p:nvGrpSpPr>
          <p:grpSpPr>
            <a:xfrm>
              <a:off x="593137" y="2276872"/>
              <a:ext cx="4178300" cy="1050528"/>
              <a:chOff x="445071" y="2276872"/>
              <a:chExt cx="4178300" cy="1050528"/>
            </a:xfrm>
          </p:grpSpPr>
          <p:sp>
            <p:nvSpPr>
              <p:cNvPr id="625" name="양쪽 모서리가 둥근 사각형 305"/>
              <p:cNvSpPr/>
              <p:nvPr/>
            </p:nvSpPr>
            <p:spPr bwMode="auto">
              <a:xfrm rot="5400000">
                <a:off x="2125448" y="829478"/>
                <a:ext cx="817545" cy="4178300"/>
              </a:xfrm>
              <a:prstGeom prst="homePlate">
                <a:avLst>
                  <a:gd name="adj" fmla="val 14568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404040"/>
                </a:solidFill>
                <a:prstDash val="solid"/>
              </a:ln>
              <a:effectLst/>
            </p:spPr>
            <p:txBody>
              <a:bodyPr vert="vert270" anchor="ctr"/>
              <a:lstStyle/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595959"/>
                  </a:buClr>
                  <a:buSzPct val="70000"/>
                  <a:buFont typeface="Wingdings" panose="05000000000000000000" pitchFamily="2" charset="2"/>
                  <a:buChar char="l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개인정보암호화 대상 선정</a:t>
                </a:r>
                <a:endParaRPr kumimoji="0" lang="en-US" altLang="ko-K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  <a:p>
                <a:pPr marL="174625" marR="0" lvl="0" indent="-17462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595959"/>
                  </a:buClr>
                  <a:buSzPct val="7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 -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 고유식별정보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(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주민등록번호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운전면허번호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여권번호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외국인등록번호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)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주소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연락처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카드 유효기간</a:t>
                </a:r>
                <a:endParaRPr kumimoji="1" lang="ko-KR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26" name="양쪽 모서리가 둥근 사각형 306"/>
              <p:cNvSpPr>
                <a:spLocks noChangeArrowheads="1"/>
              </p:cNvSpPr>
              <p:nvPr/>
            </p:nvSpPr>
            <p:spPr bwMode="auto">
              <a:xfrm>
                <a:off x="445071" y="2276872"/>
                <a:ext cx="4178300" cy="23344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110000"/>
                  </a:lnSpc>
                  <a:buFont typeface="Wingdings" pitchFamily="2" charset="2"/>
                  <a:defRPr sz="1400" b="1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  <a:cs typeface="Arial" pitchFamily="34" charset="0"/>
                  </a:defRPr>
                </a:lvl1pPr>
                <a:lvl2pPr marL="742950" indent="-285750" latinLnBrk="1">
                  <a:spcBef>
                    <a:spcPct val="25000"/>
                  </a:spcBef>
                  <a:spcAft>
                    <a:spcPct val="15000"/>
                  </a:spcAft>
                  <a:buClr>
                    <a:schemeClr val="accent2"/>
                  </a:buClr>
                  <a:buFont typeface="Arial" pitchFamily="34" charset="0"/>
                  <a:buChar char="–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2pPr>
                <a:lvl3pPr marL="1143000" indent="-228600" latinLnBrk="1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lr>
                    <a:schemeClr val="accent2"/>
                  </a:buClr>
                  <a:buFont typeface="Arial" pitchFamily="34" charset="0"/>
                  <a:buChar char="–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lr>
                    <a:schemeClr val="accent2"/>
                  </a:buClr>
                  <a:buFont typeface="Arial" pitchFamily="34" charset="0"/>
                  <a:buChar char="&gt;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Font typeface="Arial" pitchFamily="34" charset="0"/>
                  <a:buChar char="&gt;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Font typeface="Arial" pitchFamily="34" charset="0"/>
                  <a:buChar char="&gt;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Font typeface="Arial" pitchFamily="34" charset="0"/>
                  <a:buChar char="&gt;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Font typeface="Arial" pitchFamily="34" charset="0"/>
                  <a:buChar char="&gt;"/>
                  <a:defRPr kumimoji="1">
                    <a:solidFill>
                      <a:schemeClr val="tx1"/>
                    </a:solidFill>
                    <a:latin typeface="굴림" pitchFamily="50" charset="-127"/>
                    <a:ea typeface="맑은 고딕" pitchFamily="50" charset="-127"/>
                  </a:defRPr>
                </a:lvl9pPr>
              </a:lstStyle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맑은 고딕" pitchFamily="50" charset="-127"/>
                  </a:rPr>
                  <a:t>암호화 적용 범위 산정</a:t>
                </a:r>
                <a:endPara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맑은 고딕" pitchFamily="50" charset="-127"/>
                </a:endParaRPr>
              </a:p>
            </p:txBody>
          </p:sp>
        </p:grpSp>
        <p:grpSp>
          <p:nvGrpSpPr>
            <p:cNvPr id="616" name="Group 615"/>
            <p:cNvGrpSpPr/>
            <p:nvPr/>
          </p:nvGrpSpPr>
          <p:grpSpPr>
            <a:xfrm>
              <a:off x="593137" y="3373220"/>
              <a:ext cx="4178300" cy="884446"/>
              <a:chOff x="445071" y="3420855"/>
              <a:chExt cx="4178300" cy="884446"/>
            </a:xfrm>
          </p:grpSpPr>
          <p:sp>
            <p:nvSpPr>
              <p:cNvPr id="623" name="양쪽 모서리가 둥근 사각형 309"/>
              <p:cNvSpPr>
                <a:spLocks noChangeArrowheads="1"/>
              </p:cNvSpPr>
              <p:nvPr/>
            </p:nvSpPr>
            <p:spPr bwMode="auto">
              <a:xfrm>
                <a:off x="445071" y="3420855"/>
                <a:ext cx="4178300" cy="23344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암호화 정책 수립</a:t>
                </a: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624" name="양쪽 모서리가 둥근 사각형 305"/>
              <p:cNvSpPr/>
              <p:nvPr/>
            </p:nvSpPr>
            <p:spPr bwMode="auto">
              <a:xfrm rot="5400000">
                <a:off x="2201650" y="1883580"/>
                <a:ext cx="665142" cy="4178300"/>
              </a:xfrm>
              <a:prstGeom prst="homePlate">
                <a:avLst>
                  <a:gd name="adj" fmla="val 14568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404040"/>
                </a:solidFill>
                <a:prstDash val="solid"/>
              </a:ln>
              <a:effectLst/>
            </p:spPr>
            <p:txBody>
              <a:bodyPr vert="vert270" anchor="ctr"/>
              <a:lstStyle/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70000"/>
                  <a:buFont typeface="Wingdings" pitchFamily="2" charset="2"/>
                  <a:buChar char="l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선정된 개인정보의 암호화 방식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(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전체 암호화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부분 암호화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)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및 </a:t>
                </a:r>
                <a:endParaRPr kumimoji="0" lang="en-US" altLang="ko-K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   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알고리즘 등을 수립</a:t>
                </a: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617" name="Group 616"/>
            <p:cNvGrpSpPr/>
            <p:nvPr/>
          </p:nvGrpSpPr>
          <p:grpSpPr>
            <a:xfrm>
              <a:off x="593137" y="4303486"/>
              <a:ext cx="4178300" cy="916993"/>
              <a:chOff x="445071" y="4471251"/>
              <a:chExt cx="4178300" cy="916993"/>
            </a:xfrm>
          </p:grpSpPr>
          <p:sp>
            <p:nvSpPr>
              <p:cNvPr id="621" name="양쪽 모서리가 둥근 사각형 312"/>
              <p:cNvSpPr>
                <a:spLocks noChangeArrowheads="1"/>
              </p:cNvSpPr>
              <p:nvPr/>
            </p:nvSpPr>
            <p:spPr bwMode="auto">
              <a:xfrm>
                <a:off x="445071" y="4471251"/>
                <a:ext cx="4178300" cy="23344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암호화 적용 방식 및 비용 검토</a:t>
                </a: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622" name="양쪽 모서리가 둥근 사각형 305"/>
              <p:cNvSpPr/>
              <p:nvPr/>
            </p:nvSpPr>
            <p:spPr bwMode="auto">
              <a:xfrm rot="5400000">
                <a:off x="2187228" y="2952101"/>
                <a:ext cx="693986" cy="4178300"/>
              </a:xfrm>
              <a:prstGeom prst="homePlate">
                <a:avLst>
                  <a:gd name="adj" fmla="val 14568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404040"/>
                </a:solidFill>
                <a:prstDash val="solid"/>
              </a:ln>
              <a:effectLst/>
            </p:spPr>
            <p:txBody>
              <a:bodyPr vert="vert270" anchor="ctr"/>
              <a:lstStyle/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70000"/>
                  <a:buFont typeface="Wingdings" pitchFamily="2" charset="2"/>
                  <a:buChar char="l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암호화 적용 방식 및 내부 시스템 환경을 검토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 (API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방식과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DB Kernel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방식 중 감독당국 가이드라인에 따라 택일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)</a:t>
                </a: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618" name="Group 617"/>
            <p:cNvGrpSpPr/>
            <p:nvPr/>
          </p:nvGrpSpPr>
          <p:grpSpPr>
            <a:xfrm>
              <a:off x="593137" y="5266298"/>
              <a:ext cx="4178300" cy="876517"/>
              <a:chOff x="445071" y="5648916"/>
              <a:chExt cx="4178300" cy="876517"/>
            </a:xfrm>
          </p:grpSpPr>
          <p:sp>
            <p:nvSpPr>
              <p:cNvPr id="619" name="양쪽 모서리가 둥근 사각형 315"/>
              <p:cNvSpPr>
                <a:spLocks noChangeArrowheads="1"/>
              </p:cNvSpPr>
              <p:nvPr/>
            </p:nvSpPr>
            <p:spPr bwMode="auto">
              <a:xfrm>
                <a:off x="445071" y="5648916"/>
                <a:ext cx="4178300" cy="23344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암호화 구축 방안 확정</a:t>
                </a: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620" name="양쪽 모서리가 둥근 사각형 305"/>
              <p:cNvSpPr/>
              <p:nvPr/>
            </p:nvSpPr>
            <p:spPr bwMode="auto">
              <a:xfrm rot="5400000">
                <a:off x="2212683" y="4114745"/>
                <a:ext cx="643076" cy="4178300"/>
              </a:xfrm>
              <a:prstGeom prst="homePlate">
                <a:avLst>
                  <a:gd name="adj" fmla="val 14568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404040"/>
                </a:solidFill>
                <a:prstDash val="solid"/>
              </a:ln>
              <a:effectLst/>
            </p:spPr>
            <p:txBody>
              <a:bodyPr vert="vert270" anchor="ctr"/>
              <a:lstStyle/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70000"/>
                  <a:buFont typeface="Wingdings" pitchFamily="2" charset="2"/>
                  <a:buChar char="l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시스템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및 개인정보관리 최적화 방안을 고려하여 암호화 </a:t>
                </a:r>
                <a:endParaRPr kumimoji="0" lang="en-US" altLang="ko-K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  <a:p>
                <a:pPr marL="180975" marR="0" lvl="0" indent="-180975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   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구축 방안을 확정</a:t>
                </a:r>
                <a:endParaRPr kumimoji="1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sp>
        <p:nvSpPr>
          <p:cNvPr id="188" name="Pentagon 187"/>
          <p:cNvSpPr/>
          <p:nvPr/>
        </p:nvSpPr>
        <p:spPr>
          <a:xfrm>
            <a:off x="274644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</a:p>
        </p:txBody>
      </p:sp>
      <p:sp>
        <p:nvSpPr>
          <p:cNvPr id="189" name="Pentagon 188"/>
          <p:cNvSpPr/>
          <p:nvPr/>
        </p:nvSpPr>
        <p:spPr>
          <a:xfrm>
            <a:off x="777111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</a:p>
        </p:txBody>
      </p:sp>
      <p:sp>
        <p:nvSpPr>
          <p:cNvPr id="190" name="Pentagon 189"/>
          <p:cNvSpPr/>
          <p:nvPr/>
        </p:nvSpPr>
        <p:spPr>
          <a:xfrm>
            <a:off x="1279579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marR="0" lvl="0" indent="-176213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파기</a:t>
            </a:r>
          </a:p>
        </p:txBody>
      </p:sp>
      <p:grpSp>
        <p:nvGrpSpPr>
          <p:cNvPr id="203" name="그룹 20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0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0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0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0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0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0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1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1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12" name="그룹 21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1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1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8566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고객이 동의하지 않은 개인정보에 대해서는 사전에 수집이 불가하도록 개인정보 수집 목적에 맞게 절차를 수립함</a:t>
            </a:r>
            <a:r>
              <a:rPr lang="en-US" altLang="ko-KR" dirty="0"/>
              <a:t> 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보호 요건 기반의 고객정보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fecycle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접근 제어 방안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5" name="Text Box 7"/>
          <p:cNvSpPr txBox="1">
            <a:spLocks noChangeArrowheads="1"/>
          </p:cNvSpPr>
          <p:nvPr/>
        </p:nvSpPr>
        <p:spPr bwMode="auto">
          <a:xfrm>
            <a:off x="6103938" y="2560705"/>
            <a:ext cx="3367087" cy="39383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rIns="36000">
            <a:noAutofit/>
          </a:bodyPr>
          <a:lstStyle/>
          <a:p>
            <a:pPr marL="171450" indent="-171450" defTabSz="196850" eaLnBrk="0" latinLnBrk="0" hangingPunct="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개별 고객 정보 항목 별 고객 정보 공유 시 활용도 및 </a:t>
            </a:r>
            <a:r>
              <a: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Risk </a:t>
            </a: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평가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일관된 고객응대 등의 활용 측면에서 항목별 평가를 수행함</a:t>
            </a:r>
            <a:endParaRPr lang="en-US" altLang="ko-KR" sz="90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개인정보보호 등의 규제 측면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영업 실적을 위한 직원간 이해관계 등의 측면에서 항목별 공유 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Risk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평가를 수행함</a:t>
            </a:r>
            <a:endParaRPr lang="en-US" altLang="ko-KR" sz="9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212725" indent="-212725" defTabSz="196850" eaLnBrk="0" latinLnBrk="0" hangingPunct="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212725" indent="-212725" defTabSz="196850" eaLnBrk="0" latinLnBrk="0" hangingPunct="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수행 </a:t>
            </a: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업무 및 제공 서비스의 종류와 담당하는 역할에 따른 사용자 그룹 생성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본부부서를 고객접점부서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/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유관업무부서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/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일반업무부서 등으로 구분 가능하며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각 부서 내에서 담당 역할에 따라 추가적인 세부 그룹 구분이 가능함</a:t>
            </a:r>
            <a:endParaRPr lang="en-US" altLang="ko-KR" sz="90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영업점은 </a:t>
            </a:r>
            <a:r>
              <a:rPr lang="ko-KR" altLang="en-US" sz="9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전체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관리역할의 </a:t>
            </a:r>
            <a:r>
              <a:rPr lang="ko-KR" altLang="en-US" sz="9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지점장</a:t>
            </a:r>
            <a:r>
              <a:rPr lang="en-US" altLang="en-US" sz="9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담당영업직원</a:t>
            </a:r>
            <a:r>
              <a:rPr lang="en-US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일반직원 등으로 구분 가능함</a:t>
            </a:r>
            <a:endParaRPr lang="en-US" altLang="ko-KR" sz="90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212725" indent="-212725" defTabSz="196850" eaLnBrk="0" latinLnBrk="0" hangingPunct="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altLang="ko-KR" sz="1100" dirty="0" smtClean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212725" indent="-212725" defTabSz="196850" eaLnBrk="0" latinLnBrk="0" hangingPunct="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</a:t>
            </a: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정보 항목 별 사용자 권한 그룹에 의한 접근 권한 관리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각 고객 정보 항목에 대해 사용자 그룹별로 활용도와 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Risk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를 평가한 결과를 바탕으로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9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사용자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권한을 관리함</a:t>
            </a:r>
            <a:endParaRPr lang="en-US" altLang="ko-KR" sz="90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90525" indent="-171450" defTabSz="196850" eaLnBrk="0" latinLnBrk="0" hangingPunct="0">
              <a:spcBef>
                <a:spcPts val="200"/>
              </a:spcBef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defRPr/>
            </a:pP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삭제 권한의 경우 고객 정보 관리자</a:t>
            </a:r>
            <a:r>
              <a:rPr lang="en-US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Admin)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만 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/>
            </a:r>
            <a:b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</a:b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수행 가능</a:t>
            </a:r>
          </a:p>
        </p:txBody>
      </p:sp>
      <p:sp>
        <p:nvSpPr>
          <p:cNvPr id="697" name="AutoShape 90"/>
          <p:cNvSpPr>
            <a:spLocks noChangeArrowheads="1"/>
          </p:cNvSpPr>
          <p:nvPr/>
        </p:nvSpPr>
        <p:spPr bwMode="auto">
          <a:xfrm>
            <a:off x="2700338" y="4692476"/>
            <a:ext cx="1087437" cy="496316"/>
          </a:xfrm>
          <a:prstGeom prst="can">
            <a:avLst>
              <a:gd name="adj" fmla="val 36312"/>
            </a:avLst>
          </a:prstGeom>
          <a:solidFill>
            <a:srgbClr val="FFFFFF">
              <a:lumMod val="95000"/>
            </a:srgbClr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698" name="Text Box 94"/>
          <p:cNvSpPr txBox="1">
            <a:spLocks noChangeArrowheads="1"/>
          </p:cNvSpPr>
          <p:nvPr/>
        </p:nvSpPr>
        <p:spPr bwMode="auto">
          <a:xfrm>
            <a:off x="2725326" y="4895228"/>
            <a:ext cx="1037461" cy="250581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정보통합</a:t>
            </a: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B</a:t>
            </a:r>
          </a:p>
        </p:txBody>
      </p:sp>
      <p:sp>
        <p:nvSpPr>
          <p:cNvPr id="700" name="Oval 54"/>
          <p:cNvSpPr>
            <a:spLocks noChangeArrowheads="1"/>
          </p:cNvSpPr>
          <p:nvPr/>
        </p:nvSpPr>
        <p:spPr bwMode="auto">
          <a:xfrm>
            <a:off x="2825750" y="3982864"/>
            <a:ext cx="835025" cy="774700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6666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kern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01" name="Picture 52" descr="PC Running XML Web Service sm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3165" y="4189906"/>
            <a:ext cx="477321" cy="46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2" name="Picture 53" descr="notebook wireless_s"/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6502" y="4086385"/>
            <a:ext cx="346202" cy="387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3" name="Text Box 93"/>
          <p:cNvSpPr txBox="1">
            <a:spLocks noChangeArrowheads="1"/>
          </p:cNvSpPr>
          <p:nvPr/>
        </p:nvSpPr>
        <p:spPr bwMode="auto">
          <a:xfrm>
            <a:off x="2528888" y="3548841"/>
            <a:ext cx="143986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algn="ctr" eaLnBrk="1" latinLnBrk="0" hangingPunct="1"/>
            <a:r>
              <a:rPr lang="ko-KR" altLang="en-US" sz="12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정보 항목 별</a:t>
            </a:r>
            <a:r>
              <a:rPr lang="en-US" altLang="ko-KR" sz="12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u="sng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자 권한 관리</a:t>
            </a:r>
            <a:endParaRPr lang="en-US" altLang="ko-KR" sz="1200" u="sng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4" name="Rectangle 81"/>
          <p:cNvSpPr>
            <a:spLocks noChangeArrowheads="1"/>
          </p:cNvSpPr>
          <p:nvPr/>
        </p:nvSpPr>
        <p:spPr bwMode="auto">
          <a:xfrm>
            <a:off x="4441825" y="3506614"/>
            <a:ext cx="1547813" cy="2798762"/>
          </a:xfrm>
          <a:prstGeom prst="roundRect">
            <a:avLst>
              <a:gd name="adj" fmla="val 6108"/>
            </a:avLst>
          </a:prstGeom>
          <a:noFill/>
          <a:ln w="9525" algn="ctr">
            <a:solidFill>
              <a:srgbClr val="000000"/>
            </a:solidFill>
            <a:prstDash val="sysDash"/>
            <a:miter lim="800000"/>
            <a:headEnd/>
            <a:tailEnd/>
          </a:ln>
        </p:spPr>
        <p:txBody>
          <a:bodyPr lIns="72000" tIns="18000"/>
          <a:lstStyle/>
          <a:p>
            <a:pPr fontAlgn="auto" latinLnBrk="0">
              <a:spcBef>
                <a:spcPct val="20000"/>
              </a:spcBef>
              <a:spcAft>
                <a:spcPts val="0"/>
              </a:spcAft>
              <a:buClr>
                <a:sysClr val="windowText" lastClr="000000"/>
              </a:buClr>
              <a:defRPr/>
            </a:pP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06" name="Rectangle 75"/>
          <p:cNvSpPr>
            <a:spLocks noChangeArrowheads="1"/>
          </p:cNvSpPr>
          <p:nvPr/>
        </p:nvSpPr>
        <p:spPr bwMode="auto">
          <a:xfrm>
            <a:off x="4684068" y="4165978"/>
            <a:ext cx="1186842" cy="415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해당 영업점의 관리 고객 정보에 대한 접근 권한 가짐</a:t>
            </a:r>
          </a:p>
        </p:txBody>
      </p:sp>
      <p:sp>
        <p:nvSpPr>
          <p:cNvPr id="707" name="AutoShape 28"/>
          <p:cNvSpPr>
            <a:spLocks noChangeArrowheads="1"/>
          </p:cNvSpPr>
          <p:nvPr/>
        </p:nvSpPr>
        <p:spPr bwMode="gray">
          <a:xfrm>
            <a:off x="4818063" y="3946351"/>
            <a:ext cx="1054100" cy="195263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지점장</a:t>
            </a:r>
          </a:p>
        </p:txBody>
      </p:sp>
      <p:pic>
        <p:nvPicPr>
          <p:cNvPr id="708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65"/>
          <a:stretch>
            <a:fillRect/>
          </a:stretch>
        </p:blipFill>
        <p:spPr bwMode="auto">
          <a:xfrm>
            <a:off x="4592638" y="3703464"/>
            <a:ext cx="453402" cy="53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0" name="AutoShape 28"/>
          <p:cNvSpPr>
            <a:spLocks noChangeArrowheads="1"/>
          </p:cNvSpPr>
          <p:nvPr/>
        </p:nvSpPr>
        <p:spPr bwMode="gray">
          <a:xfrm>
            <a:off x="4819650" y="4776614"/>
            <a:ext cx="1054100" cy="195262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담당영업직원</a:t>
            </a:r>
          </a:p>
        </p:txBody>
      </p:sp>
      <p:sp>
        <p:nvSpPr>
          <p:cNvPr id="711" name="Rectangle 89"/>
          <p:cNvSpPr>
            <a:spLocks noChangeArrowheads="1"/>
          </p:cNvSpPr>
          <p:nvPr/>
        </p:nvSpPr>
        <p:spPr bwMode="auto">
          <a:xfrm>
            <a:off x="4684069" y="4994262"/>
            <a:ext cx="1186828" cy="415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의 수금 및 관리에 필요한 고객 정보에 대한 접근 권한 가짐</a:t>
            </a:r>
          </a:p>
        </p:txBody>
      </p:sp>
      <p:pic>
        <p:nvPicPr>
          <p:cNvPr id="712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65"/>
          <a:stretch>
            <a:fillRect/>
          </a:stretch>
        </p:blipFill>
        <p:spPr bwMode="auto">
          <a:xfrm>
            <a:off x="4592638" y="4533726"/>
            <a:ext cx="453396" cy="540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4" name="AutoShape 28"/>
          <p:cNvSpPr>
            <a:spLocks noChangeArrowheads="1"/>
          </p:cNvSpPr>
          <p:nvPr/>
        </p:nvSpPr>
        <p:spPr bwMode="gray">
          <a:xfrm>
            <a:off x="4819650" y="5598939"/>
            <a:ext cx="1054100" cy="193675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일반직원</a:t>
            </a:r>
          </a:p>
        </p:txBody>
      </p:sp>
      <p:sp>
        <p:nvSpPr>
          <p:cNvPr id="715" name="Rectangle 90"/>
          <p:cNvSpPr>
            <a:spLocks noChangeArrowheads="1"/>
          </p:cNvSpPr>
          <p:nvPr/>
        </p:nvSpPr>
        <p:spPr bwMode="auto">
          <a:xfrm>
            <a:off x="4684028" y="5823478"/>
            <a:ext cx="1186869" cy="415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공유 정보 항목으로 정의된 고객 정보에 대한 접근 권한 가짐</a:t>
            </a:r>
          </a:p>
        </p:txBody>
      </p:sp>
      <p:pic>
        <p:nvPicPr>
          <p:cNvPr id="716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7"/>
          <a:stretch>
            <a:fillRect/>
          </a:stretch>
        </p:blipFill>
        <p:spPr bwMode="auto">
          <a:xfrm>
            <a:off x="4597400" y="5348114"/>
            <a:ext cx="448606" cy="539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" name="AutoShape 28"/>
          <p:cNvSpPr>
            <a:spLocks noChangeArrowheads="1"/>
          </p:cNvSpPr>
          <p:nvPr/>
        </p:nvSpPr>
        <p:spPr bwMode="gray">
          <a:xfrm>
            <a:off x="4441825" y="3495501"/>
            <a:ext cx="1547813" cy="215900"/>
          </a:xfrm>
          <a:prstGeom prst="roundRect">
            <a:avLst>
              <a:gd name="adj" fmla="val 5023"/>
            </a:avLst>
          </a:prstGeom>
          <a:solidFill>
            <a:srgbClr val="646464"/>
          </a:solidFill>
          <a:ln w="317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하나 L" pitchFamily="18" charset="-127"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rPr>
              <a:t>영업점</a:t>
            </a:r>
          </a:p>
        </p:txBody>
      </p:sp>
      <p:sp>
        <p:nvSpPr>
          <p:cNvPr id="718" name="Rectangle 81"/>
          <p:cNvSpPr>
            <a:spLocks noChangeArrowheads="1"/>
          </p:cNvSpPr>
          <p:nvPr/>
        </p:nvSpPr>
        <p:spPr bwMode="auto">
          <a:xfrm>
            <a:off x="466725" y="3519314"/>
            <a:ext cx="1547813" cy="2798762"/>
          </a:xfrm>
          <a:prstGeom prst="roundRect">
            <a:avLst>
              <a:gd name="adj" fmla="val 6108"/>
            </a:avLst>
          </a:prstGeom>
          <a:noFill/>
          <a:ln w="9525" algn="ctr">
            <a:solidFill>
              <a:srgbClr val="000000"/>
            </a:solidFill>
            <a:prstDash val="sysDash"/>
            <a:miter lim="800000"/>
            <a:headEnd/>
            <a:tailEnd/>
          </a:ln>
        </p:spPr>
        <p:txBody>
          <a:bodyPr lIns="72000" tIns="18000"/>
          <a:lstStyle/>
          <a:p>
            <a:pPr fontAlgn="auto" latinLnBrk="0">
              <a:spcBef>
                <a:spcPct val="20000"/>
              </a:spcBef>
              <a:spcAft>
                <a:spcPts val="0"/>
              </a:spcAft>
              <a:buClr>
                <a:sysClr val="windowText" lastClr="000000"/>
              </a:buClr>
              <a:defRPr/>
            </a:pP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19" name="AutoShape 28"/>
          <p:cNvSpPr>
            <a:spLocks noChangeArrowheads="1"/>
          </p:cNvSpPr>
          <p:nvPr/>
        </p:nvSpPr>
        <p:spPr bwMode="gray">
          <a:xfrm>
            <a:off x="466725" y="3508201"/>
            <a:ext cx="1547813" cy="215900"/>
          </a:xfrm>
          <a:prstGeom prst="roundRect">
            <a:avLst>
              <a:gd name="adj" fmla="val 5023"/>
            </a:avLst>
          </a:prstGeom>
          <a:solidFill>
            <a:srgbClr val="646464"/>
          </a:solidFill>
          <a:ln w="317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하나 L" pitchFamily="18" charset="-127"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rPr>
              <a:t>본부부서</a:t>
            </a:r>
          </a:p>
        </p:txBody>
      </p:sp>
      <p:sp>
        <p:nvSpPr>
          <p:cNvPr id="721" name="Rectangle 76"/>
          <p:cNvSpPr>
            <a:spLocks noChangeArrowheads="1"/>
          </p:cNvSpPr>
          <p:nvPr/>
        </p:nvSpPr>
        <p:spPr bwMode="auto">
          <a:xfrm>
            <a:off x="700953" y="4162818"/>
            <a:ext cx="1140680" cy="415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상담 업무 필요 고객 정보에 대한 접근 권한 가짐</a:t>
            </a:r>
          </a:p>
        </p:txBody>
      </p:sp>
      <p:sp>
        <p:nvSpPr>
          <p:cNvPr id="722" name="AutoShape 28"/>
          <p:cNvSpPr>
            <a:spLocks noChangeArrowheads="1"/>
          </p:cNvSpPr>
          <p:nvPr/>
        </p:nvSpPr>
        <p:spPr bwMode="gray">
          <a:xfrm>
            <a:off x="615950" y="3959051"/>
            <a:ext cx="1055688" cy="193675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접점부서</a:t>
            </a:r>
          </a:p>
        </p:txBody>
      </p:sp>
      <p:pic>
        <p:nvPicPr>
          <p:cNvPr id="723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63"/>
          <a:stretch>
            <a:fillRect/>
          </a:stretch>
        </p:blipFill>
        <p:spPr bwMode="auto">
          <a:xfrm>
            <a:off x="1415885" y="3708226"/>
            <a:ext cx="446253" cy="539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5" name="Rectangle 77"/>
          <p:cNvSpPr>
            <a:spLocks noChangeArrowheads="1"/>
          </p:cNvSpPr>
          <p:nvPr/>
        </p:nvSpPr>
        <p:spPr bwMode="auto">
          <a:xfrm>
            <a:off x="700953" y="4961604"/>
            <a:ext cx="1140680" cy="41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본연의 업무 처리를 위한 고객 정보에 대한 접근 권한 가짐</a:t>
            </a:r>
          </a:p>
        </p:txBody>
      </p:sp>
      <p:sp>
        <p:nvSpPr>
          <p:cNvPr id="726" name="AutoShape 28"/>
          <p:cNvSpPr>
            <a:spLocks noChangeArrowheads="1"/>
          </p:cNvSpPr>
          <p:nvPr/>
        </p:nvSpPr>
        <p:spPr bwMode="gray">
          <a:xfrm>
            <a:off x="615950" y="4743276"/>
            <a:ext cx="1055688" cy="193675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유관업무부서</a:t>
            </a:r>
          </a:p>
        </p:txBody>
      </p:sp>
      <p:pic>
        <p:nvPicPr>
          <p:cNvPr id="727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63"/>
          <a:stretch>
            <a:fillRect/>
          </a:stretch>
        </p:blipFill>
        <p:spPr bwMode="auto">
          <a:xfrm>
            <a:off x="1415885" y="4494039"/>
            <a:ext cx="446253" cy="539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9" name="Rectangle 78"/>
          <p:cNvSpPr>
            <a:spLocks noChangeArrowheads="1"/>
          </p:cNvSpPr>
          <p:nvPr/>
        </p:nvSpPr>
        <p:spPr bwMode="auto">
          <a:xfrm>
            <a:off x="700953" y="5795093"/>
            <a:ext cx="1140680" cy="41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공유 정보 항목으로 정의된 고객 정보에 대한 접근 권한 가짐</a:t>
            </a:r>
          </a:p>
        </p:txBody>
      </p:sp>
      <p:sp>
        <p:nvSpPr>
          <p:cNvPr id="730" name="AutoShape 28"/>
          <p:cNvSpPr>
            <a:spLocks noChangeArrowheads="1"/>
          </p:cNvSpPr>
          <p:nvPr/>
        </p:nvSpPr>
        <p:spPr bwMode="gray">
          <a:xfrm>
            <a:off x="615950" y="5575126"/>
            <a:ext cx="1055688" cy="195263"/>
          </a:xfrm>
          <a:prstGeom prst="roundRect">
            <a:avLst>
              <a:gd name="adj" fmla="val 502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rgbClr val="5F5F5F"/>
            </a:solidFill>
            <a:round/>
            <a:headEnd/>
            <a:tailEnd/>
          </a:ln>
        </p:spPr>
        <p:txBody>
          <a:bodyPr lIns="36000" tIns="36000" rIns="144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일반업무부서</a:t>
            </a:r>
          </a:p>
        </p:txBody>
      </p:sp>
      <p:pic>
        <p:nvPicPr>
          <p:cNvPr id="731" name="Picture 27" descr="0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63"/>
          <a:stretch>
            <a:fillRect/>
          </a:stretch>
        </p:blipFill>
        <p:spPr bwMode="auto">
          <a:xfrm>
            <a:off x="1415885" y="5332239"/>
            <a:ext cx="446253" cy="539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32" name="직선 화살표 연결선 93"/>
          <p:cNvCxnSpPr>
            <a:stCxn id="700" idx="2"/>
          </p:cNvCxnSpPr>
          <p:nvPr/>
        </p:nvCxnSpPr>
        <p:spPr bwMode="auto">
          <a:xfrm rot="10800000">
            <a:off x="1862138" y="3978101"/>
            <a:ext cx="963612" cy="392113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prstDash val="sysDot"/>
            <a:round/>
            <a:headEnd type="none" w="med" len="med"/>
            <a:tailEnd type="triangle" w="med" len="med"/>
          </a:ln>
        </p:spPr>
      </p:cxnSp>
      <p:cxnSp>
        <p:nvCxnSpPr>
          <p:cNvPr id="733" name="직선 화살표 연결선 94"/>
          <p:cNvCxnSpPr>
            <a:stCxn id="700" idx="2"/>
          </p:cNvCxnSpPr>
          <p:nvPr/>
        </p:nvCxnSpPr>
        <p:spPr bwMode="auto">
          <a:xfrm rot="10800000" flipV="1">
            <a:off x="1862138" y="4370214"/>
            <a:ext cx="963612" cy="393700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prstDash val="dashDot"/>
            <a:round/>
            <a:headEnd type="none" w="med" len="med"/>
            <a:tailEnd type="triangle" w="med" len="med"/>
          </a:ln>
        </p:spPr>
      </p:cxnSp>
      <p:cxnSp>
        <p:nvCxnSpPr>
          <p:cNvPr id="734" name="직선 화살표 연결선 99"/>
          <p:cNvCxnSpPr>
            <a:stCxn id="700" idx="2"/>
          </p:cNvCxnSpPr>
          <p:nvPr/>
        </p:nvCxnSpPr>
        <p:spPr bwMode="auto">
          <a:xfrm rot="10800000" flipV="1">
            <a:off x="1862138" y="4370214"/>
            <a:ext cx="963612" cy="1231900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prstDash val="dashDot"/>
            <a:round/>
            <a:headEnd type="none" w="med" len="med"/>
            <a:tailEnd type="triangle" w="med" len="med"/>
          </a:ln>
        </p:spPr>
      </p:cxnSp>
      <p:cxnSp>
        <p:nvCxnSpPr>
          <p:cNvPr id="735" name="직선 화살표 연결선 105"/>
          <p:cNvCxnSpPr>
            <a:stCxn id="700" idx="6"/>
          </p:cNvCxnSpPr>
          <p:nvPr/>
        </p:nvCxnSpPr>
        <p:spPr bwMode="auto">
          <a:xfrm flipV="1">
            <a:off x="3660775" y="3973339"/>
            <a:ext cx="931863" cy="396875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prstDash val="sysDot"/>
            <a:round/>
            <a:headEnd type="none" w="med" len="med"/>
            <a:tailEnd type="triangle" w="med" len="med"/>
          </a:ln>
        </p:spPr>
      </p:cxnSp>
      <p:cxnSp>
        <p:nvCxnSpPr>
          <p:cNvPr id="736" name="직선 화살표 연결선 111"/>
          <p:cNvCxnSpPr>
            <a:stCxn id="700" idx="6"/>
          </p:cNvCxnSpPr>
          <p:nvPr/>
        </p:nvCxnSpPr>
        <p:spPr bwMode="auto">
          <a:xfrm>
            <a:off x="3660775" y="4370214"/>
            <a:ext cx="931863" cy="433387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737" name="직선 화살표 연결선 114"/>
          <p:cNvCxnSpPr>
            <a:stCxn id="700" idx="6"/>
          </p:cNvCxnSpPr>
          <p:nvPr/>
        </p:nvCxnSpPr>
        <p:spPr bwMode="auto">
          <a:xfrm>
            <a:off x="3660775" y="4370214"/>
            <a:ext cx="936625" cy="1247775"/>
          </a:xfrm>
          <a:prstGeom prst="straightConnector1">
            <a:avLst/>
          </a:prstGeom>
          <a:noFill/>
          <a:ln w="19050">
            <a:solidFill>
              <a:srgbClr val="76B0CF">
                <a:lumMod val="50000"/>
              </a:srgbClr>
            </a:solidFill>
            <a:prstDash val="dashDot"/>
            <a:round/>
            <a:headEnd type="none" w="med" len="med"/>
            <a:tailEnd type="triangle" w="med" len="med"/>
          </a:ln>
        </p:spPr>
      </p:cxnSp>
      <p:grpSp>
        <p:nvGrpSpPr>
          <p:cNvPr id="739" name="그룹 124"/>
          <p:cNvGrpSpPr>
            <a:grpSpLocks/>
          </p:cNvGrpSpPr>
          <p:nvPr/>
        </p:nvGrpSpPr>
        <p:grpSpPr bwMode="auto">
          <a:xfrm>
            <a:off x="2377322" y="5640277"/>
            <a:ext cx="1770652" cy="415831"/>
            <a:chOff x="2372686" y="2054586"/>
            <a:chExt cx="1754933" cy="415498"/>
          </a:xfrm>
        </p:grpSpPr>
        <p:sp>
          <p:nvSpPr>
            <p:cNvPr id="741" name="Text Box 94"/>
            <p:cNvSpPr txBox="1">
              <a:spLocks noChangeArrowheads="1"/>
            </p:cNvSpPr>
            <p:nvPr/>
          </p:nvSpPr>
          <p:spPr bwMode="auto">
            <a:xfrm>
              <a:off x="2769080" y="2054586"/>
              <a:ext cx="1358539" cy="415498"/>
            </a:xfrm>
            <a:prstGeom prst="rect">
              <a:avLst/>
            </a:prstGeom>
            <a:noFill/>
            <a:ln w="12700" algn="ctr">
              <a:solidFill>
                <a:srgbClr val="FFFFFF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charset="-127"/>
                </a:defRPr>
              </a:lvl9pPr>
            </a:lstStyle>
            <a:p>
              <a:pPr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정보 조회</a:t>
              </a:r>
              <a:r>
                <a:rPr lang="en-US" altLang="ko-KR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변경</a:t>
              </a:r>
              <a:r>
                <a:rPr lang="en-US" altLang="ko-KR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생성</a:t>
              </a:r>
              <a:endParaRPr lang="en-US" altLang="ko-KR" sz="9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정보 조회</a:t>
              </a:r>
              <a:r>
                <a:rPr lang="en-US" altLang="ko-KR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변경</a:t>
              </a:r>
              <a:endParaRPr lang="en-US" altLang="ko-KR" sz="9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정보 조회</a:t>
              </a:r>
            </a:p>
          </p:txBody>
        </p:sp>
        <p:sp>
          <p:nvSpPr>
            <p:cNvPr id="742" name="Line 96"/>
            <p:cNvSpPr>
              <a:spLocks noChangeShapeType="1"/>
            </p:cNvSpPr>
            <p:nvPr/>
          </p:nvSpPr>
          <p:spPr bwMode="auto">
            <a:xfrm>
              <a:off x="2373432" y="2132248"/>
              <a:ext cx="324122" cy="0"/>
            </a:xfrm>
            <a:prstGeom prst="line">
              <a:avLst/>
            </a:prstGeom>
            <a:noFill/>
            <a:ln w="19050">
              <a:solidFill>
                <a:srgbClr val="76B0CF">
                  <a:lumMod val="50000"/>
                </a:srgbClr>
              </a:solidFill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743" name="Line 97"/>
            <p:cNvSpPr>
              <a:spLocks noChangeShapeType="1"/>
            </p:cNvSpPr>
            <p:nvPr/>
          </p:nvSpPr>
          <p:spPr bwMode="auto">
            <a:xfrm>
              <a:off x="2373432" y="2400321"/>
              <a:ext cx="324122" cy="0"/>
            </a:xfrm>
            <a:prstGeom prst="line">
              <a:avLst/>
            </a:prstGeom>
            <a:noFill/>
            <a:ln w="19050">
              <a:solidFill>
                <a:srgbClr val="76B0CF">
                  <a:lumMod val="50000"/>
                </a:srgbClr>
              </a:solidFill>
              <a:prstDash val="dashDot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744" name="Line 100"/>
            <p:cNvSpPr>
              <a:spLocks noChangeShapeType="1"/>
            </p:cNvSpPr>
            <p:nvPr/>
          </p:nvSpPr>
          <p:spPr bwMode="auto">
            <a:xfrm>
              <a:off x="2373432" y="2265491"/>
              <a:ext cx="324122" cy="0"/>
            </a:xfrm>
            <a:prstGeom prst="line">
              <a:avLst/>
            </a:prstGeom>
            <a:noFill/>
            <a:ln w="19050">
              <a:solidFill>
                <a:srgbClr val="76B0CF">
                  <a:lumMod val="50000"/>
                </a:srgbClr>
              </a:solidFill>
              <a:prstDash val="sysDot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charset="0"/>
              </a:endParaRPr>
            </a:p>
          </p:txBody>
        </p:sp>
      </p:grpSp>
      <p:sp>
        <p:nvSpPr>
          <p:cNvPr id="740" name="Rectangle 81"/>
          <p:cNvSpPr>
            <a:spLocks noChangeArrowheads="1"/>
          </p:cNvSpPr>
          <p:nvPr/>
        </p:nvSpPr>
        <p:spPr bwMode="auto">
          <a:xfrm>
            <a:off x="2268538" y="5389389"/>
            <a:ext cx="1931987" cy="730250"/>
          </a:xfrm>
          <a:prstGeom prst="roundRect">
            <a:avLst>
              <a:gd name="adj" fmla="val 6108"/>
            </a:avLst>
          </a:prstGeom>
          <a:noFill/>
          <a:ln w="9525" algn="ctr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72000" tIns="18000"/>
          <a:lstStyle/>
          <a:p>
            <a:pPr fontAlgn="auto" latinLnBrk="0">
              <a:spcBef>
                <a:spcPct val="20000"/>
              </a:spcBef>
              <a:spcAft>
                <a:spcPts val="0"/>
              </a:spcAft>
              <a:buClr>
                <a:sysClr val="windowText" lastClr="000000"/>
              </a:buClr>
              <a:defRPr/>
            </a:pP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45" name="Text Box 46"/>
          <p:cNvSpPr txBox="1">
            <a:spLocks noChangeArrowheads="1"/>
          </p:cNvSpPr>
          <p:nvPr/>
        </p:nvSpPr>
        <p:spPr bwMode="auto">
          <a:xfrm>
            <a:off x="2346325" y="5425901"/>
            <a:ext cx="7223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ko-KR" altLang="en-US" sz="10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자 권한</a:t>
            </a:r>
          </a:p>
        </p:txBody>
      </p:sp>
      <p:sp>
        <p:nvSpPr>
          <p:cNvPr id="746" name="AutoShape 147"/>
          <p:cNvSpPr>
            <a:spLocks noChangeArrowheads="1"/>
          </p:cNvSpPr>
          <p:nvPr/>
        </p:nvSpPr>
        <p:spPr bwMode="auto">
          <a:xfrm rot="10800000">
            <a:off x="2284413" y="3472279"/>
            <a:ext cx="1916112" cy="141695"/>
          </a:xfrm>
          <a:prstGeom prst="triangle">
            <a:avLst>
              <a:gd name="adj" fmla="val 50000"/>
            </a:avLst>
          </a:prstGeom>
          <a:solidFill>
            <a:srgbClr val="FFFFFF">
              <a:lumMod val="65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47" name="Rectangle 72"/>
          <p:cNvSpPr>
            <a:spLocks noChangeArrowheads="1"/>
          </p:cNvSpPr>
          <p:nvPr/>
        </p:nvSpPr>
        <p:spPr bwMode="auto">
          <a:xfrm>
            <a:off x="474663" y="2330381"/>
            <a:ext cx="5532437" cy="109862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하나 L"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748" name="Text Box 46"/>
          <p:cNvSpPr txBox="1">
            <a:spLocks noChangeArrowheads="1"/>
          </p:cNvSpPr>
          <p:nvPr/>
        </p:nvSpPr>
        <p:spPr bwMode="auto">
          <a:xfrm>
            <a:off x="1941512" y="2354206"/>
            <a:ext cx="2598738" cy="19050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</p:spPr>
        <p:txBody>
          <a:bodyPr lIns="0" tIns="0" rIns="0" bIns="0" anchor="ctr"/>
          <a:lstStyle/>
          <a:p>
            <a:pPr defTabSz="196850" latinLnBrk="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defRPr/>
            </a:pPr>
            <a:r>
              <a:rPr lang="ko-KR" altLang="en-US" sz="105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정보 항목별 고객 정보 접근 권한 관리</a:t>
            </a:r>
          </a:p>
        </p:txBody>
      </p:sp>
      <p:sp>
        <p:nvSpPr>
          <p:cNvPr id="749" name="직사각형 196"/>
          <p:cNvSpPr/>
          <p:nvPr/>
        </p:nvSpPr>
        <p:spPr>
          <a:xfrm>
            <a:off x="611188" y="2592331"/>
            <a:ext cx="1030287" cy="5540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algn="ctr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정보 항목 별</a:t>
            </a:r>
            <a: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/>
            </a:r>
            <a:b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</a:br>
            <a:r>
              <a:rPr lang="ko-KR" altLang="en-US" sz="900" b="0" kern="0" dirty="0" err="1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공유시</a:t>
            </a: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활용도 </a:t>
            </a:r>
            <a: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/>
            </a:r>
            <a:b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</a:b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및 </a:t>
            </a:r>
            <a: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Risk </a:t>
            </a: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평가</a:t>
            </a:r>
          </a:p>
        </p:txBody>
      </p:sp>
      <p:sp>
        <p:nvSpPr>
          <p:cNvPr id="750" name="오른쪽 화살표 79"/>
          <p:cNvSpPr/>
          <p:nvPr/>
        </p:nvSpPr>
        <p:spPr bwMode="gray">
          <a:xfrm rot="1800000">
            <a:off x="1722438" y="2881256"/>
            <a:ext cx="252412" cy="214312"/>
          </a:xfrm>
          <a:prstGeom prst="rightArrow">
            <a:avLst/>
          </a:prstGeom>
          <a:solidFill>
            <a:srgbClr val="76B0CF">
              <a:lumMod val="60000"/>
              <a:lumOff val="40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51" name="직사각형 82"/>
          <p:cNvSpPr/>
          <p:nvPr/>
        </p:nvSpPr>
        <p:spPr>
          <a:xfrm>
            <a:off x="2054225" y="2768543"/>
            <a:ext cx="1030288" cy="554038"/>
          </a:xfrm>
          <a:prstGeom prst="rect">
            <a:avLst/>
          </a:prstGeom>
          <a:solidFill>
            <a:srgbClr val="1B3A87"/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 정보 항목 별</a:t>
            </a:r>
            <a:r>
              <a:rPr kumimoji="0" lang="en-US" altLang="ko-KR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/>
            </a:r>
            <a:br>
              <a:rPr kumimoji="0" lang="en-US" altLang="ko-KR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</a:b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공유 수준 정의</a:t>
            </a:r>
          </a:p>
        </p:txBody>
      </p:sp>
      <p:sp>
        <p:nvSpPr>
          <p:cNvPr id="752" name="직사각형 84"/>
          <p:cNvSpPr/>
          <p:nvPr/>
        </p:nvSpPr>
        <p:spPr>
          <a:xfrm>
            <a:off x="3397250" y="2768543"/>
            <a:ext cx="1030288" cy="554038"/>
          </a:xfrm>
          <a:prstGeom prst="rect">
            <a:avLst/>
          </a:prstGeom>
          <a:solidFill>
            <a:srgbClr val="1B3A87"/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접근 권한 차별화를 위한 사용자 그룹 생성</a:t>
            </a:r>
          </a:p>
        </p:txBody>
      </p:sp>
      <p:sp>
        <p:nvSpPr>
          <p:cNvPr id="753" name="오른쪽 화살표 85"/>
          <p:cNvSpPr/>
          <p:nvPr/>
        </p:nvSpPr>
        <p:spPr bwMode="gray">
          <a:xfrm rot="9000000">
            <a:off x="4506913" y="2881256"/>
            <a:ext cx="254000" cy="214312"/>
          </a:xfrm>
          <a:prstGeom prst="rightArrow">
            <a:avLst/>
          </a:prstGeom>
          <a:solidFill>
            <a:srgbClr val="76B0CF">
              <a:lumMod val="60000"/>
              <a:lumOff val="40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54" name="직사각형 86"/>
          <p:cNvSpPr/>
          <p:nvPr/>
        </p:nvSpPr>
        <p:spPr>
          <a:xfrm>
            <a:off x="4840288" y="2592331"/>
            <a:ext cx="1030287" cy="5540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algn="ctr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부서</a:t>
            </a:r>
            <a:r>
              <a:rPr lang="en-US" altLang="ko-KR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9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담당업무에 따른 고객 정보 활용도 평가</a:t>
            </a:r>
          </a:p>
        </p:txBody>
      </p:sp>
      <p:sp>
        <p:nvSpPr>
          <p:cNvPr id="755" name="십자형 88"/>
          <p:cNvSpPr/>
          <p:nvPr/>
        </p:nvSpPr>
        <p:spPr bwMode="gray">
          <a:xfrm>
            <a:off x="3117850" y="2924118"/>
            <a:ext cx="242888" cy="242888"/>
          </a:xfrm>
          <a:prstGeom prst="plus">
            <a:avLst>
              <a:gd name="adj" fmla="val 37932"/>
            </a:avLst>
          </a:prstGeom>
          <a:solidFill>
            <a:srgbClr val="76B0CF">
              <a:lumMod val="75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69" name="Pentagon 768"/>
          <p:cNvSpPr/>
          <p:nvPr/>
        </p:nvSpPr>
        <p:spPr>
          <a:xfrm>
            <a:off x="274644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</a:p>
        </p:txBody>
      </p:sp>
      <p:sp>
        <p:nvSpPr>
          <p:cNvPr id="770" name="Pentagon 769"/>
          <p:cNvSpPr/>
          <p:nvPr/>
        </p:nvSpPr>
        <p:spPr>
          <a:xfrm>
            <a:off x="777111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</a:p>
        </p:txBody>
      </p:sp>
      <p:sp>
        <p:nvSpPr>
          <p:cNvPr id="771" name="Pentagon 770"/>
          <p:cNvSpPr/>
          <p:nvPr/>
        </p:nvSpPr>
        <p:spPr>
          <a:xfrm>
            <a:off x="1279579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marR="0" lvl="0" indent="-176213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파기</a:t>
            </a:r>
          </a:p>
        </p:txBody>
      </p:sp>
      <p:grpSp>
        <p:nvGrpSpPr>
          <p:cNvPr id="77" name="그룹 7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53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7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고객이 동의하지 않은 개인정보에 대해서는 사전에 수집이 불가하도록 개인정보 수집 목적에 맞게 절차를 </a:t>
            </a:r>
            <a:r>
              <a:rPr lang="ko-KR" altLang="en-US" dirty="0" smtClean="0"/>
              <a:t>수립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40" name="TextBox 3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정보보호 요건 기반의 고객정보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fecycle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–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파기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8" name="모서리가 둥근 직사각형 17"/>
          <p:cNvSpPr/>
          <p:nvPr/>
        </p:nvSpPr>
        <p:spPr>
          <a:xfrm>
            <a:off x="4856157" y="2768693"/>
            <a:ext cx="1154707" cy="2677799"/>
          </a:xfrm>
          <a:prstGeom prst="roundRect">
            <a:avLst>
              <a:gd name="adj" fmla="val 2057"/>
            </a:avLst>
          </a:prstGeom>
          <a:noFill/>
          <a:ln w="1905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latin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rPr>
              <a:t>운영 영역</a:t>
            </a:r>
          </a:p>
        </p:txBody>
      </p:sp>
      <p:sp>
        <p:nvSpPr>
          <p:cNvPr id="159" name="모서리가 둥근 직사각형 18"/>
          <p:cNvSpPr/>
          <p:nvPr/>
        </p:nvSpPr>
        <p:spPr>
          <a:xfrm>
            <a:off x="6138807" y="2768693"/>
            <a:ext cx="2015629" cy="2677799"/>
          </a:xfrm>
          <a:prstGeom prst="roundRect">
            <a:avLst>
              <a:gd name="adj" fmla="val 2057"/>
            </a:avLst>
          </a:prstGeom>
          <a:noFill/>
          <a:ln w="1905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latin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rPr>
              <a:t>고객정보 파기 어플리케이션</a:t>
            </a:r>
          </a:p>
        </p:txBody>
      </p:sp>
      <p:sp>
        <p:nvSpPr>
          <p:cNvPr id="160" name="모서리가 둥근 직사각형 19"/>
          <p:cNvSpPr/>
          <p:nvPr/>
        </p:nvSpPr>
        <p:spPr>
          <a:xfrm>
            <a:off x="8282378" y="2768693"/>
            <a:ext cx="1154707" cy="2677799"/>
          </a:xfrm>
          <a:prstGeom prst="roundRect">
            <a:avLst>
              <a:gd name="adj" fmla="val 2057"/>
            </a:avLst>
          </a:prstGeom>
          <a:noFill/>
          <a:ln w="1905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t"/>
          <a:lstStyle/>
          <a:p>
            <a:pPr algn="ctr" eaLnBrk="0" latinLnBrk="0" hangingPunct="0">
              <a:lnSpc>
                <a:spcPct val="90000"/>
              </a:lnSpc>
              <a:spcBef>
                <a:spcPts val="0"/>
              </a:spcBef>
              <a:buClr>
                <a:srgbClr val="7D0900"/>
              </a:buClr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  <a:cs typeface="Arial"/>
              </a:rPr>
              <a:t>격리 영역</a:t>
            </a:r>
          </a:p>
        </p:txBody>
      </p:sp>
      <p:sp>
        <p:nvSpPr>
          <p:cNvPr id="162" name="원통 1"/>
          <p:cNvSpPr/>
          <p:nvPr/>
        </p:nvSpPr>
        <p:spPr>
          <a:xfrm>
            <a:off x="4999603" y="3143252"/>
            <a:ext cx="867815" cy="1307464"/>
          </a:xfrm>
          <a:prstGeom prst="can">
            <a:avLst>
              <a:gd name="adj" fmla="val 16219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운영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Database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Arial"/>
            </a:endParaRPr>
          </a:p>
        </p:txBody>
      </p:sp>
      <p:sp>
        <p:nvSpPr>
          <p:cNvPr id="163" name="원통 21"/>
          <p:cNvSpPr/>
          <p:nvPr/>
        </p:nvSpPr>
        <p:spPr>
          <a:xfrm>
            <a:off x="6514921" y="3143252"/>
            <a:ext cx="1296144" cy="319603"/>
          </a:xfrm>
          <a:prstGeom prst="can">
            <a:avLst>
              <a:gd name="adj" fmla="val 16219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파기 메타 정보</a:t>
            </a:r>
          </a:p>
        </p:txBody>
      </p:sp>
      <p:sp>
        <p:nvSpPr>
          <p:cNvPr id="164" name="원통 22"/>
          <p:cNvSpPr/>
          <p:nvPr/>
        </p:nvSpPr>
        <p:spPr>
          <a:xfrm>
            <a:off x="6514921" y="4131114"/>
            <a:ext cx="1296144" cy="319603"/>
          </a:xfrm>
          <a:prstGeom prst="can">
            <a:avLst>
              <a:gd name="adj" fmla="val 16219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파기 메타 정보</a:t>
            </a:r>
          </a:p>
        </p:txBody>
      </p:sp>
      <p:sp>
        <p:nvSpPr>
          <p:cNvPr id="165" name="원통 25"/>
          <p:cNvSpPr/>
          <p:nvPr/>
        </p:nvSpPr>
        <p:spPr>
          <a:xfrm>
            <a:off x="8425824" y="3143252"/>
            <a:ext cx="867815" cy="1307464"/>
          </a:xfrm>
          <a:prstGeom prst="can">
            <a:avLst>
              <a:gd name="adj" fmla="val 16219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파기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Database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Arial"/>
            </a:endParaRPr>
          </a:p>
        </p:txBody>
      </p:sp>
      <p:sp>
        <p:nvSpPr>
          <p:cNvPr id="166" name="직사각형 26"/>
          <p:cNvSpPr/>
          <p:nvPr/>
        </p:nvSpPr>
        <p:spPr>
          <a:xfrm>
            <a:off x="6514573" y="3644447"/>
            <a:ext cx="1296491" cy="305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고객정보 파기</a:t>
            </a:r>
          </a:p>
        </p:txBody>
      </p:sp>
      <p:sp>
        <p:nvSpPr>
          <p:cNvPr id="167" name="직사각형 27"/>
          <p:cNvSpPr/>
          <p:nvPr/>
        </p:nvSpPr>
        <p:spPr>
          <a:xfrm>
            <a:off x="6514573" y="4581463"/>
            <a:ext cx="1296491" cy="305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1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파기 정보 복원</a:t>
            </a:r>
          </a:p>
        </p:txBody>
      </p:sp>
      <p:sp>
        <p:nvSpPr>
          <p:cNvPr id="168" name="원통 28"/>
          <p:cNvSpPr/>
          <p:nvPr/>
        </p:nvSpPr>
        <p:spPr>
          <a:xfrm>
            <a:off x="6514921" y="5017284"/>
            <a:ext cx="1296144" cy="319603"/>
          </a:xfrm>
          <a:prstGeom prst="can">
            <a:avLst>
              <a:gd name="adj" fmla="val 16219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20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파기 메타 정보</a:t>
            </a:r>
          </a:p>
        </p:txBody>
      </p:sp>
      <p:cxnSp>
        <p:nvCxnSpPr>
          <p:cNvPr id="169" name="직선 화살표 연결선 29"/>
          <p:cNvCxnSpPr>
            <a:endCxn id="166" idx="1"/>
          </p:cNvCxnSpPr>
          <p:nvPr/>
        </p:nvCxnSpPr>
        <p:spPr>
          <a:xfrm>
            <a:off x="5867418" y="3796984"/>
            <a:ext cx="647155" cy="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0" name="직선 화살표 연결선 30"/>
          <p:cNvCxnSpPr>
            <a:stCxn id="166" idx="3"/>
          </p:cNvCxnSpPr>
          <p:nvPr/>
        </p:nvCxnSpPr>
        <p:spPr>
          <a:xfrm>
            <a:off x="7811064" y="3796984"/>
            <a:ext cx="612000" cy="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1" name="직선 화살표 연결선 32"/>
          <p:cNvCxnSpPr>
            <a:stCxn id="163" idx="3"/>
            <a:endCxn id="166" idx="0"/>
          </p:cNvCxnSpPr>
          <p:nvPr/>
        </p:nvCxnSpPr>
        <p:spPr>
          <a:xfrm flipH="1">
            <a:off x="7162819" y="3462854"/>
            <a:ext cx="174" cy="181592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2" name="직선 화살표 연결선 35"/>
          <p:cNvCxnSpPr>
            <a:stCxn id="166" idx="2"/>
            <a:endCxn id="164" idx="0"/>
          </p:cNvCxnSpPr>
          <p:nvPr/>
        </p:nvCxnSpPr>
        <p:spPr>
          <a:xfrm>
            <a:off x="7162819" y="3949522"/>
            <a:ext cx="174" cy="233428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3" name="직선 화살표 연결선 38"/>
          <p:cNvCxnSpPr>
            <a:stCxn id="164" idx="3"/>
            <a:endCxn id="167" idx="0"/>
          </p:cNvCxnSpPr>
          <p:nvPr/>
        </p:nvCxnSpPr>
        <p:spPr>
          <a:xfrm flipH="1">
            <a:off x="7162819" y="4450717"/>
            <a:ext cx="174" cy="130746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4" name="직선 화살표 연결선 43"/>
          <p:cNvCxnSpPr>
            <a:stCxn id="167" idx="2"/>
            <a:endCxn id="168" idx="0"/>
          </p:cNvCxnSpPr>
          <p:nvPr/>
        </p:nvCxnSpPr>
        <p:spPr>
          <a:xfrm>
            <a:off x="7162819" y="4886538"/>
            <a:ext cx="174" cy="182583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5" name="직선 화살표 연결선 46"/>
          <p:cNvCxnSpPr>
            <a:stCxn id="165" idx="3"/>
            <a:endCxn id="167" idx="3"/>
          </p:cNvCxnSpPr>
          <p:nvPr/>
        </p:nvCxnSpPr>
        <p:spPr>
          <a:xfrm rot="5400000">
            <a:off x="8193757" y="4068024"/>
            <a:ext cx="283284" cy="1048668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176" name="직선 화살표 연결선 46"/>
          <p:cNvCxnSpPr>
            <a:stCxn id="167" idx="1"/>
            <a:endCxn id="162" idx="3"/>
          </p:cNvCxnSpPr>
          <p:nvPr/>
        </p:nvCxnSpPr>
        <p:spPr>
          <a:xfrm rot="10800000">
            <a:off x="5433511" y="4450717"/>
            <a:ext cx="1081062" cy="283284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tailEnd type="triangle"/>
          </a:ln>
          <a:effectLst/>
        </p:spPr>
      </p:cxnSp>
      <p:sp>
        <p:nvSpPr>
          <p:cNvPr id="177" name="모서리가 둥근 직사각형 51"/>
          <p:cNvSpPr/>
          <p:nvPr/>
        </p:nvSpPr>
        <p:spPr>
          <a:xfrm>
            <a:off x="4987648" y="3128733"/>
            <a:ext cx="144000" cy="145258"/>
          </a:xfrm>
          <a:prstGeom prst="roundRect">
            <a:avLst/>
          </a:prstGeom>
          <a:solidFill>
            <a:srgbClr val="002060"/>
          </a:solidFill>
          <a:ln w="12700" algn="ctr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가는각진제목체" pitchFamily="18" charset="-127"/>
                <a:cs typeface="Arial"/>
              </a:rPr>
              <a:t>1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가는각진제목체" pitchFamily="18" charset="-127"/>
              <a:cs typeface="Arial"/>
            </a:endParaRPr>
          </a:p>
        </p:txBody>
      </p:sp>
      <p:sp>
        <p:nvSpPr>
          <p:cNvPr id="178" name="모서리가 둥근 직사각형 54"/>
          <p:cNvSpPr/>
          <p:nvPr/>
        </p:nvSpPr>
        <p:spPr>
          <a:xfrm>
            <a:off x="6490546" y="3128733"/>
            <a:ext cx="144000" cy="145258"/>
          </a:xfrm>
          <a:prstGeom prst="roundRect">
            <a:avLst/>
          </a:prstGeom>
          <a:solidFill>
            <a:srgbClr val="002060"/>
          </a:solidFill>
          <a:ln w="12700" algn="ctr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가는각진제목체" pitchFamily="18" charset="-127"/>
                <a:cs typeface="Arial"/>
              </a:rPr>
              <a:t>2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가는각진제목체" pitchFamily="18" charset="-127"/>
              <a:cs typeface="Arial"/>
            </a:endParaRPr>
          </a:p>
        </p:txBody>
      </p:sp>
      <p:sp>
        <p:nvSpPr>
          <p:cNvPr id="179" name="모서리가 둥근 직사각형 55"/>
          <p:cNvSpPr/>
          <p:nvPr/>
        </p:nvSpPr>
        <p:spPr>
          <a:xfrm>
            <a:off x="8401386" y="3128733"/>
            <a:ext cx="144000" cy="145258"/>
          </a:xfrm>
          <a:prstGeom prst="roundRect">
            <a:avLst/>
          </a:prstGeom>
          <a:solidFill>
            <a:srgbClr val="002060"/>
          </a:solidFill>
          <a:ln w="12700" algn="ctr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가는각진제목체" pitchFamily="18" charset="-127"/>
                <a:cs typeface="Arial"/>
              </a:rPr>
              <a:t>3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가는각진제목체" pitchFamily="18" charset="-127"/>
              <a:cs typeface="Arial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8387128" y="5069120"/>
            <a:ext cx="1049957" cy="32587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DBMS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분리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DB Inactive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4825089" y="2419686"/>
            <a:ext cx="458205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61938" indent="-261938" algn="ctr">
              <a:buClr>
                <a:srgbClr val="152F3C"/>
              </a:buClr>
              <a:defRPr sz="1200" b="1" u="sng">
                <a:solidFill>
                  <a:srgbClr val="000000"/>
                </a:solidFill>
                <a:latin typeface="+mj-ea"/>
              </a:defRPr>
            </a:lvl1pPr>
          </a:lstStyle>
          <a:p>
            <a:pPr latinLnBrk="0"/>
            <a:r>
              <a:rPr lang="ko-KR" altLang="en-US" u="none" dirty="0" smtClean="0">
                <a:latin typeface="맑은 고딕"/>
                <a:ea typeface="맑은 고딕"/>
                <a:cs typeface="Arial" charset="0"/>
              </a:rPr>
              <a:t>고객정보 파기 흐름</a:t>
            </a:r>
            <a:endParaRPr lang="ko-KR" altLang="en-US" u="none" dirty="0"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82" name="Text Box 15"/>
          <p:cNvSpPr txBox="1">
            <a:spLocks noChangeArrowheads="1"/>
          </p:cNvSpPr>
          <p:nvPr/>
        </p:nvSpPr>
        <p:spPr bwMode="auto">
          <a:xfrm>
            <a:off x="4856157" y="5517232"/>
            <a:ext cx="3724578" cy="80432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 defTabSz="196850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F81BD">
                  <a:lumMod val="25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파기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여부에 따라 운영 시스템 테이블 구분 설계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174625" indent="-174625" defTabSz="196850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F81BD">
                  <a:lumMod val="25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메타정보를 이용한 파기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복원 프로세스 구현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174625" indent="-174625" defTabSz="196850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4F81BD">
                  <a:lumMod val="25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파기 데이터 격리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416496" y="4536241"/>
            <a:ext cx="3609169" cy="292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87313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파기 절차 개선 및 기능 요건 정의</a:t>
            </a:r>
            <a:endParaRPr lang="en-US" altLang="ko-KR" sz="1050" dirty="0" smtClean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376569" y="2768693"/>
            <a:ext cx="409938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84138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수집된 정보는 </a:t>
            </a:r>
            <a:r>
              <a:rPr lang="ko-KR" altLang="en-US" sz="1200" u="sng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거래종료 후 원칙적으로 파기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하도록 하고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보관이 필요한 경우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‘</a:t>
            </a:r>
            <a:r>
              <a:rPr lang="ko-KR" altLang="en-US" sz="1200" u="sng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엄격한 보안조치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’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에 따라 보관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185" name="직사각형 116"/>
          <p:cNvSpPr/>
          <p:nvPr/>
        </p:nvSpPr>
        <p:spPr bwMode="auto">
          <a:xfrm>
            <a:off x="649244" y="4908977"/>
            <a:ext cx="710466" cy="39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rIns="36000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파기 대상 고객 조회</a:t>
            </a:r>
          </a:p>
        </p:txBody>
      </p:sp>
      <p:sp>
        <p:nvSpPr>
          <p:cNvPr id="186" name="직사각형 125"/>
          <p:cNvSpPr/>
          <p:nvPr/>
        </p:nvSpPr>
        <p:spPr bwMode="auto">
          <a:xfrm>
            <a:off x="1620858" y="4908977"/>
            <a:ext cx="710466" cy="39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rIns="36000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파기요청</a:t>
            </a:r>
          </a:p>
        </p:txBody>
      </p:sp>
      <p:sp>
        <p:nvSpPr>
          <p:cNvPr id="187" name="직사각형 126"/>
          <p:cNvSpPr/>
          <p:nvPr/>
        </p:nvSpPr>
        <p:spPr bwMode="auto">
          <a:xfrm>
            <a:off x="2592471" y="4908977"/>
            <a:ext cx="710466" cy="39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rIns="36000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고객정보 파기</a:t>
            </a:r>
          </a:p>
        </p:txBody>
      </p:sp>
      <p:sp>
        <p:nvSpPr>
          <p:cNvPr id="188" name="직사각형 127"/>
          <p:cNvSpPr/>
          <p:nvPr/>
        </p:nvSpPr>
        <p:spPr bwMode="auto">
          <a:xfrm>
            <a:off x="3564085" y="4908977"/>
            <a:ext cx="710466" cy="39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rIns="36000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파기 여부 확인</a:t>
            </a:r>
          </a:p>
        </p:txBody>
      </p:sp>
      <p:cxnSp>
        <p:nvCxnSpPr>
          <p:cNvPr id="189" name="직선 화살표 연결선 20"/>
          <p:cNvCxnSpPr>
            <a:cxnSpLocks noChangeShapeType="1"/>
            <a:stCxn id="185" idx="3"/>
            <a:endCxn id="186" idx="1"/>
          </p:cNvCxnSpPr>
          <p:nvPr/>
        </p:nvCxnSpPr>
        <p:spPr bwMode="auto">
          <a:xfrm>
            <a:off x="1359711" y="5106977"/>
            <a:ext cx="283526" cy="1588"/>
          </a:xfrm>
          <a:prstGeom prst="straightConnector1">
            <a:avLst/>
          </a:prstGeom>
          <a:noFill/>
          <a:ln w="9525" algn="ctr">
            <a:solidFill>
              <a:srgbClr val="5F5F5F"/>
            </a:solidFill>
            <a:round/>
            <a:headEnd/>
            <a:tailEnd type="triangle" w="med" len="med"/>
          </a:ln>
        </p:spPr>
      </p:cxnSp>
      <p:cxnSp>
        <p:nvCxnSpPr>
          <p:cNvPr id="190" name="직선 화살표 연결선 20"/>
          <p:cNvCxnSpPr>
            <a:cxnSpLocks noChangeShapeType="1"/>
            <a:stCxn id="187" idx="3"/>
            <a:endCxn id="188" idx="1"/>
          </p:cNvCxnSpPr>
          <p:nvPr/>
        </p:nvCxnSpPr>
        <p:spPr bwMode="auto">
          <a:xfrm>
            <a:off x="3347695" y="5106977"/>
            <a:ext cx="216390" cy="1588"/>
          </a:xfrm>
          <a:prstGeom prst="straightConnector1">
            <a:avLst/>
          </a:prstGeom>
          <a:noFill/>
          <a:ln w="9525" algn="ctr">
            <a:solidFill>
              <a:srgbClr val="5F5F5F"/>
            </a:solidFill>
            <a:round/>
            <a:headEnd/>
            <a:tailEnd type="triangle" w="med" len="med"/>
          </a:ln>
        </p:spPr>
      </p:cxnSp>
      <p:sp>
        <p:nvSpPr>
          <p:cNvPr id="191" name="직사각형 108"/>
          <p:cNvSpPr/>
          <p:nvPr/>
        </p:nvSpPr>
        <p:spPr>
          <a:xfrm>
            <a:off x="501953" y="3545439"/>
            <a:ext cx="39740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제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3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자에 제공된 정보통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: </a:t>
            </a:r>
            <a:r>
              <a:rPr lang="ko-KR" altLang="en-US" sz="1200" i="1" u="sng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정보 파기 및 </a:t>
            </a:r>
            <a:r>
              <a:rPr lang="ko-KR" altLang="en-US" sz="1200" i="1" u="sng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확인 의무화</a:t>
            </a:r>
            <a:r>
              <a:rPr lang="ko-KR" altLang="en-US" sz="1200" b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 </a:t>
            </a:r>
            <a:r>
              <a:rPr lang="en-US" altLang="ko-KR" sz="1200" b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(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2014.03.10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정부가 발표한 「금융분야 개인정보 유출 재발방지 종합대책」에 포함되어 있으며 이에 대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“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신용정보법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”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개정 예정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)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</a:rPr>
              <a:t>이에 대한 프로세스 개선 및 관리 기능 제공 필요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/>
            </a:endParaRPr>
          </a:p>
        </p:txBody>
      </p:sp>
      <p:cxnSp>
        <p:nvCxnSpPr>
          <p:cNvPr id="192" name="직선 화살표 연결선 20"/>
          <p:cNvCxnSpPr>
            <a:cxnSpLocks noChangeShapeType="1"/>
            <a:stCxn id="186" idx="3"/>
            <a:endCxn id="187" idx="1"/>
          </p:cNvCxnSpPr>
          <p:nvPr/>
        </p:nvCxnSpPr>
        <p:spPr bwMode="auto">
          <a:xfrm>
            <a:off x="2331324" y="5106977"/>
            <a:ext cx="261147" cy="0"/>
          </a:xfrm>
          <a:prstGeom prst="straightConnector1">
            <a:avLst/>
          </a:prstGeom>
          <a:noFill/>
          <a:ln w="9525" algn="ctr">
            <a:solidFill>
              <a:srgbClr val="5F5F5F"/>
            </a:solidFill>
            <a:round/>
            <a:headEnd/>
            <a:tailEnd type="triangle" w="med" len="med"/>
          </a:ln>
        </p:spPr>
      </p:cxnSp>
      <p:sp>
        <p:nvSpPr>
          <p:cNvPr id="193" name="TextBox 192"/>
          <p:cNvSpPr txBox="1"/>
          <p:nvPr/>
        </p:nvSpPr>
        <p:spPr>
          <a:xfrm>
            <a:off x="433886" y="2419686"/>
            <a:ext cx="404207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61938" indent="-261938" algn="ctr">
              <a:buClr>
                <a:srgbClr val="152F3C"/>
              </a:buClr>
              <a:defRPr sz="1200" b="1" u="sng">
                <a:solidFill>
                  <a:srgbClr val="000000"/>
                </a:solidFill>
                <a:latin typeface="+mj-ea"/>
              </a:defRPr>
            </a:lvl1pPr>
          </a:lstStyle>
          <a:p>
            <a:pPr latinLnBrk="0"/>
            <a:r>
              <a:rPr lang="ko-KR" altLang="en-US" u="none" dirty="0" smtClean="0">
                <a:latin typeface="맑은 고딕"/>
                <a:ea typeface="맑은 고딕"/>
                <a:cs typeface="Arial" charset="0"/>
              </a:rPr>
              <a:t>파기 절차 및 프로세스 정의</a:t>
            </a:r>
            <a:endParaRPr lang="ko-KR" altLang="en-US" u="none" dirty="0"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95" name="Pentagon 194"/>
          <p:cNvSpPr/>
          <p:nvPr/>
        </p:nvSpPr>
        <p:spPr>
          <a:xfrm>
            <a:off x="274644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</a:p>
        </p:txBody>
      </p:sp>
      <p:sp>
        <p:nvSpPr>
          <p:cNvPr id="196" name="Pentagon 195"/>
          <p:cNvSpPr/>
          <p:nvPr/>
        </p:nvSpPr>
        <p:spPr>
          <a:xfrm>
            <a:off x="777111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FFFFFF">
              <a:lumMod val="9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</a:p>
        </p:txBody>
      </p:sp>
      <p:sp>
        <p:nvSpPr>
          <p:cNvPr id="197" name="Pentagon 196"/>
          <p:cNvSpPr/>
          <p:nvPr/>
        </p:nvSpPr>
        <p:spPr>
          <a:xfrm>
            <a:off x="1279579" y="1887108"/>
            <a:ext cx="496744" cy="352872"/>
          </a:xfrm>
          <a:prstGeom prst="homePlate">
            <a:avLst>
              <a:gd name="adj" fmla="val 22002"/>
            </a:avLst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vert="horz" wrap="none" anchor="ctr"/>
          <a:lstStyle/>
          <a:p>
            <a:pPr marL="176213" indent="-176213" algn="ctr" latinLnBrk="0">
              <a:spcBef>
                <a:spcPts val="0"/>
              </a:spcBef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기</a:t>
            </a:r>
          </a:p>
        </p:txBody>
      </p:sp>
      <p:grpSp>
        <p:nvGrpSpPr>
          <p:cNvPr id="71" name="그룹 7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7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5802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고객정보 관리 체계 구축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8/8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데이터 품질 관리를 위하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ntrol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wer</a:t>
            </a:r>
            <a:r>
              <a:rPr lang="ko-KR" altLang="en-US" dirty="0"/>
              <a:t>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보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모니터링을 수행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보호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강화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Text Box 563"/>
          <p:cNvSpPr txBox="1">
            <a:spLocks noChangeArrowheads="1"/>
          </p:cNvSpPr>
          <p:nvPr/>
        </p:nvSpPr>
        <p:spPr bwMode="gray">
          <a:xfrm>
            <a:off x="2073275" y="3379376"/>
            <a:ext cx="1425575" cy="1141756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4000" tIns="108000" rIns="0" bIns="46800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데이터 획득율 강화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활동 기획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데이터 획득 현황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데이터 제공 및 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활용 현황 모니터링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AutoShape 90"/>
          <p:cNvSpPr>
            <a:spLocks noChangeArrowheads="1"/>
          </p:cNvSpPr>
          <p:nvPr/>
        </p:nvSpPr>
        <p:spPr bwMode="auto">
          <a:xfrm>
            <a:off x="2209800" y="4971416"/>
            <a:ext cx="1150938" cy="612775"/>
          </a:xfrm>
          <a:prstGeom prst="can">
            <a:avLst>
              <a:gd name="adj" fmla="val 25650"/>
            </a:avLst>
          </a:prstGeom>
          <a:solidFill>
            <a:srgbClr val="FFFFFF">
              <a:lumMod val="95000"/>
            </a:srgbClr>
          </a:solidFill>
          <a:ln w="9525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정보통합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DB</a:t>
            </a:r>
          </a:p>
        </p:txBody>
      </p:sp>
      <p:sp>
        <p:nvSpPr>
          <p:cNvPr id="41" name="Text Box 563"/>
          <p:cNvSpPr txBox="1">
            <a:spLocks noChangeArrowheads="1"/>
          </p:cNvSpPr>
          <p:nvPr/>
        </p:nvSpPr>
        <p:spPr bwMode="gray">
          <a:xfrm>
            <a:off x="460375" y="5433895"/>
            <a:ext cx="1639888" cy="504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46800" rIns="54000" bIns="46800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부실정보 검증 및 중복 식별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ule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에 의한 입력 차단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부실 정보의 유입 원인 추적</a:t>
            </a:r>
          </a:p>
        </p:txBody>
      </p:sp>
      <p:sp>
        <p:nvSpPr>
          <p:cNvPr id="42" name="Text Box 577"/>
          <p:cNvSpPr txBox="1">
            <a:spLocks noChangeArrowheads="1"/>
          </p:cNvSpPr>
          <p:nvPr/>
        </p:nvSpPr>
        <p:spPr bwMode="gray">
          <a:xfrm>
            <a:off x="3427413" y="5419482"/>
            <a:ext cx="1806575" cy="49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46800" rIns="54000" bIns="46800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정보 유출 방지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 권한 그룹 별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유형 별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보 항목 별 접근권한 제어</a:t>
            </a:r>
          </a:p>
        </p:txBody>
      </p:sp>
      <p:cxnSp>
        <p:nvCxnSpPr>
          <p:cNvPr id="43" name="Shape 67"/>
          <p:cNvCxnSpPr>
            <a:stCxn id="52" idx="2"/>
            <a:endCxn id="40" idx="2"/>
          </p:cNvCxnSpPr>
          <p:nvPr/>
        </p:nvCxnSpPr>
        <p:spPr bwMode="auto">
          <a:xfrm rot="16200000" flipH="1">
            <a:off x="1379538" y="4445954"/>
            <a:ext cx="755650" cy="904875"/>
          </a:xfrm>
          <a:prstGeom prst="bentConnector2">
            <a:avLst/>
          </a:prstGeom>
          <a:solidFill>
            <a:srgbClr val="FFFF99"/>
          </a:solidFill>
          <a:ln w="19050" cap="flat" cmpd="sng" algn="ctr">
            <a:solidFill>
              <a:srgbClr val="76B0CF">
                <a:lumMod val="25000"/>
              </a:srgb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4" name="Shape 67"/>
          <p:cNvCxnSpPr>
            <a:stCxn id="53" idx="2"/>
            <a:endCxn id="40" idx="4"/>
          </p:cNvCxnSpPr>
          <p:nvPr/>
        </p:nvCxnSpPr>
        <p:spPr bwMode="auto">
          <a:xfrm rot="5400000">
            <a:off x="3435350" y="4445954"/>
            <a:ext cx="757238" cy="906462"/>
          </a:xfrm>
          <a:prstGeom prst="bentConnector2">
            <a:avLst/>
          </a:prstGeom>
          <a:solidFill>
            <a:srgbClr val="FFFF99"/>
          </a:solidFill>
          <a:ln w="19050" cap="flat" cmpd="sng" algn="ctr">
            <a:solidFill>
              <a:srgbClr val="76B0CF">
                <a:lumMod val="25000"/>
              </a:srgb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5" name="Shape 67"/>
          <p:cNvCxnSpPr>
            <a:stCxn id="39" idx="2"/>
            <a:endCxn id="40" idx="1"/>
          </p:cNvCxnSpPr>
          <p:nvPr/>
        </p:nvCxnSpPr>
        <p:spPr bwMode="auto">
          <a:xfrm rot="5400000">
            <a:off x="2560638" y="4745992"/>
            <a:ext cx="450850" cy="0"/>
          </a:xfrm>
          <a:prstGeom prst="bentConnector3">
            <a:avLst>
              <a:gd name="adj1" fmla="val 50000"/>
            </a:avLst>
          </a:prstGeom>
          <a:solidFill>
            <a:srgbClr val="FFFF99"/>
          </a:solidFill>
          <a:ln w="19050" cap="flat" cmpd="sng" algn="ctr">
            <a:solidFill>
              <a:srgbClr val="76B0CF">
                <a:lumMod val="25000"/>
              </a:srgb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sp>
        <p:nvSpPr>
          <p:cNvPr id="46" name="AutoShape 557"/>
          <p:cNvSpPr>
            <a:spLocks noChangeArrowheads="1"/>
          </p:cNvSpPr>
          <p:nvPr/>
        </p:nvSpPr>
        <p:spPr bwMode="gray">
          <a:xfrm>
            <a:off x="3703638" y="5160329"/>
            <a:ext cx="1139825" cy="252412"/>
          </a:xfrm>
          <a:prstGeom prst="roundRect">
            <a:avLst>
              <a:gd name="adj" fmla="val 19592"/>
            </a:avLst>
          </a:prstGeom>
          <a:solidFill>
            <a:srgbClr val="1B3A87"/>
          </a:solidFill>
          <a:ln w="9525" algn="ctr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접근 권한 제어</a:t>
            </a:r>
          </a:p>
        </p:txBody>
      </p:sp>
      <p:sp>
        <p:nvSpPr>
          <p:cNvPr id="47" name="AutoShape 557"/>
          <p:cNvSpPr>
            <a:spLocks noChangeArrowheads="1"/>
          </p:cNvSpPr>
          <p:nvPr/>
        </p:nvSpPr>
        <p:spPr bwMode="gray">
          <a:xfrm>
            <a:off x="738188" y="4792029"/>
            <a:ext cx="1139825" cy="254000"/>
          </a:xfrm>
          <a:prstGeom prst="roundRect">
            <a:avLst>
              <a:gd name="adj" fmla="val 13888"/>
            </a:avLst>
          </a:prstGeom>
          <a:solidFill>
            <a:srgbClr val="1B3A87"/>
          </a:solidFill>
          <a:ln w="9525" algn="ctr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부실 정보 유입 방지</a:t>
            </a:r>
          </a:p>
        </p:txBody>
      </p:sp>
      <p:grpSp>
        <p:nvGrpSpPr>
          <p:cNvPr id="48" name="그룹 64"/>
          <p:cNvGrpSpPr>
            <a:grpSpLocks/>
          </p:cNvGrpSpPr>
          <p:nvPr/>
        </p:nvGrpSpPr>
        <p:grpSpPr bwMode="auto">
          <a:xfrm>
            <a:off x="592138" y="2645962"/>
            <a:ext cx="4387850" cy="374713"/>
            <a:chOff x="600075" y="3849688"/>
            <a:chExt cx="3994148" cy="371475"/>
          </a:xfrm>
        </p:grpSpPr>
        <p:sp>
          <p:nvSpPr>
            <p:cNvPr id="63" name="Rectangle 596"/>
            <p:cNvSpPr>
              <a:spLocks noChangeArrowheads="1"/>
            </p:cNvSpPr>
            <p:nvPr/>
          </p:nvSpPr>
          <p:spPr bwMode="gray">
            <a:xfrm>
              <a:off x="600075" y="3849457"/>
              <a:ext cx="664728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요건조정자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64" name="Rectangle 597"/>
            <p:cNvSpPr>
              <a:spLocks noChangeArrowheads="1"/>
            </p:cNvSpPr>
            <p:nvPr/>
          </p:nvSpPr>
          <p:spPr bwMode="gray">
            <a:xfrm>
              <a:off x="1264803" y="3849457"/>
              <a:ext cx="666173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비즈니스 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Rule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관리자</a:t>
              </a:r>
            </a:p>
          </p:txBody>
        </p:sp>
        <p:sp>
          <p:nvSpPr>
            <p:cNvPr id="65" name="Rectangle 597"/>
            <p:cNvSpPr>
              <a:spLocks noChangeArrowheads="1"/>
            </p:cNvSpPr>
            <p:nvPr/>
          </p:nvSpPr>
          <p:spPr bwMode="gray">
            <a:xfrm>
              <a:off x="1930976" y="3849457"/>
              <a:ext cx="666173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데이터 품질 관리자</a:t>
              </a:r>
            </a:p>
          </p:txBody>
        </p:sp>
        <p:sp>
          <p:nvSpPr>
            <p:cNvPr id="66" name="Rectangle 596"/>
            <p:cNvSpPr>
              <a:spLocks noChangeArrowheads="1"/>
            </p:cNvSpPr>
            <p:nvPr/>
          </p:nvSpPr>
          <p:spPr bwMode="gray">
            <a:xfrm>
              <a:off x="2597149" y="3849457"/>
              <a:ext cx="666173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데이터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</a:b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설계자</a:t>
              </a:r>
            </a:p>
          </p:txBody>
        </p:sp>
        <p:sp>
          <p:nvSpPr>
            <p:cNvPr id="67" name="Rectangle 597"/>
            <p:cNvSpPr>
              <a:spLocks noChangeArrowheads="1"/>
            </p:cNvSpPr>
            <p:nvPr/>
          </p:nvSpPr>
          <p:spPr bwMode="gray">
            <a:xfrm>
              <a:off x="3263322" y="3849457"/>
              <a:ext cx="666173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DB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관리자</a:t>
              </a:r>
            </a:p>
          </p:txBody>
        </p:sp>
        <p:sp>
          <p:nvSpPr>
            <p:cNvPr id="68" name="Rectangle 597"/>
            <p:cNvSpPr>
              <a:spLocks noChangeArrowheads="1"/>
            </p:cNvSpPr>
            <p:nvPr/>
          </p:nvSpPr>
          <p:spPr bwMode="gray">
            <a:xfrm>
              <a:off x="3929495" y="3849457"/>
              <a:ext cx="664728" cy="3714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1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데이터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I/F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</a:b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관리자</a:t>
              </a:r>
            </a:p>
          </p:txBody>
        </p:sp>
      </p:grpSp>
      <p:sp>
        <p:nvSpPr>
          <p:cNvPr id="49" name="AutoShape 578"/>
          <p:cNvSpPr>
            <a:spLocks noChangeArrowheads="1"/>
          </p:cNvSpPr>
          <p:nvPr/>
        </p:nvSpPr>
        <p:spPr bwMode="auto">
          <a:xfrm>
            <a:off x="455613" y="2087095"/>
            <a:ext cx="4659312" cy="2550933"/>
          </a:xfrm>
          <a:prstGeom prst="roundRect">
            <a:avLst>
              <a:gd name="adj" fmla="val 4375"/>
            </a:avLst>
          </a:prstGeom>
          <a:noFill/>
          <a:ln w="9525" algn="ctr">
            <a:solidFill>
              <a:srgbClr val="33333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6800" tIns="46800" rIns="46800" bIns="46800" anchor="ctr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algn="ctr" defTabSz="914400" eaLnBrk="1" fontAlgn="auto" latinLnBrk="0" hangingPunct="1">
              <a:lnSpc>
                <a:spcPct val="104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TextBox 65"/>
          <p:cNvSpPr txBox="1">
            <a:spLocks noChangeArrowheads="1"/>
          </p:cNvSpPr>
          <p:nvPr/>
        </p:nvSpPr>
        <p:spPr bwMode="auto">
          <a:xfrm>
            <a:off x="2282825" y="2067879"/>
            <a:ext cx="1004888" cy="363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algn="ctr" defTabSz="914400" eaLnBrk="1" fontAlgn="auto" latinLnBrk="0" hangingPunct="1">
              <a:lnSpc>
                <a:spcPct val="104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정보 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Control Tower</a:t>
            </a:r>
          </a:p>
        </p:txBody>
      </p:sp>
      <p:sp>
        <p:nvSpPr>
          <p:cNvPr id="51" name="모서리가 둥근 직사각형 54"/>
          <p:cNvSpPr/>
          <p:nvPr/>
        </p:nvSpPr>
        <p:spPr bwMode="auto">
          <a:xfrm>
            <a:off x="592138" y="2439354"/>
            <a:ext cx="4387850" cy="207962"/>
          </a:xfrm>
          <a:prstGeom prst="roundRect">
            <a:avLst>
              <a:gd name="adj" fmla="val 0"/>
            </a:avLst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Control Tower </a:t>
            </a:r>
            <a:r>
              <a: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구성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맑은 고딕" pitchFamily="50" charset="-127"/>
            </a:endParaRPr>
          </a:p>
        </p:txBody>
      </p:sp>
      <p:sp>
        <p:nvSpPr>
          <p:cNvPr id="52" name="Text Box 563"/>
          <p:cNvSpPr txBox="1">
            <a:spLocks noChangeArrowheads="1"/>
          </p:cNvSpPr>
          <p:nvPr/>
        </p:nvSpPr>
        <p:spPr bwMode="gray">
          <a:xfrm>
            <a:off x="592138" y="3379376"/>
            <a:ext cx="1425575" cy="1141756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4000" tIns="108000" rIns="0" bIns="46800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데이터 품질 측정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비 대상 선정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데이터 정비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부실 정보 유입 방지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ule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관리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Text Box 563"/>
          <p:cNvSpPr txBox="1">
            <a:spLocks noChangeArrowheads="1"/>
          </p:cNvSpPr>
          <p:nvPr/>
        </p:nvSpPr>
        <p:spPr bwMode="gray">
          <a:xfrm>
            <a:off x="3552825" y="3379376"/>
            <a:ext cx="1427163" cy="1141756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4000" tIns="108000" rIns="0" bIns="46800"/>
          <a:lstStyle>
            <a:lvl1pPr marL="90488" indent="-904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 권한 그룹 관리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정보 항목 별 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공유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비공유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한적공유 </a:t>
            </a:r>
            <a: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권한 관리</a:t>
            </a:r>
            <a:endParaRPr kumimoji="0" lang="en-US" altLang="ko-KR" sz="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정보 암호화 적용</a:t>
            </a:r>
          </a:p>
        </p:txBody>
      </p:sp>
      <p:sp>
        <p:nvSpPr>
          <p:cNvPr id="54" name="AutoShape 557"/>
          <p:cNvSpPr>
            <a:spLocks noChangeArrowheads="1"/>
          </p:cNvSpPr>
          <p:nvPr/>
        </p:nvSpPr>
        <p:spPr bwMode="gray">
          <a:xfrm>
            <a:off x="592138" y="3190241"/>
            <a:ext cx="1425575" cy="254000"/>
          </a:xfrm>
          <a:prstGeom prst="roundRect">
            <a:avLst>
              <a:gd name="adj" fmla="val 0"/>
            </a:avLst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10000"/>
              </a:srgb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 데이터 품질 관리</a:t>
            </a:r>
          </a:p>
        </p:txBody>
      </p:sp>
      <p:sp>
        <p:nvSpPr>
          <p:cNvPr id="55" name="AutoShape 557"/>
          <p:cNvSpPr>
            <a:spLocks noChangeArrowheads="1"/>
          </p:cNvSpPr>
          <p:nvPr/>
        </p:nvSpPr>
        <p:spPr bwMode="gray">
          <a:xfrm>
            <a:off x="3552825" y="3190241"/>
            <a:ext cx="1427163" cy="254000"/>
          </a:xfrm>
          <a:prstGeom prst="roundRect">
            <a:avLst>
              <a:gd name="adj" fmla="val 0"/>
            </a:avLst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10000"/>
              </a:srgb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 정보보호 강화</a:t>
            </a:r>
          </a:p>
        </p:txBody>
      </p:sp>
      <p:sp>
        <p:nvSpPr>
          <p:cNvPr id="56" name="AutoShape 557"/>
          <p:cNvSpPr>
            <a:spLocks noChangeArrowheads="1"/>
          </p:cNvSpPr>
          <p:nvPr/>
        </p:nvSpPr>
        <p:spPr bwMode="gray">
          <a:xfrm>
            <a:off x="2073275" y="3190241"/>
            <a:ext cx="1425575" cy="254000"/>
          </a:xfrm>
          <a:prstGeom prst="roundRect">
            <a:avLst>
              <a:gd name="adj" fmla="val 0"/>
            </a:avLst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10000"/>
              </a:srgbClr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 데이터 모니터링</a:t>
            </a:r>
          </a:p>
        </p:txBody>
      </p:sp>
      <p:sp>
        <p:nvSpPr>
          <p:cNvPr id="57" name="AutoShape 557"/>
          <p:cNvSpPr>
            <a:spLocks noChangeArrowheads="1"/>
          </p:cNvSpPr>
          <p:nvPr/>
        </p:nvSpPr>
        <p:spPr bwMode="gray">
          <a:xfrm>
            <a:off x="3703638" y="4787266"/>
            <a:ext cx="1139825" cy="254000"/>
          </a:xfrm>
          <a:prstGeom prst="roundRect">
            <a:avLst>
              <a:gd name="adj" fmla="val 19592"/>
            </a:avLst>
          </a:prstGeom>
          <a:solidFill>
            <a:srgbClr val="1B3A87"/>
          </a:solidFill>
          <a:ln w="9525" algn="ctr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암호화 모듈 적용</a:t>
            </a:r>
          </a:p>
        </p:txBody>
      </p:sp>
      <p:sp>
        <p:nvSpPr>
          <p:cNvPr id="58" name="이등변 삼각형 109"/>
          <p:cNvSpPr/>
          <p:nvPr/>
        </p:nvSpPr>
        <p:spPr bwMode="auto">
          <a:xfrm rot="10800000">
            <a:off x="2179638" y="5717541"/>
            <a:ext cx="1230312" cy="179388"/>
          </a:xfrm>
          <a:prstGeom prst="triangle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맑은 고딕" pitchFamily="50" charset="-127"/>
            </a:endParaRPr>
          </a:p>
        </p:txBody>
      </p:sp>
      <p:sp>
        <p:nvSpPr>
          <p:cNvPr id="59" name="Can 4"/>
          <p:cNvSpPr/>
          <p:nvPr/>
        </p:nvSpPr>
        <p:spPr bwMode="auto">
          <a:xfrm>
            <a:off x="1309688" y="6042979"/>
            <a:ext cx="2986087" cy="327025"/>
          </a:xfrm>
          <a:prstGeom prst="roundRect">
            <a:avLst>
              <a:gd name="adj" fmla="val 8667"/>
            </a:avLst>
          </a:prstGeom>
          <a:noFill/>
          <a:ln w="12700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0" marR="0" lvl="0" indent="0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19191"/>
              </a:buClr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“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고객 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정보 품질 향상 및 정보보호 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강화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”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60" name="AutoShape 557"/>
          <p:cNvSpPr>
            <a:spLocks noChangeArrowheads="1"/>
          </p:cNvSpPr>
          <p:nvPr/>
        </p:nvSpPr>
        <p:spPr bwMode="gray">
          <a:xfrm>
            <a:off x="738188" y="5147630"/>
            <a:ext cx="1139825" cy="254000"/>
          </a:xfrm>
          <a:prstGeom prst="roundRect">
            <a:avLst>
              <a:gd name="adj" fmla="val 13888"/>
            </a:avLst>
          </a:prstGeom>
          <a:solidFill>
            <a:srgbClr val="1B3A87"/>
          </a:solidFill>
          <a:ln w="9525" algn="ctr">
            <a:solidFill>
              <a:srgbClr val="000000"/>
            </a:solidFill>
            <a:prstDash val="sysDot"/>
            <a:round/>
            <a:headEnd/>
            <a:tailEnd/>
          </a:ln>
          <a:effectLst/>
        </p:spPr>
        <p:txBody>
          <a:bodyPr lIns="0" tIns="46800" rIns="0" bIns="468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정비 활동 수행</a:t>
            </a:r>
          </a:p>
        </p:txBody>
      </p:sp>
      <p:sp>
        <p:nvSpPr>
          <p:cNvPr id="61" name="직사각형 42"/>
          <p:cNvSpPr/>
          <p:nvPr/>
        </p:nvSpPr>
        <p:spPr bwMode="auto">
          <a:xfrm>
            <a:off x="612775" y="3050541"/>
            <a:ext cx="179388" cy="18097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</a:t>
            </a:r>
          </a:p>
        </p:txBody>
      </p:sp>
      <p:sp>
        <p:nvSpPr>
          <p:cNvPr id="62" name="직사각형 43"/>
          <p:cNvSpPr/>
          <p:nvPr/>
        </p:nvSpPr>
        <p:spPr bwMode="auto">
          <a:xfrm>
            <a:off x="2092325" y="3050541"/>
            <a:ext cx="179388" cy="18097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</a:t>
            </a:r>
          </a:p>
        </p:txBody>
      </p:sp>
      <p:sp>
        <p:nvSpPr>
          <p:cNvPr id="86" name="직사각형 43"/>
          <p:cNvSpPr/>
          <p:nvPr/>
        </p:nvSpPr>
        <p:spPr bwMode="auto">
          <a:xfrm>
            <a:off x="3504565" y="3050541"/>
            <a:ext cx="179388" cy="18097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>
            <a:lvl1pPr marL="92075" indent="-92075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1pPr>
            <a:lvl2pPr marL="742950" indent="-28575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2pPr>
            <a:lvl3pPr marL="11430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3pPr>
            <a:lvl4pPr marL="16002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4pPr>
            <a:lvl5pPr marL="2057400" indent="-228600" defTabSz="1968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5pPr>
            <a:lvl6pPr marL="25146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6pPr>
            <a:lvl7pPr marL="29718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7pPr>
            <a:lvl8pPr marL="34290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8pPr>
            <a:lvl9pPr marL="3886200" indent="-228600" defTabSz="19685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charset="-127"/>
              </a:defRPr>
            </a:lvl9pPr>
          </a:lstStyle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C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Text Box 15"/>
          <p:cNvSpPr txBox="1">
            <a:spLocks noChangeArrowheads="1"/>
          </p:cNvSpPr>
          <p:nvPr/>
        </p:nvSpPr>
        <p:spPr bwMode="auto">
          <a:xfrm>
            <a:off x="5419725" y="2057513"/>
            <a:ext cx="4130675" cy="410779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12725" indent="-212725" defTabSz="196850" eaLnBrk="0" latinLnBrk="0" hangingPunct="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맑은 고딕" pitchFamily="50" charset="-127"/>
              <a:buChar char="□"/>
              <a:defRPr/>
            </a:pPr>
            <a:r>
              <a:rPr lang="ko-KR" altLang="ko-KR" sz="12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데이터 품질 관리 체제 확립</a:t>
            </a:r>
            <a:r>
              <a:rPr lang="ko-KR" altLang="ko-KR" sz="12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정보 품질 측정 대상 항목 및 지표에 의해 주기적으로 고객 정보 품질을 측정함</a:t>
            </a: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부실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/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오류 고객 데이터 정비 캠페인 체계를 확립함</a:t>
            </a:r>
            <a:endParaRPr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부실 정보 발견 시 부실 정보 정비 프로세스에 의거하여 일괄 정비 또는 수작업 정비 작업을 수행함</a:t>
            </a: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입력 단계의 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Validation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체크를 통해 부실 정보 입력 차단을 위한 부실 정보 유입 방지 </a:t>
            </a:r>
            <a:r>
              <a:rPr lang="en-US" altLang="ko-KR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Rule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을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관리함</a:t>
            </a:r>
            <a:endParaRPr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212725" indent="-212725" defTabSz="196850" eaLnBrk="0" latinLnBrk="0" hangingPunct="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맑은 고딕" pitchFamily="50" charset="-127"/>
              <a:buChar char="□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데이터 모니터링 및 원인 추적 지원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고객 데이터 획득 현황 모니터링 기반으로 고객 데이터 </a:t>
            </a:r>
            <a:r>
              <a:rPr lang="ko-KR" altLang="en-US" sz="1050" b="0" dirty="0" err="1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획득율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강화 활동을 기획함</a:t>
            </a:r>
            <a:endParaRPr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부실 정보의 유입 및 정보 유출 시 데이터 추적을 통해 원인을 파악하고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데이터 오류 입력 방지 안내 및 계도 활동을 수행함</a:t>
            </a:r>
          </a:p>
          <a:p>
            <a:pPr marL="212725" indent="-212725" defTabSz="196850" eaLnBrk="0" latinLnBrk="0" hangingPunct="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맑은 고딕" pitchFamily="50" charset="-127"/>
              <a:buChar char="□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접근 권한에 대한 체계적 관리 및 암호화 모듈 적용에 의한 고객 정보보호 강화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본부부서와</a:t>
            </a:r>
            <a:r>
              <a:rPr lang="en-US" altLang="ko-KR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영업점 별로 고객 정보에 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대한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접근 권한 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부여</a:t>
            </a:r>
          </a:p>
          <a:p>
            <a:pPr marL="388938" indent="-169863" defTabSz="196850" eaLnBrk="0" latinLnBrk="0" hangingPunct="0">
              <a:lnSpc>
                <a:spcPct val="110000"/>
              </a:lnSpc>
              <a:spcBef>
                <a:spcPts val="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ko-KR" altLang="en-US" sz="1050" b="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계좌번호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주민등록번호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비밀번호 등의 정보는 암호화 모듈을 적용하여 고객 정보 유출을 방지하며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rPr>
              <a:t>규제사항 불이행에 따른 위험을 회피함</a:t>
            </a:r>
            <a:endParaRPr lang="en-US" altLang="ko-KR" sz="1050" b="0" dirty="0">
              <a:solidFill>
                <a:srgbClr val="000000"/>
              </a:solidFill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70" name="직사각형 39"/>
          <p:cNvSpPr/>
          <p:nvPr/>
        </p:nvSpPr>
        <p:spPr bwMode="auto">
          <a:xfrm>
            <a:off x="5422900" y="2090851"/>
            <a:ext cx="215900" cy="21590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</a:t>
            </a:r>
          </a:p>
        </p:txBody>
      </p:sp>
      <p:sp>
        <p:nvSpPr>
          <p:cNvPr id="71" name="직사각형 40"/>
          <p:cNvSpPr/>
          <p:nvPr/>
        </p:nvSpPr>
        <p:spPr bwMode="auto">
          <a:xfrm>
            <a:off x="5422900" y="3703751"/>
            <a:ext cx="215900" cy="21590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</a:t>
            </a:r>
          </a:p>
        </p:txBody>
      </p:sp>
      <p:sp>
        <p:nvSpPr>
          <p:cNvPr id="7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83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84" name="TextBox 83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ntrol Tower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체계 구현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5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직사각형 40"/>
          <p:cNvSpPr/>
          <p:nvPr/>
        </p:nvSpPr>
        <p:spPr bwMode="auto">
          <a:xfrm>
            <a:off x="5422900" y="4933111"/>
            <a:ext cx="215900" cy="21590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marL="92075" marR="0" lvl="0" indent="-92075" algn="ctr" defTabSz="19685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C</a:t>
            </a:r>
          </a:p>
        </p:txBody>
      </p:sp>
      <p:sp>
        <p:nvSpPr>
          <p:cNvPr id="88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3" name="그룹 7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2" name="그룹 8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789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   </a:t>
            </a:r>
            <a:r>
              <a:rPr lang="ko-KR" altLang="en-US" dirty="0"/>
              <a:t>빅데이터 기반 실시간 </a:t>
            </a:r>
            <a:r>
              <a:rPr lang="ko-KR" altLang="en-US" dirty="0" smtClean="0"/>
              <a:t>정보분석 환경 구현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r>
              <a:rPr lang="en-US" altLang="ko-KR" dirty="0" smtClean="0"/>
              <a:t> 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고객</a:t>
            </a:r>
            <a:r>
              <a:rPr lang="en-US" altLang="ko-KR" dirty="0" smtClean="0"/>
              <a:t>/</a:t>
            </a:r>
            <a:r>
              <a:rPr lang="ko-KR" altLang="en-US" dirty="0" smtClean="0"/>
              <a:t>사용자가 </a:t>
            </a:r>
            <a:r>
              <a:rPr lang="ko-KR" altLang="en-US" dirty="0"/>
              <a:t>원하는 정보를 적시에 제공할 수 있는 </a:t>
            </a:r>
            <a:r>
              <a:rPr lang="ko-KR" altLang="en-US" dirty="0" smtClean="0"/>
              <a:t>인프라 지원 체계를 구현하고</a:t>
            </a:r>
            <a:r>
              <a:rPr lang="en-US" altLang="ko-KR" dirty="0" smtClean="0"/>
              <a:t> </a:t>
            </a:r>
            <a:r>
              <a:rPr lang="ko-KR" altLang="en-US" dirty="0" smtClean="0"/>
              <a:t>내</a:t>
            </a:r>
            <a:r>
              <a:rPr lang="en-US" altLang="ko-KR" dirty="0" smtClean="0"/>
              <a:t>/</a:t>
            </a:r>
            <a:r>
              <a:rPr lang="ko-KR" altLang="en-US" dirty="0" smtClean="0"/>
              <a:t>외부 데이터를 수집</a:t>
            </a:r>
            <a:r>
              <a:rPr lang="en-US" altLang="ko-KR" dirty="0" smtClean="0"/>
              <a:t>/</a:t>
            </a:r>
            <a:r>
              <a:rPr lang="ko-KR" altLang="en-US" dirty="0" smtClean="0"/>
              <a:t>저장</a:t>
            </a:r>
            <a:r>
              <a:rPr lang="en-US" altLang="ko-KR" dirty="0" smtClean="0"/>
              <a:t>/</a:t>
            </a:r>
            <a:r>
              <a:rPr lang="ko-KR" altLang="en-US" dirty="0" smtClean="0"/>
              <a:t>분석할 수 있는 빅데이터 플랫폼 도입을 검토함</a:t>
            </a:r>
            <a:endParaRPr lang="ko-KR" altLang="en-US" dirty="0"/>
          </a:p>
        </p:txBody>
      </p:sp>
      <p:sp>
        <p:nvSpPr>
          <p:cNvPr id="60" name="TextBox 59"/>
          <p:cNvSpPr txBox="1"/>
          <p:nvPr>
            <p:custDataLst>
              <p:tags r:id="rId1"/>
            </p:custDataLst>
          </p:nvPr>
        </p:nvSpPr>
        <p:spPr>
          <a:xfrm>
            <a:off x="6044804" y="2200624"/>
            <a:ext cx="1123200" cy="163554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en-US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sz="1300" u="none" strike="noStrike" kern="0" cap="none" spc="0" normalizeH="0" baseline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defRPr>
            </a:lvl2pPr>
          </a:lstStyle>
          <a:p>
            <a:pPr lvl="1"/>
            <a:r>
              <a:rPr lang="ko-KR" altLang="en-US" sz="1200" dirty="0"/>
              <a:t>내부</a:t>
            </a:r>
            <a:r>
              <a:rPr lang="en-US" altLang="ko-KR" sz="1200" dirty="0"/>
              <a:t>/</a:t>
            </a:r>
            <a:r>
              <a:rPr lang="ko-KR" altLang="en-US" sz="1200" dirty="0"/>
              <a:t>외부 데이터 수집 체계 구현</a:t>
            </a:r>
          </a:p>
        </p:txBody>
      </p:sp>
      <p:sp>
        <p:nvSpPr>
          <p:cNvPr id="61" name="Rectangle 89"/>
          <p:cNvSpPr/>
          <p:nvPr>
            <p:custDataLst>
              <p:tags r:id="rId2"/>
            </p:custDataLst>
          </p:nvPr>
        </p:nvSpPr>
        <p:spPr>
          <a:xfrm>
            <a:off x="7237606" y="2200624"/>
            <a:ext cx="2360919" cy="116531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sp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비즈니스 데이터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, Activity Log, voice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및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SNS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등 데이터 수집 원천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대상 데이터 정의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데이터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추출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변환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전송 등 수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및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1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차 가공 플랫폼 구축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6044804" y="4024559"/>
            <a:ext cx="1123200" cy="163554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en-US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sz="1300" u="none" strike="noStrike" kern="0" cap="none" spc="0" normalizeH="0" baseline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defRPr>
            </a:lvl2pPr>
          </a:lstStyle>
          <a:p>
            <a:pPr lvl="1"/>
            <a:r>
              <a:rPr lang="ko-KR" altLang="en-US" sz="1200" dirty="0"/>
              <a:t>빅데이터 기반 분석체계 구축</a:t>
            </a:r>
          </a:p>
        </p:txBody>
      </p:sp>
      <p:sp>
        <p:nvSpPr>
          <p:cNvPr id="63" name="Rectangle 89"/>
          <p:cNvSpPr/>
          <p:nvPr>
            <p:custDataLst>
              <p:tags r:id="rId4"/>
            </p:custDataLst>
          </p:nvPr>
        </p:nvSpPr>
        <p:spPr>
          <a:xfrm>
            <a:off x="7237606" y="4024559"/>
            <a:ext cx="2360919" cy="1334587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sp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대용량 정형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비정형 데이터 분석을 위한 빅데이터 저장 아키텍처 구축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비즈니스 영역별 정형화된 통계분석 및 활용을 위한 마트 등 분석 아키텍처 구축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빅데이터 활용 비즈니스 모델 정의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실시간 마케팅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등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)</a:t>
            </a:r>
            <a:endParaRPr kumimoji="1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16370" y="2060848"/>
            <a:ext cx="5340932" cy="4244775"/>
            <a:chOff x="416370" y="1628800"/>
            <a:chExt cx="5340932" cy="4676824"/>
          </a:xfrm>
        </p:grpSpPr>
        <p:sp>
          <p:nvSpPr>
            <p:cNvPr id="57" name="직사각형 70"/>
            <p:cNvSpPr/>
            <p:nvPr/>
          </p:nvSpPr>
          <p:spPr>
            <a:xfrm>
              <a:off x="1847809" y="1628800"/>
              <a:ext cx="3041691" cy="4676824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4" name="직사각형 86"/>
            <p:cNvSpPr/>
            <p:nvPr/>
          </p:nvSpPr>
          <p:spPr bwMode="auto">
            <a:xfrm>
              <a:off x="416370" y="1962956"/>
              <a:ext cx="682946" cy="73986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계정계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 시스템</a:t>
              </a:r>
            </a:p>
          </p:txBody>
        </p:sp>
        <p:sp>
          <p:nvSpPr>
            <p:cNvPr id="65" name="직사각형 87"/>
            <p:cNvSpPr/>
            <p:nvPr/>
          </p:nvSpPr>
          <p:spPr bwMode="auto">
            <a:xfrm>
              <a:off x="416370" y="2839622"/>
              <a:ext cx="682946" cy="73986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홈페이지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/</a:t>
              </a: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모바일</a:t>
              </a:r>
            </a:p>
          </p:txBody>
        </p:sp>
        <p:sp>
          <p:nvSpPr>
            <p:cNvPr id="66" name="직사각형 88"/>
            <p:cNvSpPr/>
            <p:nvPr/>
          </p:nvSpPr>
          <p:spPr bwMode="auto">
            <a:xfrm>
              <a:off x="416370" y="3716285"/>
              <a:ext cx="682946" cy="73986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콜센터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/</a:t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ARS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7" name="직사각형 89"/>
            <p:cNvSpPr/>
            <p:nvPr/>
          </p:nvSpPr>
          <p:spPr bwMode="auto">
            <a:xfrm>
              <a:off x="416370" y="4592951"/>
              <a:ext cx="682946" cy="73986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단위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시스템</a:t>
              </a:r>
            </a:p>
          </p:txBody>
        </p:sp>
        <p:sp>
          <p:nvSpPr>
            <p:cNvPr id="68" name="직사각형 90"/>
            <p:cNvSpPr/>
            <p:nvPr/>
          </p:nvSpPr>
          <p:spPr bwMode="auto">
            <a:xfrm>
              <a:off x="416370" y="5469616"/>
              <a:ext cx="682946" cy="73986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외부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데이터</a:t>
              </a:r>
            </a:p>
          </p:txBody>
        </p:sp>
        <p:sp>
          <p:nvSpPr>
            <p:cNvPr id="69" name="직사각형 91"/>
            <p:cNvSpPr/>
            <p:nvPr/>
          </p:nvSpPr>
          <p:spPr bwMode="auto">
            <a:xfrm>
              <a:off x="4976638" y="1943169"/>
              <a:ext cx="780664" cy="4293484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108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3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빅데이터 활용</a:t>
              </a: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grpSp>
          <p:nvGrpSpPr>
            <p:cNvPr id="70" name="그룹 92"/>
            <p:cNvGrpSpPr/>
            <p:nvPr/>
          </p:nvGrpSpPr>
          <p:grpSpPr>
            <a:xfrm>
              <a:off x="5058619" y="2767489"/>
              <a:ext cx="624688" cy="3045457"/>
              <a:chOff x="5401621" y="2724448"/>
              <a:chExt cx="606570" cy="1654210"/>
            </a:xfrm>
            <a:solidFill>
              <a:srgbClr val="FFFFFF"/>
            </a:solidFill>
          </p:grpSpPr>
          <p:sp>
            <p:nvSpPr>
              <p:cNvPr id="102" name="직사각형 93"/>
              <p:cNvSpPr/>
              <p:nvPr/>
            </p:nvSpPr>
            <p:spPr bwMode="auto">
              <a:xfrm>
                <a:off x="5401621" y="2724448"/>
                <a:ext cx="605564" cy="345756"/>
              </a:xfrm>
              <a:prstGeom prst="rect">
                <a:avLst/>
              </a:prstGeom>
              <a:grpFill/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BI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03" name="직사각형 94"/>
              <p:cNvSpPr/>
              <p:nvPr/>
            </p:nvSpPr>
            <p:spPr bwMode="auto">
              <a:xfrm>
                <a:off x="5401621" y="3153175"/>
                <a:ext cx="605564" cy="345756"/>
              </a:xfrm>
              <a:prstGeom prst="rect">
                <a:avLst/>
              </a:prstGeom>
              <a:grpFill/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상품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서비스</a:t>
                </a:r>
                <a:endPara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개발</a:t>
                </a:r>
              </a:p>
            </p:txBody>
          </p:sp>
          <p:sp>
            <p:nvSpPr>
              <p:cNvPr id="104" name="직사각형 95"/>
              <p:cNvSpPr/>
              <p:nvPr/>
            </p:nvSpPr>
            <p:spPr bwMode="auto">
              <a:xfrm>
                <a:off x="5401621" y="4032902"/>
                <a:ext cx="605563" cy="345756"/>
              </a:xfrm>
              <a:prstGeom prst="rect">
                <a:avLst/>
              </a:prstGeom>
              <a:grpFill/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마케팅</a:t>
                </a:r>
              </a:p>
            </p:txBody>
          </p:sp>
          <p:sp>
            <p:nvSpPr>
              <p:cNvPr id="105" name="직사각형 96"/>
              <p:cNvSpPr/>
              <p:nvPr/>
            </p:nvSpPr>
            <p:spPr bwMode="auto">
              <a:xfrm>
                <a:off x="5402627" y="3584133"/>
                <a:ext cx="605564" cy="345756"/>
              </a:xfrm>
              <a:prstGeom prst="rect">
                <a:avLst/>
              </a:prstGeom>
              <a:grpFill/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수익성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경영성과</a:t>
                </a:r>
                <a:endPara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분석</a:t>
                </a:r>
              </a:p>
            </p:txBody>
          </p:sp>
        </p:grpSp>
        <p:sp>
          <p:nvSpPr>
            <p:cNvPr id="71" name="오른쪽 화살표 97"/>
            <p:cNvSpPr/>
            <p:nvPr/>
          </p:nvSpPr>
          <p:spPr bwMode="auto">
            <a:xfrm>
              <a:off x="1175435" y="1980241"/>
              <a:ext cx="595009" cy="744813"/>
            </a:xfrm>
            <a:prstGeom prst="rightArrow">
              <a:avLst>
                <a:gd name="adj1" fmla="val 50000"/>
                <a:gd name="adj2" fmla="val 27273"/>
              </a:avLst>
            </a:prstGeom>
            <a:solidFill>
              <a:srgbClr val="80808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비즈니스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데이터</a:t>
              </a:r>
            </a:p>
          </p:txBody>
        </p:sp>
        <p:sp>
          <p:nvSpPr>
            <p:cNvPr id="72" name="오른쪽 화살표 98"/>
            <p:cNvSpPr/>
            <p:nvPr/>
          </p:nvSpPr>
          <p:spPr bwMode="auto">
            <a:xfrm>
              <a:off x="1175435" y="2858917"/>
              <a:ext cx="595009" cy="744813"/>
            </a:xfrm>
            <a:prstGeom prst="rightArrow">
              <a:avLst>
                <a:gd name="adj1" fmla="val 50000"/>
                <a:gd name="adj2" fmla="val 27273"/>
              </a:avLst>
            </a:prstGeom>
            <a:solidFill>
              <a:srgbClr val="80808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Activity</a:t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Log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3" name="오른쪽 화살표 99"/>
            <p:cNvSpPr/>
            <p:nvPr/>
          </p:nvSpPr>
          <p:spPr bwMode="auto">
            <a:xfrm>
              <a:off x="1175435" y="3730093"/>
              <a:ext cx="595009" cy="744813"/>
            </a:xfrm>
            <a:prstGeom prst="rightArrow">
              <a:avLst>
                <a:gd name="adj1" fmla="val 50000"/>
                <a:gd name="adj2" fmla="val 27273"/>
              </a:avLst>
            </a:prstGeom>
            <a:solidFill>
              <a:srgbClr val="80808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Voice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4" name="오른쪽 화살표 100"/>
            <p:cNvSpPr/>
            <p:nvPr/>
          </p:nvSpPr>
          <p:spPr bwMode="auto">
            <a:xfrm>
              <a:off x="1175435" y="4586269"/>
              <a:ext cx="595009" cy="744813"/>
            </a:xfrm>
            <a:prstGeom prst="rightArrow">
              <a:avLst>
                <a:gd name="adj1" fmla="val 50000"/>
                <a:gd name="adj2" fmla="val 27273"/>
              </a:avLst>
            </a:prstGeom>
            <a:solidFill>
              <a:srgbClr val="80808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비즈니스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데이터</a:t>
              </a:r>
            </a:p>
          </p:txBody>
        </p:sp>
        <p:sp>
          <p:nvSpPr>
            <p:cNvPr id="75" name="오른쪽 화살표 101"/>
            <p:cNvSpPr/>
            <p:nvPr/>
          </p:nvSpPr>
          <p:spPr bwMode="auto">
            <a:xfrm>
              <a:off x="1175435" y="5442447"/>
              <a:ext cx="595009" cy="744813"/>
            </a:xfrm>
            <a:prstGeom prst="rightArrow">
              <a:avLst>
                <a:gd name="adj1" fmla="val 50000"/>
                <a:gd name="adj2" fmla="val 27273"/>
              </a:avLst>
            </a:prstGeom>
            <a:solidFill>
              <a:srgbClr val="80808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비정형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</a:b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rPr>
                <a:t>데이터</a:t>
              </a:r>
            </a:p>
          </p:txBody>
        </p:sp>
        <p:grpSp>
          <p:nvGrpSpPr>
            <p:cNvPr id="76" name="그룹 102"/>
            <p:cNvGrpSpPr/>
            <p:nvPr/>
          </p:nvGrpSpPr>
          <p:grpSpPr>
            <a:xfrm>
              <a:off x="1904208" y="1980241"/>
              <a:ext cx="3000645" cy="4256411"/>
              <a:chOff x="2256134" y="2227375"/>
              <a:chExt cx="2785750" cy="4093527"/>
            </a:xfrm>
          </p:grpSpPr>
          <p:sp>
            <p:nvSpPr>
              <p:cNvPr id="79" name="직사각형 103"/>
              <p:cNvSpPr/>
              <p:nvPr/>
            </p:nvSpPr>
            <p:spPr bwMode="auto">
              <a:xfrm>
                <a:off x="2256530" y="3328597"/>
                <a:ext cx="2676234" cy="189119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7200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빅데이터 저장</a:t>
                </a:r>
                <a:r>
                  <a:rPr kumimoji="0" lang="en-US" altLang="ko-KR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/>
                </a:r>
                <a:br>
                  <a:rPr kumimoji="0" lang="en-US" altLang="ko-KR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</a:b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0" name="직사각형 104"/>
              <p:cNvSpPr/>
              <p:nvPr/>
            </p:nvSpPr>
            <p:spPr bwMode="auto">
              <a:xfrm>
                <a:off x="2256530" y="5375306"/>
                <a:ext cx="2676234" cy="945596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7200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빅데이터 연계</a:t>
                </a:r>
                <a:r>
                  <a:rPr kumimoji="0" lang="en-US" altLang="ko-KR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수집</a:t>
                </a: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1" name="직사각형 105"/>
              <p:cNvSpPr/>
              <p:nvPr/>
            </p:nvSpPr>
            <p:spPr bwMode="auto">
              <a:xfrm>
                <a:off x="2256529" y="2227375"/>
                <a:ext cx="2676234" cy="945596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7200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빅데이터 분석</a:t>
                </a: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2" name="원통 106"/>
              <p:cNvSpPr/>
              <p:nvPr/>
            </p:nvSpPr>
            <p:spPr bwMode="auto">
              <a:xfrm>
                <a:off x="2345275" y="3979250"/>
                <a:ext cx="797947" cy="722608"/>
              </a:xfrm>
              <a:prstGeom prst="can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3" name="원통 107"/>
              <p:cNvSpPr/>
              <p:nvPr/>
            </p:nvSpPr>
            <p:spPr bwMode="auto">
              <a:xfrm>
                <a:off x="3202304" y="3979250"/>
                <a:ext cx="797947" cy="722608"/>
              </a:xfrm>
              <a:prstGeom prst="can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4" name="원통 108"/>
              <p:cNvSpPr/>
              <p:nvPr/>
            </p:nvSpPr>
            <p:spPr bwMode="auto">
              <a:xfrm>
                <a:off x="4059332" y="3979250"/>
                <a:ext cx="797947" cy="722608"/>
              </a:xfrm>
              <a:prstGeom prst="can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2256134" y="3709390"/>
                <a:ext cx="975776" cy="2609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DW</a:t>
                </a:r>
                <a:endPara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3121366" y="3709390"/>
                <a:ext cx="975776" cy="2609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NoSQL</a:t>
                </a:r>
                <a:endPara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3891926" y="3720481"/>
                <a:ext cx="1149958" cy="2609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분산파일 시스템</a:t>
                </a:r>
              </a:p>
            </p:txBody>
          </p:sp>
          <p:sp>
            <p:nvSpPr>
              <p:cNvPr id="88" name="직사각형 112"/>
              <p:cNvSpPr/>
              <p:nvPr/>
            </p:nvSpPr>
            <p:spPr bwMode="auto">
              <a:xfrm>
                <a:off x="3307945" y="4424178"/>
                <a:ext cx="1460097" cy="188728"/>
              </a:xfrm>
              <a:prstGeom prst="rect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비정형 데이터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파일</a:t>
                </a:r>
              </a:p>
            </p:txBody>
          </p:sp>
          <p:sp>
            <p:nvSpPr>
              <p:cNvPr id="89" name="직사각형 113"/>
              <p:cNvSpPr/>
              <p:nvPr/>
            </p:nvSpPr>
            <p:spPr bwMode="auto">
              <a:xfrm>
                <a:off x="2353066" y="2549240"/>
                <a:ext cx="1191385" cy="571165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통계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분석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마이닝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90" name="직사각형 114"/>
              <p:cNvSpPr/>
              <p:nvPr/>
            </p:nvSpPr>
            <p:spPr bwMode="auto">
              <a:xfrm>
                <a:off x="3664109" y="2550429"/>
                <a:ext cx="1191385" cy="571165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Hadoop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기반 분석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/>
                </a:r>
                <a:b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</a:b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91" name="직사각형 115"/>
              <p:cNvSpPr/>
              <p:nvPr/>
            </p:nvSpPr>
            <p:spPr bwMode="auto">
              <a:xfrm>
                <a:off x="2474673" y="2826262"/>
                <a:ext cx="448729" cy="2061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마트</a:t>
                </a:r>
              </a:p>
            </p:txBody>
          </p:sp>
          <p:sp>
            <p:nvSpPr>
              <p:cNvPr id="92" name="직사각형 116"/>
              <p:cNvSpPr/>
              <p:nvPr/>
            </p:nvSpPr>
            <p:spPr bwMode="auto">
              <a:xfrm>
                <a:off x="2987307" y="2827983"/>
                <a:ext cx="448729" cy="2061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통계</a:t>
                </a:r>
                <a:r>
                  <a:rPr kumimoji="0" lang="en-US" altLang="ko-KR" sz="7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7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분석</a:t>
                </a:r>
              </a:p>
            </p:txBody>
          </p:sp>
          <p:sp>
            <p:nvSpPr>
              <p:cNvPr id="93" name="직사각형 117"/>
              <p:cNvSpPr/>
              <p:nvPr/>
            </p:nvSpPr>
            <p:spPr bwMode="auto">
              <a:xfrm>
                <a:off x="3776413" y="2828103"/>
                <a:ext cx="448729" cy="2061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배치분석</a:t>
                </a:r>
              </a:p>
            </p:txBody>
          </p:sp>
          <p:sp>
            <p:nvSpPr>
              <p:cNvPr id="94" name="직사각형 118"/>
              <p:cNvSpPr/>
              <p:nvPr/>
            </p:nvSpPr>
            <p:spPr bwMode="auto">
              <a:xfrm>
                <a:off x="4289047" y="2829824"/>
                <a:ext cx="448729" cy="20611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정형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비정형 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/>
                </a:r>
                <a:b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</a:b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분석</a:t>
                </a:r>
              </a:p>
            </p:txBody>
          </p:sp>
          <p:sp>
            <p:nvSpPr>
              <p:cNvPr id="95" name="직사각형 119"/>
              <p:cNvSpPr/>
              <p:nvPr/>
            </p:nvSpPr>
            <p:spPr bwMode="auto">
              <a:xfrm>
                <a:off x="2345275" y="4751460"/>
                <a:ext cx="2512003" cy="18450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Meta 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데이터</a:t>
                </a:r>
              </a:p>
            </p:txBody>
          </p:sp>
          <p:sp>
            <p:nvSpPr>
              <p:cNvPr id="96" name="직사각형 120"/>
              <p:cNvSpPr/>
              <p:nvPr/>
            </p:nvSpPr>
            <p:spPr bwMode="auto">
              <a:xfrm>
                <a:off x="2346171" y="4974307"/>
                <a:ext cx="2512003" cy="18450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빅데이터 자원관리</a:t>
                </a:r>
              </a:p>
            </p:txBody>
          </p:sp>
          <p:sp>
            <p:nvSpPr>
              <p:cNvPr id="97" name="직사각형 144"/>
              <p:cNvSpPr/>
              <p:nvPr/>
            </p:nvSpPr>
            <p:spPr bwMode="auto">
              <a:xfrm>
                <a:off x="2347061" y="5798141"/>
                <a:ext cx="604666" cy="428314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추출</a:t>
                </a:r>
              </a:p>
            </p:txBody>
          </p:sp>
          <p:sp>
            <p:nvSpPr>
              <p:cNvPr id="98" name="직사각형 145"/>
              <p:cNvSpPr/>
              <p:nvPr/>
            </p:nvSpPr>
            <p:spPr bwMode="auto">
              <a:xfrm>
                <a:off x="2981650" y="5798141"/>
                <a:ext cx="604666" cy="428314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전송</a:t>
                </a:r>
              </a:p>
            </p:txBody>
          </p:sp>
          <p:sp>
            <p:nvSpPr>
              <p:cNvPr id="99" name="직사각형 146"/>
              <p:cNvSpPr/>
              <p:nvPr/>
            </p:nvSpPr>
            <p:spPr bwMode="auto">
              <a:xfrm>
                <a:off x="3616239" y="5798141"/>
                <a:ext cx="604666" cy="428314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변환</a:t>
                </a:r>
              </a:p>
            </p:txBody>
          </p:sp>
          <p:sp>
            <p:nvSpPr>
              <p:cNvPr id="100" name="직사각형 147"/>
              <p:cNvSpPr/>
              <p:nvPr/>
            </p:nvSpPr>
            <p:spPr bwMode="auto">
              <a:xfrm>
                <a:off x="4250828" y="5798141"/>
                <a:ext cx="604666" cy="428314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STT</a:t>
                </a:r>
                <a:endPara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01" name="직사각형 148"/>
              <p:cNvSpPr/>
              <p:nvPr/>
            </p:nvSpPr>
            <p:spPr bwMode="auto">
              <a:xfrm>
                <a:off x="2431130" y="4211269"/>
                <a:ext cx="2338645" cy="188728"/>
              </a:xfrm>
              <a:prstGeom prst="rect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panose="020B0604020202020204" pitchFamily="34" charset="0"/>
                  </a:rPr>
                  <a:t>정형 데이터</a:t>
                </a: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1847809" y="1628800"/>
              <a:ext cx="1457771" cy="2951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 marR="0" lvl="0" indent="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빅데이터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플랫폼</a:t>
              </a:r>
              <a:r>
                <a:rPr lang="en-US" altLang="ko-KR" sz="1200" b="0" kern="0" baseline="300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kumimoji="0" lang="en-US" altLang="ko-KR" sz="1200" b="0" i="0" u="none" strike="noStrike" kern="0" cap="none" spc="0" normalizeH="0" baseline="3000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200" b="0" i="0" u="none" strike="noStrike" kern="0" cap="none" spc="0" normalizeH="0" baseline="3000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8" name="직사각형 150"/>
          <p:cNvSpPr/>
          <p:nvPr/>
        </p:nvSpPr>
        <p:spPr>
          <a:xfrm>
            <a:off x="6044804" y="5966544"/>
            <a:ext cx="34809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4625" algn="l"/>
                <a:tab pos="177800" algn="l"/>
              </a:tabLst>
              <a:defRPr/>
            </a:pPr>
            <a:r>
              <a:rPr lang="en-US" altLang="ko-KR" sz="1000" b="0" kern="0" dirty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1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)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플랫폼은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Cloud, Open Source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 등 활용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가능성 검토</a:t>
            </a:r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06" name="그룹 10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5" name="그룹 11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118" name="오각형 74"/>
          <p:cNvSpPr/>
          <p:nvPr/>
        </p:nvSpPr>
        <p:spPr bwMode="auto">
          <a:xfrm>
            <a:off x="6033150" y="1620301"/>
            <a:ext cx="3565376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119" name="그룹 118"/>
          <p:cNvGrpSpPr/>
          <p:nvPr/>
        </p:nvGrpSpPr>
        <p:grpSpPr>
          <a:xfrm>
            <a:off x="488504" y="1620301"/>
            <a:ext cx="5105695" cy="352800"/>
            <a:chOff x="1397655" y="1982397"/>
            <a:chExt cx="4014787" cy="365811"/>
          </a:xfrm>
        </p:grpSpPr>
        <p:sp>
          <p:nvSpPr>
            <p:cNvPr id="120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dirty="0" err="1" smtClean="0">
                  <a:latin typeface="맑은 고딕"/>
                  <a:ea typeface="맑은 고딕"/>
                </a:rPr>
                <a:t>빅데이터</a:t>
              </a:r>
              <a:r>
                <a:rPr kumimoji="0" lang="ko-KR" altLang="en-US" sz="1300" kern="0" dirty="0" smtClean="0">
                  <a:latin typeface="맑은 고딕"/>
                  <a:ea typeface="맑은 고딕"/>
                </a:rPr>
                <a:t> 플랫폼 구성</a:t>
              </a:r>
              <a:endParaRPr kumimoji="0" lang="ko-KR" altLang="en-US" sz="1300" kern="0" dirty="0">
                <a:latin typeface="맑은 고딕"/>
                <a:ea typeface="맑은 고딕"/>
              </a:endParaRPr>
            </a:p>
          </p:txBody>
        </p:sp>
        <p:sp>
          <p:nvSpPr>
            <p:cNvPr id="123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744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빅데이터 기반 실시간 정보분석 환경 구현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정보제공 체계 수립시 최우선적으로 비즈니스 동인 정의가 필요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후 업무프로세스 기반으로 영업점 실시간 실적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공 등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건을 정의함</a:t>
            </a:r>
          </a:p>
        </p:txBody>
      </p:sp>
      <p:sp>
        <p:nvSpPr>
          <p:cNvPr id="23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37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38" name="TextBox 237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행의 고객정보 실시간 연계 및 분석기반 마케팅 프로세스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39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5" name="직선 연결선 17"/>
          <p:cNvCxnSpPr/>
          <p:nvPr/>
        </p:nvCxnSpPr>
        <p:spPr>
          <a:xfrm>
            <a:off x="417716" y="2060848"/>
            <a:ext cx="8972325" cy="0"/>
          </a:xfrm>
          <a:prstGeom prst="line">
            <a:avLst/>
          </a:prstGeom>
          <a:solidFill>
            <a:srgbClr val="376092"/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</p:cxnSp>
      <p:cxnSp>
        <p:nvCxnSpPr>
          <p:cNvPr id="96" name="직선 연결선 19"/>
          <p:cNvCxnSpPr/>
          <p:nvPr/>
        </p:nvCxnSpPr>
        <p:spPr>
          <a:xfrm>
            <a:off x="427241" y="4628753"/>
            <a:ext cx="8972325" cy="0"/>
          </a:xfrm>
          <a:prstGeom prst="line">
            <a:avLst/>
          </a:prstGeom>
          <a:noFill/>
          <a:ln w="12700" cap="flat" cmpd="sng" algn="ctr">
            <a:solidFill>
              <a:srgbClr val="333333"/>
            </a:solidFill>
            <a:prstDash val="solid"/>
          </a:ln>
          <a:effectLst/>
        </p:spPr>
      </p:cxnSp>
      <p:cxnSp>
        <p:nvCxnSpPr>
          <p:cNvPr id="97" name="직선 연결선 20"/>
          <p:cNvCxnSpPr/>
          <p:nvPr/>
        </p:nvCxnSpPr>
        <p:spPr>
          <a:xfrm>
            <a:off x="417716" y="6140921"/>
            <a:ext cx="8972325" cy="0"/>
          </a:xfrm>
          <a:prstGeom prst="line">
            <a:avLst/>
          </a:prstGeom>
          <a:noFill/>
          <a:ln w="12700" cap="flat" cmpd="sng" algn="ctr">
            <a:solidFill>
              <a:srgbClr val="333333"/>
            </a:solidFill>
            <a:prstDash val="solid"/>
          </a:ln>
          <a:effectLst/>
        </p:spPr>
      </p:cxnSp>
      <p:cxnSp>
        <p:nvCxnSpPr>
          <p:cNvPr id="98" name="직선 연결선 21"/>
          <p:cNvCxnSpPr/>
          <p:nvPr/>
        </p:nvCxnSpPr>
        <p:spPr>
          <a:xfrm flipV="1">
            <a:off x="1046638" y="2060849"/>
            <a:ext cx="0" cy="4080072"/>
          </a:xfrm>
          <a:prstGeom prst="line">
            <a:avLst/>
          </a:prstGeom>
          <a:noFill/>
          <a:ln w="12700" cap="flat" cmpd="sng" algn="ctr">
            <a:solidFill>
              <a:srgbClr val="333333"/>
            </a:solidFill>
            <a:prstDash val="solid"/>
          </a:ln>
          <a:effectLst/>
        </p:spPr>
      </p:cxnSp>
      <p:sp>
        <p:nvSpPr>
          <p:cNvPr id="99" name="TextBox 98"/>
          <p:cNvSpPr txBox="1"/>
          <p:nvPr/>
        </p:nvSpPr>
        <p:spPr>
          <a:xfrm>
            <a:off x="560666" y="2779180"/>
            <a:ext cx="3133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프로세스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560666" y="4861361"/>
            <a:ext cx="3133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시스템</a:t>
            </a:r>
          </a:p>
        </p:txBody>
      </p:sp>
      <p:sp>
        <p:nvSpPr>
          <p:cNvPr id="101" name="직사각형 26"/>
          <p:cNvSpPr/>
          <p:nvPr/>
        </p:nvSpPr>
        <p:spPr>
          <a:xfrm>
            <a:off x="1694822" y="3087248"/>
            <a:ext cx="1008000" cy="460800"/>
          </a:xfrm>
          <a:prstGeom prst="rect">
            <a:avLst/>
          </a:prstGeom>
          <a:noFill/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신규 및 변경</a:t>
            </a:r>
          </a:p>
        </p:txBody>
      </p:sp>
      <p:sp>
        <p:nvSpPr>
          <p:cNvPr id="102" name="원통 29"/>
          <p:cNvSpPr/>
          <p:nvPr/>
        </p:nvSpPr>
        <p:spPr>
          <a:xfrm>
            <a:off x="1733800" y="4939574"/>
            <a:ext cx="936104" cy="527637"/>
          </a:xfrm>
          <a:prstGeom prst="can">
            <a:avLst/>
          </a:prstGeom>
          <a:solidFill>
            <a:srgbClr val="FFFFFF">
              <a:lumMod val="75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코어뱅킹</a:t>
            </a:r>
            <a:endParaRPr kumimoji="0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/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업무공통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  <a:endParaRPr kumimoji="0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103" name="직사각형 4"/>
          <p:cNvSpPr/>
          <p:nvPr/>
        </p:nvSpPr>
        <p:spPr>
          <a:xfrm>
            <a:off x="3710934" y="4091779"/>
            <a:ext cx="1008000" cy="459396"/>
          </a:xfrm>
          <a:prstGeom prst="rect">
            <a:avLst/>
          </a:prstGeom>
          <a:noFill/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 정보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집계</a:t>
            </a:r>
          </a:p>
        </p:txBody>
      </p:sp>
      <p:cxnSp>
        <p:nvCxnSpPr>
          <p:cNvPr id="104" name="직선 화살표 연결선 9"/>
          <p:cNvCxnSpPr/>
          <p:nvPr/>
        </p:nvCxnSpPr>
        <p:spPr>
          <a:xfrm>
            <a:off x="2486798" y="3188593"/>
            <a:ext cx="0" cy="0"/>
          </a:xfrm>
          <a:prstGeom prst="straightConnector1">
            <a:avLst/>
          </a:prstGeom>
          <a:noFill/>
          <a:ln w="12700" cap="flat" cmpd="sng" algn="ctr">
            <a:solidFill>
              <a:srgbClr val="333333"/>
            </a:solidFill>
            <a:prstDash val="solid"/>
            <a:tailEnd type="arrow"/>
          </a:ln>
          <a:effectLst/>
        </p:spPr>
      </p:cxnSp>
      <p:sp>
        <p:nvSpPr>
          <p:cNvPr id="105" name="원통 23"/>
          <p:cNvSpPr/>
          <p:nvPr/>
        </p:nvSpPr>
        <p:spPr>
          <a:xfrm>
            <a:off x="3561213" y="4700904"/>
            <a:ext cx="5860739" cy="1007969"/>
          </a:xfrm>
          <a:prstGeom prst="can">
            <a:avLst>
              <a:gd name="adj" fmla="val 14528"/>
            </a:avLst>
          </a:prstGeom>
          <a:solidFill>
            <a:srgbClr val="FFFFFF">
              <a:lumMod val="75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정보분석 통합</a:t>
            </a:r>
          </a:p>
        </p:txBody>
      </p:sp>
      <p:sp>
        <p:nvSpPr>
          <p:cNvPr id="106" name="직사각형 28"/>
          <p:cNvSpPr/>
          <p:nvPr/>
        </p:nvSpPr>
        <p:spPr>
          <a:xfrm>
            <a:off x="6599476" y="5032612"/>
            <a:ext cx="1080000" cy="540000"/>
          </a:xfrm>
          <a:prstGeom prst="rect">
            <a:avLst/>
          </a:prstGeom>
          <a:solidFill>
            <a:srgbClr val="EAEAEA"/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정보분석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분석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DW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cxnSp>
        <p:nvCxnSpPr>
          <p:cNvPr id="107" name="직선 화살표 연결선 31"/>
          <p:cNvCxnSpPr>
            <a:stCxn id="101" idx="2"/>
            <a:endCxn id="102" idx="1"/>
          </p:cNvCxnSpPr>
          <p:nvPr/>
        </p:nvCxnSpPr>
        <p:spPr>
          <a:xfrm>
            <a:off x="2198822" y="3548048"/>
            <a:ext cx="3030" cy="1391526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8" name="직선 화살표 연결선 32"/>
          <p:cNvCxnSpPr>
            <a:stCxn id="103" idx="2"/>
          </p:cNvCxnSpPr>
          <p:nvPr/>
        </p:nvCxnSpPr>
        <p:spPr>
          <a:xfrm>
            <a:off x="4214934" y="4551175"/>
            <a:ext cx="0" cy="468000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9" name="직선 화살표 연결선 33"/>
          <p:cNvCxnSpPr>
            <a:stCxn id="111" idx="3"/>
            <a:endCxn id="112" idx="1"/>
          </p:cNvCxnSpPr>
          <p:nvPr/>
        </p:nvCxnSpPr>
        <p:spPr>
          <a:xfrm>
            <a:off x="4800969" y="5302612"/>
            <a:ext cx="350245" cy="1588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10" name="직사각형 37"/>
          <p:cNvSpPr/>
          <p:nvPr/>
        </p:nvSpPr>
        <p:spPr>
          <a:xfrm>
            <a:off x="7942993" y="5032612"/>
            <a:ext cx="1301405" cy="540000"/>
          </a:xfrm>
          <a:prstGeom prst="rect">
            <a:avLst/>
          </a:prstGeom>
          <a:solidFill>
            <a:srgbClr val="EAEAEA"/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정보분석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  <a:p>
            <a:pPr marL="171450" marR="0" lvl="0" indent="-17145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Char char="-"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데이터마트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-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분석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CRM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마트</a:t>
            </a:r>
          </a:p>
        </p:txBody>
      </p:sp>
      <p:sp>
        <p:nvSpPr>
          <p:cNvPr id="111" name="직사각형 27"/>
          <p:cNvSpPr/>
          <p:nvPr/>
        </p:nvSpPr>
        <p:spPr>
          <a:xfrm>
            <a:off x="3720969" y="5032612"/>
            <a:ext cx="1080000" cy="540000"/>
          </a:xfrm>
          <a:prstGeom prst="rect">
            <a:avLst/>
          </a:prstGeom>
          <a:solidFill>
            <a:srgbClr val="EAEAEA"/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마케팅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실시간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DW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112" name="직사각형 52"/>
          <p:cNvSpPr/>
          <p:nvPr/>
        </p:nvSpPr>
        <p:spPr>
          <a:xfrm>
            <a:off x="5151214" y="5032612"/>
            <a:ext cx="1080000" cy="540000"/>
          </a:xfrm>
          <a:prstGeom prst="rect">
            <a:avLst/>
          </a:prstGeom>
          <a:solidFill>
            <a:srgbClr val="EAEAEA"/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마케팅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운영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CRM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마트</a:t>
            </a:r>
          </a:p>
        </p:txBody>
      </p:sp>
      <p:cxnSp>
        <p:nvCxnSpPr>
          <p:cNvPr id="113" name="직선 화살표 연결선 58"/>
          <p:cNvCxnSpPr/>
          <p:nvPr/>
        </p:nvCxnSpPr>
        <p:spPr>
          <a:xfrm>
            <a:off x="8841462" y="2807307"/>
            <a:ext cx="0" cy="2225305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4" name="직선 화살표 연결선 66"/>
          <p:cNvCxnSpPr>
            <a:stCxn id="102" idx="4"/>
            <a:endCxn id="105" idx="2"/>
          </p:cNvCxnSpPr>
          <p:nvPr/>
        </p:nvCxnSpPr>
        <p:spPr>
          <a:xfrm>
            <a:off x="2669904" y="5203393"/>
            <a:ext cx="891309" cy="1496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5" name="직선 화살표 연결선 68"/>
          <p:cNvCxnSpPr>
            <a:stCxn id="106" idx="3"/>
            <a:endCxn id="110" idx="1"/>
          </p:cNvCxnSpPr>
          <p:nvPr/>
        </p:nvCxnSpPr>
        <p:spPr>
          <a:xfrm>
            <a:off x="7679476" y="5302612"/>
            <a:ext cx="263517" cy="1588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16" name="직사각형 78"/>
          <p:cNvSpPr/>
          <p:nvPr/>
        </p:nvSpPr>
        <p:spPr>
          <a:xfrm>
            <a:off x="2342782" y="3591889"/>
            <a:ext cx="1008000" cy="460800"/>
          </a:xfrm>
          <a:prstGeom prst="rect">
            <a:avLst/>
          </a:prstGeom>
          <a:noFill/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콜센터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상담정보</a:t>
            </a:r>
          </a:p>
        </p:txBody>
      </p:sp>
      <p:sp>
        <p:nvSpPr>
          <p:cNvPr id="117" name="원통 79"/>
          <p:cNvSpPr/>
          <p:nvPr/>
        </p:nvSpPr>
        <p:spPr>
          <a:xfrm>
            <a:off x="2342782" y="5609147"/>
            <a:ext cx="936104" cy="459766"/>
          </a:xfrm>
          <a:prstGeom prst="can">
            <a:avLst/>
          </a:prstGeom>
          <a:solidFill>
            <a:srgbClr val="FFFFFF">
              <a:lumMod val="75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콜센터</a:t>
            </a:r>
            <a:endParaRPr kumimoji="0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cxnSp>
        <p:nvCxnSpPr>
          <p:cNvPr id="118" name="직선 화살표 연결선 85"/>
          <p:cNvCxnSpPr>
            <a:stCxn id="116" idx="2"/>
          </p:cNvCxnSpPr>
          <p:nvPr/>
        </p:nvCxnSpPr>
        <p:spPr>
          <a:xfrm>
            <a:off x="2846782" y="4052689"/>
            <a:ext cx="0" cy="1495076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9" name="꺾인 연결선 89"/>
          <p:cNvCxnSpPr>
            <a:stCxn id="117" idx="4"/>
            <a:endCxn id="112" idx="2"/>
          </p:cNvCxnSpPr>
          <p:nvPr/>
        </p:nvCxnSpPr>
        <p:spPr>
          <a:xfrm flipV="1">
            <a:off x="3278886" y="5572612"/>
            <a:ext cx="2412328" cy="266418"/>
          </a:xfrm>
          <a:prstGeom prst="bentConnector2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20" name="순서도: 처리 40"/>
          <p:cNvSpPr/>
          <p:nvPr/>
        </p:nvSpPr>
        <p:spPr>
          <a:xfrm>
            <a:off x="1100246" y="3087833"/>
            <a:ext cx="519866" cy="460800"/>
          </a:xfrm>
          <a:prstGeom prst="flowChartProcess">
            <a:avLst/>
          </a:prstGeom>
          <a:solidFill>
            <a:srgbClr val="F0F0F0">
              <a:lumMod val="20000"/>
              <a:lumOff val="8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통합</a:t>
            </a:r>
            <a:endParaRPr kumimoji="0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</a:t>
            </a:r>
          </a:p>
        </p:txBody>
      </p:sp>
      <p:sp>
        <p:nvSpPr>
          <p:cNvPr id="121" name="순서도: 처리 41"/>
          <p:cNvSpPr/>
          <p:nvPr/>
        </p:nvSpPr>
        <p:spPr>
          <a:xfrm>
            <a:off x="1100246" y="3591889"/>
            <a:ext cx="539548" cy="460800"/>
          </a:xfrm>
          <a:prstGeom prst="flowChartProcess">
            <a:avLst/>
          </a:prstGeom>
          <a:solidFill>
            <a:srgbClr val="F0F0F0">
              <a:lumMod val="20000"/>
              <a:lumOff val="8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비대면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/>
            </a:r>
            <a:b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</a:b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kumimoji="0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콜센터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  <a:endParaRPr kumimoji="0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122" name="순서도: 처리 65"/>
          <p:cNvSpPr/>
          <p:nvPr/>
        </p:nvSpPr>
        <p:spPr>
          <a:xfrm>
            <a:off x="1100246" y="2129717"/>
            <a:ext cx="519865" cy="914860"/>
          </a:xfrm>
          <a:prstGeom prst="flowChartProcess">
            <a:avLst/>
          </a:prstGeom>
          <a:solidFill>
            <a:srgbClr val="FFFFFF">
              <a:lumMod val="5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CRM</a:t>
            </a: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123" name="순서도: 처리 67"/>
          <p:cNvSpPr/>
          <p:nvPr/>
        </p:nvSpPr>
        <p:spPr>
          <a:xfrm>
            <a:off x="1100246" y="4095945"/>
            <a:ext cx="539548" cy="460800"/>
          </a:xfrm>
          <a:prstGeom prst="flowChartProcess">
            <a:avLst/>
          </a:prstGeom>
          <a:solidFill>
            <a:srgbClr val="F0F0F0">
              <a:lumMod val="20000"/>
              <a:lumOff val="8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DW</a:t>
            </a:r>
            <a:endParaRPr kumimoji="0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cxnSp>
        <p:nvCxnSpPr>
          <p:cNvPr id="124" name="꺾인 연결선 84"/>
          <p:cNvCxnSpPr>
            <a:stCxn id="101" idx="3"/>
            <a:endCxn id="103" idx="0"/>
          </p:cNvCxnSpPr>
          <p:nvPr/>
        </p:nvCxnSpPr>
        <p:spPr>
          <a:xfrm>
            <a:off x="2702822" y="3317648"/>
            <a:ext cx="1512112" cy="774131"/>
          </a:xfrm>
          <a:prstGeom prst="bentConnector2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25" name="직사각형 101"/>
          <p:cNvSpPr/>
          <p:nvPr/>
        </p:nvSpPr>
        <p:spPr>
          <a:xfrm>
            <a:off x="6633676" y="4091779"/>
            <a:ext cx="1008000" cy="460800"/>
          </a:xfrm>
          <a:prstGeom prst="rect">
            <a:avLst/>
          </a:prstGeom>
          <a:noFill/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분석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DW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작업 수행</a:t>
            </a:r>
          </a:p>
        </p:txBody>
      </p:sp>
      <p:sp>
        <p:nvSpPr>
          <p:cNvPr id="126" name="직사각형 111"/>
          <p:cNvSpPr/>
          <p:nvPr/>
        </p:nvSpPr>
        <p:spPr>
          <a:xfrm>
            <a:off x="4647270" y="2112573"/>
            <a:ext cx="2088000" cy="932004"/>
          </a:xfrm>
          <a:prstGeom prst="rect">
            <a:avLst/>
          </a:prstGeom>
          <a:solidFill>
            <a:srgbClr val="FFFFFF">
              <a:lumMod val="5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127" name="직사각형 112"/>
          <p:cNvSpPr/>
          <p:nvPr/>
        </p:nvSpPr>
        <p:spPr>
          <a:xfrm>
            <a:off x="4707093" y="2189539"/>
            <a:ext cx="936000" cy="828000"/>
          </a:xfrm>
          <a:prstGeom prst="rect">
            <a:avLst/>
          </a:prstGeom>
          <a:solidFill>
            <a:srgbClr val="FFFFFF">
              <a:lumMod val="85000"/>
            </a:srgbClr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고객정보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View</a:t>
            </a:r>
            <a:endParaRPr kumimoji="0" lang="ko-KR" alt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28" name="직사각형 118"/>
          <p:cNvSpPr/>
          <p:nvPr/>
        </p:nvSpPr>
        <p:spPr>
          <a:xfrm>
            <a:off x="8064206" y="2163235"/>
            <a:ext cx="1357746" cy="838612"/>
          </a:xfrm>
          <a:prstGeom prst="rect">
            <a:avLst/>
          </a:prstGeom>
          <a:solidFill>
            <a:srgbClr val="FFFFFF">
              <a:lumMod val="50000"/>
            </a:srgbClr>
          </a:solidFill>
          <a:ln w="3175">
            <a:solidFill>
              <a:srgbClr val="333333">
                <a:lumMod val="65000"/>
                <a:lumOff val="35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영업지원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itchFamily="34" charset="0"/>
              </a:rPr>
              <a:t>활동 및 캠페인관련 집계 작업</a:t>
            </a:r>
          </a:p>
        </p:txBody>
      </p:sp>
      <p:sp>
        <p:nvSpPr>
          <p:cNvPr id="129" name="직사각형 119"/>
          <p:cNvSpPr/>
          <p:nvPr/>
        </p:nvSpPr>
        <p:spPr>
          <a:xfrm>
            <a:off x="5701984" y="2189539"/>
            <a:ext cx="966983" cy="828000"/>
          </a:xfrm>
          <a:prstGeom prst="rect">
            <a:avLst/>
          </a:prstGeom>
          <a:solidFill>
            <a:srgbClr val="FFFFFF">
              <a:lumMod val="85000"/>
            </a:srgbClr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영업지원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캠페인</a:t>
            </a:r>
          </a:p>
        </p:txBody>
      </p:sp>
      <p:cxnSp>
        <p:nvCxnSpPr>
          <p:cNvPr id="130" name="꺾인 연결선 126"/>
          <p:cNvCxnSpPr>
            <a:stCxn id="125" idx="3"/>
            <a:endCxn id="128" idx="2"/>
          </p:cNvCxnSpPr>
          <p:nvPr/>
        </p:nvCxnSpPr>
        <p:spPr>
          <a:xfrm flipV="1">
            <a:off x="7641676" y="3001847"/>
            <a:ext cx="1101403" cy="1320332"/>
          </a:xfrm>
          <a:prstGeom prst="bentConnector2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31" name="직사각형 135"/>
          <p:cNvSpPr/>
          <p:nvPr/>
        </p:nvSpPr>
        <p:spPr>
          <a:xfrm>
            <a:off x="5838534" y="2697742"/>
            <a:ext cx="648593" cy="133063"/>
          </a:xfrm>
          <a:prstGeom prst="rect">
            <a:avLst/>
          </a:prstGeom>
          <a:solidFill>
            <a:srgbClr val="FFFFFF"/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영업기회정보</a:t>
            </a:r>
          </a:p>
        </p:txBody>
      </p:sp>
      <p:cxnSp>
        <p:nvCxnSpPr>
          <p:cNvPr id="132" name="꺾인 연결선 137"/>
          <p:cNvCxnSpPr>
            <a:stCxn id="103" idx="3"/>
            <a:endCxn id="135" idx="2"/>
          </p:cNvCxnSpPr>
          <p:nvPr/>
        </p:nvCxnSpPr>
        <p:spPr>
          <a:xfrm flipV="1">
            <a:off x="4718934" y="2969198"/>
            <a:ext cx="260928" cy="1352279"/>
          </a:xfrm>
          <a:prstGeom prst="bentConnector2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33" name="직선 화살표 연결선 140"/>
          <p:cNvCxnSpPr>
            <a:stCxn id="125" idx="2"/>
            <a:endCxn id="106" idx="0"/>
          </p:cNvCxnSpPr>
          <p:nvPr/>
        </p:nvCxnSpPr>
        <p:spPr>
          <a:xfrm rot="16200000" flipH="1">
            <a:off x="6898560" y="4791695"/>
            <a:ext cx="480033" cy="1800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34" name="직선 화살표 연결선 64"/>
          <p:cNvCxnSpPr>
            <a:stCxn id="128" idx="1"/>
            <a:endCxn id="139" idx="3"/>
          </p:cNvCxnSpPr>
          <p:nvPr/>
        </p:nvCxnSpPr>
        <p:spPr>
          <a:xfrm flipH="1">
            <a:off x="6487127" y="2582541"/>
            <a:ext cx="1577079" cy="26281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35" name="직사각형 117"/>
          <p:cNvSpPr/>
          <p:nvPr/>
        </p:nvSpPr>
        <p:spPr>
          <a:xfrm>
            <a:off x="4817714" y="2589161"/>
            <a:ext cx="324295" cy="380037"/>
          </a:xfrm>
          <a:prstGeom prst="rect">
            <a:avLst/>
          </a:prstGeom>
          <a:solidFill>
            <a:srgbClr val="FFFFFF"/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고객기본정보</a:t>
            </a:r>
          </a:p>
        </p:txBody>
      </p:sp>
      <p:sp>
        <p:nvSpPr>
          <p:cNvPr id="136" name="직사각형 166"/>
          <p:cNvSpPr/>
          <p:nvPr/>
        </p:nvSpPr>
        <p:spPr>
          <a:xfrm>
            <a:off x="5188678" y="2594266"/>
            <a:ext cx="400169" cy="374931"/>
          </a:xfrm>
          <a:prstGeom prst="rect">
            <a:avLst/>
          </a:prstGeom>
          <a:solidFill>
            <a:srgbClr val="FFFFFF"/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상담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/</a:t>
            </a: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접촉정보</a:t>
            </a:r>
          </a:p>
        </p:txBody>
      </p:sp>
      <p:cxnSp>
        <p:nvCxnSpPr>
          <p:cNvPr id="137" name="꺾인 연결선 171"/>
          <p:cNvCxnSpPr>
            <a:stCxn id="116" idx="3"/>
            <a:endCxn id="136" idx="2"/>
          </p:cNvCxnSpPr>
          <p:nvPr/>
        </p:nvCxnSpPr>
        <p:spPr>
          <a:xfrm flipV="1">
            <a:off x="3350782" y="2969197"/>
            <a:ext cx="2037981" cy="853092"/>
          </a:xfrm>
          <a:prstGeom prst="bentConnector2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38" name="직사각형 90"/>
          <p:cNvSpPr/>
          <p:nvPr/>
        </p:nvSpPr>
        <p:spPr>
          <a:xfrm>
            <a:off x="5838534" y="2844868"/>
            <a:ext cx="648593" cy="133063"/>
          </a:xfrm>
          <a:prstGeom prst="rect">
            <a:avLst/>
          </a:prstGeom>
          <a:solidFill>
            <a:srgbClr val="FFFFFF"/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캠페인실적</a:t>
            </a:r>
          </a:p>
        </p:txBody>
      </p:sp>
      <p:sp>
        <p:nvSpPr>
          <p:cNvPr id="139" name="직사각형 113"/>
          <p:cNvSpPr/>
          <p:nvPr/>
        </p:nvSpPr>
        <p:spPr>
          <a:xfrm>
            <a:off x="5838534" y="2542290"/>
            <a:ext cx="648593" cy="133063"/>
          </a:xfrm>
          <a:prstGeom prst="rect">
            <a:avLst/>
          </a:prstGeom>
          <a:solidFill>
            <a:srgbClr val="FFFFFF"/>
          </a:solidFill>
          <a:ln w="3175">
            <a:solidFill>
              <a:srgbClr val="333333">
                <a:lumMod val="50000"/>
                <a:lumOff val="50000"/>
              </a:srgbClr>
            </a:solidFill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실적정보</a:t>
            </a:r>
          </a:p>
        </p:txBody>
      </p:sp>
      <p:pic>
        <p:nvPicPr>
          <p:cNvPr id="140" name="Picture 302" descr="group policy user&amp;com_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38404" y="2387159"/>
            <a:ext cx="444506" cy="36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1" name="직선 화살표 연결선 96"/>
          <p:cNvCxnSpPr>
            <a:stCxn id="140" idx="1"/>
            <a:endCxn id="126" idx="1"/>
          </p:cNvCxnSpPr>
          <p:nvPr/>
        </p:nvCxnSpPr>
        <p:spPr>
          <a:xfrm>
            <a:off x="3782910" y="2567579"/>
            <a:ext cx="864360" cy="10996"/>
          </a:xfrm>
          <a:prstGeom prst="straightConnector1">
            <a:avLst/>
          </a:prstGeom>
          <a:noFill/>
          <a:ln w="3175" cap="flat" cmpd="sng" algn="ctr">
            <a:solidFill>
              <a:srgbClr val="333333">
                <a:lumMod val="65000"/>
                <a:lumOff val="3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42" name="TextBox 141"/>
          <p:cNvSpPr txBox="1"/>
          <p:nvPr/>
        </p:nvSpPr>
        <p:spPr>
          <a:xfrm>
            <a:off x="3422585" y="2764273"/>
            <a:ext cx="276144" cy="17941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eaLnBrk="0" fontAlgn="auto" latinLnBrk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8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영업</a:t>
            </a:r>
            <a:r>
              <a:rPr lang="ko-KR" altLang="en-US" sz="800" kern="0" dirty="0">
                <a:solidFill>
                  <a:srgbClr val="000000"/>
                </a:solidFill>
                <a:latin typeface="맑은 고딕"/>
                <a:ea typeface="맑은 고딕"/>
              </a:rPr>
              <a:t>점</a:t>
            </a:r>
            <a:endParaRPr lang="ko-KR" altLang="en-US" sz="800" kern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736843" y="2362558"/>
            <a:ext cx="910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en-US" altLang="ko-KR" sz="8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CRM</a:t>
            </a:r>
            <a:r>
              <a:rPr lang="ko-KR" altLang="en-US" sz="8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접속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4276905" y="3061723"/>
            <a:ext cx="740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ko-KR" altLang="en-US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객기본</a:t>
            </a:r>
            <a:r>
              <a:rPr lang="en-US" altLang="ko-KR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(</a:t>
            </a:r>
            <a:r>
              <a:rPr lang="ko-KR" altLang="en-US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연락처정보 등</a:t>
            </a:r>
            <a:r>
              <a:rPr lang="en-US" altLang="ko-KR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)</a:t>
            </a:r>
            <a:r>
              <a:rPr lang="ko-KR" altLang="en-US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 및 상태정보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5388762" y="3091174"/>
            <a:ext cx="7967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/>
            <a:r>
              <a:rPr lang="ko-KR" altLang="en-US" sz="900" b="0" dirty="0" err="1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콜센터</a:t>
            </a:r>
            <a:endParaRPr lang="en-US" altLang="ko-KR" sz="900" b="0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  <a:p>
            <a:pPr latinLnBrk="0"/>
            <a:r>
              <a:rPr lang="ko-KR" altLang="en-US" sz="900" b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상담정보</a:t>
            </a:r>
          </a:p>
        </p:txBody>
      </p:sp>
      <p:sp>
        <p:nvSpPr>
          <p:cNvPr id="146" name="Rectangular Callout 145"/>
          <p:cNvSpPr/>
          <p:nvPr/>
        </p:nvSpPr>
        <p:spPr>
          <a:xfrm>
            <a:off x="5107910" y="5572612"/>
            <a:ext cx="1930397" cy="553043"/>
          </a:xfrm>
          <a:prstGeom prst="wedgeRectCallout">
            <a:avLst>
              <a:gd name="adj1" fmla="val -75336"/>
              <a:gd name="adj2" fmla="val -81837"/>
            </a:avLst>
          </a:prstGeom>
          <a:solidFill>
            <a:srgbClr val="002060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실시간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DW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구</a:t>
            </a: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현</a:t>
            </a:r>
            <a:endParaRPr kumimoji="0" lang="en-US" altLang="ko-KR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47" name="Rectangular Callout 146"/>
          <p:cNvSpPr/>
          <p:nvPr/>
        </p:nvSpPr>
        <p:spPr>
          <a:xfrm>
            <a:off x="1739632" y="2200191"/>
            <a:ext cx="1404353" cy="553043"/>
          </a:xfrm>
          <a:prstGeom prst="wedgeRectCallout">
            <a:avLst>
              <a:gd name="adj1" fmla="val -74563"/>
              <a:gd name="adj2" fmla="val 66457"/>
            </a:avLst>
          </a:prstGeom>
          <a:solidFill>
            <a:srgbClr val="002060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비즈니스 영역 및 프로세스 수립</a:t>
            </a:r>
            <a:endParaRPr kumimoji="0" lang="en-US" altLang="ko-KR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48" name="Rectangular Callout 147"/>
          <p:cNvSpPr/>
          <p:nvPr/>
        </p:nvSpPr>
        <p:spPr>
          <a:xfrm>
            <a:off x="6337741" y="3162647"/>
            <a:ext cx="1957268" cy="553043"/>
          </a:xfrm>
          <a:prstGeom prst="wedgeRectCallout">
            <a:avLst>
              <a:gd name="adj1" fmla="val -42490"/>
              <a:gd name="adj2" fmla="val -114223"/>
            </a:avLst>
          </a:prstGeom>
          <a:solidFill>
            <a:srgbClr val="002060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  <a:cs typeface="Arial" pitchFamily="34" charset="0"/>
              </a:rPr>
              <a:t>프로세스 기반의 실시간 정보 요건 정의</a:t>
            </a:r>
            <a:endParaRPr kumimoji="0" lang="en-US" altLang="ko-KR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grpSp>
        <p:nvGrpSpPr>
          <p:cNvPr id="77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78" name="TextBox 7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9" name="그룹 15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6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6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6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6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6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6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6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6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68" name="그룹 16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9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0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762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빅데이터 기반 실시간 정보분석 환경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현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정보제공을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정의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필요하며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DC/ET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의 시스템간 인터페이스 구조 정의와 통합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영역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현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시간 정보를 제공함</a:t>
            </a:r>
          </a:p>
        </p:txBody>
      </p:sp>
      <p:sp>
        <p:nvSpPr>
          <p:cNvPr id="16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75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6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77" name="TextBox 176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en-US" altLang="ko-KR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W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행의 실시간 기반의 정보분석 환경 구현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예시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78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9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180" name="TextBox 17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8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9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06" y="1920240"/>
            <a:ext cx="9272588" cy="4704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Rectangular Callout 193"/>
          <p:cNvSpPr/>
          <p:nvPr/>
        </p:nvSpPr>
        <p:spPr>
          <a:xfrm>
            <a:off x="1195525" y="2543533"/>
            <a:ext cx="1888604" cy="412300"/>
          </a:xfrm>
          <a:prstGeom prst="wedgeRectCallout">
            <a:avLst>
              <a:gd name="adj1" fmla="val 42976"/>
              <a:gd name="adj2" fmla="val 222161"/>
            </a:avLst>
          </a:prstGeom>
          <a:solidFill>
            <a:srgbClr val="1B3A87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 fontAlgn="auto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kern="0" dirty="0">
                <a:latin typeface="맑은 고딕"/>
                <a:ea typeface="맑은 고딕"/>
                <a:cs typeface="Arial" pitchFamily="34" charset="0"/>
              </a:rPr>
              <a:t>실시간 정보 제공을 위한 연계 아티텍처 구현</a:t>
            </a:r>
            <a:endParaRPr lang="en-US" altLang="ko-KR" sz="1200" kern="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95" name="Rectangular Callout 194"/>
          <p:cNvSpPr/>
          <p:nvPr/>
        </p:nvSpPr>
        <p:spPr>
          <a:xfrm>
            <a:off x="3728830" y="5229200"/>
            <a:ext cx="2232310" cy="540075"/>
          </a:xfrm>
          <a:prstGeom prst="wedgeRectCallout">
            <a:avLst>
              <a:gd name="adj1" fmla="val -55159"/>
              <a:gd name="adj2" fmla="val -250369"/>
            </a:avLst>
          </a:prstGeom>
          <a:solidFill>
            <a:srgbClr val="1B3A87"/>
          </a:solidFill>
          <a:ln>
            <a:solidFill>
              <a:srgbClr val="FFFFFF">
                <a:lumMod val="5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 fontAlgn="auto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kern="0" dirty="0">
                <a:latin typeface="맑은 고딕"/>
                <a:ea typeface="맑은 고딕"/>
                <a:cs typeface="Arial" pitchFamily="34" charset="0"/>
              </a:rPr>
              <a:t>실시간 정보 수집 및 집계 데이터 영역 구현</a:t>
            </a:r>
            <a:endParaRPr lang="en-US" altLang="ko-KR" sz="1200" kern="0" dirty="0">
              <a:latin typeface="맑은 고딕"/>
              <a:ea typeface="맑은 고딕"/>
              <a:cs typeface="Arial" pitchFamily="34" charset="0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3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4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4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4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4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47" name="그룹 4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4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4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486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    </a:t>
            </a:r>
            <a:r>
              <a:rPr lang="ko-KR" altLang="en-US" dirty="0"/>
              <a:t>데이터 아키텍처 개선 및 데이터 보유</a:t>
            </a:r>
            <a:r>
              <a:rPr lang="en-US" altLang="ko-KR" dirty="0"/>
              <a:t>/</a:t>
            </a:r>
            <a:r>
              <a:rPr lang="ko-KR" altLang="en-US" dirty="0"/>
              <a:t>활용 </a:t>
            </a:r>
            <a:r>
              <a:rPr lang="ko-KR" altLang="en-US" dirty="0" smtClean="0"/>
              <a:t>효율화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/>
              <a:t>데이터 아키텍처 개선 및 </a:t>
            </a:r>
            <a:r>
              <a:rPr lang="ko-KR" altLang="en-US" dirty="0" smtClean="0"/>
              <a:t>데이터 활용 </a:t>
            </a:r>
            <a:r>
              <a:rPr lang="ko-KR" altLang="en-US" dirty="0"/>
              <a:t>효율화를 </a:t>
            </a:r>
            <a:r>
              <a:rPr lang="ko-KR" altLang="en-US" dirty="0" smtClean="0"/>
              <a:t>위해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전사 데이터 거버넌스 체계를 </a:t>
            </a:r>
            <a:r>
              <a:rPr lang="ko-KR" altLang="en-US" dirty="0" smtClean="0"/>
              <a:t>재구축하고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/>
              <a:t>장기 유지 데이터 경량화 방안을 </a:t>
            </a:r>
            <a:r>
              <a:rPr lang="ko-KR" altLang="en-US" dirty="0" smtClean="0"/>
              <a:t>검토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82" name="TextBox 381"/>
          <p:cNvSpPr txBox="1"/>
          <p:nvPr>
            <p:custDataLst>
              <p:tags r:id="rId1"/>
            </p:custDataLst>
          </p:nvPr>
        </p:nvSpPr>
        <p:spPr>
          <a:xfrm>
            <a:off x="6645270" y="2086248"/>
            <a:ext cx="933415" cy="1515166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en-US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sz="1300" u="none" strike="noStrike" kern="0" cap="none" spc="0" normalizeH="0" baseline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defRPr>
            </a:lvl2pPr>
          </a:lstStyle>
          <a:p>
            <a:pPr lvl="1"/>
            <a:r>
              <a:rPr lang="ko-KR" altLang="en-US" sz="1200" dirty="0"/>
              <a:t>데이터 표준 재수립 및 관리 프로세스 개선</a:t>
            </a:r>
          </a:p>
        </p:txBody>
      </p:sp>
      <p:sp>
        <p:nvSpPr>
          <p:cNvPr id="383" name="Rectangle 89"/>
          <p:cNvSpPr/>
          <p:nvPr>
            <p:custDataLst>
              <p:tags r:id="rId2"/>
            </p:custDataLst>
          </p:nvPr>
        </p:nvSpPr>
        <p:spPr>
          <a:xfrm>
            <a:off x="7636526" y="2086248"/>
            <a:ext cx="1987461" cy="141593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spAutoFit/>
          </a:bodyPr>
          <a:lstStyle/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데이터 거버넌스 체계 재구축</a:t>
            </a:r>
            <a:endParaRPr kumimoji="1" lang="en-US" altLang="ko-KR" sz="11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표준 체계 정비</a:t>
            </a:r>
            <a:endParaRPr kumimoji="1" lang="en-US" altLang="ko-KR" sz="11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변경 영향 분석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검증 프로세스 개선</a:t>
            </a:r>
            <a:endParaRPr kumimoji="1" lang="en-US" altLang="ko-KR" sz="11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통코드 메타 데이터 시스템에 통합 관리</a:t>
            </a:r>
            <a:endParaRPr kumimoji="1"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5" name="TextBox 384"/>
          <p:cNvSpPr txBox="1"/>
          <p:nvPr>
            <p:custDataLst>
              <p:tags r:id="rId3"/>
            </p:custDataLst>
          </p:nvPr>
        </p:nvSpPr>
        <p:spPr>
          <a:xfrm>
            <a:off x="6645270" y="3681430"/>
            <a:ext cx="933415" cy="115846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en-US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sz="1300" u="none" strike="noStrike" kern="0" cap="none" spc="0" normalizeH="0" baseline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defRPr>
            </a:lvl2pPr>
          </a:lstStyle>
          <a:p>
            <a:pPr lvl="1"/>
            <a:r>
              <a:rPr lang="ko-KR" altLang="en-US" sz="1200" dirty="0"/>
              <a:t>장기 유지 데이터 경량화 방안 수립</a:t>
            </a:r>
          </a:p>
        </p:txBody>
      </p:sp>
      <p:sp>
        <p:nvSpPr>
          <p:cNvPr id="386" name="Rectangle 89"/>
          <p:cNvSpPr/>
          <p:nvPr>
            <p:custDataLst>
              <p:tags r:id="rId4"/>
            </p:custDataLst>
          </p:nvPr>
        </p:nvSpPr>
        <p:spPr>
          <a:xfrm>
            <a:off x="7636526" y="3645674"/>
            <a:ext cx="1987461" cy="987459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spAutoFit/>
          </a:bodyPr>
          <a:lstStyle/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LM (Information Lifecycle Management) </a:t>
            </a: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체계 구축 검토</a:t>
            </a:r>
            <a:endParaRPr kumimoji="1" lang="en-US" altLang="ko-KR" sz="11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거 데이터 조회 시스템 구축 검토</a:t>
            </a:r>
            <a:endParaRPr kumimoji="1"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8" name="TextBox 387"/>
          <p:cNvSpPr txBox="1"/>
          <p:nvPr>
            <p:custDataLst>
              <p:tags r:id="rId5"/>
            </p:custDataLst>
          </p:nvPr>
        </p:nvSpPr>
        <p:spPr>
          <a:xfrm>
            <a:off x="6645270" y="4908066"/>
            <a:ext cx="933415" cy="125723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wrap="square" lIns="36000" tIns="0" rIns="36000" bIns="0" rtlCol="0" anchor="ctr">
            <a:noAutofit/>
          </a:bodyPr>
          <a:lstStyle>
            <a:defPPr>
              <a:defRPr lang="en-US"/>
            </a:defPPr>
            <a:lvl1pPr algn="ctr" latinLnBrk="0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0" marR="0" lvl="1" indent="0" algn="ctr" defTabSz="957263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sz="1300" u="none" strike="noStrike" kern="0" cap="none" spc="0" normalizeH="0" baseline="0">
                <a:ln>
                  <a:solidFill>
                    <a:srgbClr val="FFD200"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defRPr>
            </a:lvl2pPr>
          </a:lstStyle>
          <a:p>
            <a:pPr lvl="1"/>
            <a:r>
              <a:rPr lang="ko-KR" altLang="en-US" sz="1200" dirty="0"/>
              <a:t>최신 기술요소 도입을 통한 업무 개선</a:t>
            </a:r>
          </a:p>
        </p:txBody>
      </p:sp>
      <p:sp>
        <p:nvSpPr>
          <p:cNvPr id="389" name="Rectangle 89"/>
          <p:cNvSpPr/>
          <p:nvPr>
            <p:custDataLst>
              <p:tags r:id="rId6"/>
            </p:custDataLst>
          </p:nvPr>
        </p:nvSpPr>
        <p:spPr>
          <a:xfrm>
            <a:off x="7636526" y="4908066"/>
            <a:ext cx="1987461" cy="116202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wrap="square" lIns="72000" tIns="36000" rIns="36000" bIns="36000" rtlCol="0" anchor="t">
            <a:spAutoFit/>
          </a:bodyPr>
          <a:lstStyle/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 가상화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계층화를 통한 데이터 보유</a:t>
            </a:r>
            <a:r>
              <a:rPr kumimoji="1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용 비용 절감</a:t>
            </a:r>
            <a:endParaRPr kumimoji="1" lang="en-US" altLang="ko-KR" sz="11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7313" indent="-87313" fontAlgn="auto" latinLnBrk="0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174625" algn="l"/>
                <a:tab pos="177800" algn="l"/>
              </a:tabLst>
              <a:defRPr/>
            </a:pPr>
            <a:r>
              <a:rPr lang="en-US" altLang="ko-KR" sz="1100" b="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-Memory Data Grid</a:t>
            </a:r>
            <a:r>
              <a:rPr lang="ko-KR" altLang="en-US" sz="1100" b="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용하여 </a:t>
            </a:r>
            <a:r>
              <a:rPr lang="en-US" altLang="ko-KR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 </a:t>
            </a:r>
            <a:r>
              <a:rPr lang="ko-KR" altLang="en-US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능향상</a:t>
            </a:r>
            <a:r>
              <a:rPr lang="en-US" altLang="ko-KR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산캐시</a:t>
            </a:r>
            <a:r>
              <a:rPr lang="en-US" altLang="ko-KR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b="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션유지 구현</a:t>
            </a:r>
            <a:endParaRPr lang="en-US" altLang="ko-KR" sz="1100" b="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90" name="Group 389"/>
          <p:cNvGrpSpPr/>
          <p:nvPr/>
        </p:nvGrpSpPr>
        <p:grpSpPr>
          <a:xfrm>
            <a:off x="294150" y="2060848"/>
            <a:ext cx="6224284" cy="4104455"/>
            <a:chOff x="467816" y="1957113"/>
            <a:chExt cx="5819657" cy="4419297"/>
          </a:xfrm>
        </p:grpSpPr>
        <p:grpSp>
          <p:nvGrpSpPr>
            <p:cNvPr id="391" name="Group 390"/>
            <p:cNvGrpSpPr/>
            <p:nvPr/>
          </p:nvGrpSpPr>
          <p:grpSpPr>
            <a:xfrm>
              <a:off x="3412322" y="5759422"/>
              <a:ext cx="2873369" cy="261938"/>
              <a:chOff x="3412322" y="5699277"/>
              <a:chExt cx="2873369" cy="261938"/>
            </a:xfrm>
          </p:grpSpPr>
          <p:sp>
            <p:nvSpPr>
              <p:cNvPr id="483" name="Rectangle 46"/>
              <p:cNvSpPr>
                <a:spLocks noChangeArrowheads="1"/>
              </p:cNvSpPr>
              <p:nvPr/>
            </p:nvSpPr>
            <p:spPr bwMode="auto">
              <a:xfrm>
                <a:off x="3535336" y="5769330"/>
                <a:ext cx="2750355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1pPr>
                <a:lvl2pPr marL="146050" indent="-144463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2pPr>
                <a:lvl3pPr marL="11430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3pPr>
                <a:lvl4pPr marL="16002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4pPr>
                <a:lvl5pPr marL="20574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5pPr>
                <a:lvl6pPr marL="25146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6pPr>
                <a:lvl7pPr marL="29718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7pPr>
                <a:lvl8pPr marL="34290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8pPr>
                <a:lvl9pPr marL="38862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9pPr>
              </a:lstStyle>
              <a:p>
                <a:pPr marL="177800" marR="0" lvl="1" indent="-176213" defTabSz="9001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20000"/>
                  </a:spcAft>
                  <a:buClr>
                    <a:srgbClr val="004785"/>
                  </a:buClr>
                  <a:buSzTx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DB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서버 증설 및 라이센스 증설 필요</a:t>
                </a:r>
                <a:endPara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grpSp>
            <p:nvGrpSpPr>
              <p:cNvPr id="484" name="Group 48"/>
              <p:cNvGrpSpPr>
                <a:grpSpLocks/>
              </p:cNvGrpSpPr>
              <p:nvPr/>
            </p:nvGrpSpPr>
            <p:grpSpPr bwMode="auto">
              <a:xfrm>
                <a:off x="3412322" y="5699277"/>
                <a:ext cx="258076" cy="261938"/>
                <a:chOff x="240" y="3016"/>
                <a:chExt cx="162" cy="165"/>
              </a:xfrm>
            </p:grpSpPr>
            <p:sp>
              <p:nvSpPr>
                <p:cNvPr id="485" name="Rectangle 49"/>
                <p:cNvSpPr>
                  <a:spLocks noChangeArrowheads="1"/>
                </p:cNvSpPr>
                <p:nvPr/>
              </p:nvSpPr>
              <p:spPr bwMode="auto">
                <a:xfrm>
                  <a:off x="240" y="3047"/>
                  <a:ext cx="134" cy="134"/>
                </a:xfrm>
                <a:prstGeom prst="rect">
                  <a:avLst/>
                </a:prstGeom>
                <a:solidFill>
                  <a:srgbClr val="FFFFFF"/>
                </a:solidFill>
                <a:ln w="1905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prstShdw prst="shdw17" dist="17961" dir="2700000">
                    <a:srgbClr val="C0C0C0">
                      <a:gamma/>
                      <a:shade val="60000"/>
                      <a:invGamma/>
                    </a:srgbClr>
                  </a:prstShdw>
                </a:effectLst>
              </p:spPr>
              <p:txBody>
                <a:bodyPr wrap="none" lIns="90000" tIns="46800" rIns="90000" bIns="4680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478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86" name="Freeform 50"/>
                <p:cNvSpPr>
                  <a:spLocks/>
                </p:cNvSpPr>
                <p:nvPr/>
              </p:nvSpPr>
              <p:spPr bwMode="auto">
                <a:xfrm>
                  <a:off x="256" y="3016"/>
                  <a:ext cx="146" cy="128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48"/>
                    <a:gd name="T52" fmla="*/ 0 h 618"/>
                    <a:gd name="T53" fmla="*/ 648 w 648"/>
                    <a:gd name="T54" fmla="*/ 618 h 6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rgbClr val="CC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1pPr>
                  <a:lvl2pPr marL="742950" indent="-28575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2pPr>
                  <a:lvl3pPr marL="11430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3pPr>
                  <a:lvl4pPr marL="16002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4pPr>
                  <a:lvl5pPr marL="20574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78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sp>
          <p:nvSpPr>
            <p:cNvPr id="392" name="Rectangle 83"/>
            <p:cNvSpPr>
              <a:spLocks noChangeArrowheads="1"/>
            </p:cNvSpPr>
            <p:nvPr/>
          </p:nvSpPr>
          <p:spPr bwMode="gray">
            <a:xfrm>
              <a:off x="467816" y="1957113"/>
              <a:ext cx="5817875" cy="4419297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3" name="TextBox 392"/>
            <p:cNvSpPr txBox="1"/>
            <p:nvPr/>
          </p:nvSpPr>
          <p:spPr bwMode="auto">
            <a:xfrm>
              <a:off x="3379753" y="2020917"/>
              <a:ext cx="2866772" cy="277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171450" indent="-171450" latinLnBrk="0">
                <a:spcBef>
                  <a:spcPts val="800"/>
                </a:spcBef>
                <a:buFont typeface="Wingdings" panose="05000000000000000000" pitchFamily="2" charset="2"/>
                <a:buChar char="ü"/>
                <a:defRPr sz="1300" i="1">
                  <a:solidFill>
                    <a:schemeClr val="accent1">
                      <a:lumMod val="75000"/>
                    </a:schemeClr>
                  </a:solidFill>
                  <a:latin typeface="맑은 고딕"/>
                  <a:ea typeface="맑은 고딕"/>
                </a:defRPr>
              </a:lvl1pPr>
            </a:lstStyle>
            <a:p>
              <a:pPr marL="0" indent="0" algn="ctr" fontAlgn="auto">
                <a:spcAft>
                  <a:spcPts val="0"/>
                </a:spcAft>
                <a:buNone/>
                <a:defRPr/>
              </a:pP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거 데이터 관리</a:t>
              </a: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접근 체계 미흡</a:t>
              </a: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</p:txBody>
        </p:sp>
        <p:cxnSp>
          <p:nvCxnSpPr>
            <p:cNvPr id="394" name="직선 연결선 20"/>
            <p:cNvCxnSpPr/>
            <p:nvPr/>
          </p:nvCxnSpPr>
          <p:spPr bwMode="auto">
            <a:xfrm flipV="1">
              <a:off x="3353921" y="2045629"/>
              <a:ext cx="0" cy="1655969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>
                  <a:lumMod val="40000"/>
                  <a:lumOff val="6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5" name="직선 연결선 21"/>
            <p:cNvCxnSpPr/>
            <p:nvPr/>
          </p:nvCxnSpPr>
          <p:spPr bwMode="auto">
            <a:xfrm flipV="1">
              <a:off x="565197" y="4005080"/>
              <a:ext cx="2460244" cy="1471755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>
                  <a:lumMod val="40000"/>
                  <a:lumOff val="6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6" name="직선 연결선 22"/>
            <p:cNvCxnSpPr/>
            <p:nvPr/>
          </p:nvCxnSpPr>
          <p:spPr bwMode="auto">
            <a:xfrm flipH="1" flipV="1">
              <a:off x="3571982" y="4005080"/>
              <a:ext cx="2647567" cy="1444136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>
                  <a:lumMod val="40000"/>
                  <a:lumOff val="6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7" name="TextBox 396"/>
            <p:cNvSpPr txBox="1"/>
            <p:nvPr/>
          </p:nvSpPr>
          <p:spPr bwMode="auto">
            <a:xfrm>
              <a:off x="498253" y="2020917"/>
              <a:ext cx="2862167" cy="277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171450" indent="-171450" latinLnBrk="0">
                <a:spcBef>
                  <a:spcPts val="800"/>
                </a:spcBef>
                <a:buFont typeface="Wingdings" panose="05000000000000000000" pitchFamily="2" charset="2"/>
                <a:buChar char="ü"/>
                <a:defRPr sz="1300" i="1">
                  <a:solidFill>
                    <a:schemeClr val="accent1">
                      <a:lumMod val="75000"/>
                    </a:schemeClr>
                  </a:solidFill>
                  <a:latin typeface="맑은 고딕"/>
                  <a:ea typeface="맑은 고딕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ko-KR" sz="120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kumimoji="0" lang="ko-KR" altLang="en-US" sz="120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관리 체계 미흡</a:t>
              </a:r>
              <a:r>
                <a:rPr kumimoji="0" lang="en-US" altLang="ko-KR" sz="120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  <a:endParaRPr kumimoji="0" lang="en-US" altLang="ko-KR" sz="120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8" name="TextBox 397"/>
            <p:cNvSpPr txBox="1"/>
            <p:nvPr/>
          </p:nvSpPr>
          <p:spPr bwMode="auto">
            <a:xfrm>
              <a:off x="841858" y="6037376"/>
              <a:ext cx="5090610" cy="277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171450" indent="-171450" latinLnBrk="0">
                <a:spcBef>
                  <a:spcPts val="800"/>
                </a:spcBef>
                <a:buFont typeface="Wingdings" panose="05000000000000000000" pitchFamily="2" charset="2"/>
                <a:buChar char="ü"/>
                <a:defRPr sz="1300" i="1">
                  <a:solidFill>
                    <a:schemeClr val="accent1">
                      <a:lumMod val="75000"/>
                    </a:schemeClr>
                  </a:solidFill>
                  <a:latin typeface="맑은 고딕"/>
                  <a:ea typeface="맑은 고딕"/>
                </a:defRPr>
              </a:lvl1pPr>
            </a:lstStyle>
            <a:p>
              <a:pPr marL="0" indent="0" algn="ctr" fontAlgn="auto">
                <a:spcAft>
                  <a:spcPts val="0"/>
                </a:spcAft>
                <a:buNone/>
                <a:defRPr/>
              </a:pP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보유</a:t>
              </a: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활용 비용 증가</a:t>
              </a:r>
              <a:r>
                <a:rPr lang="en-US" altLang="ko-KR" sz="1200" kern="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</p:txBody>
        </p:sp>
        <p:sp>
          <p:nvSpPr>
            <p:cNvPr id="399" name="TextBox 398"/>
            <p:cNvSpPr txBox="1"/>
            <p:nvPr/>
          </p:nvSpPr>
          <p:spPr>
            <a:xfrm>
              <a:off x="563673" y="2420859"/>
              <a:ext cx="2700611" cy="2281036"/>
            </a:xfrm>
            <a:prstGeom prst="rect">
              <a:avLst/>
            </a:prstGeom>
            <a:noFill/>
          </p:spPr>
          <p:txBody>
            <a:bodyPr wrap="square" t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복잡한 데이터 표준 체계</a:t>
              </a:r>
              <a:endParaRPr kumimoji="0" lang="en-US" altLang="ko-KR" sz="1200" i="0" u="sng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92075" marR="0" lvl="0" indent="-92075" defTabSz="91440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SzPct val="7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표준</a:t>
              </a: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부표준</a:t>
              </a: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비표준 등의 복잡한 데이터 표준 체계로 유지되고 있음</a:t>
              </a:r>
              <a:endPara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합성 확보</a:t>
              </a:r>
              <a:r>
                <a:rPr kumimoji="0" lang="en-US" altLang="ko-KR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및 변경 체계 필요</a:t>
              </a:r>
              <a:endParaRPr kumimoji="0" lang="en-US" altLang="ko-KR" sz="1200" i="0" u="sng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92075" indent="-92075" fontAlgn="auto" latinLnBrk="0">
                <a:spcBef>
                  <a:spcPts val="400"/>
                </a:spcBef>
                <a:spcAft>
                  <a:spcPts val="0"/>
                </a:spcAft>
                <a:buSzPct val="75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데이터 모델과 운영 </a:t>
              </a:r>
              <a: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의 형상 간 부정합이 존재하며</a:t>
              </a:r>
              <a: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변경</a:t>
              </a:r>
              <a: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검증 미흡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공통코드 통합 관리 필요</a:t>
              </a:r>
              <a:endParaRPr kumimoji="0" lang="en-US" altLang="ko-KR" sz="1200" i="0" u="sng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92075" indent="-92075" fontAlgn="auto" latinLnBrk="0">
                <a:spcBef>
                  <a:spcPts val="400"/>
                </a:spcBef>
                <a:spcAft>
                  <a:spcPts val="0"/>
                </a:spcAft>
                <a:buSzPct val="75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유사 중복된 코드 존재</a:t>
              </a:r>
              <a:endParaRPr lang="en-US" altLang="ko-KR" sz="1050" b="0" kern="0" dirty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2075" indent="-92075" fontAlgn="auto" latinLnBrk="0">
                <a:spcBef>
                  <a:spcPts val="400"/>
                </a:spcBef>
                <a:spcAft>
                  <a:spcPts val="0"/>
                </a:spcAft>
                <a:buSzPct val="75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DB </a:t>
              </a: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컬럼에 사용된 코드의 </a:t>
              </a:r>
              <a: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5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확인 및 추적 어려움</a:t>
              </a:r>
            </a:p>
          </p:txBody>
        </p:sp>
        <p:pic>
          <p:nvPicPr>
            <p:cNvPr id="400" name="Picture 289" descr="화살표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E87F">
                  <a:tint val="45000"/>
                  <a:satMod val="400000"/>
                </a:srgbClr>
              </a:duotone>
            </a:blip>
            <a:srcRect t="14194" r="70580" b="14194"/>
            <a:stretch>
              <a:fillRect/>
            </a:stretch>
          </p:blipFill>
          <p:spPr bwMode="auto">
            <a:xfrm rot="16200000" flipH="1">
              <a:off x="3953467" y="4726131"/>
              <a:ext cx="208651" cy="6651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401" name="직사각형 91"/>
            <p:cNvSpPr/>
            <p:nvPr/>
          </p:nvSpPr>
          <p:spPr bwMode="auto">
            <a:xfrm>
              <a:off x="3306605" y="4619701"/>
              <a:ext cx="1502375" cy="44266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업무 증가에 따른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DB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서버 부하 증가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402" name="Straight Connector 74"/>
            <p:cNvCxnSpPr/>
            <p:nvPr/>
          </p:nvCxnSpPr>
          <p:spPr bwMode="auto">
            <a:xfrm flipV="1">
              <a:off x="3322510" y="4571669"/>
              <a:ext cx="0" cy="1404000"/>
            </a:xfrm>
            <a:prstGeom prst="line">
              <a:avLst/>
            </a:prstGeom>
            <a:noFill/>
            <a:ln w="9525">
              <a:solidFill>
                <a:srgbClr val="FFFFFF">
                  <a:lumMod val="50000"/>
                </a:srgbClr>
              </a:solidFill>
              <a:prstDash val="dash"/>
              <a:miter lim="800000"/>
              <a:headEnd type="none" w="med" len="med"/>
              <a:tailEnd type="none"/>
            </a:ln>
            <a:effectLst/>
          </p:spPr>
        </p:cxnSp>
        <p:grpSp>
          <p:nvGrpSpPr>
            <p:cNvPr id="403" name="Group 402"/>
            <p:cNvGrpSpPr/>
            <p:nvPr/>
          </p:nvGrpSpPr>
          <p:grpSpPr>
            <a:xfrm>
              <a:off x="3642531" y="5145135"/>
              <a:ext cx="1525552" cy="442780"/>
              <a:chOff x="3642530" y="5145135"/>
              <a:chExt cx="1818643" cy="580778"/>
            </a:xfrm>
          </p:grpSpPr>
          <p:grpSp>
            <p:nvGrpSpPr>
              <p:cNvPr id="475" name="Group 474"/>
              <p:cNvGrpSpPr/>
              <p:nvPr/>
            </p:nvGrpSpPr>
            <p:grpSpPr>
              <a:xfrm>
                <a:off x="4710934" y="5145135"/>
                <a:ext cx="750239" cy="580778"/>
                <a:chOff x="4482817" y="5157240"/>
                <a:chExt cx="724549" cy="562473"/>
              </a:xfrm>
            </p:grpSpPr>
            <p:pic>
              <p:nvPicPr>
                <p:cNvPr id="480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511521" y="5164709"/>
                  <a:ext cx="429156" cy="5384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81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78210" y="5179949"/>
                  <a:ext cx="429156" cy="5384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82" name="Rounded Rectangle 481"/>
                <p:cNvSpPr/>
                <p:nvPr/>
              </p:nvSpPr>
              <p:spPr>
                <a:xfrm>
                  <a:off x="4482817" y="5157240"/>
                  <a:ext cx="715486" cy="562473"/>
                </a:xfrm>
                <a:prstGeom prst="roundRect">
                  <a:avLst>
                    <a:gd name="adj" fmla="val 7184"/>
                  </a:avLst>
                </a:prstGeom>
                <a:solidFill>
                  <a:srgbClr val="FFFFFF">
                    <a:alpha val="55000"/>
                  </a:srgbClr>
                </a:solidFill>
                <a:ln>
                  <a:solidFill>
                    <a:srgbClr val="FF0000"/>
                  </a:solidFill>
                  <a:prstDash val="sysDash"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476" name="Group 475"/>
              <p:cNvGrpSpPr/>
              <p:nvPr/>
            </p:nvGrpSpPr>
            <p:grpSpPr>
              <a:xfrm>
                <a:off x="3642530" y="5152847"/>
                <a:ext cx="1044680" cy="571749"/>
                <a:chOff x="3642530" y="5152847"/>
                <a:chExt cx="1044680" cy="571749"/>
              </a:xfrm>
            </p:grpSpPr>
            <p:sp>
              <p:nvSpPr>
                <p:cNvPr id="477" name="Plus 476"/>
                <p:cNvSpPr/>
                <p:nvPr/>
              </p:nvSpPr>
              <p:spPr>
                <a:xfrm>
                  <a:off x="4343879" y="5253934"/>
                  <a:ext cx="343331" cy="377759"/>
                </a:xfrm>
                <a:prstGeom prst="mathPlus">
                  <a:avLst/>
                </a:prstGeom>
                <a:solidFill>
                  <a:srgbClr val="1B3A87"/>
                </a:solidFill>
                <a:ln>
                  <a:solidFill>
                    <a:srgbClr val="333333">
                      <a:lumMod val="60000"/>
                      <a:lumOff val="40000"/>
                    </a:srgbClr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pic>
              <p:nvPicPr>
                <p:cNvPr id="478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42530" y="5152847"/>
                  <a:ext cx="444372" cy="5560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79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18675" y="5168583"/>
                  <a:ext cx="444372" cy="5560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404" name="Group 403"/>
            <p:cNvGrpSpPr/>
            <p:nvPr/>
          </p:nvGrpSpPr>
          <p:grpSpPr>
            <a:xfrm>
              <a:off x="920440" y="5759422"/>
              <a:ext cx="2327507" cy="261938"/>
              <a:chOff x="3412322" y="5699277"/>
              <a:chExt cx="2327507" cy="261938"/>
            </a:xfrm>
          </p:grpSpPr>
          <p:sp>
            <p:nvSpPr>
              <p:cNvPr id="471" name="Rectangle 46"/>
              <p:cNvSpPr>
                <a:spLocks noChangeArrowheads="1"/>
              </p:cNvSpPr>
              <p:nvPr/>
            </p:nvSpPr>
            <p:spPr bwMode="auto">
              <a:xfrm>
                <a:off x="3535336" y="5769330"/>
                <a:ext cx="2204493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1pPr>
                <a:lvl2pPr marL="146050" indent="-144463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2pPr>
                <a:lvl3pPr marL="11430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3pPr>
                <a:lvl4pPr marL="16002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4pPr>
                <a:lvl5pPr marL="2057400" indent="-228600" defTabSz="900113" eaLnBrk="0" hangingPunct="0"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5pPr>
                <a:lvl6pPr marL="25146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6pPr>
                <a:lvl7pPr marL="29718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7pPr>
                <a:lvl8pPr marL="34290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8pPr>
                <a:lvl9pPr marL="3886200" indent="-228600" algn="ctr" defTabSz="9001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HY견고딕" panose="02030600000101010101" pitchFamily="18" charset="-127"/>
                  </a:defRPr>
                </a:lvl9pPr>
              </a:lstStyle>
              <a:p>
                <a:pPr marL="177800" marR="0" lvl="1" indent="-176213" defTabSz="90011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20000"/>
                  </a:spcAft>
                  <a:buClr>
                    <a:srgbClr val="004785"/>
                  </a:buClr>
                  <a:buSzTx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데이터 보유 비용 증가</a:t>
                </a:r>
                <a:endPara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grpSp>
            <p:nvGrpSpPr>
              <p:cNvPr id="472" name="Group 48"/>
              <p:cNvGrpSpPr>
                <a:grpSpLocks/>
              </p:cNvGrpSpPr>
              <p:nvPr/>
            </p:nvGrpSpPr>
            <p:grpSpPr bwMode="auto">
              <a:xfrm>
                <a:off x="3412322" y="5699277"/>
                <a:ext cx="258076" cy="261938"/>
                <a:chOff x="240" y="3016"/>
                <a:chExt cx="162" cy="165"/>
              </a:xfrm>
            </p:grpSpPr>
            <p:sp>
              <p:nvSpPr>
                <p:cNvPr id="473" name="Rectangle 49"/>
                <p:cNvSpPr>
                  <a:spLocks noChangeArrowheads="1"/>
                </p:cNvSpPr>
                <p:nvPr/>
              </p:nvSpPr>
              <p:spPr bwMode="auto">
                <a:xfrm>
                  <a:off x="240" y="3047"/>
                  <a:ext cx="134" cy="134"/>
                </a:xfrm>
                <a:prstGeom prst="rect">
                  <a:avLst/>
                </a:prstGeom>
                <a:solidFill>
                  <a:srgbClr val="FFFFFF"/>
                </a:solidFill>
                <a:ln w="1905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prstShdw prst="shdw17" dist="17961" dir="2700000">
                    <a:srgbClr val="C0C0C0">
                      <a:gamma/>
                      <a:shade val="60000"/>
                      <a:invGamma/>
                    </a:srgbClr>
                  </a:prstShdw>
                </a:effectLst>
              </p:spPr>
              <p:txBody>
                <a:bodyPr wrap="none" lIns="90000" tIns="46800" rIns="90000" bIns="4680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478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74" name="Freeform 50"/>
                <p:cNvSpPr>
                  <a:spLocks/>
                </p:cNvSpPr>
                <p:nvPr/>
              </p:nvSpPr>
              <p:spPr bwMode="auto">
                <a:xfrm>
                  <a:off x="256" y="3016"/>
                  <a:ext cx="146" cy="128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48"/>
                    <a:gd name="T52" fmla="*/ 0 h 618"/>
                    <a:gd name="T53" fmla="*/ 648 w 648"/>
                    <a:gd name="T54" fmla="*/ 618 h 6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rgbClr val="CC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1pPr>
                  <a:lvl2pPr marL="742950" indent="-28575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2pPr>
                  <a:lvl3pPr marL="11430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3pPr>
                  <a:lvl4pPr marL="16002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4pPr>
                  <a:lvl5pPr marL="2057400" indent="-228600" eaLnBrk="0" hangingPunct="0"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HY견고딕" panose="02030600000101010101" pitchFamily="18" charset="-127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478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grpSp>
          <p:nvGrpSpPr>
            <p:cNvPr id="405" name="Group 404"/>
            <p:cNvGrpSpPr/>
            <p:nvPr/>
          </p:nvGrpSpPr>
          <p:grpSpPr>
            <a:xfrm>
              <a:off x="3559072" y="2431400"/>
              <a:ext cx="2728401" cy="2382249"/>
              <a:chOff x="3559072" y="2427791"/>
              <a:chExt cx="2728401" cy="2382249"/>
            </a:xfrm>
          </p:grpSpPr>
          <p:sp>
            <p:nvSpPr>
              <p:cNvPr id="435" name="Text Box 31"/>
              <p:cNvSpPr txBox="1">
                <a:spLocks noChangeArrowheads="1"/>
              </p:cNvSpPr>
              <p:nvPr/>
            </p:nvSpPr>
            <p:spPr bwMode="gray">
              <a:xfrm>
                <a:off x="5388234" y="3468090"/>
                <a:ext cx="693115" cy="264329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0" tIns="0" rIns="0" bIns="0" anchor="t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과거 데이터</a:t>
                </a:r>
                <a:endPara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조회</a:t>
                </a:r>
                <a:endPara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436" name="Picture 150" descr="그림1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 rot="11623041" flipV="1">
                <a:off x="4792175" y="3246556"/>
                <a:ext cx="360205" cy="1757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37" name="Picture 1593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5015418" y="3248388"/>
                <a:ext cx="280337" cy="2140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38" name="Picture 150" descr="그림1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 rot="8100000" flipV="1">
                <a:off x="4455625" y="3242017"/>
                <a:ext cx="359192" cy="1762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39" name="Group 438"/>
              <p:cNvGrpSpPr/>
              <p:nvPr/>
            </p:nvGrpSpPr>
            <p:grpSpPr>
              <a:xfrm>
                <a:off x="4584601" y="2739559"/>
                <a:ext cx="415574" cy="479737"/>
                <a:chOff x="4694210" y="3958001"/>
                <a:chExt cx="386387" cy="395966"/>
              </a:xfrm>
            </p:grpSpPr>
            <p:pic>
              <p:nvPicPr>
                <p:cNvPr id="465" name="Picture 39" descr="cl_st_00074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grayscl/>
                </a:blip>
                <a:srcRect/>
                <a:stretch>
                  <a:fillRect/>
                </a:stretch>
              </p:blipFill>
              <p:spPr bwMode="auto">
                <a:xfrm>
                  <a:off x="4694210" y="3958001"/>
                  <a:ext cx="386387" cy="395966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466" name="그룹 473"/>
                <p:cNvGrpSpPr/>
                <p:nvPr/>
              </p:nvGrpSpPr>
              <p:grpSpPr>
                <a:xfrm>
                  <a:off x="4834498" y="4049871"/>
                  <a:ext cx="210895" cy="264298"/>
                  <a:chOff x="4404236" y="5279499"/>
                  <a:chExt cx="374543" cy="605570"/>
                </a:xfrm>
              </p:grpSpPr>
              <p:pic>
                <p:nvPicPr>
                  <p:cNvPr id="467" name="Picture 1593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duotone>
                      <a:srgbClr val="4F81BD">
                        <a:shade val="45000"/>
                        <a:satMod val="135000"/>
                      </a:srgbClr>
                      <a:prstClr val="white"/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 flipH="1">
                    <a:off x="4404236" y="5618288"/>
                    <a:ext cx="374543" cy="266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468" name="Picture 1593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duotone>
                      <a:srgbClr val="4F81BD">
                        <a:shade val="45000"/>
                        <a:satMod val="135000"/>
                      </a:srgbClr>
                      <a:prstClr val="white"/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 flipH="1">
                    <a:off x="4404236" y="5505359"/>
                    <a:ext cx="374543" cy="266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469" name="Picture 1593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duotone>
                      <a:srgbClr val="4F81BD">
                        <a:shade val="45000"/>
                        <a:satMod val="135000"/>
                      </a:srgbClr>
                      <a:prstClr val="white"/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 flipH="1">
                    <a:off x="4404236" y="5392429"/>
                    <a:ext cx="374543" cy="266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470" name="Picture 1593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duotone>
                      <a:srgbClr val="4F81BD">
                        <a:shade val="45000"/>
                        <a:satMod val="135000"/>
                      </a:srgbClr>
                      <a:prstClr val="white"/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 flipH="1">
                    <a:off x="4404236" y="5279499"/>
                    <a:ext cx="374543" cy="2667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  <p:pic>
            <p:nvPicPr>
              <p:cNvPr id="440" name="Picture 1593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4178224" y="3283400"/>
                <a:ext cx="280337" cy="2140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1" name="Text Box 31"/>
              <p:cNvSpPr txBox="1">
                <a:spLocks noChangeArrowheads="1"/>
              </p:cNvSpPr>
              <p:nvPr/>
            </p:nvSpPr>
            <p:spPr bwMode="gray">
              <a:xfrm>
                <a:off x="4315013" y="3468090"/>
                <a:ext cx="327589" cy="143006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0" tIns="0" rIns="0" bIns="0" anchor="t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소산</a:t>
                </a:r>
                <a:endPara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42" name="Text Box 31"/>
              <p:cNvSpPr txBox="1">
                <a:spLocks noChangeArrowheads="1"/>
              </p:cNvSpPr>
              <p:nvPr/>
            </p:nvSpPr>
            <p:spPr bwMode="gray">
              <a:xfrm>
                <a:off x="4770099" y="3468090"/>
                <a:ext cx="618135" cy="143006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0" tIns="0" rIns="0" bIns="0" anchor="t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테입 로딩</a:t>
                </a:r>
                <a:endPara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443" name="Group 442"/>
              <p:cNvGrpSpPr/>
              <p:nvPr/>
            </p:nvGrpSpPr>
            <p:grpSpPr>
              <a:xfrm>
                <a:off x="4216486" y="2792541"/>
                <a:ext cx="329853" cy="365949"/>
                <a:chOff x="3915858" y="2780264"/>
                <a:chExt cx="318558" cy="354415"/>
              </a:xfrm>
            </p:grpSpPr>
            <p:sp>
              <p:nvSpPr>
                <p:cNvPr id="463" name="위쪽 화살표 4"/>
                <p:cNvSpPr/>
                <p:nvPr/>
              </p:nvSpPr>
              <p:spPr>
                <a:xfrm rot="5400000">
                  <a:off x="3915628" y="2815892"/>
                  <a:ext cx="354415" cy="283160"/>
                </a:xfrm>
                <a:prstGeom prst="upArrow">
                  <a:avLst/>
                </a:prstGeom>
                <a:solidFill>
                  <a:srgbClr val="FFFFFF">
                    <a:lumMod val="50000"/>
                  </a:srgbClr>
                </a:solidFill>
                <a:ln w="12700" algn="ctr">
                  <a:noFill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7D0900"/>
                    </a:buClr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464" name="Text Box 31"/>
                <p:cNvSpPr txBox="1">
                  <a:spLocks noChangeArrowheads="1"/>
                </p:cNvSpPr>
                <p:nvPr/>
              </p:nvSpPr>
              <p:spPr bwMode="gray">
                <a:xfrm>
                  <a:off x="3915858" y="2883153"/>
                  <a:ext cx="316372" cy="138499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 lIns="0" tIns="0" rIns="0" bIns="0" anchor="t">
                  <a:noAutofit/>
                </a:bodyPr>
                <a:lstStyle>
                  <a:lvl1pPr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1pPr>
                  <a:lvl2pPr marL="742950" indent="-28575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2pPr>
                  <a:lvl3pPr marL="11430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3pPr>
                  <a:lvl4pPr marL="16002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4pPr>
                  <a:lvl5pPr marL="20574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5pPr>
                  <a:lvl6pPr marL="25146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6pPr>
                  <a:lvl7pPr marL="29718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7pPr>
                  <a:lvl8pPr marL="34290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8pPr>
                  <a:lvl9pPr marL="38862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9pPr>
                </a:lstStyle>
                <a:p>
                  <a:pPr marL="0" marR="0" lvl="0" indent="0" algn="ctr" defTabSz="139382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이관</a:t>
                  </a:r>
                  <a:endParaRPr kumimoji="1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444" name="Group 443"/>
              <p:cNvGrpSpPr/>
              <p:nvPr/>
            </p:nvGrpSpPr>
            <p:grpSpPr>
              <a:xfrm>
                <a:off x="5009110" y="2792542"/>
                <a:ext cx="333744" cy="365949"/>
                <a:chOff x="4715680" y="2780265"/>
                <a:chExt cx="322313" cy="354415"/>
              </a:xfrm>
            </p:grpSpPr>
            <p:sp>
              <p:nvSpPr>
                <p:cNvPr id="461" name="위쪽 화살표 4"/>
                <p:cNvSpPr/>
                <p:nvPr/>
              </p:nvSpPr>
              <p:spPr>
                <a:xfrm rot="5400000">
                  <a:off x="4719205" y="2815893"/>
                  <a:ext cx="354415" cy="283160"/>
                </a:xfrm>
                <a:prstGeom prst="upArrow">
                  <a:avLst/>
                </a:prstGeom>
                <a:solidFill>
                  <a:srgbClr val="FFFFFF">
                    <a:lumMod val="50000"/>
                  </a:srgbClr>
                </a:solidFill>
                <a:ln w="12700" algn="ctr">
                  <a:noFill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7D0900"/>
                    </a:buClr>
                    <a:buSzTx/>
                    <a:buFontTx/>
                    <a:buNone/>
                    <a:tabLst/>
                    <a:defRPr/>
                  </a:pPr>
                  <a:endParaRPr kumimoji="1" lang="ko-KR" altLang="en-US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462" name="Text Box 31"/>
                <p:cNvSpPr txBox="1">
                  <a:spLocks noChangeArrowheads="1"/>
                </p:cNvSpPr>
                <p:nvPr/>
              </p:nvSpPr>
              <p:spPr bwMode="gray">
                <a:xfrm>
                  <a:off x="4715680" y="2883153"/>
                  <a:ext cx="316372" cy="138499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 lIns="0" tIns="0" rIns="0" bIns="0" anchor="t">
                  <a:noAutofit/>
                </a:bodyPr>
                <a:lstStyle>
                  <a:lvl1pPr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1pPr>
                  <a:lvl2pPr marL="742950" indent="-28575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2pPr>
                  <a:lvl3pPr marL="11430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3pPr>
                  <a:lvl4pPr marL="16002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4pPr>
                  <a:lvl5pPr marL="2057400" indent="-228600" defTabSz="1393825"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5pPr>
                  <a:lvl6pPr marL="25146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6pPr>
                  <a:lvl7pPr marL="29718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7pPr>
                  <a:lvl8pPr marL="34290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8pPr>
                  <a:lvl9pPr marL="3886200" indent="-228600" algn="ctr" defTabSz="1393825" eaLnBrk="0" fontAlgn="base" hangingPunct="0">
                    <a:lnSpc>
                      <a:spcPct val="120000"/>
                    </a:lnSpc>
                    <a:spcBef>
                      <a:spcPct val="30000"/>
                    </a:spcBef>
                    <a:spcAft>
                      <a:spcPct val="0"/>
                    </a:spcAft>
                    <a:defRPr kumimoji="1" sz="1600" b="1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</a:defRPr>
                  </a:lvl9pPr>
                </a:lstStyle>
                <a:p>
                  <a:pPr marL="0" marR="0" lvl="0" indent="0" algn="ctr" defTabSz="139382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ko-KR" altLang="en-US" sz="9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적재</a:t>
                  </a:r>
                  <a:endParaRPr kumimoji="1" lang="en-US" altLang="ko-KR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445" name="Group 444"/>
              <p:cNvGrpSpPr/>
              <p:nvPr/>
            </p:nvGrpSpPr>
            <p:grpSpPr>
              <a:xfrm>
                <a:off x="5390712" y="2721445"/>
                <a:ext cx="555854" cy="448687"/>
                <a:chOff x="5171423" y="2711409"/>
                <a:chExt cx="536820" cy="434545"/>
              </a:xfrm>
            </p:grpSpPr>
            <p:pic>
              <p:nvPicPr>
                <p:cNvPr id="459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71423" y="2711409"/>
                  <a:ext cx="346316" cy="43454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60" name="Can 459"/>
                <p:cNvSpPr/>
                <p:nvPr/>
              </p:nvSpPr>
              <p:spPr>
                <a:xfrm>
                  <a:off x="5332100" y="2786614"/>
                  <a:ext cx="376143" cy="359005"/>
                </a:xfrm>
                <a:prstGeom prst="can">
                  <a:avLst/>
                </a:prstGeom>
                <a:solidFill>
                  <a:srgbClr val="C0C0C0"/>
                </a:solidFill>
                <a:ln>
                  <a:solidFill>
                    <a:srgbClr val="333333">
                      <a:lumMod val="75000"/>
                    </a:srgbClr>
                  </a:solidFill>
                </a:ln>
              </p:spPr>
              <p:txBody>
                <a:bodyPr rot="0" spcFirstLastPara="0" vertOverflow="overflow" horzOverflow="overflow" vert="horz" wrap="square" lIns="0" tIns="3600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ko-KR" alt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 pitchFamily="50" charset="-127"/>
                    </a:rPr>
                    <a:t>개발</a:t>
                  </a:r>
                  <a:endParaRPr kumimoji="0" lang="en-US" altLang="ko-KR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 pitchFamily="50" charset="-127"/>
                    </a:rPr>
                    <a:t>DB</a:t>
                  </a:r>
                  <a:endPara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46" name="Group 445"/>
              <p:cNvGrpSpPr/>
              <p:nvPr/>
            </p:nvGrpSpPr>
            <p:grpSpPr>
              <a:xfrm>
                <a:off x="3633709" y="2721445"/>
                <a:ext cx="555854" cy="448687"/>
                <a:chOff x="5151035" y="2711409"/>
                <a:chExt cx="536820" cy="434545"/>
              </a:xfrm>
            </p:grpSpPr>
            <p:pic>
              <p:nvPicPr>
                <p:cNvPr id="457" name="Picture 105" descr="Picture4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51035" y="2711409"/>
                  <a:ext cx="346316" cy="43454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58" name="Can 457"/>
                <p:cNvSpPr/>
                <p:nvPr/>
              </p:nvSpPr>
              <p:spPr>
                <a:xfrm>
                  <a:off x="5311712" y="2786614"/>
                  <a:ext cx="376143" cy="359005"/>
                </a:xfrm>
                <a:prstGeom prst="can">
                  <a:avLst/>
                </a:prstGeom>
                <a:solidFill>
                  <a:srgbClr val="C0C0C0"/>
                </a:solidFill>
                <a:ln>
                  <a:solidFill>
                    <a:srgbClr val="333333">
                      <a:lumMod val="75000"/>
                    </a:srgbClr>
                  </a:solidFill>
                </a:ln>
              </p:spPr>
              <p:txBody>
                <a:bodyPr rot="0" spcFirstLastPara="0" vertOverflow="overflow" horzOverflow="overflow" vert="horz" wrap="square" lIns="0" tIns="3600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ko-KR" alt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 pitchFamily="50" charset="-127"/>
                    </a:rPr>
                    <a:t>운영</a:t>
                  </a:r>
                  <a:endParaRPr kumimoji="0" lang="en-US" altLang="ko-KR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 pitchFamily="50" charset="-127"/>
                    </a:rPr>
                    <a:t>DB</a:t>
                  </a:r>
                  <a:endPara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cxnSp>
            <p:nvCxnSpPr>
              <p:cNvPr id="447" name="Straight Connector 74"/>
              <p:cNvCxnSpPr/>
              <p:nvPr/>
            </p:nvCxnSpPr>
            <p:spPr bwMode="auto">
              <a:xfrm flipV="1">
                <a:off x="4764569" y="2427791"/>
                <a:ext cx="0" cy="1152000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prstDash val="dash"/>
                <a:miter lim="800000"/>
                <a:headEnd type="none" w="med" len="med"/>
                <a:tailEnd type="none"/>
              </a:ln>
              <a:effectLst/>
            </p:spPr>
          </p:cxnSp>
          <p:sp>
            <p:nvSpPr>
              <p:cNvPr id="448" name="TextBox 447"/>
              <p:cNvSpPr txBox="1"/>
              <p:nvPr/>
            </p:nvSpPr>
            <p:spPr>
              <a:xfrm>
                <a:off x="3871733" y="3813926"/>
                <a:ext cx="2399927" cy="2701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92075" indent="-92075" fontAlgn="auto" latinLnBrk="0">
                  <a:spcBef>
                    <a:spcPts val="400"/>
                  </a:spcBef>
                  <a:spcAft>
                    <a:spcPts val="0"/>
                  </a:spcAft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ko-KR" altLang="en-US" sz="1100" b="0" kern="0" dirty="0">
                    <a:solidFill>
                      <a:srgbClr val="646464">
                        <a:lumMod val="50000"/>
                      </a:srgbClr>
                    </a:solidFill>
                    <a:latin typeface="맑은 고딕" pitchFamily="50" charset="-127"/>
                    <a:ea typeface="맑은 고딕" pitchFamily="50" charset="-127"/>
                  </a:rPr>
                  <a:t>장기 유지 데이터 관리 체계 미흡</a:t>
                </a:r>
                <a:endParaRPr lang="en-US" altLang="ko-KR" sz="110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49" name="Right Arrow 448"/>
              <p:cNvSpPr/>
              <p:nvPr/>
            </p:nvSpPr>
            <p:spPr>
              <a:xfrm>
                <a:off x="3559072" y="2433557"/>
                <a:ext cx="1176176" cy="287890"/>
              </a:xfrm>
              <a:prstGeom prst="rightArrow">
                <a:avLst/>
              </a:prstGeom>
              <a:solidFill>
                <a:srgbClr val="FFFFFF">
                  <a:lumMod val="95000"/>
                </a:srgbClr>
              </a:solidFill>
              <a:ln w="9525" algn="ctr">
                <a:solidFill>
                  <a:srgbClr val="ADABA1"/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과거 데이터 저장</a:t>
                </a:r>
              </a:p>
            </p:txBody>
          </p:sp>
          <p:sp>
            <p:nvSpPr>
              <p:cNvPr id="450" name="Right Arrow 449"/>
              <p:cNvSpPr/>
              <p:nvPr/>
            </p:nvSpPr>
            <p:spPr>
              <a:xfrm>
                <a:off x="4802939" y="2433557"/>
                <a:ext cx="1181800" cy="287890"/>
              </a:xfrm>
              <a:prstGeom prst="rightArrow">
                <a:avLst/>
              </a:prstGeom>
              <a:solidFill>
                <a:srgbClr val="FFFFFF">
                  <a:lumMod val="95000"/>
                </a:srgbClr>
              </a:solidFill>
              <a:ln w="9525" algn="ctr">
                <a:solidFill>
                  <a:srgbClr val="ADABA1"/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과거 데이터 조회</a:t>
                </a:r>
              </a:p>
            </p:txBody>
          </p:sp>
          <p:sp>
            <p:nvSpPr>
              <p:cNvPr id="451" name="TextBox 450"/>
              <p:cNvSpPr txBox="1"/>
              <p:nvPr/>
            </p:nvSpPr>
            <p:spPr>
              <a:xfrm>
                <a:off x="4211705" y="4025581"/>
                <a:ext cx="2075768" cy="444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92075" indent="-92075" fontAlgn="auto" latinLnBrk="0">
                  <a:spcBef>
                    <a:spcPts val="400"/>
                  </a:spcBef>
                  <a:spcAft>
                    <a:spcPts val="0"/>
                  </a:spcAft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ko-KR" altLang="en-US" sz="1100" b="0" kern="0" dirty="0">
                    <a:solidFill>
                      <a:srgbClr val="646464">
                        <a:lumMod val="50000"/>
                      </a:srgbClr>
                    </a:solidFill>
                    <a:latin typeface="맑은 고딕" pitchFamily="50" charset="-127"/>
                    <a:ea typeface="맑은 고딕" pitchFamily="50" charset="-127"/>
                  </a:rPr>
                  <a:t>과거 데이터 조회 시 복잡한 프로세스 수행</a:t>
                </a:r>
                <a:endParaRPr lang="en-US" altLang="ko-KR" sz="110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52" name="TextBox 451"/>
              <p:cNvSpPr txBox="1"/>
              <p:nvPr/>
            </p:nvSpPr>
            <p:spPr>
              <a:xfrm>
                <a:off x="4799937" y="4365130"/>
                <a:ext cx="1483991" cy="444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92075" indent="-92075" fontAlgn="auto" latinLnBrk="0">
                  <a:spcBef>
                    <a:spcPts val="400"/>
                  </a:spcBef>
                  <a:spcAft>
                    <a:spcPts val="0"/>
                  </a:spcAft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altLang="ko-KR" sz="1100" b="0" kern="0" dirty="0">
                    <a:solidFill>
                      <a:srgbClr val="646464">
                        <a:lumMod val="50000"/>
                      </a:srgbClr>
                    </a:solidFill>
                    <a:latin typeface="맑은 고딕" pitchFamily="50" charset="-127"/>
                    <a:ea typeface="맑은 고딕" pitchFamily="50" charset="-127"/>
                  </a:rPr>
                  <a:t>Compliance </a:t>
                </a:r>
                <a:r>
                  <a:rPr lang="ko-KR" altLang="en-US" sz="1100" b="0" kern="0" dirty="0">
                    <a:solidFill>
                      <a:srgbClr val="646464">
                        <a:lumMod val="50000"/>
                      </a:srgbClr>
                    </a:solidFill>
                    <a:latin typeface="맑은 고딕" pitchFamily="50" charset="-127"/>
                    <a:ea typeface="맑은 고딕" pitchFamily="50" charset="-127"/>
                  </a:rPr>
                  <a:t>대응 어려움</a:t>
                </a:r>
                <a:endParaRPr lang="en-US" altLang="ko-KR" sz="1100" b="0" kern="0" dirty="0">
                  <a:solidFill>
                    <a:srgbClr val="646464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pic>
            <p:nvPicPr>
              <p:cNvPr id="453" name="Picture 150" descr="그림1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 rot="11623041" flipV="1">
                <a:off x="5483555" y="3246557"/>
                <a:ext cx="360205" cy="1757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54" name="Picture 25" descr="man14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 flipH="1">
                <a:off x="5673105" y="3199691"/>
                <a:ext cx="311634" cy="287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55" name="Picture 1593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4178224" y="3219328"/>
                <a:ext cx="280337" cy="2140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56" name="Picture 1593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4178224" y="3155255"/>
                <a:ext cx="280337" cy="2140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06" name="Oval 7"/>
            <p:cNvSpPr>
              <a:spLocks noChangeArrowheads="1"/>
            </p:cNvSpPr>
            <p:nvPr/>
          </p:nvSpPr>
          <p:spPr bwMode="auto">
            <a:xfrm>
              <a:off x="2848949" y="3416968"/>
              <a:ext cx="1009792" cy="1080000"/>
            </a:xfrm>
            <a:prstGeom prst="ellipse">
              <a:avLst/>
            </a:prstGeom>
            <a:gradFill rotWithShape="1">
              <a:gsLst>
                <a:gs pos="77000">
                  <a:srgbClr val="FFFFFF"/>
                </a:gs>
                <a:gs pos="100000">
                  <a:srgbClr val="FFFFFF">
                    <a:lumMod val="95000"/>
                  </a:srgbClr>
                </a:gs>
              </a:gsLst>
              <a:path path="shape">
                <a:fillToRect l="50000" t="50000" r="50000" b="50000"/>
              </a:path>
            </a:gradFill>
            <a:ln w="38100" algn="ctr">
              <a:solidFill>
                <a:srgbClr val="333333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</a:t>
              </a:r>
              <a:endPara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</a:t>
              </a:r>
              <a:endPara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 필요</a:t>
              </a:r>
              <a:endPara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407" name="Group 406"/>
            <p:cNvGrpSpPr/>
            <p:nvPr/>
          </p:nvGrpSpPr>
          <p:grpSpPr>
            <a:xfrm>
              <a:off x="1251813" y="5157240"/>
              <a:ext cx="1900937" cy="382881"/>
              <a:chOff x="1193220" y="5236178"/>
              <a:chExt cx="2031540" cy="409187"/>
            </a:xfrm>
          </p:grpSpPr>
          <p:grpSp>
            <p:nvGrpSpPr>
              <p:cNvPr id="414" name="Group 413"/>
              <p:cNvGrpSpPr/>
              <p:nvPr/>
            </p:nvGrpSpPr>
            <p:grpSpPr>
              <a:xfrm>
                <a:off x="2803773" y="5286021"/>
                <a:ext cx="420987" cy="333348"/>
                <a:chOff x="4430266" y="3402808"/>
                <a:chExt cx="358119" cy="284367"/>
              </a:xfrm>
            </p:grpSpPr>
            <p:sp>
              <p:nvSpPr>
                <p:cNvPr id="431" name="Can 430"/>
                <p:cNvSpPr/>
                <p:nvPr/>
              </p:nvSpPr>
              <p:spPr>
                <a:xfrm>
                  <a:off x="4622142" y="3571800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32" name="Can 431"/>
                <p:cNvSpPr/>
                <p:nvPr/>
              </p:nvSpPr>
              <p:spPr>
                <a:xfrm>
                  <a:off x="4622142" y="3487304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33" name="Can 432"/>
                <p:cNvSpPr/>
                <p:nvPr/>
              </p:nvSpPr>
              <p:spPr>
                <a:xfrm>
                  <a:off x="4622142" y="3402808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pic>
              <p:nvPicPr>
                <p:cNvPr id="434" name="Picture 433"/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430266" y="3429616"/>
                  <a:ext cx="172324" cy="230751"/>
                </a:xfrm>
                <a:prstGeom prst="rect">
                  <a:avLst/>
                </a:prstGeom>
              </p:spPr>
            </p:pic>
          </p:grpSp>
          <p:grpSp>
            <p:nvGrpSpPr>
              <p:cNvPr id="415" name="Group 414"/>
              <p:cNvGrpSpPr/>
              <p:nvPr/>
            </p:nvGrpSpPr>
            <p:grpSpPr>
              <a:xfrm>
                <a:off x="2309986" y="5286021"/>
                <a:ext cx="420987" cy="333348"/>
                <a:chOff x="4430266" y="3402808"/>
                <a:chExt cx="358119" cy="284367"/>
              </a:xfrm>
            </p:grpSpPr>
            <p:sp>
              <p:nvSpPr>
                <p:cNvPr id="427" name="Can 426"/>
                <p:cNvSpPr/>
                <p:nvPr/>
              </p:nvSpPr>
              <p:spPr>
                <a:xfrm>
                  <a:off x="4622142" y="3571800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8" name="Can 427"/>
                <p:cNvSpPr/>
                <p:nvPr/>
              </p:nvSpPr>
              <p:spPr>
                <a:xfrm>
                  <a:off x="4622142" y="3487304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9" name="Can 428"/>
                <p:cNvSpPr/>
                <p:nvPr/>
              </p:nvSpPr>
              <p:spPr>
                <a:xfrm>
                  <a:off x="4622142" y="3402808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pic>
              <p:nvPicPr>
                <p:cNvPr id="430" name="Picture 429"/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430266" y="3429616"/>
                  <a:ext cx="172324" cy="230751"/>
                </a:xfrm>
                <a:prstGeom prst="rect">
                  <a:avLst/>
                </a:prstGeom>
              </p:spPr>
            </p:pic>
          </p:grpSp>
          <p:grpSp>
            <p:nvGrpSpPr>
              <p:cNvPr id="416" name="Group 415"/>
              <p:cNvGrpSpPr/>
              <p:nvPr/>
            </p:nvGrpSpPr>
            <p:grpSpPr>
              <a:xfrm>
                <a:off x="1759377" y="5286021"/>
                <a:ext cx="420987" cy="333348"/>
                <a:chOff x="4430266" y="3402808"/>
                <a:chExt cx="358119" cy="284367"/>
              </a:xfrm>
            </p:grpSpPr>
            <p:sp>
              <p:nvSpPr>
                <p:cNvPr id="423" name="Can 422"/>
                <p:cNvSpPr/>
                <p:nvPr/>
              </p:nvSpPr>
              <p:spPr>
                <a:xfrm>
                  <a:off x="4622142" y="3571800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4" name="Can 423"/>
                <p:cNvSpPr/>
                <p:nvPr/>
              </p:nvSpPr>
              <p:spPr>
                <a:xfrm>
                  <a:off x="4622142" y="3487304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5" name="Can 424"/>
                <p:cNvSpPr/>
                <p:nvPr/>
              </p:nvSpPr>
              <p:spPr>
                <a:xfrm>
                  <a:off x="4622142" y="3402808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pic>
              <p:nvPicPr>
                <p:cNvPr id="426" name="Picture 425"/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430266" y="3429616"/>
                  <a:ext cx="172324" cy="230751"/>
                </a:xfrm>
                <a:prstGeom prst="rect">
                  <a:avLst/>
                </a:prstGeom>
              </p:spPr>
            </p:pic>
          </p:grpSp>
          <p:grpSp>
            <p:nvGrpSpPr>
              <p:cNvPr id="417" name="Group 416"/>
              <p:cNvGrpSpPr/>
              <p:nvPr/>
            </p:nvGrpSpPr>
            <p:grpSpPr>
              <a:xfrm>
                <a:off x="1242444" y="5286021"/>
                <a:ext cx="420987" cy="333348"/>
                <a:chOff x="4430266" y="3402808"/>
                <a:chExt cx="358119" cy="284367"/>
              </a:xfrm>
            </p:grpSpPr>
            <p:sp>
              <p:nvSpPr>
                <p:cNvPr id="419" name="Can 418"/>
                <p:cNvSpPr/>
                <p:nvPr/>
              </p:nvSpPr>
              <p:spPr>
                <a:xfrm>
                  <a:off x="4622142" y="3571800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0" name="Can 419"/>
                <p:cNvSpPr/>
                <p:nvPr/>
              </p:nvSpPr>
              <p:spPr>
                <a:xfrm>
                  <a:off x="4622142" y="3487304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421" name="Can 420"/>
                <p:cNvSpPr/>
                <p:nvPr/>
              </p:nvSpPr>
              <p:spPr>
                <a:xfrm>
                  <a:off x="4622142" y="3402808"/>
                  <a:ext cx="166243" cy="115375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pic>
              <p:nvPicPr>
                <p:cNvPr id="422" name="Picture 421"/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430266" y="3429616"/>
                  <a:ext cx="172324" cy="230751"/>
                </a:xfrm>
                <a:prstGeom prst="rect">
                  <a:avLst/>
                </a:prstGeom>
              </p:spPr>
            </p:pic>
          </p:grpSp>
          <p:sp>
            <p:nvSpPr>
              <p:cNvPr id="418" name="Rounded Rectangle 417"/>
              <p:cNvSpPr/>
              <p:nvPr/>
            </p:nvSpPr>
            <p:spPr>
              <a:xfrm>
                <a:off x="1193220" y="5236178"/>
                <a:ext cx="1050624" cy="409187"/>
              </a:xfrm>
              <a:prstGeom prst="roundRect">
                <a:avLst>
                  <a:gd name="adj" fmla="val 7184"/>
                </a:avLst>
              </a:prstGeom>
              <a:solidFill>
                <a:srgbClr val="FFFFFF">
                  <a:alpha val="55000"/>
                </a:srgbClr>
              </a:solidFill>
              <a:ln>
                <a:solidFill>
                  <a:srgbClr val="FF0000"/>
                </a:solidFill>
                <a:prstDash val="sysDash"/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408" name="Text Box 8"/>
            <p:cNvSpPr txBox="1">
              <a:spLocks noChangeArrowheads="1"/>
            </p:cNvSpPr>
            <p:nvPr/>
          </p:nvSpPr>
          <p:spPr bwMode="auto">
            <a:xfrm>
              <a:off x="1394059" y="5554888"/>
              <a:ext cx="721220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100013" marR="0" lvl="0" indent="-100013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ko-KR" altLang="en-US" sz="105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형 폐기</a:t>
              </a:r>
              <a:endParaRPr kumimoji="0" lang="ko-KR" alt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9" name="&quot;No&quot; Symbol 408"/>
            <p:cNvSpPr/>
            <p:nvPr/>
          </p:nvSpPr>
          <p:spPr>
            <a:xfrm>
              <a:off x="1582273" y="5176290"/>
              <a:ext cx="336597" cy="360000"/>
            </a:xfrm>
            <a:prstGeom prst="noSmoking">
              <a:avLst/>
            </a:prstGeom>
            <a:solidFill>
              <a:srgbClr val="333333">
                <a:lumMod val="60000"/>
                <a:lumOff val="40000"/>
              </a:srgbClr>
            </a:solidFill>
            <a:ln>
              <a:solidFill>
                <a:srgbClr val="C0C0C0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0" name="Text Box 8"/>
            <p:cNvSpPr txBox="1">
              <a:spLocks noChangeArrowheads="1"/>
            </p:cNvSpPr>
            <p:nvPr/>
          </p:nvSpPr>
          <p:spPr bwMode="auto">
            <a:xfrm>
              <a:off x="2396997" y="5554888"/>
              <a:ext cx="721220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100013" marR="0" lvl="0" indent="-100013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ko-KR" altLang="en-US" sz="105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규 도입</a:t>
              </a:r>
              <a:endParaRPr kumimoji="0" lang="ko-KR" alt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1" name="Text Box 8"/>
            <p:cNvSpPr txBox="1">
              <a:spLocks noChangeArrowheads="1"/>
            </p:cNvSpPr>
            <p:nvPr/>
          </p:nvSpPr>
          <p:spPr bwMode="auto">
            <a:xfrm>
              <a:off x="3728342" y="5554888"/>
              <a:ext cx="1326733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100013" marR="0" lvl="0" indent="-100013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en-US" altLang="ko-KR" sz="105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Scale-out </a:t>
              </a:r>
              <a:r>
                <a:rPr kumimoji="0" lang="ko-KR" altLang="en-US" sz="105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장 필요</a:t>
              </a:r>
              <a:endParaRPr kumimoji="0" lang="ko-KR" alt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12" name="Picture 289" descr="화살표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E87F">
                  <a:tint val="45000"/>
                  <a:satMod val="400000"/>
                </a:srgbClr>
              </a:duotone>
            </a:blip>
            <a:srcRect t="14194" r="70580" b="14194"/>
            <a:stretch>
              <a:fillRect/>
            </a:stretch>
          </p:blipFill>
          <p:spPr bwMode="auto">
            <a:xfrm rot="16200000" flipH="1">
              <a:off x="2463188" y="4726132"/>
              <a:ext cx="208651" cy="6651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413" name="직사각형 91"/>
            <p:cNvSpPr/>
            <p:nvPr/>
          </p:nvSpPr>
          <p:spPr bwMode="auto">
            <a:xfrm>
              <a:off x="1755274" y="4619701"/>
              <a:ext cx="1624479" cy="44266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데이터 증가에 따른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스토리지 요구량 증가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24" name="그룹 123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4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5" name="그룹 14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125" name="오각형 74"/>
          <p:cNvSpPr/>
          <p:nvPr/>
        </p:nvSpPr>
        <p:spPr bwMode="auto">
          <a:xfrm>
            <a:off x="6645270" y="1620301"/>
            <a:ext cx="2953256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126" name="그룹 125"/>
          <p:cNvGrpSpPr/>
          <p:nvPr/>
        </p:nvGrpSpPr>
        <p:grpSpPr>
          <a:xfrm>
            <a:off x="273050" y="1620301"/>
            <a:ext cx="6241592" cy="352800"/>
            <a:chOff x="1397655" y="1982397"/>
            <a:chExt cx="4014787" cy="365811"/>
          </a:xfrm>
        </p:grpSpPr>
        <p:sp>
          <p:nvSpPr>
            <p:cNvPr id="127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dirty="0" smtClean="0">
                  <a:latin typeface="맑은 고딕"/>
                  <a:ea typeface="맑은 고딕"/>
                </a:rPr>
                <a:t>데이터 아키텍처 현황분석</a:t>
              </a:r>
              <a:endParaRPr kumimoji="0" lang="ko-KR" altLang="en-US" sz="1300" kern="0" dirty="0">
                <a:latin typeface="맑은 고딕"/>
                <a:ea typeface="맑은 고딕"/>
              </a:endParaRPr>
            </a:p>
          </p:txBody>
        </p:sp>
        <p:sp>
          <p:nvSpPr>
            <p:cNvPr id="128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1510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Back-up] End-to-End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 전사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의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이미지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2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체계는 전사 관점의 프로세스 연계를 통한 전략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의 최적화를 목표로 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d-to-End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계를 통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표 수립부터 달성까지의 관리가 용이함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타원 12"/>
          <p:cNvSpPr/>
          <p:nvPr/>
        </p:nvSpPr>
        <p:spPr bwMode="auto">
          <a:xfrm>
            <a:off x="1013211" y="2753922"/>
            <a:ext cx="7879577" cy="2052830"/>
          </a:xfrm>
          <a:prstGeom prst="ellipse">
            <a:avLst/>
          </a:prstGeom>
          <a:gradFill flip="none" rotWithShape="1">
            <a:gsLst>
              <a:gs pos="36000">
                <a:schemeClr val="accent1">
                  <a:lumMod val="20000"/>
                  <a:lumOff val="80000"/>
                </a:schemeClr>
              </a:gs>
              <a:gs pos="81000">
                <a:schemeClr val="bg1"/>
              </a:gs>
              <a:gs pos="0">
                <a:schemeClr val="accent1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8575" algn="ctr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240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</a:t>
            </a:r>
            <a:r>
              <a:rPr kumimoji="1" lang="en-US" altLang="ko-KR" sz="240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2E </a:t>
            </a:r>
            <a:r>
              <a:rPr kumimoji="1" lang="ko-KR" altLang="en-US" sz="240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계</a:t>
            </a:r>
          </a:p>
        </p:txBody>
      </p:sp>
      <p:sp>
        <p:nvSpPr>
          <p:cNvPr id="4" name="타원 3"/>
          <p:cNvSpPr/>
          <p:nvPr/>
        </p:nvSpPr>
        <p:spPr bwMode="auto">
          <a:xfrm>
            <a:off x="1892079" y="2626995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확한 예산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인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통제 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영계획 수립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합리화</a:t>
            </a:r>
          </a:p>
        </p:txBody>
      </p:sp>
      <p:sp>
        <p:nvSpPr>
          <p:cNvPr id="7" name="타원 6"/>
          <p:cNvSpPr/>
          <p:nvPr/>
        </p:nvSpPr>
        <p:spPr bwMode="auto">
          <a:xfrm>
            <a:off x="6266598" y="2716060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효율적 상품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획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출시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enewal/Drop</a:t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등 운영 효율화</a:t>
            </a:r>
          </a:p>
        </p:txBody>
      </p:sp>
      <p:sp>
        <p:nvSpPr>
          <p:cNvPr id="9" name="타원 8"/>
          <p:cNvSpPr/>
          <p:nvPr/>
        </p:nvSpPr>
        <p:spPr bwMode="auto">
          <a:xfrm>
            <a:off x="7306491" y="4120343"/>
            <a:ext cx="1565789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명확한 영업계획 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획에 따른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집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동</a:t>
            </a:r>
          </a:p>
        </p:txBody>
      </p:sp>
      <p:sp>
        <p:nvSpPr>
          <p:cNvPr id="10" name="타원 9"/>
          <p:cNvSpPr/>
          <p:nvPr/>
        </p:nvSpPr>
        <p:spPr bwMode="auto">
          <a:xfrm>
            <a:off x="578645" y="3446604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확한 손익 산출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에 따른 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계처리</a:t>
            </a:r>
          </a:p>
        </p:txBody>
      </p:sp>
      <p:sp>
        <p:nvSpPr>
          <p:cNvPr id="11" name="타원 10"/>
          <p:cNvSpPr/>
          <p:nvPr/>
        </p:nvSpPr>
        <p:spPr bwMode="auto">
          <a:xfrm>
            <a:off x="5026343" y="4474776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켓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과 연계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케팅 실행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케팅 효과 측정</a:t>
            </a:r>
          </a:p>
        </p:txBody>
      </p:sp>
      <p:sp>
        <p:nvSpPr>
          <p:cNvPr id="12" name="타원 11"/>
          <p:cNvSpPr/>
          <p:nvPr/>
        </p:nvSpPr>
        <p:spPr bwMode="auto">
          <a:xfrm>
            <a:off x="2421237" y="4392982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효율적 청구입금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 자동화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감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 단축</a:t>
            </a:r>
          </a:p>
        </p:txBody>
      </p:sp>
      <p:sp>
        <p:nvSpPr>
          <p:cNvPr id="56" name="타원 55"/>
          <p:cNvSpPr/>
          <p:nvPr/>
        </p:nvSpPr>
        <p:spPr bwMode="auto">
          <a:xfrm>
            <a:off x="4102413" y="2395365"/>
            <a:ext cx="1724400" cy="760038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품화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원가 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화</a:t>
            </a:r>
          </a:p>
        </p:txBody>
      </p:sp>
      <p:pic>
        <p:nvPicPr>
          <p:cNvPr id="30" name="Picture 5" descr="Bule User sm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00334" y="2737184"/>
            <a:ext cx="173205" cy="20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7" descr="Green User sm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856522" y="2102614"/>
            <a:ext cx="173205" cy="20832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1" descr="Red User sm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448251" y="2313816"/>
            <a:ext cx="173205" cy="20832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4" descr="Yellow User sm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17223" y="4485694"/>
            <a:ext cx="173205" cy="208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2" descr="group policy user&amp;com_s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45" y="3329441"/>
            <a:ext cx="288675" cy="238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3" descr="group policy user_s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1699" y="4018106"/>
            <a:ext cx="245374" cy="238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7" descr="Green User sm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595023" y="4277365"/>
            <a:ext cx="173205" cy="20832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이등변 삼각형 38"/>
          <p:cNvSpPr/>
          <p:nvPr/>
        </p:nvSpPr>
        <p:spPr bwMode="auto">
          <a:xfrm rot="6020368">
            <a:off x="6095982" y="2734467"/>
            <a:ext cx="101339" cy="140400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이등변 삼각형 40"/>
          <p:cNvSpPr/>
          <p:nvPr/>
        </p:nvSpPr>
        <p:spPr bwMode="auto">
          <a:xfrm rot="6584010">
            <a:off x="8324761" y="3209030"/>
            <a:ext cx="116495" cy="121767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이등변 삼각형 42"/>
          <p:cNvSpPr/>
          <p:nvPr/>
        </p:nvSpPr>
        <p:spPr bwMode="auto">
          <a:xfrm rot="15579632" flipH="1">
            <a:off x="7054596" y="4564103"/>
            <a:ext cx="101339" cy="140400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이등변 삼각형 43"/>
          <p:cNvSpPr/>
          <p:nvPr/>
        </p:nvSpPr>
        <p:spPr bwMode="auto">
          <a:xfrm rot="6020368" flipH="1" flipV="1">
            <a:off x="4462236" y="4736550"/>
            <a:ext cx="101339" cy="140400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이등변 삼각형 44"/>
          <p:cNvSpPr/>
          <p:nvPr/>
        </p:nvSpPr>
        <p:spPr bwMode="auto">
          <a:xfrm rot="15579632" flipV="1">
            <a:off x="3769030" y="2733991"/>
            <a:ext cx="101339" cy="140400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이등변 삼각형 46"/>
          <p:cNvSpPr/>
          <p:nvPr/>
        </p:nvSpPr>
        <p:spPr bwMode="auto">
          <a:xfrm rot="13461187" flipV="1">
            <a:off x="1468013" y="3222100"/>
            <a:ext cx="140707" cy="100814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26905" y="5321387"/>
            <a:ext cx="4290715" cy="786637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Big data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거래 데이터 분석을 통한 고객 니즈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 Capture</a:t>
            </a: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KLA</a:t>
            </a:r>
            <a:r>
              <a:rPr kumimoji="1" lang="en-US" altLang="ko-KR" sz="1200" b="0" baseline="30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기반 고객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Micro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세분화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실시간 마케팅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및 가맹점 연계 마케팅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(CLO</a:t>
            </a:r>
            <a:r>
              <a:rPr kumimoji="1" lang="en-US" altLang="ko-KR" sz="1200" b="0" baseline="30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실행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754279" y="1602946"/>
            <a:ext cx="2050348" cy="543664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정교한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Market Sensing</a:t>
            </a: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Factory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구현</a:t>
            </a:r>
          </a:p>
        </p:txBody>
      </p:sp>
      <p:cxnSp>
        <p:nvCxnSpPr>
          <p:cNvPr id="14" name="구부러진 연결선 13"/>
          <p:cNvCxnSpPr>
            <a:stCxn id="50" idx="2"/>
            <a:endCxn id="56" idx="2"/>
          </p:cNvCxnSpPr>
          <p:nvPr/>
        </p:nvCxnSpPr>
        <p:spPr bwMode="auto">
          <a:xfrm rot="16200000" flipH="1">
            <a:off x="3626546" y="2299517"/>
            <a:ext cx="628774" cy="322960"/>
          </a:xfrm>
          <a:prstGeom prst="curvedConnector2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cxnSp>
        <p:nvCxnSpPr>
          <p:cNvPr id="16" name="구부러진 연결선 15"/>
          <p:cNvCxnSpPr>
            <a:stCxn id="49" idx="0"/>
            <a:endCxn id="11" idx="6"/>
          </p:cNvCxnSpPr>
          <p:nvPr/>
        </p:nvCxnSpPr>
        <p:spPr bwMode="auto">
          <a:xfrm rot="16200000" flipV="1">
            <a:off x="6778207" y="4827331"/>
            <a:ext cx="466592" cy="521520"/>
          </a:xfrm>
          <a:prstGeom prst="curvedConnector2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58" name="직사각형 57"/>
          <p:cNvSpPr/>
          <p:nvPr/>
        </p:nvSpPr>
        <p:spPr bwMode="auto">
          <a:xfrm>
            <a:off x="7800629" y="3547384"/>
            <a:ext cx="2050348" cy="491868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지점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CP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지원체계 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가맹점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법인 지원 체계</a:t>
            </a:r>
          </a:p>
        </p:txBody>
      </p:sp>
      <p:cxnSp>
        <p:nvCxnSpPr>
          <p:cNvPr id="29" name="구부러진 연결선 28"/>
          <p:cNvCxnSpPr>
            <a:stCxn id="58" idx="2"/>
            <a:endCxn id="9" idx="6"/>
          </p:cNvCxnSpPr>
          <p:nvPr/>
        </p:nvCxnSpPr>
        <p:spPr bwMode="auto">
          <a:xfrm rot="16200000" flipH="1">
            <a:off x="8618486" y="4246568"/>
            <a:ext cx="461110" cy="46477"/>
          </a:xfrm>
          <a:prstGeom prst="curvedConnector4">
            <a:avLst>
              <a:gd name="adj1" fmla="val 8793"/>
              <a:gd name="adj2" fmla="val 1467982"/>
            </a:avLst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61" name="직사각형 60"/>
          <p:cNvSpPr/>
          <p:nvPr/>
        </p:nvSpPr>
        <p:spPr bwMode="auto">
          <a:xfrm>
            <a:off x="2637748" y="5366560"/>
            <a:ext cx="2050348" cy="645478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매입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청구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입금 자동화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정산 자동화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제휴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국제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7" name="구부러진 연결선 66"/>
          <p:cNvCxnSpPr>
            <a:stCxn id="61" idx="0"/>
            <a:endCxn id="12" idx="4"/>
          </p:cNvCxnSpPr>
          <p:nvPr/>
        </p:nvCxnSpPr>
        <p:spPr bwMode="auto">
          <a:xfrm rot="16200000" flipV="1">
            <a:off x="3366410" y="5070047"/>
            <a:ext cx="213540" cy="37948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69" name="직사각형 68"/>
          <p:cNvSpPr/>
          <p:nvPr/>
        </p:nvSpPr>
        <p:spPr bwMode="auto">
          <a:xfrm>
            <a:off x="6236923" y="2052493"/>
            <a:ext cx="2294896" cy="450570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상품 손익 산정 체계 구현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PLC 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체계 구현</a:t>
            </a:r>
          </a:p>
        </p:txBody>
      </p:sp>
      <p:cxnSp>
        <p:nvCxnSpPr>
          <p:cNvPr id="73" name="구부러진 연결선 72"/>
          <p:cNvCxnSpPr>
            <a:stCxn id="69" idx="2"/>
            <a:endCxn id="7" idx="0"/>
          </p:cNvCxnSpPr>
          <p:nvPr/>
        </p:nvCxnSpPr>
        <p:spPr bwMode="auto">
          <a:xfrm rot="5400000">
            <a:off x="7150087" y="2481775"/>
            <a:ext cx="212997" cy="255573"/>
          </a:xfrm>
          <a:prstGeom prst="curvedConnector3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86" name="이등변 삼각형 85"/>
          <p:cNvSpPr/>
          <p:nvPr/>
        </p:nvSpPr>
        <p:spPr bwMode="auto">
          <a:xfrm rot="7601983" flipH="1" flipV="1">
            <a:off x="1490451" y="4224648"/>
            <a:ext cx="101339" cy="140400"/>
          </a:xfrm>
          <a:prstGeom prst="triangle">
            <a:avLst/>
          </a:prstGeom>
          <a:solidFill>
            <a:schemeClr val="tx2"/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271167" y="2089897"/>
            <a:ext cx="2050348" cy="305469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경영관리 체계 구현</a:t>
            </a:r>
          </a:p>
        </p:txBody>
      </p:sp>
      <p:cxnSp>
        <p:nvCxnSpPr>
          <p:cNvPr id="90" name="구부러진 연결선 89"/>
          <p:cNvCxnSpPr>
            <a:stCxn id="88" idx="2"/>
            <a:endCxn id="4" idx="2"/>
          </p:cNvCxnSpPr>
          <p:nvPr/>
        </p:nvCxnSpPr>
        <p:spPr bwMode="auto">
          <a:xfrm rot="16200000" flipH="1">
            <a:off x="1288386" y="2403320"/>
            <a:ext cx="611648" cy="595738"/>
          </a:xfrm>
          <a:prstGeom prst="curvedConnector2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92" name="직사각형 91"/>
          <p:cNvSpPr/>
          <p:nvPr/>
        </p:nvSpPr>
        <p:spPr bwMode="auto">
          <a:xfrm>
            <a:off x="168680" y="4735333"/>
            <a:ext cx="2404446" cy="725824"/>
          </a:xfrm>
          <a:prstGeom prst="rect">
            <a:avLst/>
          </a:prstGeom>
          <a:solidFill>
            <a:schemeClr val="tx1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anchor="ctr"/>
          <a:lstStyle/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통합 비용관리 체계 구현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marL="174625" indent="-17462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회계 관리 시스템 고도화</a:t>
            </a:r>
            <a:endParaRPr kumimoji="1" lang="en-US" altLang="ko-KR" sz="1200" kern="0" dirty="0">
              <a:latin typeface="맑은 고딕" pitchFamily="50" charset="-127"/>
              <a:ea typeface="맑은 고딕" pitchFamily="50" charset="-127"/>
            </a:endParaRPr>
          </a:p>
          <a:p>
            <a:pPr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kern="0" dirty="0">
                <a:latin typeface="맑은 고딕" pitchFamily="50" charset="-127"/>
                <a:ea typeface="맑은 고딕" pitchFamily="50" charset="-127"/>
              </a:rPr>
              <a:t>분사 대비 독립 회계 고려</a:t>
            </a:r>
            <a:r>
              <a:rPr kumimoji="1" lang="en-US" altLang="ko-KR" sz="1200" kern="0" dirty="0"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9" name="구부러진 연결선 98"/>
          <p:cNvCxnSpPr>
            <a:stCxn id="92" idx="0"/>
            <a:endCxn id="10" idx="3"/>
          </p:cNvCxnSpPr>
          <p:nvPr/>
        </p:nvCxnSpPr>
        <p:spPr bwMode="auto">
          <a:xfrm rot="16200000" flipV="1">
            <a:off x="781043" y="4145472"/>
            <a:ext cx="639996" cy="539725"/>
          </a:xfrm>
          <a:prstGeom prst="curvedConnector3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sm" len="sm"/>
            <a:tailEnd type="triangle"/>
          </a:ln>
          <a:effectLst/>
        </p:spPr>
      </p:cxnSp>
      <p:sp>
        <p:nvSpPr>
          <p:cNvPr id="106" name="TextBox 105"/>
          <p:cNvSpPr txBox="1"/>
          <p:nvPr/>
        </p:nvSpPr>
        <p:spPr bwMode="auto">
          <a:xfrm>
            <a:off x="2573126" y="2162754"/>
            <a:ext cx="688256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경영계획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07" name="TextBox 106"/>
          <p:cNvSpPr txBox="1"/>
          <p:nvPr/>
        </p:nvSpPr>
        <p:spPr bwMode="auto">
          <a:xfrm>
            <a:off x="5032804" y="1879307"/>
            <a:ext cx="688256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상품기획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08" name="TextBox 107"/>
          <p:cNvSpPr txBox="1"/>
          <p:nvPr/>
        </p:nvSpPr>
        <p:spPr bwMode="auto">
          <a:xfrm>
            <a:off x="7950183" y="2625452"/>
            <a:ext cx="688256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상품출시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09" name="TextBox 108"/>
          <p:cNvSpPr txBox="1"/>
          <p:nvPr/>
        </p:nvSpPr>
        <p:spPr bwMode="auto">
          <a:xfrm>
            <a:off x="6880375" y="3974214"/>
            <a:ext cx="534368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영업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10" name="TextBox 109"/>
          <p:cNvSpPr txBox="1"/>
          <p:nvPr/>
        </p:nvSpPr>
        <p:spPr bwMode="auto">
          <a:xfrm>
            <a:off x="4202944" y="4310511"/>
            <a:ext cx="1135605" cy="3659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마케팅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캠페인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11" name="TextBox 110"/>
          <p:cNvSpPr txBox="1"/>
          <p:nvPr/>
        </p:nvSpPr>
        <p:spPr bwMode="auto">
          <a:xfrm>
            <a:off x="839972" y="3080796"/>
            <a:ext cx="534368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회계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113" name="TextBox 112"/>
          <p:cNvSpPr txBox="1"/>
          <p:nvPr/>
        </p:nvSpPr>
        <p:spPr bwMode="auto">
          <a:xfrm>
            <a:off x="2024125" y="4101009"/>
            <a:ext cx="688256" cy="277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매출관리</a:t>
            </a: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담당자</a:t>
            </a:r>
          </a:p>
        </p:txBody>
      </p:sp>
      <p:sp>
        <p:nvSpPr>
          <p:cNvPr id="51" name="Text Box 4"/>
          <p:cNvSpPr txBox="1">
            <a:spLocks noChangeArrowheads="1"/>
          </p:cNvSpPr>
          <p:nvPr/>
        </p:nvSpPr>
        <p:spPr bwMode="gray">
          <a:xfrm>
            <a:off x="349565" y="6199378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marL="176213" indent="-176213" latinLnBrk="0">
              <a:lnSpc>
                <a:spcPct val="70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altLang="ko-KR" sz="8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KLA (Key Life Area)  2)CLO (Card Linked Offers)</a:t>
            </a:r>
          </a:p>
        </p:txBody>
      </p:sp>
      <p:sp>
        <p:nvSpPr>
          <p:cNvPr id="5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범위 및 추진 전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28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아키텍처 개선 및 데이터 보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용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율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>
              <a:lnSpc>
                <a:spcPct val="110000"/>
              </a:lnSpc>
              <a:buClr>
                <a:srgbClr val="47357B"/>
              </a:buClr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정책의 정비를 통한 업무지원 역량 강화 및 데이터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조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을 통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관리체계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강화하여 전행 데이터 거버넌스 체계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립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AutoShape 41"/>
          <p:cNvSpPr>
            <a:spLocks noChangeArrowheads="1"/>
          </p:cNvSpPr>
          <p:nvPr/>
        </p:nvSpPr>
        <p:spPr bwMode="auto">
          <a:xfrm>
            <a:off x="6610351" y="2514572"/>
            <a:ext cx="2735260" cy="3290692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algn="ctr">
            <a:noFill/>
            <a:round/>
            <a:headEnd/>
            <a:tailEnd/>
          </a:ln>
        </p:spPr>
        <p:txBody>
          <a:bodyPr lIns="36000" tIns="72000" rIns="36000" bIns="72000"/>
          <a:lstStyle/>
          <a:p>
            <a:pPr marL="9525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전행 데이터 거버넌스 체계 수립</a:t>
            </a:r>
            <a:endParaRPr kumimoji="0" lang="en-US" altLang="ko-KR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전행 데이터 관리 정책 수립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표준 데이터 정제 및 관리 대상 확대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통합과 표준을 고려한 전행 데이터 구조 재정립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데이터 관리 영역 확대에 따른 조직 정비 및 강화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통합 데이터 관리를 위한 시스템 개선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9525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데이터 관리 정책 정비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메타 데이터 표준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부표준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비표준의 표준 통합 필요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공통코드의 메타 데이터 통합 관리 필요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80975" marR="0" lvl="0" indent="-180975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데이터 변경 영향도 및 정합성 검증 등 관리 프로세스 강화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85" name="AutoShape 16"/>
          <p:cNvSpPr>
            <a:spLocks noChangeArrowheads="1"/>
          </p:cNvSpPr>
          <p:nvPr/>
        </p:nvSpPr>
        <p:spPr bwMode="auto">
          <a:xfrm>
            <a:off x="6610351" y="1982398"/>
            <a:ext cx="2735260" cy="369718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방안</a:t>
            </a:r>
          </a:p>
        </p:txBody>
      </p:sp>
      <p:cxnSp>
        <p:nvCxnSpPr>
          <p:cNvPr id="86" name="Straight Connector 74"/>
          <p:cNvCxnSpPr/>
          <p:nvPr/>
        </p:nvCxnSpPr>
        <p:spPr bwMode="auto">
          <a:xfrm flipV="1">
            <a:off x="6516010" y="2198332"/>
            <a:ext cx="0" cy="399600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/>
          </a:ln>
          <a:effectLst/>
        </p:spPr>
      </p:cxnSp>
      <p:grpSp>
        <p:nvGrpSpPr>
          <p:cNvPr id="4" name="그룹 3"/>
          <p:cNvGrpSpPr/>
          <p:nvPr/>
        </p:nvGrpSpPr>
        <p:grpSpPr>
          <a:xfrm>
            <a:off x="700838" y="1982397"/>
            <a:ext cx="5616264" cy="365811"/>
            <a:chOff x="1397655" y="1982397"/>
            <a:chExt cx="4014787" cy="365811"/>
          </a:xfrm>
        </p:grpSpPr>
        <p:sp>
          <p:nvSpPr>
            <p:cNvPr id="88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100013" marR="0" lvl="0" indent="-100013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ko-KR" alt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전</a:t>
              </a:r>
              <a:r>
                <a:rPr kumimoji="0" lang="ko-KR" altLang="en-US" sz="1300" kern="0" dirty="0">
                  <a:solidFill>
                    <a:srgbClr val="333333"/>
                  </a:solidFill>
                  <a:latin typeface="맑은 고딕"/>
                  <a:ea typeface="맑은 고딕"/>
                </a:rPr>
                <a:t>사</a:t>
              </a:r>
              <a:r>
                <a:rPr kumimoji="0" lang="ko-KR" alt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데이터 거버넌스 체계 수립</a:t>
              </a:r>
              <a:endPara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89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pic>
        <p:nvPicPr>
          <p:cNvPr id="90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5400000" flipH="1">
            <a:off x="3326416" y="3374049"/>
            <a:ext cx="387066" cy="154313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1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12600000" flipH="1">
            <a:off x="1939207" y="3910328"/>
            <a:ext cx="862990" cy="5617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2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19440422" flipH="1">
            <a:off x="4243589" y="3888485"/>
            <a:ext cx="862990" cy="5617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3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5400000" flipH="1">
            <a:off x="3326416" y="4741544"/>
            <a:ext cx="387066" cy="84982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4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9900000" flipH="1">
            <a:off x="1842558" y="4640562"/>
            <a:ext cx="862990" cy="5617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5" name="Picture 289" descr="화살표"/>
          <p:cNvPicPr>
            <a:picLocks noChangeAspect="1" noChangeArrowheads="1"/>
          </p:cNvPicPr>
          <p:nvPr/>
        </p:nvPicPr>
        <p:blipFill>
          <a:blip r:embed="rId39" cstate="print">
            <a:duotone>
              <a:prstClr val="black"/>
              <a:srgbClr val="FFE87F">
                <a:tint val="45000"/>
                <a:satMod val="400000"/>
              </a:srgbClr>
            </a:duotone>
          </a:blip>
          <a:srcRect t="14194" r="70580" b="14194"/>
          <a:stretch>
            <a:fillRect/>
          </a:stretch>
        </p:blipFill>
        <p:spPr bwMode="auto">
          <a:xfrm rot="900000" flipH="1">
            <a:off x="4320052" y="4640562"/>
            <a:ext cx="862990" cy="56178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grpSp>
        <p:nvGrpSpPr>
          <p:cNvPr id="96" name="Group 95"/>
          <p:cNvGrpSpPr/>
          <p:nvPr/>
        </p:nvGrpSpPr>
        <p:grpSpPr>
          <a:xfrm>
            <a:off x="559638" y="2538210"/>
            <a:ext cx="1440002" cy="1714612"/>
            <a:chOff x="1545761" y="3486848"/>
            <a:chExt cx="814766" cy="1076375"/>
          </a:xfrm>
        </p:grpSpPr>
        <p:sp>
          <p:nvSpPr>
            <p:cNvPr id="97" name="TextBox 96"/>
            <p:cNvSpPr txBox="1"/>
            <p:nvPr>
              <p:custDataLst>
                <p:tags r:id="rId32"/>
              </p:custDataLst>
            </p:nvPr>
          </p:nvSpPr>
          <p:spPr>
            <a:xfrm>
              <a:off x="1545762" y="3689490"/>
              <a:ext cx="814765" cy="87373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98" name="TextBox 97"/>
            <p:cNvSpPr txBox="1"/>
            <p:nvPr>
              <p:custDataLst>
                <p:tags r:id="rId33"/>
              </p:custDataLst>
            </p:nvPr>
          </p:nvSpPr>
          <p:spPr>
            <a:xfrm>
              <a:off x="1545761" y="3486848"/>
              <a:ext cx="814765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표준 관리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99" name="TextBox 98"/>
            <p:cNvSpPr txBox="1"/>
            <p:nvPr>
              <p:custDataLst>
                <p:tags r:id="rId34"/>
              </p:custDataLst>
            </p:nvPr>
          </p:nvSpPr>
          <p:spPr>
            <a:xfrm>
              <a:off x="1573388" y="3721349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표준용어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0" name="TextBox 99"/>
            <p:cNvSpPr txBox="1"/>
            <p:nvPr>
              <p:custDataLst>
                <p:tags r:id="rId35"/>
              </p:custDataLst>
            </p:nvPr>
          </p:nvSpPr>
          <p:spPr>
            <a:xfrm>
              <a:off x="1573388" y="3933886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표준 도메인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1" name="TextBox 100"/>
            <p:cNvSpPr txBox="1"/>
            <p:nvPr>
              <p:custDataLst>
                <p:tags r:id="rId36"/>
              </p:custDataLst>
            </p:nvPr>
          </p:nvSpPr>
          <p:spPr>
            <a:xfrm>
              <a:off x="1573388" y="4142261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표준 프로세스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2" name="TextBox 101"/>
            <p:cNvSpPr txBox="1"/>
            <p:nvPr>
              <p:custDataLst>
                <p:tags r:id="rId37"/>
              </p:custDataLst>
            </p:nvPr>
          </p:nvSpPr>
          <p:spPr>
            <a:xfrm>
              <a:off x="1573388" y="4350752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명명 규칙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559639" y="4468852"/>
            <a:ext cx="1440202" cy="1714612"/>
            <a:chOff x="1545761" y="3486848"/>
            <a:chExt cx="814879" cy="1076375"/>
          </a:xfrm>
        </p:grpSpPr>
        <p:sp>
          <p:nvSpPr>
            <p:cNvPr id="104" name="TextBox 103"/>
            <p:cNvSpPr txBox="1"/>
            <p:nvPr>
              <p:custDataLst>
                <p:tags r:id="rId26"/>
              </p:custDataLst>
            </p:nvPr>
          </p:nvSpPr>
          <p:spPr>
            <a:xfrm>
              <a:off x="1545762" y="3689490"/>
              <a:ext cx="814878" cy="87373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5" name="TextBox 104"/>
            <p:cNvSpPr txBox="1"/>
            <p:nvPr>
              <p:custDataLst>
                <p:tags r:id="rId27"/>
              </p:custDataLst>
            </p:nvPr>
          </p:nvSpPr>
          <p:spPr>
            <a:xfrm>
              <a:off x="1545761" y="3486848"/>
              <a:ext cx="814879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모델 관리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6" name="TextBox 105"/>
            <p:cNvSpPr txBox="1"/>
            <p:nvPr>
              <p:custDataLst>
                <p:tags r:id="rId28"/>
              </p:custDataLst>
            </p:nvPr>
          </p:nvSpPr>
          <p:spPr>
            <a:xfrm>
              <a:off x="1573388" y="3721349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주제영역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7" name="TextBox 106"/>
            <p:cNvSpPr txBox="1"/>
            <p:nvPr>
              <p:custDataLst>
                <p:tags r:id="rId29"/>
              </p:custDataLst>
            </p:nvPr>
          </p:nvSpPr>
          <p:spPr>
            <a:xfrm>
              <a:off x="1573388" y="3933886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개념모델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8" name="TextBox 107"/>
            <p:cNvSpPr txBox="1"/>
            <p:nvPr>
              <p:custDataLst>
                <p:tags r:id="rId30"/>
              </p:custDataLst>
            </p:nvPr>
          </p:nvSpPr>
          <p:spPr>
            <a:xfrm>
              <a:off x="1573388" y="4142261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논리모델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9" name="TextBox 108"/>
            <p:cNvSpPr txBox="1"/>
            <p:nvPr>
              <p:custDataLst>
                <p:tags r:id="rId31"/>
              </p:custDataLst>
            </p:nvPr>
          </p:nvSpPr>
          <p:spPr>
            <a:xfrm>
              <a:off x="1573388" y="4350752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물리모델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4941253" y="4468852"/>
            <a:ext cx="1440227" cy="1714612"/>
            <a:chOff x="1545748" y="3486848"/>
            <a:chExt cx="814893" cy="1076375"/>
          </a:xfrm>
        </p:grpSpPr>
        <p:sp>
          <p:nvSpPr>
            <p:cNvPr id="111" name="TextBox 110"/>
            <p:cNvSpPr txBox="1"/>
            <p:nvPr>
              <p:custDataLst>
                <p:tags r:id="rId20"/>
              </p:custDataLst>
            </p:nvPr>
          </p:nvSpPr>
          <p:spPr>
            <a:xfrm>
              <a:off x="1545762" y="3689490"/>
              <a:ext cx="814878" cy="87373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2" name="TextBox 111"/>
            <p:cNvSpPr txBox="1"/>
            <p:nvPr>
              <p:custDataLst>
                <p:tags r:id="rId21"/>
              </p:custDataLst>
            </p:nvPr>
          </p:nvSpPr>
          <p:spPr>
            <a:xfrm>
              <a:off x="1545748" y="3486848"/>
              <a:ext cx="814893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품질 관리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22"/>
              </p:custDataLst>
            </p:nvPr>
          </p:nvSpPr>
          <p:spPr>
            <a:xfrm>
              <a:off x="1573388" y="3721349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정합성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4" name="TextBox 113"/>
            <p:cNvSpPr txBox="1"/>
            <p:nvPr>
              <p:custDataLst>
                <p:tags r:id="rId23"/>
              </p:custDataLst>
            </p:nvPr>
          </p:nvSpPr>
          <p:spPr>
            <a:xfrm>
              <a:off x="1573388" y="3933886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품질지표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5" name="TextBox 114"/>
            <p:cNvSpPr txBox="1"/>
            <p:nvPr>
              <p:custDataLst>
                <p:tags r:id="rId24"/>
              </p:custDataLst>
            </p:nvPr>
          </p:nvSpPr>
          <p:spPr>
            <a:xfrm>
              <a:off x="1573388" y="4142261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표준준수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6" name="TextBox 115"/>
            <p:cNvSpPr txBox="1"/>
            <p:nvPr>
              <p:custDataLst>
                <p:tags r:id="rId25"/>
              </p:custDataLst>
            </p:nvPr>
          </p:nvSpPr>
          <p:spPr>
            <a:xfrm>
              <a:off x="1573388" y="4350752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품질개선활동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2327755" y="2538210"/>
            <a:ext cx="2408438" cy="1376157"/>
            <a:chOff x="1545762" y="3486848"/>
            <a:chExt cx="809347" cy="863905"/>
          </a:xfrm>
        </p:grpSpPr>
        <p:sp>
          <p:nvSpPr>
            <p:cNvPr id="118" name="TextBox 117"/>
            <p:cNvSpPr txBox="1"/>
            <p:nvPr>
              <p:custDataLst>
                <p:tags r:id="rId13"/>
              </p:custDataLst>
            </p:nvPr>
          </p:nvSpPr>
          <p:spPr>
            <a:xfrm>
              <a:off x="1545762" y="3689493"/>
              <a:ext cx="809347" cy="66126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19" name="TextBox 118"/>
            <p:cNvSpPr txBox="1"/>
            <p:nvPr>
              <p:custDataLst>
                <p:tags r:id="rId14"/>
              </p:custDataLst>
            </p:nvPr>
          </p:nvSpPr>
          <p:spPr>
            <a:xfrm>
              <a:off x="1545762" y="3486848"/>
              <a:ext cx="809334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메타 데이터 관리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0" name="TextBox 119"/>
            <p:cNvSpPr txBox="1"/>
            <p:nvPr>
              <p:custDataLst>
                <p:tags r:id="rId15"/>
              </p:custDataLst>
            </p:nvPr>
          </p:nvSpPr>
          <p:spPr>
            <a:xfrm>
              <a:off x="1573388" y="3721349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표준화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1" name="TextBox 120"/>
            <p:cNvSpPr txBox="1"/>
            <p:nvPr>
              <p:custDataLst>
                <p:tags r:id="rId16"/>
              </p:custDataLst>
            </p:nvPr>
          </p:nvSpPr>
          <p:spPr>
            <a:xfrm>
              <a:off x="1573388" y="3933886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모델링 정보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2" name="TextBox 121"/>
            <p:cNvSpPr txBox="1"/>
            <p:nvPr>
              <p:custDataLst>
                <p:tags r:id="rId17"/>
              </p:custDataLst>
            </p:nvPr>
          </p:nvSpPr>
          <p:spPr>
            <a:xfrm>
              <a:off x="1573388" y="4142261"/>
              <a:ext cx="751252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연동도구 메타 정보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3" name="TextBox 122"/>
            <p:cNvSpPr txBox="1"/>
            <p:nvPr>
              <p:custDataLst>
                <p:tags r:id="rId18"/>
              </p:custDataLst>
            </p:nvPr>
          </p:nvSpPr>
          <p:spPr>
            <a:xfrm>
              <a:off x="1961710" y="3721349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DB 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정보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4" name="TextBox 123"/>
            <p:cNvSpPr txBox="1"/>
            <p:nvPr>
              <p:custDataLst>
                <p:tags r:id="rId19"/>
              </p:custDataLst>
            </p:nvPr>
          </p:nvSpPr>
          <p:spPr>
            <a:xfrm>
              <a:off x="1961710" y="3933886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OLAP 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정보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sp>
        <p:nvSpPr>
          <p:cNvPr id="125" name="Can 124"/>
          <p:cNvSpPr/>
          <p:nvPr/>
        </p:nvSpPr>
        <p:spPr>
          <a:xfrm>
            <a:off x="2922574" y="4209840"/>
            <a:ext cx="1194750" cy="740785"/>
          </a:xfrm>
          <a:prstGeom prst="can">
            <a:avLst/>
          </a:prstGeom>
          <a:solidFill>
            <a:srgbClr val="C0C0C0"/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rot="0" spcFirstLastPara="0" vertOverflow="overflow" horzOverflow="overflow" vert="horz" wrap="square" lIns="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메타 데이터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rPr>
              <a:t>Repository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2327755" y="5135243"/>
            <a:ext cx="2408438" cy="1048221"/>
            <a:chOff x="1545762" y="3486848"/>
            <a:chExt cx="809347" cy="658038"/>
          </a:xfrm>
        </p:grpSpPr>
        <p:sp>
          <p:nvSpPr>
            <p:cNvPr id="127" name="TextBox 126"/>
            <p:cNvSpPr txBox="1"/>
            <p:nvPr>
              <p:custDataLst>
                <p:tags r:id="rId7"/>
              </p:custDataLst>
            </p:nvPr>
          </p:nvSpPr>
          <p:spPr>
            <a:xfrm>
              <a:off x="1545762" y="3689494"/>
              <a:ext cx="809347" cy="45539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8" name="TextBox 127"/>
            <p:cNvSpPr txBox="1"/>
            <p:nvPr>
              <p:custDataLst>
                <p:tags r:id="rId8"/>
              </p:custDataLst>
            </p:nvPr>
          </p:nvSpPr>
          <p:spPr>
            <a:xfrm>
              <a:off x="1545762" y="3486848"/>
              <a:ext cx="809334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베이스 관리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29" name="TextBox 128"/>
            <p:cNvSpPr txBox="1"/>
            <p:nvPr>
              <p:custDataLst>
                <p:tags r:id="rId9"/>
              </p:custDataLst>
            </p:nvPr>
          </p:nvSpPr>
          <p:spPr>
            <a:xfrm>
              <a:off x="1573388" y="3721349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성능 관리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0" name="TextBox 129"/>
            <p:cNvSpPr txBox="1"/>
            <p:nvPr>
              <p:custDataLst>
                <p:tags r:id="rId10"/>
              </p:custDataLst>
            </p:nvPr>
          </p:nvSpPr>
          <p:spPr>
            <a:xfrm>
              <a:off x="1573388" y="3933886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보안 관리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1" name="TextBox 130"/>
            <p:cNvSpPr txBox="1"/>
            <p:nvPr>
              <p:custDataLst>
                <p:tags r:id="rId11"/>
              </p:custDataLst>
            </p:nvPr>
          </p:nvSpPr>
          <p:spPr>
            <a:xfrm>
              <a:off x="1961710" y="3721349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용량 관리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2" name="TextBox 131"/>
            <p:cNvSpPr txBox="1"/>
            <p:nvPr>
              <p:custDataLst>
                <p:tags r:id="rId12"/>
              </p:custDataLst>
            </p:nvPr>
          </p:nvSpPr>
          <p:spPr>
            <a:xfrm>
              <a:off x="1961710" y="3933886"/>
              <a:ext cx="362930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변화 관리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4941251" y="2538211"/>
            <a:ext cx="1440227" cy="1714612"/>
            <a:chOff x="1545747" y="3486848"/>
            <a:chExt cx="814893" cy="1076375"/>
          </a:xfrm>
        </p:grpSpPr>
        <p:sp>
          <p:nvSpPr>
            <p:cNvPr id="134" name="TextBox 133"/>
            <p:cNvSpPr txBox="1"/>
            <p:nvPr>
              <p:custDataLst>
                <p:tags r:id="rId1"/>
              </p:custDataLst>
            </p:nvPr>
          </p:nvSpPr>
          <p:spPr>
            <a:xfrm>
              <a:off x="1545762" y="3689490"/>
              <a:ext cx="814878" cy="87373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5" name="TextBox 134"/>
            <p:cNvSpPr txBox="1"/>
            <p:nvPr>
              <p:custDataLst>
                <p:tags r:id="rId2"/>
              </p:custDataLst>
            </p:nvPr>
          </p:nvSpPr>
          <p:spPr>
            <a:xfrm>
              <a:off x="1545747" y="3486848"/>
              <a:ext cx="814893" cy="202642"/>
            </a:xfrm>
            <a:prstGeom prst="rect">
              <a:avLst/>
            </a:prstGeom>
            <a:solidFill>
              <a:srgbClr val="333333">
                <a:lumMod val="20000"/>
                <a:lumOff val="80000"/>
              </a:srgbClr>
            </a:solidFill>
            <a:ln w="12700">
              <a:solidFill>
                <a:srgbClr val="858585"/>
              </a:solidFill>
            </a:ln>
          </p:spPr>
          <p:txBody>
            <a:bodyPr vert="horz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변경 영향 분석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6" name="TextBox 135"/>
            <p:cNvSpPr txBox="1"/>
            <p:nvPr>
              <p:custDataLst>
                <p:tags r:id="rId3"/>
              </p:custDataLst>
            </p:nvPr>
          </p:nvSpPr>
          <p:spPr>
            <a:xfrm>
              <a:off x="1573388" y="3721349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비즈니스 영향 분석</a:t>
              </a:r>
            </a:p>
          </p:txBody>
        </p:sp>
        <p:sp>
          <p:nvSpPr>
            <p:cNvPr id="137" name="TextBox 136"/>
            <p:cNvSpPr txBox="1"/>
            <p:nvPr>
              <p:custDataLst>
                <p:tags r:id="rId4"/>
              </p:custDataLst>
            </p:nvPr>
          </p:nvSpPr>
          <p:spPr>
            <a:xfrm>
              <a:off x="1573388" y="3933886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기술 영향 분석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8" name="TextBox 137"/>
            <p:cNvSpPr txBox="1"/>
            <p:nvPr>
              <p:custDataLst>
                <p:tags r:id="rId5"/>
              </p:custDataLst>
            </p:nvPr>
          </p:nvSpPr>
          <p:spPr>
            <a:xfrm>
              <a:off x="1573388" y="4142261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변경 승인 프로세스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39" name="TextBox 138"/>
            <p:cNvSpPr txBox="1"/>
            <p:nvPr>
              <p:custDataLst>
                <p:tags r:id="rId6"/>
              </p:custDataLst>
            </p:nvPr>
          </p:nvSpPr>
          <p:spPr>
            <a:xfrm>
              <a:off x="1573388" y="4350752"/>
              <a:ext cx="761766" cy="17078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변경 내역 관리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sp>
        <p:nvSpPr>
          <p:cNvPr id="14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4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2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43" name="TextBox 142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데이터 표준 재수립 및 관리 프로세스 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개선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44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5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146" name="TextBox 14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49" name="그룹 14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5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5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5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5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54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55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56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57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58" name="그룹 157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6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981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아키텍처 개선 및 데이터 보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용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율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>
              <a:lnSpc>
                <a:spcPct val="110000"/>
              </a:lnSpc>
              <a:buClr>
                <a:srgbClr val="47357B"/>
              </a:buClr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기 유지되는 데이터의 관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 비용의 절감과 필요 데이터 접근에 대한 적시성 향상을 위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LM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체계 구축과 과거 거래내역 조회 시스템 구축을 검토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9" name="Group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986903"/>
              </p:ext>
            </p:extLst>
          </p:nvPr>
        </p:nvGraphicFramePr>
        <p:xfrm>
          <a:off x="509111" y="2060810"/>
          <a:ext cx="8908509" cy="4176060"/>
        </p:xfrm>
        <a:graphic>
          <a:graphicData uri="http://schemas.openxmlformats.org/drawingml/2006/table">
            <a:tbl>
              <a:tblPr/>
              <a:tblGrid>
                <a:gridCol w="1558955"/>
                <a:gridCol w="3461014"/>
                <a:gridCol w="2088290"/>
                <a:gridCol w="1800250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구축 방안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구축 방안 상세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주요 특징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기대 효과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</a:tr>
              <a:tr h="1872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LM (Information Lifecycle Management) 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프로세스 및 체계 구축</a:t>
                      </a: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2667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를 정보의 가치에 따라 분류하고 비용 측면에서 가장 효과적인 미디어에 저장되도록 함</a:t>
                      </a:r>
                      <a:endParaRPr lang="en-US" altLang="ko-KR" sz="1100" kern="0" baseline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가치 식별</a:t>
                      </a:r>
                      <a:r>
                        <a:rPr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관 주기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및 정책을 수립하고 이에 따라 데이터의 이동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유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삭제를 수행</a:t>
                      </a:r>
                      <a:endParaRPr lang="en-US" altLang="ko-KR" sz="1100" kern="0" baseline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관리 보유 비용 절감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가치 식별 능력 향상 및 데이터 관리 프로세스 효율화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72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과거 거래내역 조회 시스템 구축</a:t>
                      </a: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2667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테입 복원 방식 대비 단순 쿼리 방식으로 데이터 조회 편의성 및 보안성 향상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필요 데이터를 적시에 조회하고 분석할 수 있음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테이블 압축을 통한 데이터 보유 비용 절감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과거 데이터 유지 관리 비용 절감</a:t>
                      </a:r>
                      <a:endParaRPr lang="en-US" altLang="ko-KR" sz="1100" kern="0" noProof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안성 향상</a:t>
                      </a:r>
                      <a:endParaRPr lang="en-US" altLang="ko-KR" sz="1100" kern="0" noProof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필요 데이터 접근에 대한 적시성 향상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0" name="Group 59"/>
          <p:cNvGrpSpPr/>
          <p:nvPr/>
        </p:nvGrpSpPr>
        <p:grpSpPr>
          <a:xfrm>
            <a:off x="2168812" y="4509150"/>
            <a:ext cx="3226226" cy="1672969"/>
            <a:chOff x="2168812" y="4509150"/>
            <a:chExt cx="3226226" cy="1672969"/>
          </a:xfrm>
        </p:grpSpPr>
        <p:cxnSp>
          <p:nvCxnSpPr>
            <p:cNvPr id="61" name="Straight Connector 74"/>
            <p:cNvCxnSpPr/>
            <p:nvPr/>
          </p:nvCxnSpPr>
          <p:spPr bwMode="auto">
            <a:xfrm flipV="1">
              <a:off x="3991334" y="4575723"/>
              <a:ext cx="0" cy="128710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miter lim="800000"/>
              <a:headEnd type="none" w="med" len="med"/>
              <a:tailEnd type="none"/>
            </a:ln>
            <a:effectLst/>
          </p:spPr>
        </p:cxnSp>
        <p:sp>
          <p:nvSpPr>
            <p:cNvPr id="62" name="Text Box 8"/>
            <p:cNvSpPr txBox="1">
              <a:spLocks noChangeArrowheads="1"/>
            </p:cNvSpPr>
            <p:nvPr/>
          </p:nvSpPr>
          <p:spPr bwMode="auto">
            <a:xfrm>
              <a:off x="4752195" y="4509150"/>
              <a:ext cx="642843" cy="81136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36000" rIns="0" bIns="36000" anchor="ctr">
              <a:noAutofit/>
            </a:bodyPr>
            <a:lstStyle>
              <a:defPPr>
                <a:defRPr lang="en-US"/>
              </a:defPPr>
              <a:lvl1pPr marL="0" indent="0" algn="ctr" eaLnBrk="1" hangingPunct="1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None/>
                <a:tabLst>
                  <a:tab pos="88900" algn="l"/>
                </a:tabLst>
                <a:defRPr kumimoji="0" sz="1100" b="1">
                  <a:latin typeface="+mn-ea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ko-KR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과거 거래내역 조회 시스템</a:t>
              </a:r>
            </a:p>
          </p:txBody>
        </p:sp>
        <p:cxnSp>
          <p:nvCxnSpPr>
            <p:cNvPr id="63" name="Elbow Connector 62"/>
            <p:cNvCxnSpPr>
              <a:stCxn id="70" idx="3"/>
              <a:endCxn id="69" idx="3"/>
            </p:cNvCxnSpPr>
            <p:nvPr/>
          </p:nvCxnSpPr>
          <p:spPr bwMode="auto">
            <a:xfrm rot="16200000" flipH="1">
              <a:off x="3675791" y="4847900"/>
              <a:ext cx="12700" cy="2075151"/>
            </a:xfrm>
            <a:prstGeom prst="bentConnector3">
              <a:avLst>
                <a:gd name="adj1" fmla="val 180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4" name="Elbow Connector 63"/>
            <p:cNvCxnSpPr>
              <a:stCxn id="71" idx="3"/>
              <a:endCxn id="69" idx="3"/>
            </p:cNvCxnSpPr>
            <p:nvPr/>
          </p:nvCxnSpPr>
          <p:spPr bwMode="auto">
            <a:xfrm rot="16200000" flipH="1">
              <a:off x="4104556" y="5276665"/>
              <a:ext cx="12700" cy="1217621"/>
            </a:xfrm>
            <a:prstGeom prst="bentConnector3">
              <a:avLst>
                <a:gd name="adj1" fmla="val 1228567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5" name="Oval 117"/>
            <p:cNvSpPr/>
            <p:nvPr/>
          </p:nvSpPr>
          <p:spPr bwMode="auto">
            <a:xfrm>
              <a:off x="3712296" y="5879125"/>
              <a:ext cx="584101" cy="302994"/>
            </a:xfrm>
            <a:prstGeom prst="ellipse">
              <a:avLst/>
            </a:prstGeom>
            <a:solidFill>
              <a:srgbClr val="C0C0C0"/>
            </a:solidFill>
            <a:ln>
              <a:solidFill>
                <a:srgbClr val="333333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ETL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cxnSp>
          <p:nvCxnSpPr>
            <p:cNvPr id="66" name="Straight Connector 65"/>
            <p:cNvCxnSpPr/>
            <p:nvPr/>
          </p:nvCxnSpPr>
          <p:spPr bwMode="auto">
            <a:xfrm>
              <a:off x="2635377" y="5115476"/>
              <a:ext cx="0" cy="36005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 bwMode="auto">
            <a:xfrm>
              <a:off x="3513324" y="5115476"/>
              <a:ext cx="0" cy="36005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 bwMode="auto">
            <a:xfrm>
              <a:off x="4508837" y="5115476"/>
              <a:ext cx="0" cy="36005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9" name="Can 68"/>
            <p:cNvSpPr/>
            <p:nvPr/>
          </p:nvSpPr>
          <p:spPr>
            <a:xfrm>
              <a:off x="4153336" y="5355369"/>
              <a:ext cx="1120062" cy="530107"/>
            </a:xfrm>
            <a:prstGeom prst="can">
              <a:avLst/>
            </a:prstGeom>
            <a:solidFill>
              <a:srgbClr val="C0C0C0"/>
            </a:solidFill>
            <a:ln>
              <a:solidFill>
                <a:srgbClr val="333333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과거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거래내역</a:t>
              </a:r>
            </a:p>
          </p:txBody>
        </p:sp>
        <p:sp>
          <p:nvSpPr>
            <p:cNvPr id="70" name="Can 69"/>
            <p:cNvSpPr/>
            <p:nvPr/>
          </p:nvSpPr>
          <p:spPr>
            <a:xfrm>
              <a:off x="2317988" y="5355369"/>
              <a:ext cx="640456" cy="530107"/>
            </a:xfrm>
            <a:prstGeom prst="can">
              <a:avLst/>
            </a:prstGeom>
            <a:solidFill>
              <a:srgbClr val="C0C0C0"/>
            </a:solidFill>
            <a:ln>
              <a:solidFill>
                <a:srgbClr val="333333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카드계 데이터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71" name="Can 70"/>
            <p:cNvSpPr/>
            <p:nvPr/>
          </p:nvSpPr>
          <p:spPr>
            <a:xfrm>
              <a:off x="3175518" y="5355369"/>
              <a:ext cx="640456" cy="530107"/>
            </a:xfrm>
            <a:prstGeom prst="can">
              <a:avLst/>
            </a:prstGeom>
            <a:solidFill>
              <a:srgbClr val="C0C0C0"/>
            </a:solidFill>
            <a:ln>
              <a:solidFill>
                <a:srgbClr val="333333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승인계 데이터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pic>
          <p:nvPicPr>
            <p:cNvPr id="72" name="Picture 105" descr="Picture4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5767" y="4554458"/>
              <a:ext cx="551203" cy="695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3" name="Group 72"/>
            <p:cNvGrpSpPr/>
            <p:nvPr/>
          </p:nvGrpSpPr>
          <p:grpSpPr>
            <a:xfrm>
              <a:off x="2168812" y="4519621"/>
              <a:ext cx="859218" cy="781639"/>
              <a:chOff x="2168812" y="4534135"/>
              <a:chExt cx="859218" cy="781639"/>
            </a:xfrm>
          </p:grpSpPr>
          <p:pic>
            <p:nvPicPr>
              <p:cNvPr id="79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8812" y="4534135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15562" y="4570140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76827" y="4620659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4" name="Group 73"/>
            <p:cNvGrpSpPr/>
            <p:nvPr/>
          </p:nvGrpSpPr>
          <p:grpSpPr>
            <a:xfrm>
              <a:off x="3068495" y="4519621"/>
              <a:ext cx="859218" cy="781639"/>
              <a:chOff x="3112037" y="4534135"/>
              <a:chExt cx="859218" cy="781639"/>
            </a:xfrm>
          </p:grpSpPr>
          <p:pic>
            <p:nvPicPr>
              <p:cNvPr id="76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2037" y="4534135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58787" y="4570140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8" name="Picture 105" descr="Picture4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20052" y="4620659"/>
                <a:ext cx="551203" cy="6951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5" name="Text Box 8"/>
            <p:cNvSpPr txBox="1">
              <a:spLocks noChangeArrowheads="1"/>
            </p:cNvSpPr>
            <p:nvPr/>
          </p:nvSpPr>
          <p:spPr bwMode="auto">
            <a:xfrm>
              <a:off x="2267033" y="4761513"/>
              <a:ext cx="1548000" cy="264716"/>
            </a:xfrm>
            <a:prstGeom prst="rect">
              <a:avLst/>
            </a:prstGeom>
            <a:solidFill>
              <a:srgbClr val="FFFFFF">
                <a:alpha val="86000"/>
              </a:srgbClr>
            </a:solidFill>
            <a:ln>
              <a:noFill/>
            </a:ln>
            <a:extLst/>
          </p:spPr>
          <p:txBody>
            <a:bodyPr wrap="square" lIns="0" tIns="36000" rIns="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카드계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승인계 시스템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sp>
        <p:nvSpPr>
          <p:cNvPr id="82" name="Text Box 8"/>
          <p:cNvSpPr txBox="1">
            <a:spLocks noChangeArrowheads="1"/>
          </p:cNvSpPr>
          <p:nvPr/>
        </p:nvSpPr>
        <p:spPr bwMode="auto">
          <a:xfrm>
            <a:off x="3215244" y="2564880"/>
            <a:ext cx="2241825" cy="540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36000" rIns="0" bIns="36000" anchor="t">
            <a:noAutofit/>
          </a:bodyPr>
          <a:lstStyle>
            <a:defPPr>
              <a:defRPr lang="en-US"/>
            </a:defPPr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tabLst>
                <a:tab pos="88900" algn="l"/>
              </a:tabLst>
              <a:defRPr kumimoji="0" sz="1100" b="1">
                <a:latin typeface="+mn-ea"/>
              </a:defRPr>
            </a:lvl1pPr>
            <a:lvl2pPr marL="742950" indent="-28575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식별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평가</a:t>
            </a:r>
            <a:r>
              <a:rPr lang="en-US" altLang="ko-KR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</a:t>
            </a:r>
            <a:endParaRPr lang="en-US" altLang="ko-KR" sz="10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데이터 분류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데이터 보관 주기 등 정책 수립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3" name="Text Box 8"/>
          <p:cNvSpPr txBox="1">
            <a:spLocks noChangeArrowheads="1"/>
          </p:cNvSpPr>
          <p:nvPr/>
        </p:nvSpPr>
        <p:spPr bwMode="auto">
          <a:xfrm>
            <a:off x="3215244" y="3143041"/>
            <a:ext cx="2241825" cy="540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36000" rIns="0" bIns="36000" anchor="t">
            <a:noAutofit/>
          </a:bodyPr>
          <a:lstStyle>
            <a:defPPr>
              <a:defRPr lang="en-US"/>
            </a:defPPr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tabLst>
                <a:tab pos="88900" algn="l"/>
              </a:tabLst>
              <a:defRPr kumimoji="0" sz="1100" b="1">
                <a:latin typeface="+mn-ea"/>
              </a:defRPr>
            </a:lvl1pPr>
            <a:lvl2pPr marL="742950" indent="-28575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물리적 스토리지 가상화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서비스 등급에 따른 스토리지 풀 설정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정책 기반의 파일 할당 및 배치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84" name="Text Box 8"/>
          <p:cNvSpPr txBox="1">
            <a:spLocks noChangeArrowheads="1"/>
          </p:cNvSpPr>
          <p:nvPr/>
        </p:nvSpPr>
        <p:spPr bwMode="auto">
          <a:xfrm>
            <a:off x="3215244" y="3721202"/>
            <a:ext cx="2241825" cy="540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36000" rIns="0" bIns="36000" anchor="t">
            <a:noAutofit/>
          </a:bodyPr>
          <a:lstStyle>
            <a:defPPr>
              <a:defRPr lang="en-US"/>
            </a:defPPr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tabLst>
                <a:tab pos="88900" algn="l"/>
              </a:tabLst>
              <a:defRPr kumimoji="0" sz="1100" b="1">
                <a:latin typeface="+mn-ea"/>
              </a:defRPr>
            </a:lvl1pPr>
            <a:lvl2pPr marL="742950" indent="-28575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88900" algn="l"/>
              </a:tabLst>
              <a:defRPr kumimoji="1" sz="1400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비즈니스 연속성 보장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5725" algn="l" latinLnBrk="0">
              <a:lnSpc>
                <a:spcPts val="1200"/>
              </a:lnSpc>
              <a:spcAft>
                <a:spcPts val="0"/>
              </a:spcAft>
              <a:buFont typeface="Arial" pitchFamily="34" charset="0"/>
              <a:buChar char="•"/>
              <a:tabLst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이메일</a:t>
            </a:r>
            <a:r>
              <a:rPr lang="en-US" altLang="ko-KR" sz="10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데이터베이스</a:t>
            </a:r>
            <a:r>
              <a:rPr lang="en-US" altLang="ko-KR" sz="10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파일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아카이브</a:t>
            </a:r>
            <a:r>
              <a:rPr lang="en-US" altLang="ko-KR" sz="10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0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보존 </a:t>
            </a:r>
            <a:r>
              <a:rPr lang="ko-KR" altLang="en-US" sz="1000" b="0" dirty="0">
                <a:solidFill>
                  <a:srgbClr val="000000"/>
                </a:solidFill>
                <a:latin typeface="맑은 고딕"/>
                <a:ea typeface="맑은 고딕"/>
              </a:rPr>
              <a:t>및 처리</a:t>
            </a:r>
            <a:endParaRPr lang="en-US" altLang="ko-KR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2157998" y="2590484"/>
            <a:ext cx="1017520" cy="488792"/>
            <a:chOff x="2157998" y="2590484"/>
            <a:chExt cx="1017520" cy="488792"/>
          </a:xfrm>
        </p:grpSpPr>
        <p:sp>
          <p:nvSpPr>
            <p:cNvPr id="86" name="TextBox 85"/>
            <p:cNvSpPr txBox="1"/>
            <p:nvPr>
              <p:custDataLst>
                <p:tags r:id="rId5"/>
              </p:custDataLst>
            </p:nvPr>
          </p:nvSpPr>
          <p:spPr>
            <a:xfrm>
              <a:off x="2360640" y="2590484"/>
              <a:ext cx="814878" cy="48879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분석 및 정책 수립</a:t>
              </a:r>
              <a:endParaRPr kumimoji="0" lang="ko-KR" altLang="en-US" sz="11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87" name="TextBox 86"/>
            <p:cNvSpPr txBox="1"/>
            <p:nvPr>
              <p:custDataLst>
                <p:tags r:id="rId6"/>
              </p:custDataLst>
            </p:nvPr>
          </p:nvSpPr>
          <p:spPr>
            <a:xfrm rot="16200000">
              <a:off x="2014923" y="2733560"/>
              <a:ext cx="488791" cy="202642"/>
            </a:xfrm>
            <a:prstGeom prst="rect">
              <a:avLst/>
            </a:prstGeom>
            <a:solidFill>
              <a:srgbClr val="F0F0F0">
                <a:lumMod val="75000"/>
              </a:srgbClr>
            </a:solidFill>
            <a:ln w="12700">
              <a:solidFill>
                <a:srgbClr val="858585"/>
              </a:solidFill>
            </a:ln>
          </p:spPr>
          <p:txBody>
            <a:bodyPr vert="eaVert" wrap="square" lIns="36000" tIns="0" rIns="36000" bIns="0" rtlCol="0" anchor="ctr">
              <a:noAutofit/>
            </a:bodyPr>
            <a:lstStyle>
              <a:defPPr>
                <a:defRPr lang="ko-KR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b="1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1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2157998" y="3168645"/>
            <a:ext cx="1017520" cy="488792"/>
            <a:chOff x="2157998" y="3168645"/>
            <a:chExt cx="1017520" cy="488792"/>
          </a:xfrm>
        </p:grpSpPr>
        <p:sp>
          <p:nvSpPr>
            <p:cNvPr id="89" name="TextBox 88"/>
            <p:cNvSpPr txBox="1"/>
            <p:nvPr>
              <p:custDataLst>
                <p:tags r:id="rId3"/>
              </p:custDataLst>
            </p:nvPr>
          </p:nvSpPr>
          <p:spPr>
            <a:xfrm>
              <a:off x="2360640" y="3168645"/>
              <a:ext cx="814878" cy="48879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sz="1100" b="1" kern="0">
                  <a:ln>
                    <a:solidFill>
                      <a:srgbClr val="7F7E82">
                        <a:alpha val="0"/>
                      </a:srgbClr>
                    </a:solidFill>
                  </a:ln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활성 </a:t>
              </a:r>
              <a:r>
                <a:rPr kumimoji="0" lang="en-US" altLang="ko-KR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</a:br>
              <a:r>
                <a:rPr kumimoji="0" lang="ko-KR" altLang="en-US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관리</a:t>
              </a:r>
            </a:p>
          </p:txBody>
        </p:sp>
        <p:sp>
          <p:nvSpPr>
            <p:cNvPr id="90" name="TextBox 89"/>
            <p:cNvSpPr txBox="1"/>
            <p:nvPr>
              <p:custDataLst>
                <p:tags r:id="rId4"/>
              </p:custDataLst>
            </p:nvPr>
          </p:nvSpPr>
          <p:spPr>
            <a:xfrm rot="16200000">
              <a:off x="2014923" y="3311721"/>
              <a:ext cx="488791" cy="202642"/>
            </a:xfrm>
            <a:prstGeom prst="rect">
              <a:avLst/>
            </a:prstGeom>
            <a:solidFill>
              <a:srgbClr val="F0F0F0">
                <a:lumMod val="75000"/>
              </a:srgbClr>
            </a:solidFill>
            <a:ln w="12700">
              <a:solidFill>
                <a:srgbClr val="858585"/>
              </a:solidFill>
            </a:ln>
          </p:spPr>
          <p:txBody>
            <a:bodyPr vert="eaVert" wrap="square" lIns="36000" tIns="0" rIns="36000" bIns="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2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2157998" y="3746806"/>
            <a:ext cx="1017520" cy="488792"/>
            <a:chOff x="2157998" y="3746806"/>
            <a:chExt cx="1017520" cy="488792"/>
          </a:xfrm>
        </p:grpSpPr>
        <p:sp>
          <p:nvSpPr>
            <p:cNvPr id="92" name="TextBox 91"/>
            <p:cNvSpPr txBox="1"/>
            <p:nvPr>
              <p:custDataLst>
                <p:tags r:id="rId1"/>
              </p:custDataLst>
            </p:nvPr>
          </p:nvSpPr>
          <p:spPr>
            <a:xfrm>
              <a:off x="2360640" y="3746806"/>
              <a:ext cx="814878" cy="48879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sz="1100" b="1" kern="0">
                  <a:ln>
                    <a:solidFill>
                      <a:srgbClr val="7F7E82">
                        <a:alpha val="0"/>
                      </a:srgbClr>
                    </a:solidFill>
                  </a:ln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비활성</a:t>
              </a:r>
              <a:r>
                <a:rPr kumimoji="0" lang="en-US" altLang="ko-KR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</a:br>
              <a:r>
                <a:rPr kumimoji="0" lang="ko-KR" altLang="en-US" sz="11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관리</a:t>
              </a:r>
            </a:p>
          </p:txBody>
        </p:sp>
        <p:sp>
          <p:nvSpPr>
            <p:cNvPr id="93" name="TextBox 92"/>
            <p:cNvSpPr txBox="1"/>
            <p:nvPr>
              <p:custDataLst>
                <p:tags r:id="rId2"/>
              </p:custDataLst>
            </p:nvPr>
          </p:nvSpPr>
          <p:spPr>
            <a:xfrm rot="16200000">
              <a:off x="2014923" y="3889882"/>
              <a:ext cx="488791" cy="202642"/>
            </a:xfrm>
            <a:prstGeom prst="rect">
              <a:avLst/>
            </a:prstGeom>
            <a:solidFill>
              <a:srgbClr val="F0F0F0">
                <a:lumMod val="75000"/>
              </a:srgbClr>
            </a:solidFill>
            <a:ln w="12700">
              <a:solidFill>
                <a:srgbClr val="858585"/>
              </a:solidFill>
            </a:ln>
          </p:spPr>
          <p:txBody>
            <a:bodyPr vert="eaVert" wrap="square" lIns="36000" tIns="0" rIns="36000" bIns="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solidFill>
                      <a:srgbClr val="7F7E82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3</a:t>
              </a:r>
              <a:endParaRPr kumimoji="0" lang="ko-KR" altLang="en-US" sz="12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sp>
        <p:nvSpPr>
          <p:cNvPr id="9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95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6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97" name="TextBox 96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장기 유지 데이터 경량화 방안 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수립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98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100" name="TextBox 9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3" name="그룹 10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0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2" name="그룹 11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297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아키텍처 개선 및 데이터 보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용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율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>
              <a:lnSpc>
                <a:spcPct val="110000"/>
              </a:lnSpc>
              <a:buClr>
                <a:srgbClr val="47357B"/>
              </a:buClr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관점의 전사 업무 개선을 위한 최신 기술요소 도입을 기술 아키텍처와 연계 검토하여 타당성이 검증된 기술요소는 차세대 시스템 구축 시 반영되도록 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54" name="Group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6692431"/>
              </p:ext>
            </p:extLst>
          </p:nvPr>
        </p:nvGraphicFramePr>
        <p:xfrm>
          <a:off x="509111" y="2060810"/>
          <a:ext cx="8908509" cy="4176060"/>
        </p:xfrm>
        <a:graphic>
          <a:graphicData uri="http://schemas.openxmlformats.org/drawingml/2006/table">
            <a:tbl>
              <a:tblPr/>
              <a:tblGrid>
                <a:gridCol w="1558955"/>
                <a:gridCol w="3461014"/>
                <a:gridCol w="2088290"/>
                <a:gridCol w="1800250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도입 기술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도입 기술 구성도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주요 특징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기대 효과</a:t>
                      </a:r>
                      <a:endParaRPr kumimoji="0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B3A87"/>
                    </a:solidFill>
                  </a:tcPr>
                </a:tc>
              </a:tr>
              <a:tr h="1872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스토리지 가상화 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 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계층화</a:t>
                      </a: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2667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4445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[</a:t>
                      </a:r>
                      <a:r>
                        <a:rPr lang="ko-KR" altLang="en-US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토리지 가상화</a:t>
                      </a:r>
                      <a:r>
                        <a:rPr lang="en-US" altLang="ko-KR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]</a:t>
                      </a: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다른 기종의 스토리지를 하나의 단일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ol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로 통합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4445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[</a:t>
                      </a:r>
                      <a:r>
                        <a:rPr lang="ko-KR" altLang="en-US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토리지 계층화</a:t>
                      </a:r>
                      <a:r>
                        <a:rPr lang="en-US" altLang="ko-KR" sz="1100" b="1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]</a:t>
                      </a: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ot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Data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는 고성능 고비용 스토리지로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Cold Data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는 고용량 저비용 스토리지로 마이그레이션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기종 스토리지 인프라 통합 및 노후</a:t>
                      </a:r>
                      <a:r>
                        <a:rPr lang="ko-KR" altLang="en-US" sz="1100" kern="0" baseline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장비의 재활용을 통한 투자 보호</a:t>
                      </a:r>
                      <a:endParaRPr lang="en-US" altLang="ko-KR" sz="1100" kern="0" noProof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층화된 스토리지 환경에서 성능 요구사항과 인프라 비용 간의 균형 유지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72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MD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In-Memory Data Grid)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2667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여러 시스템의 메모리에 데이터를 분산 저장하고 공유함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분산 캐시</a:t>
                      </a:r>
                      <a:r>
                        <a:rPr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빅데이터 전처리</a:t>
                      </a:r>
                      <a:r>
                        <a:rPr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실시간 이벤트 처리</a:t>
                      </a:r>
                      <a:r>
                        <a:rPr lang="en-US" altLang="ko-KR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0" baseline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션 공유 등에 사용됨</a:t>
                      </a:r>
                      <a:endParaRPr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베이스 </a:t>
                      </a:r>
                      <a:r>
                        <a:rPr lang="en-US" altLang="ko-KR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/O </a:t>
                      </a: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병목현상을 해소하고 업무 처리 속도 향상</a:t>
                      </a:r>
                      <a:endParaRPr lang="en-US" altLang="ko-KR" sz="1100" kern="0" noProof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69863" marR="0" lvl="0" indent="-125413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noProof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메모리 데이터 처리엔진을 통해 다양한 비즈니스뷰를 실시간으로 제공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55" name="Group 154"/>
          <p:cNvGrpSpPr/>
          <p:nvPr/>
        </p:nvGrpSpPr>
        <p:grpSpPr>
          <a:xfrm>
            <a:off x="2289431" y="2545898"/>
            <a:ext cx="3017451" cy="1776250"/>
            <a:chOff x="2289431" y="4460620"/>
            <a:chExt cx="3017451" cy="1776250"/>
          </a:xfrm>
        </p:grpSpPr>
        <p:grpSp>
          <p:nvGrpSpPr>
            <p:cNvPr id="156" name="Group 155"/>
            <p:cNvGrpSpPr/>
            <p:nvPr/>
          </p:nvGrpSpPr>
          <p:grpSpPr>
            <a:xfrm>
              <a:off x="2289431" y="4852783"/>
              <a:ext cx="3011478" cy="279061"/>
              <a:chOff x="6220911" y="3388046"/>
              <a:chExt cx="2208202" cy="462911"/>
            </a:xfrm>
          </p:grpSpPr>
          <p:sp>
            <p:nvSpPr>
              <p:cNvPr id="256" name="Pentagon 90"/>
              <p:cNvSpPr/>
              <p:nvPr/>
            </p:nvSpPr>
            <p:spPr>
              <a:xfrm rot="5400000" flipH="1">
                <a:off x="7093557" y="2741328"/>
                <a:ext cx="462909" cy="1756346"/>
              </a:xfrm>
              <a:custGeom>
                <a:avLst/>
                <a:gdLst>
                  <a:gd name="connsiteX0" fmla="*/ 0 w 525529"/>
                  <a:gd name="connsiteY0" fmla="*/ 0 h 4535986"/>
                  <a:gd name="connsiteX1" fmla="*/ 0 w 525529"/>
                  <a:gd name="connsiteY1" fmla="*/ 0 h 4535986"/>
                  <a:gd name="connsiteX2" fmla="*/ 525529 w 525529"/>
                  <a:gd name="connsiteY2" fmla="*/ 2267993 h 4535986"/>
                  <a:gd name="connsiteX3" fmla="*/ 0 w 525529"/>
                  <a:gd name="connsiteY3" fmla="*/ 4535986 h 4535986"/>
                  <a:gd name="connsiteX4" fmla="*/ 0 w 525529"/>
                  <a:gd name="connsiteY4" fmla="*/ 4535986 h 4535986"/>
                  <a:gd name="connsiteX5" fmla="*/ 0 w 525529"/>
                  <a:gd name="connsiteY5" fmla="*/ 0 h 4535986"/>
                  <a:gd name="connsiteX0" fmla="*/ 0 w 797672"/>
                  <a:gd name="connsiteY0" fmla="*/ 0 h 4535986"/>
                  <a:gd name="connsiteX1" fmla="*/ 0 w 797672"/>
                  <a:gd name="connsiteY1" fmla="*/ 0 h 4535986"/>
                  <a:gd name="connsiteX2" fmla="*/ 797672 w 797672"/>
                  <a:gd name="connsiteY2" fmla="*/ 733107 h 4535986"/>
                  <a:gd name="connsiteX3" fmla="*/ 0 w 797672"/>
                  <a:gd name="connsiteY3" fmla="*/ 4535986 h 4535986"/>
                  <a:gd name="connsiteX4" fmla="*/ 0 w 797672"/>
                  <a:gd name="connsiteY4" fmla="*/ 4535986 h 4535986"/>
                  <a:gd name="connsiteX5" fmla="*/ 0 w 797672"/>
                  <a:gd name="connsiteY5" fmla="*/ 0 h 4535986"/>
                  <a:gd name="connsiteX0" fmla="*/ 0 w 797672"/>
                  <a:gd name="connsiteY0" fmla="*/ 0 h 4535986"/>
                  <a:gd name="connsiteX1" fmla="*/ 0 w 797672"/>
                  <a:gd name="connsiteY1" fmla="*/ 0 h 4535986"/>
                  <a:gd name="connsiteX2" fmla="*/ 797672 w 797672"/>
                  <a:gd name="connsiteY2" fmla="*/ 548050 h 4535986"/>
                  <a:gd name="connsiteX3" fmla="*/ 0 w 797672"/>
                  <a:gd name="connsiteY3" fmla="*/ 4535986 h 4535986"/>
                  <a:gd name="connsiteX4" fmla="*/ 0 w 797672"/>
                  <a:gd name="connsiteY4" fmla="*/ 4535986 h 4535986"/>
                  <a:gd name="connsiteX5" fmla="*/ 0 w 797672"/>
                  <a:gd name="connsiteY5" fmla="*/ 0 h 4535986"/>
                  <a:gd name="connsiteX0" fmla="*/ 0 w 724381"/>
                  <a:gd name="connsiteY0" fmla="*/ 0 h 4535986"/>
                  <a:gd name="connsiteX1" fmla="*/ 0 w 724381"/>
                  <a:gd name="connsiteY1" fmla="*/ 0 h 4535986"/>
                  <a:gd name="connsiteX2" fmla="*/ 724381 w 724381"/>
                  <a:gd name="connsiteY2" fmla="*/ 2081575 h 4535986"/>
                  <a:gd name="connsiteX3" fmla="*/ 0 w 724381"/>
                  <a:gd name="connsiteY3" fmla="*/ 4535986 h 4535986"/>
                  <a:gd name="connsiteX4" fmla="*/ 0 w 724381"/>
                  <a:gd name="connsiteY4" fmla="*/ 4535986 h 4535986"/>
                  <a:gd name="connsiteX5" fmla="*/ 0 w 724381"/>
                  <a:gd name="connsiteY5" fmla="*/ 0 h 4535986"/>
                  <a:gd name="connsiteX0" fmla="*/ 0 w 713663"/>
                  <a:gd name="connsiteY0" fmla="*/ 0 h 4535986"/>
                  <a:gd name="connsiteX1" fmla="*/ 0 w 713663"/>
                  <a:gd name="connsiteY1" fmla="*/ 0 h 4535986"/>
                  <a:gd name="connsiteX2" fmla="*/ 713663 w 713663"/>
                  <a:gd name="connsiteY2" fmla="*/ 2286742 h 4535986"/>
                  <a:gd name="connsiteX3" fmla="*/ 0 w 713663"/>
                  <a:gd name="connsiteY3" fmla="*/ 4535986 h 4535986"/>
                  <a:gd name="connsiteX4" fmla="*/ 0 w 713663"/>
                  <a:gd name="connsiteY4" fmla="*/ 4535986 h 4535986"/>
                  <a:gd name="connsiteX5" fmla="*/ 0 w 713663"/>
                  <a:gd name="connsiteY5" fmla="*/ 0 h 453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3663" h="4535986">
                    <a:moveTo>
                      <a:pt x="0" y="0"/>
                    </a:moveTo>
                    <a:lnTo>
                      <a:pt x="0" y="0"/>
                    </a:lnTo>
                    <a:lnTo>
                      <a:pt x="713663" y="2286742"/>
                    </a:lnTo>
                    <a:lnTo>
                      <a:pt x="0" y="4535986"/>
                    </a:lnTo>
                    <a:lnTo>
                      <a:pt x="0" y="4535986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C0C0C0">
                      <a:lumMod val="50000"/>
                    </a:srgbClr>
                  </a:gs>
                  <a:gs pos="100000">
                    <a:srgbClr val="F8F8F8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sp>
            <p:nvSpPr>
              <p:cNvPr id="257" name="Pentagon 90"/>
              <p:cNvSpPr/>
              <p:nvPr/>
            </p:nvSpPr>
            <p:spPr>
              <a:xfrm rot="5400000" flipH="1">
                <a:off x="7136623" y="2558468"/>
                <a:ext cx="376777" cy="2208202"/>
              </a:xfrm>
              <a:custGeom>
                <a:avLst/>
                <a:gdLst>
                  <a:gd name="connsiteX0" fmla="*/ 0 w 525529"/>
                  <a:gd name="connsiteY0" fmla="*/ 0 h 4535986"/>
                  <a:gd name="connsiteX1" fmla="*/ 0 w 525529"/>
                  <a:gd name="connsiteY1" fmla="*/ 0 h 4535986"/>
                  <a:gd name="connsiteX2" fmla="*/ 525529 w 525529"/>
                  <a:gd name="connsiteY2" fmla="*/ 2267993 h 4535986"/>
                  <a:gd name="connsiteX3" fmla="*/ 0 w 525529"/>
                  <a:gd name="connsiteY3" fmla="*/ 4535986 h 4535986"/>
                  <a:gd name="connsiteX4" fmla="*/ 0 w 525529"/>
                  <a:gd name="connsiteY4" fmla="*/ 4535986 h 4535986"/>
                  <a:gd name="connsiteX5" fmla="*/ 0 w 525529"/>
                  <a:gd name="connsiteY5" fmla="*/ 0 h 4535986"/>
                  <a:gd name="connsiteX0" fmla="*/ 0 w 797672"/>
                  <a:gd name="connsiteY0" fmla="*/ 0 h 4535986"/>
                  <a:gd name="connsiteX1" fmla="*/ 0 w 797672"/>
                  <a:gd name="connsiteY1" fmla="*/ 0 h 4535986"/>
                  <a:gd name="connsiteX2" fmla="*/ 797672 w 797672"/>
                  <a:gd name="connsiteY2" fmla="*/ 733107 h 4535986"/>
                  <a:gd name="connsiteX3" fmla="*/ 0 w 797672"/>
                  <a:gd name="connsiteY3" fmla="*/ 4535986 h 4535986"/>
                  <a:gd name="connsiteX4" fmla="*/ 0 w 797672"/>
                  <a:gd name="connsiteY4" fmla="*/ 4535986 h 4535986"/>
                  <a:gd name="connsiteX5" fmla="*/ 0 w 797672"/>
                  <a:gd name="connsiteY5" fmla="*/ 0 h 4535986"/>
                  <a:gd name="connsiteX0" fmla="*/ 0 w 797672"/>
                  <a:gd name="connsiteY0" fmla="*/ 0 h 4535986"/>
                  <a:gd name="connsiteX1" fmla="*/ 0 w 797672"/>
                  <a:gd name="connsiteY1" fmla="*/ 0 h 4535986"/>
                  <a:gd name="connsiteX2" fmla="*/ 797672 w 797672"/>
                  <a:gd name="connsiteY2" fmla="*/ 548050 h 4535986"/>
                  <a:gd name="connsiteX3" fmla="*/ 0 w 797672"/>
                  <a:gd name="connsiteY3" fmla="*/ 4535986 h 4535986"/>
                  <a:gd name="connsiteX4" fmla="*/ 0 w 797672"/>
                  <a:gd name="connsiteY4" fmla="*/ 4535986 h 4535986"/>
                  <a:gd name="connsiteX5" fmla="*/ 0 w 797672"/>
                  <a:gd name="connsiteY5" fmla="*/ 0 h 4535986"/>
                  <a:gd name="connsiteX0" fmla="*/ 0 w 724381"/>
                  <a:gd name="connsiteY0" fmla="*/ 0 h 4535986"/>
                  <a:gd name="connsiteX1" fmla="*/ 0 w 724381"/>
                  <a:gd name="connsiteY1" fmla="*/ 0 h 4535986"/>
                  <a:gd name="connsiteX2" fmla="*/ 724381 w 724381"/>
                  <a:gd name="connsiteY2" fmla="*/ 2081575 h 4535986"/>
                  <a:gd name="connsiteX3" fmla="*/ 0 w 724381"/>
                  <a:gd name="connsiteY3" fmla="*/ 4535986 h 4535986"/>
                  <a:gd name="connsiteX4" fmla="*/ 0 w 724381"/>
                  <a:gd name="connsiteY4" fmla="*/ 4535986 h 4535986"/>
                  <a:gd name="connsiteX5" fmla="*/ 0 w 724381"/>
                  <a:gd name="connsiteY5" fmla="*/ 0 h 4535986"/>
                  <a:gd name="connsiteX0" fmla="*/ 0 w 713663"/>
                  <a:gd name="connsiteY0" fmla="*/ 0 h 4535986"/>
                  <a:gd name="connsiteX1" fmla="*/ 0 w 713663"/>
                  <a:gd name="connsiteY1" fmla="*/ 0 h 4535986"/>
                  <a:gd name="connsiteX2" fmla="*/ 713663 w 713663"/>
                  <a:gd name="connsiteY2" fmla="*/ 2286742 h 4535986"/>
                  <a:gd name="connsiteX3" fmla="*/ 0 w 713663"/>
                  <a:gd name="connsiteY3" fmla="*/ 4535986 h 4535986"/>
                  <a:gd name="connsiteX4" fmla="*/ 0 w 713663"/>
                  <a:gd name="connsiteY4" fmla="*/ 4535986 h 4535986"/>
                  <a:gd name="connsiteX5" fmla="*/ 0 w 713663"/>
                  <a:gd name="connsiteY5" fmla="*/ 0 h 453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3663" h="4535986">
                    <a:moveTo>
                      <a:pt x="0" y="0"/>
                    </a:moveTo>
                    <a:lnTo>
                      <a:pt x="0" y="0"/>
                    </a:lnTo>
                    <a:lnTo>
                      <a:pt x="713663" y="2286742"/>
                    </a:lnTo>
                    <a:lnTo>
                      <a:pt x="0" y="4535986"/>
                    </a:lnTo>
                    <a:lnTo>
                      <a:pt x="0" y="4535986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C4C4C4"/>
                  </a:gs>
                  <a:gs pos="100000">
                    <a:srgbClr val="FAFAFA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</p:grpSp>
        <p:sp>
          <p:nvSpPr>
            <p:cNvPr id="157" name="Rectangle 20"/>
            <p:cNvSpPr>
              <a:spLocks noChangeArrowheads="1"/>
            </p:cNvSpPr>
            <p:nvPr/>
          </p:nvSpPr>
          <p:spPr bwMode="auto">
            <a:xfrm>
              <a:off x="2289434" y="5131838"/>
              <a:ext cx="3011474" cy="828033"/>
            </a:xfrm>
            <a:prstGeom prst="rect">
              <a:avLst/>
            </a:prstGeom>
            <a:gradFill flip="none" rotWithShape="1">
              <a:gsLst>
                <a:gs pos="0">
                  <a:srgbClr val="FAFAFA"/>
                </a:gs>
                <a:gs pos="99000">
                  <a:srgbClr val="FFFFFF"/>
                </a:gs>
              </a:gsLst>
              <a:lin ang="6000000" scaled="0"/>
              <a:tileRect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lIns="36000" tIns="36000" rIns="36000" bIns="36000" anchor="ctr"/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58" name="Text Box 31"/>
            <p:cNvSpPr txBox="1">
              <a:spLocks noChangeArrowheads="1"/>
            </p:cNvSpPr>
            <p:nvPr/>
          </p:nvSpPr>
          <p:spPr bwMode="gray">
            <a:xfrm>
              <a:off x="2394198" y="5117328"/>
              <a:ext cx="313691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SSD</a:t>
              </a:r>
            </a:p>
          </p:txBody>
        </p:sp>
        <p:sp>
          <p:nvSpPr>
            <p:cNvPr id="159" name="Text Box 31"/>
            <p:cNvSpPr txBox="1">
              <a:spLocks noChangeArrowheads="1"/>
            </p:cNvSpPr>
            <p:nvPr/>
          </p:nvSpPr>
          <p:spPr bwMode="gray">
            <a:xfrm>
              <a:off x="2852430" y="5048079"/>
              <a:ext cx="313691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SAS</a:t>
              </a:r>
            </a:p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DD</a:t>
              </a:r>
            </a:p>
          </p:txBody>
        </p:sp>
        <p:sp>
          <p:nvSpPr>
            <p:cNvPr id="160" name="Text Box 31"/>
            <p:cNvSpPr txBox="1">
              <a:spLocks noChangeArrowheads="1"/>
            </p:cNvSpPr>
            <p:nvPr/>
          </p:nvSpPr>
          <p:spPr bwMode="gray">
            <a:xfrm>
              <a:off x="3249237" y="5048079"/>
              <a:ext cx="412388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NLSAS</a:t>
              </a:r>
            </a:p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DD</a:t>
              </a:r>
            </a:p>
          </p:txBody>
        </p:sp>
        <p:sp>
          <p:nvSpPr>
            <p:cNvPr id="161" name="Text Box 31"/>
            <p:cNvSpPr txBox="1">
              <a:spLocks noChangeArrowheads="1"/>
            </p:cNvSpPr>
            <p:nvPr/>
          </p:nvSpPr>
          <p:spPr bwMode="gray">
            <a:xfrm>
              <a:off x="2817400" y="5959871"/>
              <a:ext cx="7870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t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ot Data</a:t>
              </a:r>
              <a:r>
                <a:rPr kumimoji="1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 발생</a:t>
              </a:r>
              <a:endParaRPr kumimoji="1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62" name="Text Box 31"/>
            <p:cNvSpPr txBox="1">
              <a:spLocks noChangeArrowheads="1"/>
            </p:cNvSpPr>
            <p:nvPr/>
          </p:nvSpPr>
          <p:spPr bwMode="gray">
            <a:xfrm>
              <a:off x="4007063" y="5117328"/>
              <a:ext cx="313691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SSD</a:t>
              </a:r>
            </a:p>
          </p:txBody>
        </p:sp>
        <p:sp>
          <p:nvSpPr>
            <p:cNvPr id="163" name="Text Box 31"/>
            <p:cNvSpPr txBox="1">
              <a:spLocks noChangeArrowheads="1"/>
            </p:cNvSpPr>
            <p:nvPr/>
          </p:nvSpPr>
          <p:spPr bwMode="gray">
            <a:xfrm>
              <a:off x="4465295" y="5048079"/>
              <a:ext cx="313691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SAS</a:t>
              </a:r>
            </a:p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DD</a:t>
              </a:r>
            </a:p>
          </p:txBody>
        </p:sp>
        <p:sp>
          <p:nvSpPr>
            <p:cNvPr id="164" name="Text Box 31"/>
            <p:cNvSpPr txBox="1">
              <a:spLocks noChangeArrowheads="1"/>
            </p:cNvSpPr>
            <p:nvPr/>
          </p:nvSpPr>
          <p:spPr bwMode="gray">
            <a:xfrm>
              <a:off x="4863196" y="5048079"/>
              <a:ext cx="410202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NLSAS</a:t>
              </a:r>
            </a:p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DD</a:t>
              </a:r>
            </a:p>
          </p:txBody>
        </p:sp>
        <p:sp>
          <p:nvSpPr>
            <p:cNvPr id="165" name="Text Box 31"/>
            <p:cNvSpPr txBox="1">
              <a:spLocks noChangeArrowheads="1"/>
            </p:cNvSpPr>
            <p:nvPr/>
          </p:nvSpPr>
          <p:spPr bwMode="gray">
            <a:xfrm>
              <a:off x="3971255" y="5959871"/>
              <a:ext cx="1246023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t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데이터 처리 성능 및 대역폭 최적화</a:t>
              </a:r>
              <a:endParaRPr kumimoji="1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grpSp>
          <p:nvGrpSpPr>
            <p:cNvPr id="166" name="Group 165"/>
            <p:cNvGrpSpPr/>
            <p:nvPr/>
          </p:nvGrpSpPr>
          <p:grpSpPr>
            <a:xfrm>
              <a:off x="2364858" y="5317530"/>
              <a:ext cx="358119" cy="284369"/>
              <a:chOff x="6648930" y="3873761"/>
              <a:chExt cx="718215" cy="532378"/>
            </a:xfrm>
          </p:grpSpPr>
          <p:pic>
            <p:nvPicPr>
              <p:cNvPr id="251" name="Picture 25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48930" y="3923950"/>
                <a:ext cx="348115" cy="432000"/>
              </a:xfrm>
              <a:prstGeom prst="rect">
                <a:avLst/>
              </a:prstGeom>
            </p:spPr>
          </p:pic>
          <p:grpSp>
            <p:nvGrpSpPr>
              <p:cNvPr id="252" name="Group 251"/>
              <p:cNvGrpSpPr/>
              <p:nvPr/>
            </p:nvGrpSpPr>
            <p:grpSpPr>
              <a:xfrm>
                <a:off x="7033741" y="3873761"/>
                <a:ext cx="333404" cy="532378"/>
                <a:chOff x="7041290" y="3238370"/>
                <a:chExt cx="375018" cy="532378"/>
              </a:xfrm>
            </p:grpSpPr>
            <p:sp>
              <p:nvSpPr>
                <p:cNvPr id="253" name="Can 252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54" name="Can 253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55" name="Can 254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</p:grpSp>
        <p:grpSp>
          <p:nvGrpSpPr>
            <p:cNvPr id="167" name="Group 166"/>
            <p:cNvGrpSpPr/>
            <p:nvPr/>
          </p:nvGrpSpPr>
          <p:grpSpPr>
            <a:xfrm>
              <a:off x="2364858" y="5632093"/>
              <a:ext cx="358119" cy="284369"/>
              <a:chOff x="6648930" y="3873761"/>
              <a:chExt cx="718215" cy="532378"/>
            </a:xfrm>
          </p:grpSpPr>
          <p:pic>
            <p:nvPicPr>
              <p:cNvPr id="246" name="Picture 24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48930" y="3923950"/>
                <a:ext cx="348115" cy="432000"/>
              </a:xfrm>
              <a:prstGeom prst="rect">
                <a:avLst/>
              </a:prstGeom>
            </p:spPr>
          </p:pic>
          <p:grpSp>
            <p:nvGrpSpPr>
              <p:cNvPr id="247" name="Group 246"/>
              <p:cNvGrpSpPr/>
              <p:nvPr/>
            </p:nvGrpSpPr>
            <p:grpSpPr>
              <a:xfrm>
                <a:off x="7033741" y="3873761"/>
                <a:ext cx="333404" cy="532378"/>
                <a:chOff x="7041290" y="3238370"/>
                <a:chExt cx="375018" cy="532378"/>
              </a:xfrm>
            </p:grpSpPr>
            <p:sp>
              <p:nvSpPr>
                <p:cNvPr id="248" name="Can 247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49" name="Can 248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50" name="Can 249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</p:grpSp>
        <p:grpSp>
          <p:nvGrpSpPr>
            <p:cNvPr id="168" name="Group 167"/>
            <p:cNvGrpSpPr/>
            <p:nvPr/>
          </p:nvGrpSpPr>
          <p:grpSpPr>
            <a:xfrm>
              <a:off x="3009275" y="5317530"/>
              <a:ext cx="166243" cy="284369"/>
              <a:chOff x="7041290" y="3238370"/>
              <a:chExt cx="375018" cy="532378"/>
            </a:xfrm>
          </p:grpSpPr>
          <p:sp>
            <p:nvSpPr>
              <p:cNvPr id="243" name="Can 242"/>
              <p:cNvSpPr/>
              <p:nvPr/>
            </p:nvSpPr>
            <p:spPr>
              <a:xfrm>
                <a:off x="7041290" y="3554748"/>
                <a:ext cx="375018" cy="216000"/>
              </a:xfrm>
              <a:prstGeom prst="can">
                <a:avLst>
                  <a:gd name="adj" fmla="val 39699"/>
                </a:avLst>
              </a:prstGeom>
              <a:gradFill flip="none" rotWithShape="1">
                <a:gsLst>
                  <a:gs pos="0">
                    <a:srgbClr val="0070C0"/>
                  </a:gs>
                  <a:gs pos="100000">
                    <a:srgbClr val="00A3AE">
                      <a:lumMod val="20000"/>
                      <a:lumOff val="80000"/>
                    </a:srgbClr>
                  </a:gs>
                </a:gsLst>
                <a:lin ang="10800000" scaled="1"/>
                <a:tileRect/>
              </a:gradFill>
              <a:ln>
                <a:solidFill>
                  <a:srgbClr val="81D2EB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sp>
            <p:nvSpPr>
              <p:cNvPr id="244" name="Can 243"/>
              <p:cNvSpPr/>
              <p:nvPr/>
            </p:nvSpPr>
            <p:spPr>
              <a:xfrm>
                <a:off x="7041290" y="3396559"/>
                <a:ext cx="375018" cy="216000"/>
              </a:xfrm>
              <a:prstGeom prst="can">
                <a:avLst>
                  <a:gd name="adj" fmla="val 39699"/>
                </a:avLst>
              </a:prstGeom>
              <a:gradFill flip="none" rotWithShape="1">
                <a:gsLst>
                  <a:gs pos="0">
                    <a:srgbClr val="0070C0"/>
                  </a:gs>
                  <a:gs pos="100000">
                    <a:srgbClr val="00A3AE">
                      <a:lumMod val="20000"/>
                      <a:lumOff val="80000"/>
                    </a:srgbClr>
                  </a:gs>
                </a:gsLst>
                <a:lin ang="10800000" scaled="1"/>
                <a:tileRect/>
              </a:gradFill>
              <a:ln>
                <a:solidFill>
                  <a:srgbClr val="81D2EB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sp>
            <p:nvSpPr>
              <p:cNvPr id="245" name="Can 244"/>
              <p:cNvSpPr/>
              <p:nvPr/>
            </p:nvSpPr>
            <p:spPr>
              <a:xfrm>
                <a:off x="7041290" y="3238370"/>
                <a:ext cx="375018" cy="216000"/>
              </a:xfrm>
              <a:prstGeom prst="can">
                <a:avLst>
                  <a:gd name="adj" fmla="val 39699"/>
                </a:avLst>
              </a:prstGeom>
              <a:gradFill flip="none" rotWithShape="1">
                <a:gsLst>
                  <a:gs pos="0">
                    <a:srgbClr val="0070C0"/>
                  </a:gs>
                  <a:gs pos="100000">
                    <a:srgbClr val="00A3AE">
                      <a:lumMod val="20000"/>
                      <a:lumOff val="80000"/>
                    </a:srgbClr>
                  </a:gs>
                </a:gsLst>
                <a:lin ang="10800000" scaled="1"/>
                <a:tileRect/>
              </a:gradFill>
              <a:ln>
                <a:solidFill>
                  <a:srgbClr val="81D2EB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</p:grpSp>
        <p:pic>
          <p:nvPicPr>
            <p:cNvPr id="169" name="Picture 16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17400" y="5344339"/>
              <a:ext cx="172325" cy="230752"/>
            </a:xfrm>
            <a:prstGeom prst="rect">
              <a:avLst/>
            </a:prstGeom>
          </p:spPr>
        </p:pic>
        <p:grpSp>
          <p:nvGrpSpPr>
            <p:cNvPr id="170" name="Group 169"/>
            <p:cNvGrpSpPr/>
            <p:nvPr/>
          </p:nvGrpSpPr>
          <p:grpSpPr>
            <a:xfrm>
              <a:off x="2817400" y="5630594"/>
              <a:ext cx="358119" cy="284369"/>
              <a:chOff x="7556510" y="3591067"/>
              <a:chExt cx="718215" cy="532378"/>
            </a:xfrm>
          </p:grpSpPr>
          <p:grpSp>
            <p:nvGrpSpPr>
              <p:cNvPr id="238" name="Group 237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40" name="Can 239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41" name="Can 240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42" name="Can 241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39" name="Picture 23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1" name="Group 170"/>
            <p:cNvGrpSpPr/>
            <p:nvPr/>
          </p:nvGrpSpPr>
          <p:grpSpPr>
            <a:xfrm>
              <a:off x="3246293" y="5317530"/>
              <a:ext cx="358119" cy="284369"/>
              <a:chOff x="7556510" y="3591067"/>
              <a:chExt cx="718215" cy="532378"/>
            </a:xfrm>
          </p:grpSpPr>
          <p:grpSp>
            <p:nvGrpSpPr>
              <p:cNvPr id="233" name="Group 232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35" name="Can 234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36" name="Can 235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37" name="Can 236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34" name="Picture 23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2" name="Group 171"/>
            <p:cNvGrpSpPr/>
            <p:nvPr/>
          </p:nvGrpSpPr>
          <p:grpSpPr>
            <a:xfrm>
              <a:off x="3246293" y="5630594"/>
              <a:ext cx="358119" cy="284369"/>
              <a:chOff x="7556510" y="3591067"/>
              <a:chExt cx="718215" cy="532378"/>
            </a:xfrm>
          </p:grpSpPr>
          <p:grpSp>
            <p:nvGrpSpPr>
              <p:cNvPr id="228" name="Group 227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30" name="Can 229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31" name="Can 230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32" name="Can 231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29" name="Picture 22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3" name="Group 172"/>
            <p:cNvGrpSpPr/>
            <p:nvPr/>
          </p:nvGrpSpPr>
          <p:grpSpPr>
            <a:xfrm>
              <a:off x="3977724" y="5317530"/>
              <a:ext cx="358119" cy="284367"/>
              <a:chOff x="6648930" y="3873761"/>
              <a:chExt cx="718215" cy="532378"/>
            </a:xfrm>
          </p:grpSpPr>
          <p:pic>
            <p:nvPicPr>
              <p:cNvPr id="223" name="Picture 22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48930" y="3923950"/>
                <a:ext cx="348115" cy="432000"/>
              </a:xfrm>
              <a:prstGeom prst="rect">
                <a:avLst/>
              </a:prstGeom>
            </p:spPr>
          </p:pic>
          <p:grpSp>
            <p:nvGrpSpPr>
              <p:cNvPr id="224" name="Group 223"/>
              <p:cNvGrpSpPr/>
              <p:nvPr/>
            </p:nvGrpSpPr>
            <p:grpSpPr>
              <a:xfrm>
                <a:off x="7033741" y="3873761"/>
                <a:ext cx="333404" cy="532378"/>
                <a:chOff x="7041290" y="3238370"/>
                <a:chExt cx="375018" cy="532378"/>
              </a:xfrm>
            </p:grpSpPr>
            <p:sp>
              <p:nvSpPr>
                <p:cNvPr id="225" name="Can 224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26" name="Can 225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27" name="Can 226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</p:grpSp>
        <p:grpSp>
          <p:nvGrpSpPr>
            <p:cNvPr id="174" name="Group 173"/>
            <p:cNvGrpSpPr/>
            <p:nvPr/>
          </p:nvGrpSpPr>
          <p:grpSpPr>
            <a:xfrm>
              <a:off x="3977724" y="5632093"/>
              <a:ext cx="358119" cy="284367"/>
              <a:chOff x="6648930" y="3873761"/>
              <a:chExt cx="718215" cy="532378"/>
            </a:xfrm>
          </p:grpSpPr>
          <p:pic>
            <p:nvPicPr>
              <p:cNvPr id="218" name="Picture 21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48930" y="3923950"/>
                <a:ext cx="348115" cy="432000"/>
              </a:xfrm>
              <a:prstGeom prst="rect">
                <a:avLst/>
              </a:prstGeom>
            </p:spPr>
          </p:pic>
          <p:grpSp>
            <p:nvGrpSpPr>
              <p:cNvPr id="219" name="Group 218"/>
              <p:cNvGrpSpPr/>
              <p:nvPr/>
            </p:nvGrpSpPr>
            <p:grpSpPr>
              <a:xfrm>
                <a:off x="7033741" y="3873761"/>
                <a:ext cx="333404" cy="532378"/>
                <a:chOff x="7041290" y="3238370"/>
                <a:chExt cx="375018" cy="532378"/>
              </a:xfrm>
            </p:grpSpPr>
            <p:sp>
              <p:nvSpPr>
                <p:cNvPr id="220" name="Can 219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21" name="Can 220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22" name="Can 221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</p:grpSp>
        <p:grpSp>
          <p:nvGrpSpPr>
            <p:cNvPr id="175" name="Group 174"/>
            <p:cNvGrpSpPr/>
            <p:nvPr/>
          </p:nvGrpSpPr>
          <p:grpSpPr>
            <a:xfrm>
              <a:off x="4430266" y="5317530"/>
              <a:ext cx="358119" cy="284367"/>
              <a:chOff x="7556510" y="3591067"/>
              <a:chExt cx="718215" cy="532378"/>
            </a:xfrm>
          </p:grpSpPr>
          <p:grpSp>
            <p:nvGrpSpPr>
              <p:cNvPr id="213" name="Group 212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15" name="Can 214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16" name="Can 215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17" name="Can 216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14" name="Picture 21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6" name="Group 175"/>
            <p:cNvGrpSpPr/>
            <p:nvPr/>
          </p:nvGrpSpPr>
          <p:grpSpPr>
            <a:xfrm>
              <a:off x="4430266" y="5630594"/>
              <a:ext cx="358119" cy="284367"/>
              <a:chOff x="7556510" y="3591067"/>
              <a:chExt cx="718215" cy="532378"/>
            </a:xfrm>
          </p:grpSpPr>
          <p:grpSp>
            <p:nvGrpSpPr>
              <p:cNvPr id="208" name="Group 207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10" name="Can 209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11" name="Can 210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12" name="Can 211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09" name="Picture 20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7" name="Group 176"/>
            <p:cNvGrpSpPr/>
            <p:nvPr/>
          </p:nvGrpSpPr>
          <p:grpSpPr>
            <a:xfrm>
              <a:off x="4859159" y="5317530"/>
              <a:ext cx="358119" cy="284367"/>
              <a:chOff x="7556510" y="3591067"/>
              <a:chExt cx="718215" cy="532378"/>
            </a:xfrm>
          </p:grpSpPr>
          <p:grpSp>
            <p:nvGrpSpPr>
              <p:cNvPr id="203" name="Group 202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05" name="Can 204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06" name="Can 205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07" name="Can 206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204" name="Picture 20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grpSp>
          <p:nvGrpSpPr>
            <p:cNvPr id="178" name="Group 177"/>
            <p:cNvGrpSpPr/>
            <p:nvPr/>
          </p:nvGrpSpPr>
          <p:grpSpPr>
            <a:xfrm>
              <a:off x="4859159" y="5630594"/>
              <a:ext cx="358119" cy="284367"/>
              <a:chOff x="7556510" y="3591067"/>
              <a:chExt cx="718215" cy="532378"/>
            </a:xfrm>
          </p:grpSpPr>
          <p:grpSp>
            <p:nvGrpSpPr>
              <p:cNvPr id="198" name="Group 197"/>
              <p:cNvGrpSpPr/>
              <p:nvPr/>
            </p:nvGrpSpPr>
            <p:grpSpPr>
              <a:xfrm>
                <a:off x="7941321" y="3591067"/>
                <a:ext cx="333404" cy="532378"/>
                <a:chOff x="7041290" y="3238370"/>
                <a:chExt cx="375018" cy="532378"/>
              </a:xfrm>
            </p:grpSpPr>
            <p:sp>
              <p:nvSpPr>
                <p:cNvPr id="200" name="Can 199"/>
                <p:cNvSpPr/>
                <p:nvPr/>
              </p:nvSpPr>
              <p:spPr>
                <a:xfrm>
                  <a:off x="7041290" y="3554748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01" name="Can 200"/>
                <p:cNvSpPr/>
                <p:nvPr/>
              </p:nvSpPr>
              <p:spPr>
                <a:xfrm>
                  <a:off x="7041290" y="3396559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  <p:sp>
              <p:nvSpPr>
                <p:cNvPr id="202" name="Can 201"/>
                <p:cNvSpPr/>
                <p:nvPr/>
              </p:nvSpPr>
              <p:spPr>
                <a:xfrm>
                  <a:off x="7041290" y="3238370"/>
                  <a:ext cx="375018" cy="216000"/>
                </a:xfrm>
                <a:prstGeom prst="can">
                  <a:avLst>
                    <a:gd name="adj" fmla="val 39699"/>
                  </a:avLst>
                </a:prstGeom>
                <a:gradFill flip="none" rotWithShape="1">
                  <a:gsLst>
                    <a:gs pos="0">
                      <a:srgbClr val="0070C0"/>
                    </a:gs>
                    <a:gs pos="100000">
                      <a:srgbClr val="00A3AE">
                        <a:lumMod val="20000"/>
                        <a:lumOff val="80000"/>
                      </a:srgbClr>
                    </a:gs>
                  </a:gsLst>
                  <a:lin ang="10800000" scaled="1"/>
                  <a:tileRect/>
                </a:gradFill>
                <a:ln>
                  <a:solidFill>
                    <a:srgbClr val="81D2EB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268288" marR="0" lvl="0" indent="-215900" algn="ctr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endParaRPr kumimoji="0" lang="ko-KR" alt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</a:endParaRPr>
                </a:p>
              </p:txBody>
            </p:sp>
          </p:grpSp>
          <p:pic>
            <p:nvPicPr>
              <p:cNvPr id="199" name="Picture 19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6510" y="3641256"/>
                <a:ext cx="345600" cy="432000"/>
              </a:xfrm>
              <a:prstGeom prst="rect">
                <a:avLst/>
              </a:prstGeom>
            </p:spPr>
          </p:pic>
        </p:grpSp>
        <p:sp>
          <p:nvSpPr>
            <p:cNvPr id="179" name="Rectangle 178"/>
            <p:cNvSpPr/>
            <p:nvPr/>
          </p:nvSpPr>
          <p:spPr>
            <a:xfrm>
              <a:off x="3050189" y="5349091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050189" y="5472759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3050189" y="5680665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3478672" y="5795570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4211980" y="5349091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4211980" y="5472759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4211980" y="5673323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4211980" y="5796993"/>
              <a:ext cx="84417" cy="8689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4657826" y="4895981"/>
              <a:ext cx="84417" cy="86400"/>
            </a:xfrm>
            <a:prstGeom prst="rect">
              <a:avLst/>
            </a:prstGeom>
            <a:solidFill>
              <a:srgbClr val="F04C3E"/>
            </a:solidFill>
            <a:ln>
              <a:solidFill>
                <a:srgbClr val="333333">
                  <a:lumMod val="60000"/>
                  <a:lumOff val="4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188" name="Text Box 31"/>
            <p:cNvSpPr txBox="1">
              <a:spLocks noChangeArrowheads="1"/>
            </p:cNvSpPr>
            <p:nvPr/>
          </p:nvSpPr>
          <p:spPr bwMode="gray">
            <a:xfrm>
              <a:off x="4738000" y="4867700"/>
              <a:ext cx="568882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t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Hot Data</a:t>
              </a:r>
            </a:p>
          </p:txBody>
        </p:sp>
        <p:pic>
          <p:nvPicPr>
            <p:cNvPr id="189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5244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0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1121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1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6998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2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2875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3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8752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" name="Picture 110" descr="Picture48"/>
            <p:cNvPicPr>
              <a:picLocks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4630" y="4460620"/>
              <a:ext cx="403200" cy="4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" name="Picture 289" descr="화살표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rgbClr val="FFE87F">
                  <a:tint val="45000"/>
                  <a:satMod val="400000"/>
                </a:srgbClr>
              </a:duotone>
            </a:blip>
            <a:srcRect t="14194" r="70580" b="14194"/>
            <a:stretch>
              <a:fillRect/>
            </a:stretch>
          </p:blipFill>
          <p:spPr bwMode="auto">
            <a:xfrm rot="10800000" flipH="1">
              <a:off x="3584189" y="5309909"/>
              <a:ext cx="387066" cy="64234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96" name="Text Box 31"/>
            <p:cNvSpPr txBox="1">
              <a:spLocks noChangeArrowheads="1"/>
            </p:cNvSpPr>
            <p:nvPr/>
          </p:nvSpPr>
          <p:spPr bwMode="gray">
            <a:xfrm>
              <a:off x="3287913" y="4924486"/>
              <a:ext cx="1008484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t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스토리지 가상화</a:t>
              </a:r>
              <a:endParaRPr kumimoji="1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97" name="Text Box 31"/>
            <p:cNvSpPr txBox="1">
              <a:spLocks noChangeArrowheads="1"/>
            </p:cNvSpPr>
            <p:nvPr/>
          </p:nvSpPr>
          <p:spPr bwMode="gray">
            <a:xfrm>
              <a:off x="3577667" y="5562133"/>
              <a:ext cx="34617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t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계층화</a:t>
              </a:r>
              <a:endParaRPr kumimoji="1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grpSp>
        <p:nvGrpSpPr>
          <p:cNvPr id="258" name="Group 257"/>
          <p:cNvGrpSpPr/>
          <p:nvPr/>
        </p:nvGrpSpPr>
        <p:grpSpPr>
          <a:xfrm>
            <a:off x="2238083" y="4437140"/>
            <a:ext cx="3205550" cy="1746430"/>
            <a:chOff x="2238083" y="4437140"/>
            <a:chExt cx="3205550" cy="1746430"/>
          </a:xfrm>
        </p:grpSpPr>
        <p:pic>
          <p:nvPicPr>
            <p:cNvPr id="259" name="Picture 105" descr="Picture4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1483" y="5058976"/>
              <a:ext cx="412150" cy="519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60" name="Group 259"/>
            <p:cNvGrpSpPr/>
            <p:nvPr/>
          </p:nvGrpSpPr>
          <p:grpSpPr>
            <a:xfrm>
              <a:off x="3584810" y="4693352"/>
              <a:ext cx="1177500" cy="1251004"/>
              <a:chOff x="3415450" y="4698348"/>
              <a:chExt cx="1177500" cy="1251004"/>
            </a:xfrm>
          </p:grpSpPr>
          <p:grpSp>
            <p:nvGrpSpPr>
              <p:cNvPr id="291" name="Group 290"/>
              <p:cNvGrpSpPr/>
              <p:nvPr/>
            </p:nvGrpSpPr>
            <p:grpSpPr>
              <a:xfrm>
                <a:off x="3444268" y="4698348"/>
                <a:ext cx="1148682" cy="1251004"/>
                <a:chOff x="3300248" y="4698348"/>
                <a:chExt cx="1148682" cy="1251004"/>
              </a:xfrm>
            </p:grpSpPr>
            <p:pic>
              <p:nvPicPr>
                <p:cNvPr id="297" name="Picture 99" descr="Picture37"/>
                <p:cNvPicPr>
                  <a:picLocks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00248" y="4698348"/>
                  <a:ext cx="417055" cy="5260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8" name="Picture 99" descr="Picture37"/>
                <p:cNvPicPr>
                  <a:picLocks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31873" y="4698348"/>
                  <a:ext cx="417055" cy="5260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9" name="Picture 99" descr="Picture37"/>
                <p:cNvPicPr>
                  <a:picLocks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00248" y="5423264"/>
                  <a:ext cx="417055" cy="5260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00" name="Picture 99" descr="Picture37"/>
                <p:cNvPicPr>
                  <a:picLocks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31874" y="5423263"/>
                  <a:ext cx="417056" cy="5260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92" name="Oval 291"/>
              <p:cNvSpPr/>
              <p:nvPr/>
            </p:nvSpPr>
            <p:spPr bwMode="auto">
              <a:xfrm>
                <a:off x="3638077" y="4954429"/>
                <a:ext cx="738843" cy="738843"/>
              </a:xfrm>
              <a:prstGeom prst="ellipse">
                <a:avLst/>
              </a:prstGeom>
              <a:pattFill prst="wdUpDiag">
                <a:fgClr>
                  <a:srgbClr val="D6EBF6"/>
                </a:fgClr>
                <a:bgClr>
                  <a:srgbClr val="FFFFFF"/>
                </a:bgClr>
              </a:pattFill>
              <a:ln w="19050">
                <a:solidFill>
                  <a:schemeClr val="bg1">
                    <a:lumMod val="50000"/>
                  </a:schemeClr>
                </a:solidFill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In-Memory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Data Grid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293" name="Text Box 31"/>
              <p:cNvSpPr txBox="1">
                <a:spLocks noChangeArrowheads="1"/>
              </p:cNvSpPr>
              <p:nvPr/>
            </p:nvSpPr>
            <p:spPr bwMode="gray">
              <a:xfrm>
                <a:off x="3415450" y="4896332"/>
                <a:ext cx="432000" cy="18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wrap="square" lIns="0" tIns="0" rIns="0" bIns="0" anchor="ctr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IMDG</a:t>
                </a:r>
              </a:p>
            </p:txBody>
          </p:sp>
          <p:sp>
            <p:nvSpPr>
              <p:cNvPr id="294" name="Text Box 31"/>
              <p:cNvSpPr txBox="1">
                <a:spLocks noChangeArrowheads="1"/>
              </p:cNvSpPr>
              <p:nvPr/>
            </p:nvSpPr>
            <p:spPr bwMode="gray">
              <a:xfrm>
                <a:off x="4151083" y="4896332"/>
                <a:ext cx="432000" cy="18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wrap="square" lIns="0" tIns="0" rIns="0" bIns="0" anchor="ctr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IMDG</a:t>
                </a:r>
              </a:p>
            </p:txBody>
          </p:sp>
          <p:sp>
            <p:nvSpPr>
              <p:cNvPr id="295" name="Text Box 31"/>
              <p:cNvSpPr txBox="1">
                <a:spLocks noChangeArrowheads="1"/>
              </p:cNvSpPr>
              <p:nvPr/>
            </p:nvSpPr>
            <p:spPr bwMode="gray">
              <a:xfrm>
                <a:off x="3415450" y="5618620"/>
                <a:ext cx="432000" cy="18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wrap="square" lIns="0" tIns="0" rIns="0" bIns="0" anchor="ctr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IMDG</a:t>
                </a:r>
              </a:p>
            </p:txBody>
          </p:sp>
          <p:sp>
            <p:nvSpPr>
              <p:cNvPr id="296" name="Text Box 31"/>
              <p:cNvSpPr txBox="1">
                <a:spLocks noChangeArrowheads="1"/>
              </p:cNvSpPr>
              <p:nvPr/>
            </p:nvSpPr>
            <p:spPr bwMode="gray">
              <a:xfrm>
                <a:off x="4151083" y="5618620"/>
                <a:ext cx="432000" cy="18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wrap="square" lIns="0" tIns="0" rIns="0" bIns="0" anchor="ctr">
                <a:noAutofit/>
              </a:bodyPr>
              <a:lstStyle>
                <a:lvl1pPr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 defTabSz="1393825"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defTabSz="1393825" eaLnBrk="0" fontAlgn="base" hangingPunct="0">
                  <a:lnSpc>
                    <a:spcPct val="120000"/>
                  </a:lnSpc>
                  <a:spcBef>
                    <a:spcPct val="30000"/>
                  </a:spcBef>
                  <a:spcAft>
                    <a:spcPct val="0"/>
                  </a:spcAft>
                  <a:defRPr kumimoji="1" sz="1600" b="1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marL="0" marR="0" lvl="0" indent="0" algn="ctr" defTabSz="13938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IMDG</a:t>
                </a:r>
              </a:p>
            </p:txBody>
          </p:sp>
        </p:grpSp>
        <p:grpSp>
          <p:nvGrpSpPr>
            <p:cNvPr id="261" name="Group 260"/>
            <p:cNvGrpSpPr/>
            <p:nvPr/>
          </p:nvGrpSpPr>
          <p:grpSpPr>
            <a:xfrm>
              <a:off x="2238083" y="4506916"/>
              <a:ext cx="359460" cy="1577044"/>
              <a:chOff x="2238083" y="4511912"/>
              <a:chExt cx="359460" cy="1577044"/>
            </a:xfrm>
          </p:grpSpPr>
          <p:grpSp>
            <p:nvGrpSpPr>
              <p:cNvPr id="276" name="Group 275"/>
              <p:cNvGrpSpPr/>
              <p:nvPr/>
            </p:nvGrpSpPr>
            <p:grpSpPr>
              <a:xfrm>
                <a:off x="2238083" y="4511912"/>
                <a:ext cx="359460" cy="276415"/>
                <a:chOff x="1130698" y="5359763"/>
                <a:chExt cx="484894" cy="372871"/>
              </a:xfrm>
            </p:grpSpPr>
            <p:pic>
              <p:nvPicPr>
                <p:cNvPr id="289" name="Picture 81" descr="Picture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5930" y="5359763"/>
                  <a:ext cx="369662" cy="372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0" name="Picture 78" descr="Picture1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30698" y="5359765"/>
                  <a:ext cx="255981" cy="3590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77" name="Group 276"/>
              <p:cNvGrpSpPr/>
              <p:nvPr/>
            </p:nvGrpSpPr>
            <p:grpSpPr>
              <a:xfrm>
                <a:off x="2238083" y="4837069"/>
                <a:ext cx="359460" cy="276415"/>
                <a:chOff x="1130698" y="5359763"/>
                <a:chExt cx="484894" cy="372871"/>
              </a:xfrm>
            </p:grpSpPr>
            <p:pic>
              <p:nvPicPr>
                <p:cNvPr id="287" name="Picture 81" descr="Picture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5930" y="5359763"/>
                  <a:ext cx="369662" cy="372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8" name="Picture 78" descr="Picture1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30698" y="5359765"/>
                  <a:ext cx="255981" cy="3590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78" name="Group 277"/>
              <p:cNvGrpSpPr/>
              <p:nvPr/>
            </p:nvGrpSpPr>
            <p:grpSpPr>
              <a:xfrm>
                <a:off x="2238083" y="5162226"/>
                <a:ext cx="359460" cy="276415"/>
                <a:chOff x="1130698" y="5359763"/>
                <a:chExt cx="484894" cy="372871"/>
              </a:xfrm>
            </p:grpSpPr>
            <p:pic>
              <p:nvPicPr>
                <p:cNvPr id="285" name="Picture 81" descr="Picture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5930" y="5359763"/>
                  <a:ext cx="369662" cy="372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6" name="Picture 78" descr="Picture1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30698" y="5359765"/>
                  <a:ext cx="255981" cy="3590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79" name="Group 278"/>
              <p:cNvGrpSpPr/>
              <p:nvPr/>
            </p:nvGrpSpPr>
            <p:grpSpPr>
              <a:xfrm>
                <a:off x="2238083" y="5487383"/>
                <a:ext cx="359460" cy="276415"/>
                <a:chOff x="1130698" y="5359763"/>
                <a:chExt cx="484894" cy="372871"/>
              </a:xfrm>
            </p:grpSpPr>
            <p:pic>
              <p:nvPicPr>
                <p:cNvPr id="283" name="Picture 81" descr="Picture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5930" y="5359763"/>
                  <a:ext cx="369662" cy="372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4" name="Picture 78" descr="Picture1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30698" y="5359765"/>
                  <a:ext cx="255981" cy="3590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80" name="Group 279"/>
              <p:cNvGrpSpPr/>
              <p:nvPr/>
            </p:nvGrpSpPr>
            <p:grpSpPr>
              <a:xfrm>
                <a:off x="2238083" y="5812541"/>
                <a:ext cx="359460" cy="276415"/>
                <a:chOff x="1130698" y="5359763"/>
                <a:chExt cx="484894" cy="372871"/>
              </a:xfrm>
            </p:grpSpPr>
            <p:pic>
              <p:nvPicPr>
                <p:cNvPr id="281" name="Picture 81" descr="Picture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5930" y="5359763"/>
                  <a:ext cx="369662" cy="372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2" name="Picture 78" descr="Picture1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30698" y="5359765"/>
                  <a:ext cx="255981" cy="3590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262" name="Text Box 31"/>
            <p:cNvSpPr txBox="1">
              <a:spLocks noChangeArrowheads="1"/>
            </p:cNvSpPr>
            <p:nvPr/>
          </p:nvSpPr>
          <p:spPr bwMode="gray">
            <a:xfrm>
              <a:off x="5080713" y="5579279"/>
              <a:ext cx="313691" cy="3385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DB </a:t>
              </a:r>
              <a:r>
                <a:rPr kumimoji="1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버</a:t>
              </a:r>
              <a:endPara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cxnSp>
          <p:nvCxnSpPr>
            <p:cNvPr id="263" name="Straight Connector 262"/>
            <p:cNvCxnSpPr>
              <a:stCxn id="292" idx="6"/>
              <a:endCxn id="259" idx="1"/>
            </p:cNvCxnSpPr>
            <p:nvPr/>
          </p:nvCxnSpPr>
          <p:spPr bwMode="auto">
            <a:xfrm>
              <a:off x="4546280" y="5318855"/>
              <a:ext cx="485203" cy="0"/>
            </a:xfrm>
            <a:prstGeom prst="line">
              <a:avLst/>
            </a:prstGeom>
            <a:solidFill>
              <a:srgbClr val="FFD200"/>
            </a:solidFill>
            <a:ln w="53975" cap="flat" cmpd="dbl" algn="ctr">
              <a:solidFill>
                <a:srgbClr val="F0F0F0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4" name="Curved Connector 263"/>
            <p:cNvCxnSpPr>
              <a:stCxn id="289" idx="3"/>
              <a:endCxn id="292" idx="2"/>
            </p:cNvCxnSpPr>
            <p:nvPr/>
          </p:nvCxnSpPr>
          <p:spPr bwMode="auto">
            <a:xfrm>
              <a:off x="2597543" y="4645124"/>
              <a:ext cx="1209894" cy="673731"/>
            </a:xfrm>
            <a:prstGeom prst="curvedConnector3">
              <a:avLst>
                <a:gd name="adj1" fmla="val 5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65" name="Curved Connector 264"/>
            <p:cNvCxnSpPr>
              <a:stCxn id="287" idx="3"/>
              <a:endCxn id="292" idx="2"/>
            </p:cNvCxnSpPr>
            <p:nvPr/>
          </p:nvCxnSpPr>
          <p:spPr bwMode="auto">
            <a:xfrm>
              <a:off x="2597543" y="4970281"/>
              <a:ext cx="1209894" cy="348574"/>
            </a:xfrm>
            <a:prstGeom prst="curvedConnector3">
              <a:avLst>
                <a:gd name="adj1" fmla="val 5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66" name="Curved Connector 265"/>
            <p:cNvCxnSpPr>
              <a:stCxn id="285" idx="3"/>
              <a:endCxn id="292" idx="2"/>
            </p:cNvCxnSpPr>
            <p:nvPr/>
          </p:nvCxnSpPr>
          <p:spPr bwMode="auto">
            <a:xfrm>
              <a:off x="2597543" y="5295438"/>
              <a:ext cx="1209894" cy="23417"/>
            </a:xfrm>
            <a:prstGeom prst="curvedConnector3">
              <a:avLst>
                <a:gd name="adj1" fmla="val 5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67" name="Curved Connector 266"/>
            <p:cNvCxnSpPr>
              <a:stCxn id="283" idx="3"/>
              <a:endCxn id="292" idx="2"/>
            </p:cNvCxnSpPr>
            <p:nvPr/>
          </p:nvCxnSpPr>
          <p:spPr bwMode="auto">
            <a:xfrm flipV="1">
              <a:off x="2597543" y="5318855"/>
              <a:ext cx="1209894" cy="301740"/>
            </a:xfrm>
            <a:prstGeom prst="curvedConnector3">
              <a:avLst>
                <a:gd name="adj1" fmla="val 5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68" name="Curved Connector 267"/>
            <p:cNvCxnSpPr>
              <a:stCxn id="281" idx="3"/>
              <a:endCxn id="292" idx="2"/>
            </p:cNvCxnSpPr>
            <p:nvPr/>
          </p:nvCxnSpPr>
          <p:spPr bwMode="auto">
            <a:xfrm flipV="1">
              <a:off x="2597543" y="5318855"/>
              <a:ext cx="1209894" cy="626898"/>
            </a:xfrm>
            <a:prstGeom prst="curvedConnector3">
              <a:avLst>
                <a:gd name="adj1" fmla="val 5000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269" name="Rectangle 20"/>
            <p:cNvSpPr>
              <a:spLocks noChangeArrowheads="1"/>
            </p:cNvSpPr>
            <p:nvPr/>
          </p:nvSpPr>
          <p:spPr bwMode="auto">
            <a:xfrm>
              <a:off x="2760179" y="4437140"/>
              <a:ext cx="586230" cy="1548000"/>
            </a:xfrm>
            <a:prstGeom prst="rect">
              <a:avLst/>
            </a:prstGeom>
            <a:solidFill>
              <a:srgbClr val="FFFFFF">
                <a:alpha val="65000"/>
              </a:srgbClr>
            </a:solidFill>
            <a:ln w="9525" algn="ctr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>
                  <a:tab pos="88900" algn="l"/>
                </a:tabLst>
                <a:defRPr/>
              </a:pP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grpSp>
          <p:nvGrpSpPr>
            <p:cNvPr id="270" name="Group 269"/>
            <p:cNvGrpSpPr/>
            <p:nvPr/>
          </p:nvGrpSpPr>
          <p:grpSpPr>
            <a:xfrm>
              <a:off x="2881528" y="4484759"/>
              <a:ext cx="343232" cy="1445535"/>
              <a:chOff x="2887230" y="4433310"/>
              <a:chExt cx="343232" cy="1445535"/>
            </a:xfrm>
          </p:grpSpPr>
          <p:pic>
            <p:nvPicPr>
              <p:cNvPr id="273" name="Picture 110" descr="Picture48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7230" y="4433310"/>
                <a:ext cx="343232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4" name="Picture 110" descr="Picture48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7230" y="4940077"/>
                <a:ext cx="343232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5" name="Picture 110" descr="Picture48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7230" y="5446845"/>
                <a:ext cx="343232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1" name="Text Box 31"/>
            <p:cNvSpPr txBox="1">
              <a:spLocks noChangeArrowheads="1"/>
            </p:cNvSpPr>
            <p:nvPr/>
          </p:nvSpPr>
          <p:spPr bwMode="gray">
            <a:xfrm>
              <a:off x="2760179" y="6021360"/>
              <a:ext cx="586230" cy="1622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no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AP </a:t>
              </a:r>
              <a:r>
                <a:rPr kumimoji="1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버</a:t>
              </a:r>
              <a:endPara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72" name="Text Box 31"/>
            <p:cNvSpPr txBox="1">
              <a:spLocks noChangeArrowheads="1"/>
            </p:cNvSpPr>
            <p:nvPr/>
          </p:nvSpPr>
          <p:spPr bwMode="gray">
            <a:xfrm>
              <a:off x="3440790" y="6021360"/>
              <a:ext cx="1988202" cy="1622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no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marL="0" marR="0" lvl="0" indent="0" algn="ctr" defTabSz="13938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※ IMDG : In-Memory Data Grid</a:t>
              </a:r>
            </a:p>
          </p:txBody>
        </p:sp>
      </p:grpSp>
      <p:sp>
        <p:nvSpPr>
          <p:cNvPr id="301" name="Text Box 31"/>
          <p:cNvSpPr txBox="1">
            <a:spLocks noChangeArrowheads="1"/>
          </p:cNvSpPr>
          <p:nvPr/>
        </p:nvSpPr>
        <p:spPr bwMode="gray">
          <a:xfrm>
            <a:off x="3407157" y="5186359"/>
            <a:ext cx="251996" cy="246221"/>
          </a:xfrm>
          <a:prstGeom prst="rect">
            <a:avLst/>
          </a:prstGeom>
          <a:solidFill>
            <a:srgbClr val="FFFFFF">
              <a:alpha val="88000"/>
            </a:srgbClr>
          </a:solidFill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marR="0" lvl="0" indent="0" algn="ctr" defTabSz="13938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/>
                <a:ea typeface="맑은 고딕"/>
              </a:rPr>
              <a:t>읽기</a:t>
            </a:r>
            <a:endParaRPr kumimoji="1" lang="en-US" altLang="ko-KR" sz="8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13938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맑은 고딕"/>
                <a:ea typeface="맑은 고딕"/>
              </a:rPr>
              <a:t>쓰기</a:t>
            </a:r>
            <a:endParaRPr kumimoji="1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03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0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305" name="TextBox 30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최신 기술요소 도입을 통한 업무 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개선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0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7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308" name="TextBox 30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11" name="그룹 31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31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31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31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31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1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1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31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320" name="그룹 31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33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33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7945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   </a:t>
            </a:r>
            <a:r>
              <a:rPr lang="ko-KR" altLang="en-US" dirty="0" smtClean="0"/>
              <a:t>표준 프레임워크 도입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표준 </a:t>
            </a:r>
            <a:r>
              <a:rPr lang="ko-KR" altLang="en-US" dirty="0"/>
              <a:t>프레임워크를 </a:t>
            </a:r>
            <a:r>
              <a:rPr lang="ko-KR" altLang="en-US" dirty="0" smtClean="0"/>
              <a:t>도입하여 </a:t>
            </a:r>
            <a:r>
              <a:rPr lang="ko-KR" altLang="en-US" dirty="0"/>
              <a:t>통합 개발환경을 </a:t>
            </a:r>
            <a:r>
              <a:rPr lang="ko-KR" altLang="en-US" dirty="0" smtClean="0"/>
              <a:t>구축하고</a:t>
            </a:r>
            <a:r>
              <a:rPr lang="en-US" altLang="ko-KR" dirty="0" smtClean="0"/>
              <a:t>,</a:t>
            </a:r>
            <a:r>
              <a:rPr lang="ko-KR" altLang="en-US" dirty="0" smtClean="0"/>
              <a:t> 개발 </a:t>
            </a:r>
            <a:r>
              <a:rPr lang="ko-KR" altLang="en-US" dirty="0"/>
              <a:t>관리 영역 간의 유연한 연계를 통해 개발 품질 향상 및 생산성을 </a:t>
            </a:r>
            <a:r>
              <a:rPr lang="ko-KR" altLang="en-US" dirty="0" smtClean="0"/>
              <a:t>제고함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86449" y="2048148"/>
            <a:ext cx="5486022" cy="4350065"/>
            <a:chOff x="175072" y="1853339"/>
            <a:chExt cx="5708777" cy="4350065"/>
          </a:xfrm>
        </p:grpSpPr>
        <p:sp>
          <p:nvSpPr>
            <p:cNvPr id="222" name="직사각형 73"/>
            <p:cNvSpPr/>
            <p:nvPr/>
          </p:nvSpPr>
          <p:spPr bwMode="gray">
            <a:xfrm>
              <a:off x="175072" y="3903471"/>
              <a:ext cx="1040957" cy="2170187"/>
            </a:xfrm>
            <a:prstGeom prst="rect">
              <a:avLst/>
            </a:prstGeom>
            <a:noFill/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도구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3" name="직사각형 74"/>
            <p:cNvSpPr/>
            <p:nvPr/>
          </p:nvSpPr>
          <p:spPr bwMode="gray">
            <a:xfrm>
              <a:off x="218531" y="4187703"/>
              <a:ext cx="922089" cy="317759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분석</a:t>
              </a:r>
              <a:r>
                <a:rPr lang="en-US" altLang="ko-KR" sz="10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0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설계 </a:t>
              </a: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툴</a:t>
              </a:r>
              <a:endPara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4" name="직사각형 75"/>
            <p:cNvSpPr/>
            <p:nvPr/>
          </p:nvSpPr>
          <p:spPr bwMode="gray">
            <a:xfrm>
              <a:off x="222295" y="4707580"/>
              <a:ext cx="920834" cy="69320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어플리케이션 통합개발 툴</a:t>
              </a:r>
              <a:endPara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5" name="직사각형 76"/>
            <p:cNvSpPr/>
            <p:nvPr/>
          </p:nvSpPr>
          <p:spPr bwMode="gray">
            <a:xfrm>
              <a:off x="226057" y="5579046"/>
              <a:ext cx="920834" cy="37875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테스트 </a:t>
              </a:r>
              <a: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overage</a:t>
              </a:r>
              <a:endPara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6" name="직사각형 77"/>
            <p:cNvSpPr/>
            <p:nvPr/>
          </p:nvSpPr>
          <p:spPr bwMode="gray">
            <a:xfrm>
              <a:off x="4732735" y="3908681"/>
              <a:ext cx="1151114" cy="2187771"/>
            </a:xfrm>
            <a:prstGeom prst="rect">
              <a:avLst/>
            </a:prstGeom>
            <a:noFill/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관리도구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7" name="직사각형 78"/>
            <p:cNvSpPr/>
            <p:nvPr/>
          </p:nvSpPr>
          <p:spPr bwMode="gray">
            <a:xfrm>
              <a:off x="4785737" y="4206103"/>
              <a:ext cx="989753" cy="39070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로젝트 관리</a:t>
              </a:r>
              <a:endParaRPr lang="en-US" altLang="ko-KR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8" name="직사각형 79"/>
            <p:cNvSpPr/>
            <p:nvPr/>
          </p:nvSpPr>
          <p:spPr bwMode="gray">
            <a:xfrm>
              <a:off x="4789778" y="4664142"/>
              <a:ext cx="988406" cy="3895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품질관리</a:t>
              </a:r>
              <a: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b="0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코드인스펙션</a:t>
              </a:r>
              <a:r>
                <a:rPr lang="en-US" altLang="ko-KR" sz="10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229" name="직사각형 80"/>
            <p:cNvSpPr/>
            <p:nvPr/>
          </p:nvSpPr>
          <p:spPr bwMode="gray">
            <a:xfrm>
              <a:off x="4793817" y="5133874"/>
              <a:ext cx="988406" cy="3895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형상관리</a:t>
              </a:r>
              <a:endPara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0" name="직사각형 81"/>
            <p:cNvSpPr/>
            <p:nvPr/>
          </p:nvSpPr>
          <p:spPr bwMode="gray">
            <a:xfrm>
              <a:off x="4793817" y="5618656"/>
              <a:ext cx="988406" cy="3895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영향도 분석</a:t>
              </a:r>
              <a:endPara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1" name="위쪽/아래쪽 화살표 82"/>
            <p:cNvSpPr/>
            <p:nvPr/>
          </p:nvSpPr>
          <p:spPr bwMode="gray">
            <a:xfrm>
              <a:off x="2943089" y="3510935"/>
              <a:ext cx="169233" cy="337306"/>
            </a:xfrm>
            <a:prstGeom prst="upDownArrow">
              <a:avLst/>
            </a:prstGeom>
            <a:solidFill>
              <a:srgbClr val="1B3A87"/>
            </a:solidFill>
            <a:ln w="9525" algn="ctr">
              <a:solidFill>
                <a:srgbClr val="FFC000"/>
              </a:solidFill>
              <a:miter lim="800000"/>
              <a:headEnd/>
              <a:tailEnd/>
            </a:ln>
            <a:effectLst/>
          </p:spPr>
          <p:txBody>
            <a:bodyPr lIns="72000" rIns="72000" rtlCol="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2" name="직사각형 83"/>
            <p:cNvSpPr/>
            <p:nvPr/>
          </p:nvSpPr>
          <p:spPr bwMode="gray">
            <a:xfrm>
              <a:off x="1415937" y="3882488"/>
              <a:ext cx="3112892" cy="2213963"/>
            </a:xfrm>
            <a:prstGeom prst="rect">
              <a:avLst/>
            </a:prstGeom>
            <a:noFill/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 방법론</a:t>
              </a:r>
              <a:endPara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4" name="순서도: 대체 처리 85"/>
            <p:cNvSpPr/>
            <p:nvPr/>
          </p:nvSpPr>
          <p:spPr bwMode="gray">
            <a:xfrm>
              <a:off x="1448010" y="4954261"/>
              <a:ext cx="665539" cy="50943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</a:pPr>
              <a:r>
                <a:rPr lang="ko-KR" altLang="en-US" sz="9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로젝트 적용 검토 </a:t>
              </a:r>
            </a:p>
          </p:txBody>
        </p:sp>
        <p:sp>
          <p:nvSpPr>
            <p:cNvPr id="235" name="순서도: 대체 처리 86"/>
            <p:cNvSpPr/>
            <p:nvPr/>
          </p:nvSpPr>
          <p:spPr bwMode="gray">
            <a:xfrm>
              <a:off x="2232459" y="4954261"/>
              <a:ext cx="665539" cy="50943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</a:pP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</a:t>
              </a:r>
              <a:r>
                <a:rPr lang="en-US" altLang="ko-KR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공정 </a:t>
              </a:r>
              <a:r>
                <a:rPr lang="ko-KR" altLang="en-US" sz="9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산출물</a:t>
              </a:r>
            </a:p>
          </p:txBody>
        </p:sp>
        <p:sp>
          <p:nvSpPr>
            <p:cNvPr id="236" name="순서도: 대체 처리 87"/>
            <p:cNvSpPr/>
            <p:nvPr/>
          </p:nvSpPr>
          <p:spPr bwMode="gray">
            <a:xfrm>
              <a:off x="3016907" y="4954261"/>
              <a:ext cx="665539" cy="50943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</a:pPr>
              <a:r>
                <a:rPr lang="en-US" altLang="ko-KR" sz="9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WBS </a:t>
              </a:r>
              <a:r>
                <a:rPr lang="ko-KR" altLang="en-US" sz="9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확정</a:t>
              </a:r>
            </a:p>
          </p:txBody>
        </p:sp>
        <p:sp>
          <p:nvSpPr>
            <p:cNvPr id="237" name="순서도: 대체 처리 88"/>
            <p:cNvSpPr/>
            <p:nvPr/>
          </p:nvSpPr>
          <p:spPr bwMode="gray">
            <a:xfrm>
              <a:off x="3802242" y="4954261"/>
              <a:ext cx="665539" cy="50943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</a:pPr>
              <a:r>
                <a:rPr lang="ko-KR" altLang="en-US" sz="9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로젝트 적용</a:t>
              </a:r>
            </a:p>
          </p:txBody>
        </p:sp>
        <p:cxnSp>
          <p:nvCxnSpPr>
            <p:cNvPr id="238" name="직선 화살표 연결선 104"/>
            <p:cNvCxnSpPr>
              <a:cxnSpLocks noChangeShapeType="1"/>
            </p:cNvCxnSpPr>
            <p:nvPr/>
          </p:nvCxnSpPr>
          <p:spPr bwMode="auto">
            <a:xfrm>
              <a:off x="2113400" y="5211231"/>
              <a:ext cx="118652" cy="0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9" name="직선 화살표 연결선 135"/>
            <p:cNvCxnSpPr>
              <a:cxnSpLocks noChangeShapeType="1"/>
            </p:cNvCxnSpPr>
            <p:nvPr/>
          </p:nvCxnSpPr>
          <p:spPr bwMode="auto">
            <a:xfrm>
              <a:off x="2896692" y="5211231"/>
              <a:ext cx="119579" cy="0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0" name="직선 화살표 연결선 136"/>
            <p:cNvCxnSpPr>
              <a:cxnSpLocks noChangeShapeType="1"/>
            </p:cNvCxnSpPr>
            <p:nvPr/>
          </p:nvCxnSpPr>
          <p:spPr bwMode="auto">
            <a:xfrm>
              <a:off x="3692034" y="5211231"/>
              <a:ext cx="118652" cy="0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42" name="직사각형 93"/>
            <p:cNvSpPr/>
            <p:nvPr/>
          </p:nvSpPr>
          <p:spPr bwMode="gray">
            <a:xfrm>
              <a:off x="1547250" y="5725297"/>
              <a:ext cx="94440" cy="75101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3" name="직사각형 94"/>
            <p:cNvSpPr/>
            <p:nvPr/>
          </p:nvSpPr>
          <p:spPr bwMode="gray">
            <a:xfrm>
              <a:off x="1678687" y="5665843"/>
              <a:ext cx="94440" cy="75101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4" name="직사각형 95"/>
            <p:cNvSpPr/>
            <p:nvPr/>
          </p:nvSpPr>
          <p:spPr bwMode="gray">
            <a:xfrm>
              <a:off x="1678687" y="5778494"/>
              <a:ext cx="94440" cy="75101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5" name="직사각형 96"/>
            <p:cNvSpPr/>
            <p:nvPr/>
          </p:nvSpPr>
          <p:spPr bwMode="gray">
            <a:xfrm>
              <a:off x="1796494" y="5725297"/>
              <a:ext cx="94440" cy="75101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6" name="직사각형 97"/>
            <p:cNvSpPr/>
            <p:nvPr/>
          </p:nvSpPr>
          <p:spPr bwMode="gray">
            <a:xfrm>
              <a:off x="1914301" y="5725297"/>
              <a:ext cx="94440" cy="75101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7" name="꺾인 연결선 98"/>
            <p:cNvCxnSpPr>
              <a:stCxn id="242" idx="3"/>
              <a:endCxn id="243" idx="1"/>
            </p:cNvCxnSpPr>
            <p:nvPr/>
          </p:nvCxnSpPr>
          <p:spPr bwMode="auto">
            <a:xfrm flipV="1">
              <a:off x="1641690" y="5703394"/>
              <a:ext cx="36997" cy="59455"/>
            </a:xfrm>
            <a:prstGeom prst="bentConnector3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248" name="꺾인 연결선 99"/>
            <p:cNvCxnSpPr>
              <a:stCxn id="242" idx="3"/>
              <a:endCxn id="244" idx="1"/>
            </p:cNvCxnSpPr>
            <p:nvPr/>
          </p:nvCxnSpPr>
          <p:spPr bwMode="auto">
            <a:xfrm>
              <a:off x="1641690" y="5762848"/>
              <a:ext cx="36997" cy="53197"/>
            </a:xfrm>
            <a:prstGeom prst="bentConnector3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249" name="꺾인 연결선 100"/>
            <p:cNvCxnSpPr>
              <a:stCxn id="243" idx="3"/>
              <a:endCxn id="245" idx="1"/>
            </p:cNvCxnSpPr>
            <p:nvPr/>
          </p:nvCxnSpPr>
          <p:spPr bwMode="auto">
            <a:xfrm>
              <a:off x="1773128" y="5703394"/>
              <a:ext cx="23367" cy="59455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250" name="꺾인 연결선 101"/>
            <p:cNvCxnSpPr>
              <a:stCxn id="244" idx="3"/>
              <a:endCxn id="245" idx="1"/>
            </p:cNvCxnSpPr>
            <p:nvPr/>
          </p:nvCxnSpPr>
          <p:spPr bwMode="auto">
            <a:xfrm flipV="1">
              <a:off x="1773128" y="5762848"/>
              <a:ext cx="23367" cy="53197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251" name="꺾인 연결선 102"/>
            <p:cNvCxnSpPr>
              <a:stCxn id="245" idx="3"/>
              <a:endCxn id="246" idx="1"/>
            </p:cNvCxnSpPr>
            <p:nvPr/>
          </p:nvCxnSpPr>
          <p:spPr bwMode="auto">
            <a:xfrm>
              <a:off x="1890934" y="5762848"/>
              <a:ext cx="23367" cy="6258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sp>
          <p:nvSpPr>
            <p:cNvPr id="253" name="모서리가 접힌 도형 104"/>
            <p:cNvSpPr/>
            <p:nvPr/>
          </p:nvSpPr>
          <p:spPr bwMode="gray">
            <a:xfrm>
              <a:off x="2958984" y="5698699"/>
              <a:ext cx="97361" cy="158026"/>
            </a:xfrm>
            <a:prstGeom prst="foldedCorner">
              <a:avLst/>
            </a:prstGeom>
            <a:solidFill>
              <a:srgbClr val="76B0CF">
                <a:lumMod val="20000"/>
                <a:lumOff val="80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4" name="직선 연결선 105"/>
            <p:cNvCxnSpPr/>
            <p:nvPr/>
          </p:nvCxnSpPr>
          <p:spPr bwMode="auto">
            <a:xfrm>
              <a:off x="2971641" y="5720603"/>
              <a:ext cx="64258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5" name="직선 연결선 106"/>
            <p:cNvCxnSpPr/>
            <p:nvPr/>
          </p:nvCxnSpPr>
          <p:spPr bwMode="auto">
            <a:xfrm>
              <a:off x="2971641" y="5740944"/>
              <a:ext cx="64258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6" name="직선 연결선 107"/>
            <p:cNvCxnSpPr/>
            <p:nvPr/>
          </p:nvCxnSpPr>
          <p:spPr bwMode="auto">
            <a:xfrm>
              <a:off x="2971641" y="5762848"/>
              <a:ext cx="64258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7" name="직선 연결선 108"/>
            <p:cNvCxnSpPr/>
            <p:nvPr/>
          </p:nvCxnSpPr>
          <p:spPr bwMode="auto">
            <a:xfrm>
              <a:off x="2971641" y="5781624"/>
              <a:ext cx="64258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8" name="직선 연결선 109"/>
            <p:cNvCxnSpPr/>
            <p:nvPr/>
          </p:nvCxnSpPr>
          <p:spPr bwMode="auto">
            <a:xfrm>
              <a:off x="2971641" y="5803528"/>
              <a:ext cx="64258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0" name="타원 111"/>
            <p:cNvSpPr/>
            <p:nvPr/>
          </p:nvSpPr>
          <p:spPr bwMode="gray">
            <a:xfrm>
              <a:off x="3938435" y="5611081"/>
              <a:ext cx="57443" cy="92312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1" name="직사각형 112"/>
            <p:cNvSpPr/>
            <p:nvPr/>
          </p:nvSpPr>
          <p:spPr bwMode="gray">
            <a:xfrm>
              <a:off x="3938435" y="5726862"/>
              <a:ext cx="57443" cy="13299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2" name="직사각형 163"/>
            <p:cNvSpPr>
              <a:spLocks noChangeArrowheads="1"/>
            </p:cNvSpPr>
            <p:nvPr/>
          </p:nvSpPr>
          <p:spPr bwMode="auto">
            <a:xfrm>
              <a:off x="1992787" y="5579045"/>
              <a:ext cx="92809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표준개발공정 및 수행절차</a:t>
              </a:r>
            </a:p>
          </p:txBody>
        </p:sp>
        <p:sp>
          <p:nvSpPr>
            <p:cNvPr id="263" name="직사각형 216"/>
            <p:cNvSpPr>
              <a:spLocks noChangeArrowheads="1"/>
            </p:cNvSpPr>
            <p:nvPr/>
          </p:nvSpPr>
          <p:spPr bwMode="auto">
            <a:xfrm>
              <a:off x="3043939" y="5557073"/>
              <a:ext cx="711524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표준 산출물 및 가이드</a:t>
              </a:r>
            </a:p>
          </p:txBody>
        </p:sp>
        <p:sp>
          <p:nvSpPr>
            <p:cNvPr id="264" name="직사각형 217"/>
            <p:cNvSpPr>
              <a:spLocks noChangeArrowheads="1"/>
            </p:cNvSpPr>
            <p:nvPr/>
          </p:nvSpPr>
          <p:spPr bwMode="auto">
            <a:xfrm>
              <a:off x="3960768" y="5570928"/>
              <a:ext cx="64684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b="0" kern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역할 및 책임</a:t>
              </a:r>
            </a:p>
          </p:txBody>
        </p:sp>
        <p:sp>
          <p:nvSpPr>
            <p:cNvPr id="265" name="오각형 116"/>
            <p:cNvSpPr/>
            <p:nvPr/>
          </p:nvSpPr>
          <p:spPr bwMode="gray">
            <a:xfrm>
              <a:off x="2132110" y="4190594"/>
              <a:ext cx="558220" cy="547456"/>
            </a:xfrm>
            <a:prstGeom prst="homePlate">
              <a:avLst>
                <a:gd name="adj" fmla="val 1695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분석</a:t>
              </a:r>
            </a:p>
          </p:txBody>
        </p:sp>
        <p:sp>
          <p:nvSpPr>
            <p:cNvPr id="266" name="오각형 117"/>
            <p:cNvSpPr/>
            <p:nvPr/>
          </p:nvSpPr>
          <p:spPr bwMode="gray">
            <a:xfrm>
              <a:off x="2722104" y="4190594"/>
              <a:ext cx="557361" cy="547456"/>
            </a:xfrm>
            <a:prstGeom prst="homePlate">
              <a:avLst>
                <a:gd name="adj" fmla="val 18195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설계</a:t>
              </a:r>
            </a:p>
          </p:txBody>
        </p:sp>
        <p:sp>
          <p:nvSpPr>
            <p:cNvPr id="267" name="오각형 118"/>
            <p:cNvSpPr/>
            <p:nvPr/>
          </p:nvSpPr>
          <p:spPr bwMode="gray">
            <a:xfrm>
              <a:off x="3312958" y="4190594"/>
              <a:ext cx="556502" cy="547456"/>
            </a:xfrm>
            <a:prstGeom prst="homePlate">
              <a:avLst>
                <a:gd name="adj" fmla="val 1444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</a:t>
              </a:r>
            </a:p>
          </p:txBody>
        </p:sp>
        <p:sp>
          <p:nvSpPr>
            <p:cNvPr id="268" name="오각형 119"/>
            <p:cNvSpPr/>
            <p:nvPr/>
          </p:nvSpPr>
          <p:spPr bwMode="gray">
            <a:xfrm>
              <a:off x="3902096" y="4190594"/>
              <a:ext cx="556502" cy="547456"/>
            </a:xfrm>
            <a:prstGeom prst="homePlate">
              <a:avLst>
                <a:gd name="adj" fmla="val 13195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b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이행</a:t>
              </a:r>
            </a:p>
          </p:txBody>
        </p:sp>
        <p:sp>
          <p:nvSpPr>
            <p:cNvPr id="269" name="오각형 120"/>
            <p:cNvSpPr/>
            <p:nvPr/>
          </p:nvSpPr>
          <p:spPr bwMode="gray">
            <a:xfrm>
              <a:off x="1541255" y="4189898"/>
              <a:ext cx="557361" cy="547457"/>
            </a:xfrm>
            <a:prstGeom prst="homePlate">
              <a:avLst>
                <a:gd name="adj" fmla="val 1695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요구사항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분석</a:t>
              </a:r>
            </a:p>
          </p:txBody>
        </p:sp>
        <p:cxnSp>
          <p:nvCxnSpPr>
            <p:cNvPr id="270" name="꺾인 연결선 121"/>
            <p:cNvCxnSpPr>
              <a:stCxn id="237" idx="3"/>
              <a:endCxn id="269" idx="1"/>
            </p:cNvCxnSpPr>
            <p:nvPr/>
          </p:nvCxnSpPr>
          <p:spPr bwMode="auto">
            <a:xfrm flipH="1" flipV="1">
              <a:off x="1541255" y="4463627"/>
              <a:ext cx="2926525" cy="745352"/>
            </a:xfrm>
            <a:prstGeom prst="bentConnector5">
              <a:avLst>
                <a:gd name="adj1" fmla="val -5648"/>
                <a:gd name="adj2" fmla="val 48725"/>
                <a:gd name="adj3" fmla="val 105648"/>
              </a:avLst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71" name="직사각형 122"/>
            <p:cNvSpPr/>
            <p:nvPr/>
          </p:nvSpPr>
          <p:spPr bwMode="gray">
            <a:xfrm>
              <a:off x="259019" y="1853339"/>
              <a:ext cx="5540882" cy="1628051"/>
            </a:xfrm>
            <a:prstGeom prst="rect">
              <a:avLst/>
            </a:prstGeom>
            <a:noFill/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2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표준 </a:t>
              </a: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레임워크</a:t>
              </a:r>
              <a:endPara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2" name="모서리가 둥근 직사각형 123"/>
            <p:cNvSpPr/>
            <p:nvPr/>
          </p:nvSpPr>
          <p:spPr bwMode="gray">
            <a:xfrm>
              <a:off x="2065896" y="2136599"/>
              <a:ext cx="1911098" cy="789219"/>
            </a:xfrm>
            <a:prstGeom prst="roundRect">
              <a:avLst/>
            </a:prstGeom>
            <a:solidFill>
              <a:srgbClr val="D6EBF6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rIns="36000" bIns="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레임워크 실행영역</a:t>
              </a:r>
              <a:endParaRPr lang="ko-KR" altLang="en-US" sz="11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274" name="그룹 39"/>
            <p:cNvGrpSpPr>
              <a:grpSpLocks/>
            </p:cNvGrpSpPr>
            <p:nvPr/>
          </p:nvGrpSpPr>
          <p:grpSpPr bwMode="auto">
            <a:xfrm>
              <a:off x="556474" y="3034766"/>
              <a:ext cx="283598" cy="329698"/>
              <a:chOff x="2377516" y="4693962"/>
              <a:chExt cx="271228" cy="311578"/>
            </a:xfrm>
          </p:grpSpPr>
          <p:sp>
            <p:nvSpPr>
              <p:cNvPr id="301" name="모서리가 접힌 도형 152"/>
              <p:cNvSpPr/>
              <p:nvPr/>
            </p:nvSpPr>
            <p:spPr bwMode="gray">
              <a:xfrm>
                <a:off x="2377761" y="4694566"/>
                <a:ext cx="270577" cy="311381"/>
              </a:xfrm>
              <a:prstGeom prst="foldedCorner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302" name="직선 연결선 153"/>
              <p:cNvCxnSpPr/>
              <p:nvPr/>
            </p:nvCxnSpPr>
            <p:spPr bwMode="auto">
              <a:xfrm>
                <a:off x="2411926" y="4735181"/>
                <a:ext cx="179018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3" name="직선 연결선 154"/>
              <p:cNvCxnSpPr/>
              <p:nvPr/>
            </p:nvCxnSpPr>
            <p:spPr bwMode="auto">
              <a:xfrm>
                <a:off x="2411926" y="4777026"/>
                <a:ext cx="179018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4" name="직선 연결선 155"/>
              <p:cNvCxnSpPr/>
              <p:nvPr/>
            </p:nvCxnSpPr>
            <p:spPr bwMode="auto">
              <a:xfrm>
                <a:off x="2411926" y="4818872"/>
                <a:ext cx="179018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5" name="직선 연결선 156"/>
              <p:cNvCxnSpPr/>
              <p:nvPr/>
            </p:nvCxnSpPr>
            <p:spPr bwMode="auto">
              <a:xfrm>
                <a:off x="2411926" y="4859487"/>
                <a:ext cx="179018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6" name="직선 연결선 157"/>
              <p:cNvCxnSpPr/>
              <p:nvPr/>
            </p:nvCxnSpPr>
            <p:spPr bwMode="auto">
              <a:xfrm>
                <a:off x="2411926" y="4900102"/>
                <a:ext cx="179018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75" name="직사각형 126"/>
            <p:cNvSpPr/>
            <p:nvPr/>
          </p:nvSpPr>
          <p:spPr bwMode="auto">
            <a:xfrm>
              <a:off x="807929" y="3005470"/>
              <a:ext cx="1040115" cy="4001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설치가이드</a:t>
              </a: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환경구성가이드</a:t>
              </a:r>
            </a:p>
          </p:txBody>
        </p:sp>
        <p:grpSp>
          <p:nvGrpSpPr>
            <p:cNvPr id="276" name="그룹 47"/>
            <p:cNvGrpSpPr>
              <a:grpSpLocks/>
            </p:cNvGrpSpPr>
            <p:nvPr/>
          </p:nvGrpSpPr>
          <p:grpSpPr bwMode="auto">
            <a:xfrm>
              <a:off x="1801320" y="3032064"/>
              <a:ext cx="283598" cy="329698"/>
              <a:chOff x="2377516" y="4693962"/>
              <a:chExt cx="271228" cy="311578"/>
            </a:xfrm>
          </p:grpSpPr>
          <p:sp>
            <p:nvSpPr>
              <p:cNvPr id="295" name="모서리가 접힌 도형 146"/>
              <p:cNvSpPr/>
              <p:nvPr/>
            </p:nvSpPr>
            <p:spPr bwMode="gray">
              <a:xfrm>
                <a:off x="2377481" y="4693427"/>
                <a:ext cx="271943" cy="312612"/>
              </a:xfrm>
              <a:prstGeom prst="foldedCorner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296" name="직선 연결선 147"/>
              <p:cNvCxnSpPr/>
              <p:nvPr/>
            </p:nvCxnSpPr>
            <p:spPr bwMode="auto">
              <a:xfrm>
                <a:off x="2411644" y="4734042"/>
                <a:ext cx="1803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7" name="직선 연결선 148"/>
              <p:cNvCxnSpPr/>
              <p:nvPr/>
            </p:nvCxnSpPr>
            <p:spPr bwMode="auto">
              <a:xfrm>
                <a:off x="2411644" y="4777119"/>
                <a:ext cx="1803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8" name="직선 연결선 149"/>
              <p:cNvCxnSpPr/>
              <p:nvPr/>
            </p:nvCxnSpPr>
            <p:spPr bwMode="auto">
              <a:xfrm>
                <a:off x="2411644" y="4817734"/>
                <a:ext cx="1803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9" name="직선 연결선 150"/>
              <p:cNvCxnSpPr/>
              <p:nvPr/>
            </p:nvCxnSpPr>
            <p:spPr bwMode="auto">
              <a:xfrm>
                <a:off x="2411644" y="4858348"/>
                <a:ext cx="1803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0" name="직선 연결선 151"/>
              <p:cNvCxnSpPr/>
              <p:nvPr/>
            </p:nvCxnSpPr>
            <p:spPr bwMode="auto">
              <a:xfrm>
                <a:off x="2411644" y="4900194"/>
                <a:ext cx="1803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77" name="직사각형 128"/>
            <p:cNvSpPr/>
            <p:nvPr/>
          </p:nvSpPr>
          <p:spPr bwMode="auto">
            <a:xfrm>
              <a:off x="2075094" y="3005471"/>
              <a:ext cx="1003144" cy="4001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로그래밍 </a:t>
              </a: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표준 </a:t>
              </a: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및 가이드</a:t>
              </a:r>
              <a:endPara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278" name="그룹 55"/>
            <p:cNvGrpSpPr>
              <a:grpSpLocks/>
            </p:cNvGrpSpPr>
            <p:nvPr/>
          </p:nvGrpSpPr>
          <p:grpSpPr bwMode="auto">
            <a:xfrm>
              <a:off x="3026762" y="3032064"/>
              <a:ext cx="282104" cy="329698"/>
              <a:chOff x="2377516" y="4693962"/>
              <a:chExt cx="271228" cy="311578"/>
            </a:xfrm>
          </p:grpSpPr>
          <p:sp>
            <p:nvSpPr>
              <p:cNvPr id="289" name="모서리가 접힌 도형 140"/>
              <p:cNvSpPr/>
              <p:nvPr/>
            </p:nvSpPr>
            <p:spPr bwMode="gray">
              <a:xfrm>
                <a:off x="2377994" y="4693427"/>
                <a:ext cx="270635" cy="312612"/>
              </a:xfrm>
              <a:prstGeom prst="foldedCorner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290" name="직선 연결선 141"/>
              <p:cNvCxnSpPr/>
              <p:nvPr/>
            </p:nvCxnSpPr>
            <p:spPr bwMode="auto">
              <a:xfrm>
                <a:off x="2412338" y="4734042"/>
                <a:ext cx="179966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1" name="직선 연결선 142"/>
              <p:cNvCxnSpPr/>
              <p:nvPr/>
            </p:nvCxnSpPr>
            <p:spPr bwMode="auto">
              <a:xfrm>
                <a:off x="2412338" y="4777119"/>
                <a:ext cx="179966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2" name="직선 연결선 143"/>
              <p:cNvCxnSpPr/>
              <p:nvPr/>
            </p:nvCxnSpPr>
            <p:spPr bwMode="auto">
              <a:xfrm>
                <a:off x="2412338" y="4817734"/>
                <a:ext cx="179966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3" name="직선 연결선 144"/>
              <p:cNvCxnSpPr/>
              <p:nvPr/>
            </p:nvCxnSpPr>
            <p:spPr bwMode="auto">
              <a:xfrm>
                <a:off x="2412338" y="4858348"/>
                <a:ext cx="179966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4" name="직선 연결선 145"/>
              <p:cNvCxnSpPr/>
              <p:nvPr/>
            </p:nvCxnSpPr>
            <p:spPr bwMode="auto">
              <a:xfrm>
                <a:off x="2412338" y="4900194"/>
                <a:ext cx="179966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6B0C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79" name="직사각형 130"/>
            <p:cNvSpPr/>
            <p:nvPr/>
          </p:nvSpPr>
          <p:spPr bwMode="auto">
            <a:xfrm>
              <a:off x="3334928" y="2988578"/>
              <a:ext cx="1013073" cy="40010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표준 </a:t>
              </a: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API </a:t>
              </a: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및 문서</a:t>
              </a:r>
              <a:endPara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0" name="직사각형 131"/>
            <p:cNvSpPr/>
            <p:nvPr/>
          </p:nvSpPr>
          <p:spPr bwMode="auto">
            <a:xfrm>
              <a:off x="4638511" y="2980072"/>
              <a:ext cx="92362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어플리케이션 템플릿</a:t>
              </a:r>
              <a:endPara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281" name="그룹 37"/>
            <p:cNvGrpSpPr>
              <a:grpSpLocks/>
            </p:cNvGrpSpPr>
            <p:nvPr/>
          </p:nvGrpSpPr>
          <p:grpSpPr bwMode="auto">
            <a:xfrm>
              <a:off x="4249219" y="3053683"/>
              <a:ext cx="371663" cy="166200"/>
              <a:chOff x="8049344" y="4889306"/>
              <a:chExt cx="540048" cy="267886"/>
            </a:xfrm>
          </p:grpSpPr>
          <p:sp>
            <p:nvSpPr>
              <p:cNvPr id="286" name="직사각형 137"/>
              <p:cNvSpPr/>
              <p:nvPr/>
            </p:nvSpPr>
            <p:spPr bwMode="gray">
              <a:xfrm>
                <a:off x="8048950" y="4889233"/>
                <a:ext cx="431858" cy="268690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7" name="직사각형 138"/>
              <p:cNvSpPr/>
              <p:nvPr/>
            </p:nvSpPr>
            <p:spPr bwMode="gray">
              <a:xfrm>
                <a:off x="8480809" y="4937513"/>
                <a:ext cx="107965" cy="71371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8" name="직사각형 139"/>
              <p:cNvSpPr/>
              <p:nvPr/>
            </p:nvSpPr>
            <p:spPr bwMode="gray">
              <a:xfrm>
                <a:off x="8480809" y="5040371"/>
                <a:ext cx="107965" cy="71371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282" name="그룹 77"/>
            <p:cNvGrpSpPr>
              <a:grpSpLocks/>
            </p:cNvGrpSpPr>
            <p:nvPr/>
          </p:nvGrpSpPr>
          <p:grpSpPr bwMode="auto">
            <a:xfrm>
              <a:off x="4177574" y="3126649"/>
              <a:ext cx="371663" cy="167552"/>
              <a:chOff x="8049344" y="4889306"/>
              <a:chExt cx="540048" cy="267886"/>
            </a:xfrm>
          </p:grpSpPr>
          <p:sp>
            <p:nvSpPr>
              <p:cNvPr id="283" name="직사각형 134"/>
              <p:cNvSpPr/>
              <p:nvPr/>
            </p:nvSpPr>
            <p:spPr bwMode="gray">
              <a:xfrm>
                <a:off x="8049245" y="4889176"/>
                <a:ext cx="431858" cy="268603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4" name="직사각형 135"/>
              <p:cNvSpPr/>
              <p:nvPr/>
            </p:nvSpPr>
            <p:spPr bwMode="gray">
              <a:xfrm>
                <a:off x="8481103" y="4937066"/>
                <a:ext cx="107965" cy="72878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5" name="직사각형 136"/>
              <p:cNvSpPr/>
              <p:nvPr/>
            </p:nvSpPr>
            <p:spPr bwMode="gray">
              <a:xfrm>
                <a:off x="8481103" y="5041176"/>
                <a:ext cx="107965" cy="70795"/>
              </a:xfrm>
              <a:prstGeom prst="rect">
                <a:avLst/>
              </a:prstGeom>
              <a:solidFill>
                <a:srgbClr val="76B0CF">
                  <a:lumMod val="20000"/>
                  <a:lumOff val="80000"/>
                </a:srgbClr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rIns="72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20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307" name="모서리가 둥근 직사각형 158"/>
            <p:cNvSpPr/>
            <p:nvPr/>
          </p:nvSpPr>
          <p:spPr bwMode="gray">
            <a:xfrm>
              <a:off x="386695" y="2136599"/>
              <a:ext cx="1514611" cy="789219"/>
            </a:xfrm>
            <a:prstGeom prst="roundRect">
              <a:avLst/>
            </a:prstGeom>
            <a:solidFill>
              <a:srgbClr val="D6EBF6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rIns="36000" bIns="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레임워크 개발영역</a:t>
              </a:r>
              <a:endParaRPr lang="ko-KR" altLang="en-US" sz="11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8" name="모서리가 둥근 직사각형 159"/>
            <p:cNvSpPr/>
            <p:nvPr/>
          </p:nvSpPr>
          <p:spPr bwMode="gray">
            <a:xfrm>
              <a:off x="4131152" y="2136599"/>
              <a:ext cx="1514611" cy="789219"/>
            </a:xfrm>
            <a:prstGeom prst="roundRect">
              <a:avLst/>
            </a:prstGeom>
            <a:solidFill>
              <a:srgbClr val="D6EBF6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rIns="36000" bIns="0" anchor="t"/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레임워크 관리영역</a:t>
              </a:r>
              <a:endParaRPr lang="ko-KR" altLang="en-US" sz="110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0" name="Rectangle 33"/>
            <p:cNvSpPr>
              <a:spLocks noChangeArrowheads="1"/>
            </p:cNvSpPr>
            <p:nvPr/>
          </p:nvSpPr>
          <p:spPr bwMode="auto">
            <a:xfrm>
              <a:off x="1399875" y="2515980"/>
              <a:ext cx="429488" cy="257496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처리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1" name="Rectangle 33"/>
            <p:cNvSpPr>
              <a:spLocks noChangeArrowheads="1"/>
            </p:cNvSpPr>
            <p:nvPr/>
          </p:nvSpPr>
          <p:spPr bwMode="auto">
            <a:xfrm>
              <a:off x="910179" y="2515980"/>
              <a:ext cx="429488" cy="258959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테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2" name="Rectangle 33"/>
            <p:cNvSpPr>
              <a:spLocks noChangeArrowheads="1"/>
            </p:cNvSpPr>
            <p:nvPr/>
          </p:nvSpPr>
          <p:spPr bwMode="auto">
            <a:xfrm>
              <a:off x="427171" y="2517443"/>
              <a:ext cx="430826" cy="257496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개발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4" name="Rectangle 33"/>
            <p:cNvSpPr>
              <a:spLocks noChangeArrowheads="1"/>
            </p:cNvSpPr>
            <p:nvPr/>
          </p:nvSpPr>
          <p:spPr bwMode="auto">
            <a:xfrm>
              <a:off x="2116986" y="2451613"/>
              <a:ext cx="555621" cy="176873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온라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5" name="Rectangle 33"/>
            <p:cNvSpPr>
              <a:spLocks noChangeArrowheads="1"/>
            </p:cNvSpPr>
            <p:nvPr/>
          </p:nvSpPr>
          <p:spPr bwMode="auto">
            <a:xfrm>
              <a:off x="2720690" y="2451613"/>
              <a:ext cx="569868" cy="17587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배치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6" name="Rectangle 33"/>
            <p:cNvSpPr>
              <a:spLocks noChangeArrowheads="1"/>
            </p:cNvSpPr>
            <p:nvPr/>
          </p:nvSpPr>
          <p:spPr bwMode="auto">
            <a:xfrm>
              <a:off x="3342203" y="2450614"/>
              <a:ext cx="571650" cy="17587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센터컷</a:t>
              </a:r>
              <a:endParaRPr kumimoji="0" lang="en-US" altLang="ko-KR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7" name="Rectangle 33"/>
            <p:cNvSpPr>
              <a:spLocks noChangeArrowheads="1"/>
            </p:cNvSpPr>
            <p:nvPr/>
          </p:nvSpPr>
          <p:spPr bwMode="auto">
            <a:xfrm>
              <a:off x="2116986" y="2682688"/>
              <a:ext cx="555621" cy="176873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후처</a:t>
              </a: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리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8" name="Rectangle 33"/>
            <p:cNvSpPr>
              <a:spLocks noChangeArrowheads="1"/>
            </p:cNvSpPr>
            <p:nvPr/>
          </p:nvSpPr>
          <p:spPr bwMode="auto">
            <a:xfrm>
              <a:off x="2720690" y="2682688"/>
              <a:ext cx="569868" cy="17587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BIO</a:t>
              </a:r>
            </a:p>
          </p:txBody>
        </p:sp>
        <p:sp>
          <p:nvSpPr>
            <p:cNvPr id="319" name="Rectangle 33"/>
            <p:cNvSpPr>
              <a:spLocks noChangeArrowheads="1"/>
            </p:cNvSpPr>
            <p:nvPr/>
          </p:nvSpPr>
          <p:spPr bwMode="auto">
            <a:xfrm>
              <a:off x="3342203" y="2681689"/>
              <a:ext cx="571650" cy="17587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…</a:t>
              </a:r>
            </a:p>
          </p:txBody>
        </p:sp>
        <p:sp>
          <p:nvSpPr>
            <p:cNvPr id="321" name="Rectangle 33"/>
            <p:cNvSpPr>
              <a:spLocks noChangeArrowheads="1"/>
            </p:cNvSpPr>
            <p:nvPr/>
          </p:nvSpPr>
          <p:spPr bwMode="auto">
            <a:xfrm>
              <a:off x="4175060" y="2564911"/>
              <a:ext cx="691290" cy="258959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모니터링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2" name="Rectangle 33"/>
            <p:cNvSpPr>
              <a:spLocks noChangeArrowheads="1"/>
            </p:cNvSpPr>
            <p:nvPr/>
          </p:nvSpPr>
          <p:spPr bwMode="auto">
            <a:xfrm>
              <a:off x="4909253" y="2564911"/>
              <a:ext cx="691290" cy="258959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808080">
                  <a:lumMod val="40000"/>
                  <a:lumOff val="60000"/>
                </a:srgbClr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운영관리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7" name="위쪽/아래쪽 화살표 178"/>
            <p:cNvSpPr/>
            <p:nvPr/>
          </p:nvSpPr>
          <p:spPr bwMode="gray">
            <a:xfrm>
              <a:off x="621303" y="3513398"/>
              <a:ext cx="169233" cy="337306"/>
            </a:xfrm>
            <a:prstGeom prst="upDownArrow">
              <a:avLst/>
            </a:prstGeom>
            <a:solidFill>
              <a:srgbClr val="1B3A87"/>
            </a:solidFill>
            <a:ln w="9525" algn="ctr">
              <a:solidFill>
                <a:srgbClr val="FFC000"/>
              </a:solidFill>
              <a:miter lim="800000"/>
              <a:headEnd/>
              <a:tailEnd/>
            </a:ln>
            <a:effectLst/>
          </p:spPr>
          <p:txBody>
            <a:bodyPr lIns="72000" rIns="72000" rtlCol="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8" name="위쪽/아래쪽 화살표 179"/>
            <p:cNvSpPr/>
            <p:nvPr/>
          </p:nvSpPr>
          <p:spPr bwMode="gray">
            <a:xfrm>
              <a:off x="5118682" y="3513398"/>
              <a:ext cx="169233" cy="337306"/>
            </a:xfrm>
            <a:prstGeom prst="upDownArrow">
              <a:avLst/>
            </a:prstGeom>
            <a:solidFill>
              <a:srgbClr val="1B3A87"/>
            </a:solidFill>
            <a:ln w="9525" algn="ctr">
              <a:solidFill>
                <a:srgbClr val="FFC000"/>
              </a:solidFill>
              <a:miter lim="800000"/>
              <a:headEnd/>
              <a:tailEnd/>
            </a:ln>
            <a:effectLst/>
          </p:spPr>
          <p:txBody>
            <a:bodyPr lIns="72000" rIns="72000" rtlCol="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5925826" y="2048147"/>
            <a:ext cx="3625966" cy="4220319"/>
            <a:chOff x="5925826" y="2086248"/>
            <a:chExt cx="3625966" cy="4063710"/>
          </a:xfrm>
        </p:grpSpPr>
        <p:sp>
          <p:nvSpPr>
            <p:cNvPr id="96" name="TextBox 95"/>
            <p:cNvSpPr txBox="1"/>
            <p:nvPr>
              <p:custDataLst>
                <p:tags r:id="rId1"/>
              </p:custDataLst>
            </p:nvPr>
          </p:nvSpPr>
          <p:spPr>
            <a:xfrm>
              <a:off x="5925826" y="2086253"/>
              <a:ext cx="1123200" cy="12686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표준프레임워크 도입</a:t>
              </a:r>
            </a:p>
          </p:txBody>
        </p:sp>
        <p:sp>
          <p:nvSpPr>
            <p:cNvPr id="97" name="Rectangle 89"/>
            <p:cNvSpPr/>
            <p:nvPr>
              <p:custDataLst>
                <p:tags r:id="rId2"/>
              </p:custDataLst>
            </p:nvPr>
          </p:nvSpPr>
          <p:spPr>
            <a:xfrm>
              <a:off x="7118628" y="2086248"/>
              <a:ext cx="2433164" cy="12686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어플리케이션 유지보수 및 호환성 확보를  위한 전행 표준 프레임워크 적용</a:t>
              </a:r>
            </a:p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표준 프레임워크를 통한 개발 표준 수립 </a:t>
              </a:r>
            </a:p>
          </p:txBody>
        </p:sp>
        <p:sp>
          <p:nvSpPr>
            <p:cNvPr id="98" name="Rectangle 97"/>
            <p:cNvSpPr/>
            <p:nvPr>
              <p:custDataLst>
                <p:tags r:id="rId3"/>
              </p:custDataLst>
            </p:nvPr>
          </p:nvSpPr>
          <p:spPr>
            <a:xfrm>
              <a:off x="7046436" y="4103853"/>
              <a:ext cx="2360919" cy="1811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ko-KR" altLang="en-US" sz="1200" b="0" kern="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9" name="TextBox 98"/>
            <p:cNvSpPr txBox="1"/>
            <p:nvPr>
              <p:custDataLst>
                <p:tags r:id="rId4"/>
              </p:custDataLst>
            </p:nvPr>
          </p:nvSpPr>
          <p:spPr>
            <a:xfrm>
              <a:off x="5925826" y="3423358"/>
              <a:ext cx="1123200" cy="147092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표준 프레임워크와 연계된 통합 개발환경 구축</a:t>
              </a:r>
            </a:p>
          </p:txBody>
        </p:sp>
        <p:sp>
          <p:nvSpPr>
            <p:cNvPr id="100" name="Rectangle 89"/>
            <p:cNvSpPr/>
            <p:nvPr>
              <p:custDataLst>
                <p:tags r:id="rId5"/>
              </p:custDataLst>
            </p:nvPr>
          </p:nvSpPr>
          <p:spPr>
            <a:xfrm>
              <a:off x="7034782" y="3423358"/>
              <a:ext cx="2517010" cy="1477383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wrap="square" lIns="72000" tIns="36000" rIns="36000" bIns="36000" rtlCol="0" anchor="t">
              <a:noAutofit/>
            </a:bodyPr>
            <a:lstStyle/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174625" algn="l"/>
                  <a:tab pos="177800" algn="l"/>
                </a:tabLst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프레임워크 개발영역과 개발 툴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개발관리지원 영역 간 연계를 통한 개발 생산성 향상방안 수립</a:t>
              </a:r>
            </a:p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174625" algn="l"/>
                  <a:tab pos="177800" algn="l"/>
                </a:tabLst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전행 품질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프로젝트 관리 도구 간 개발 공정 연계를 통한 코드 품질 제공방안 수립</a:t>
              </a:r>
            </a:p>
          </p:txBody>
        </p:sp>
        <p:sp>
          <p:nvSpPr>
            <p:cNvPr id="329" name="TextBox 328"/>
            <p:cNvSpPr txBox="1"/>
            <p:nvPr>
              <p:custDataLst>
                <p:tags r:id="rId6"/>
              </p:custDataLst>
            </p:nvPr>
          </p:nvSpPr>
          <p:spPr>
            <a:xfrm>
              <a:off x="5925826" y="4954148"/>
              <a:ext cx="1123200" cy="119080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개발방법론 정비 및 상세화 </a:t>
              </a:r>
            </a:p>
          </p:txBody>
        </p:sp>
        <p:sp>
          <p:nvSpPr>
            <p:cNvPr id="330" name="Rectangle 89"/>
            <p:cNvSpPr/>
            <p:nvPr>
              <p:custDataLst>
                <p:tags r:id="rId7"/>
              </p:custDataLst>
            </p:nvPr>
          </p:nvSpPr>
          <p:spPr>
            <a:xfrm>
              <a:off x="7034782" y="4953923"/>
              <a:ext cx="2517010" cy="1196035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wrap="square" lIns="72000" tIns="36000" rIns="36000" bIns="36000" rtlCol="0" anchor="t">
              <a:noAutofit/>
            </a:bodyPr>
            <a:lstStyle/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174625" algn="l"/>
                  <a:tab pos="177800" algn="l"/>
                </a:tabLst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표준 프레임워크 도입에 따른 시스템 별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업무별 개발 방법론 정비 및 상세화</a:t>
              </a:r>
            </a:p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174625" algn="l"/>
                  <a:tab pos="177800" algn="l"/>
                </a:tabLst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프로젝트 유형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기술 환경 별 맞춤화된 개발 방법론 적용 및 가이드 수립</a:t>
              </a:r>
            </a:p>
          </p:txBody>
        </p:sp>
      </p:grpSp>
      <p:grpSp>
        <p:nvGrpSpPr>
          <p:cNvPr id="123" name="그룹 12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2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3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3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3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4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4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4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125" name="오각형 74"/>
          <p:cNvSpPr/>
          <p:nvPr/>
        </p:nvSpPr>
        <p:spPr bwMode="auto">
          <a:xfrm>
            <a:off x="5925826" y="1620301"/>
            <a:ext cx="3672700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126" name="그룹 125"/>
          <p:cNvGrpSpPr/>
          <p:nvPr/>
        </p:nvGrpSpPr>
        <p:grpSpPr>
          <a:xfrm>
            <a:off x="273050" y="1620301"/>
            <a:ext cx="5526851" cy="352800"/>
            <a:chOff x="1397655" y="1982397"/>
            <a:chExt cx="4014787" cy="365811"/>
          </a:xfrm>
        </p:grpSpPr>
        <p:sp>
          <p:nvSpPr>
            <p:cNvPr id="127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smtClean="0">
                  <a:latin typeface="맑은 고딕"/>
                  <a:ea typeface="맑은 고딕"/>
                </a:rPr>
                <a:t>표준 프레임워크 도입</a:t>
              </a:r>
              <a:endParaRPr kumimoji="0" lang="ko-KR" altLang="en-US" sz="1300" kern="0" dirty="0">
                <a:latin typeface="맑은 고딕"/>
                <a:ea typeface="맑은 고딕"/>
              </a:endParaRPr>
            </a:p>
          </p:txBody>
        </p:sp>
        <p:sp>
          <p:nvSpPr>
            <p:cNvPr id="128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9315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레임워크 도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프레임워크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시스템에 쉽게 적용할 수 있도록 범용성을 확보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향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공통 영역의 지속적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대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하는 방향성으로 </a:t>
            </a:r>
            <a:r>
              <a:rPr lang="ko-KR" altLang="en-US" dirty="0" smtClean="0"/>
              <a:t>설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58" name="Rectangle 9"/>
          <p:cNvSpPr>
            <a:spLocks noChangeArrowheads="1"/>
          </p:cNvSpPr>
          <p:nvPr/>
        </p:nvSpPr>
        <p:spPr bwMode="auto">
          <a:xfrm>
            <a:off x="5423127" y="2276872"/>
            <a:ext cx="1221461" cy="1107996"/>
          </a:xfrm>
          <a:prstGeom prst="rect">
            <a:avLst/>
          </a:prstGeom>
          <a:solidFill>
            <a:srgbClr val="D6EBF6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표준 프레임워크 </a:t>
            </a:r>
            <a:r>
              <a:rPr lang="ko-KR" altLang="en-US" sz="1200" kern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범용성</a:t>
            </a: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확보</a:t>
            </a:r>
          </a:p>
        </p:txBody>
      </p:sp>
      <p:sp>
        <p:nvSpPr>
          <p:cNvPr id="59" name="Rectangle 9"/>
          <p:cNvSpPr>
            <a:spLocks noChangeArrowheads="1"/>
          </p:cNvSpPr>
          <p:nvPr/>
        </p:nvSpPr>
        <p:spPr bwMode="auto">
          <a:xfrm>
            <a:off x="5423127" y="3716584"/>
            <a:ext cx="1221461" cy="1107398"/>
          </a:xfrm>
          <a:prstGeom prst="rect">
            <a:avLst/>
          </a:prstGeom>
          <a:solidFill>
            <a:srgbClr val="D6EBF6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금융업무</a:t>
            </a:r>
            <a:b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</a:b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특화 및 전문성 확보</a:t>
            </a:r>
          </a:p>
        </p:txBody>
      </p:sp>
      <p:sp>
        <p:nvSpPr>
          <p:cNvPr id="60" name="Rectangle 9"/>
          <p:cNvSpPr>
            <a:spLocks noChangeArrowheads="1"/>
          </p:cNvSpPr>
          <p:nvPr/>
        </p:nvSpPr>
        <p:spPr bwMode="auto">
          <a:xfrm>
            <a:off x="5423127" y="5155697"/>
            <a:ext cx="1221461" cy="701519"/>
          </a:xfrm>
          <a:prstGeom prst="rect">
            <a:avLst/>
          </a:prstGeom>
          <a:solidFill>
            <a:srgbClr val="D6EBF6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운영 관리 효율성 확보</a:t>
            </a:r>
          </a:p>
        </p:txBody>
      </p:sp>
      <p:sp>
        <p:nvSpPr>
          <p:cNvPr id="61" name="Rectangle 81"/>
          <p:cNvSpPr>
            <a:spLocks noChangeArrowheads="1"/>
          </p:cNvSpPr>
          <p:nvPr/>
        </p:nvSpPr>
        <p:spPr bwMode="auto">
          <a:xfrm>
            <a:off x="6680620" y="2276872"/>
            <a:ext cx="266486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rIns="54000">
            <a:spAutoFit/>
          </a:bodyPr>
          <a:lstStyle/>
          <a:p>
            <a:pPr marL="92075" indent="-9207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업무과 기술영역을 분리하여 기술 플랫폼 의존성 최소화 및 </a:t>
            </a:r>
            <a:r>
              <a:rPr lang="ko-KR" altLang="en-US" sz="1200" b="0" dirty="0" err="1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범용성</a:t>
            </a: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 확보</a:t>
            </a:r>
          </a:p>
          <a:p>
            <a:pPr marL="92075" indent="-9207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전행 </a:t>
            </a:r>
            <a:r>
              <a:rPr lang="en-US" altLang="ko-KR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MCA/EAI/FEP </a:t>
            </a: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등 기반 인프라와의 연계 구조 지원</a:t>
            </a:r>
          </a:p>
        </p:txBody>
      </p:sp>
      <p:sp>
        <p:nvSpPr>
          <p:cNvPr id="62" name="Rectangle 82"/>
          <p:cNvSpPr>
            <a:spLocks noChangeArrowheads="1"/>
          </p:cNvSpPr>
          <p:nvPr/>
        </p:nvSpPr>
        <p:spPr bwMode="auto">
          <a:xfrm>
            <a:off x="6680620" y="3747309"/>
            <a:ext cx="266486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rIns="54000">
            <a:spAutoFit/>
          </a:bodyPr>
          <a:lstStyle/>
          <a:p>
            <a:pPr marL="92075" indent="-9207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ko-KR" altLang="en-US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금융공통</a:t>
            </a:r>
            <a:r>
              <a:rPr lang="en-US" altLang="ko-KR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은행공통</a:t>
            </a:r>
            <a:r>
              <a:rPr lang="en-US" altLang="ko-KR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카드공통 </a:t>
            </a: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및 기타 영역 공통으로 구분하여 영역별 전문성을 강화</a:t>
            </a:r>
          </a:p>
          <a:p>
            <a:pPr marL="92075" indent="-9207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금융 자체 프로세스 및 업무 </a:t>
            </a:r>
            <a:r>
              <a:rPr lang="en-US" altLang="ko-KR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Know-How</a:t>
            </a:r>
            <a:r>
              <a:rPr lang="ko-KR" altLang="en-US" sz="12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를 활용한 업무 컴포넌트 개발</a:t>
            </a:r>
          </a:p>
        </p:txBody>
      </p:sp>
      <p:sp>
        <p:nvSpPr>
          <p:cNvPr id="63" name="Rectangle 83"/>
          <p:cNvSpPr>
            <a:spLocks noChangeArrowheads="1"/>
          </p:cNvSpPr>
          <p:nvPr/>
        </p:nvSpPr>
        <p:spPr bwMode="auto">
          <a:xfrm>
            <a:off x="6680620" y="5175541"/>
            <a:ext cx="2664868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4000" rIns="54000">
            <a:spAutoFit/>
          </a:bodyPr>
          <a:lstStyle/>
          <a:p>
            <a:pPr marL="92075" indent="-92075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ko-KR" altLang="en-US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거래의 모니터링 및 장애에 대비한 효율적인 거래 제어 및 유량 제어</a:t>
            </a:r>
            <a:r>
              <a:rPr lang="en-US" altLang="ko-KR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변경 편의성 확보</a:t>
            </a:r>
            <a:endParaRPr lang="ko-KR" altLang="en-US" sz="1200" b="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85"/>
          <p:cNvSpPr>
            <a:spLocks noChangeArrowheads="1"/>
          </p:cNvSpPr>
          <p:nvPr/>
        </p:nvSpPr>
        <p:spPr bwMode="auto">
          <a:xfrm>
            <a:off x="5271288" y="2178360"/>
            <a:ext cx="216000" cy="216000"/>
          </a:xfrm>
          <a:prstGeom prst="ellipse">
            <a:avLst/>
          </a:prstGeom>
          <a:solidFill>
            <a:srgbClr val="002060"/>
          </a:solidFill>
          <a:ln>
            <a:solidFill>
              <a:sysClr val="window" lastClr="FFFFFF">
                <a:lumMod val="50000"/>
              </a:sysClr>
            </a:solidFill>
          </a:ln>
          <a:effec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65" name="Rectangle 20"/>
          <p:cNvSpPr>
            <a:spLocks noChangeArrowheads="1"/>
          </p:cNvSpPr>
          <p:nvPr/>
        </p:nvSpPr>
        <p:spPr bwMode="auto">
          <a:xfrm>
            <a:off x="1485613" y="3668148"/>
            <a:ext cx="3227271" cy="174936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공통 기반 서비스</a:t>
            </a:r>
          </a:p>
        </p:txBody>
      </p:sp>
      <p:sp>
        <p:nvSpPr>
          <p:cNvPr id="66" name="Rectangle 22"/>
          <p:cNvSpPr>
            <a:spLocks noChangeArrowheads="1"/>
          </p:cNvSpPr>
          <p:nvPr/>
        </p:nvSpPr>
        <p:spPr bwMode="auto">
          <a:xfrm>
            <a:off x="553220" y="2132856"/>
            <a:ext cx="4159663" cy="1441617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 서비스</a:t>
            </a:r>
          </a:p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AutoShape 51"/>
          <p:cNvSpPr>
            <a:spLocks noChangeArrowheads="1"/>
          </p:cNvSpPr>
          <p:nvPr/>
        </p:nvSpPr>
        <p:spPr bwMode="auto">
          <a:xfrm>
            <a:off x="1571945" y="4429020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검증</a:t>
            </a:r>
          </a:p>
        </p:txBody>
      </p:sp>
      <p:sp>
        <p:nvSpPr>
          <p:cNvPr id="68" name="AutoShape 52"/>
          <p:cNvSpPr>
            <a:spLocks noChangeArrowheads="1"/>
          </p:cNvSpPr>
          <p:nvPr/>
        </p:nvSpPr>
        <p:spPr bwMode="auto">
          <a:xfrm>
            <a:off x="2339521" y="4429020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환</a:t>
            </a:r>
          </a:p>
        </p:txBody>
      </p:sp>
      <p:sp>
        <p:nvSpPr>
          <p:cNvPr id="69" name="AutoShape 53"/>
          <p:cNvSpPr>
            <a:spLocks noChangeArrowheads="1"/>
          </p:cNvSpPr>
          <p:nvPr/>
        </p:nvSpPr>
        <p:spPr bwMode="auto">
          <a:xfrm>
            <a:off x="3118084" y="4429020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산출</a:t>
            </a:r>
          </a:p>
        </p:txBody>
      </p:sp>
      <p:sp>
        <p:nvSpPr>
          <p:cNvPr id="70" name="AutoShape 54"/>
          <p:cNvSpPr>
            <a:spLocks noChangeArrowheads="1"/>
          </p:cNvSpPr>
          <p:nvPr/>
        </p:nvSpPr>
        <p:spPr bwMode="auto">
          <a:xfrm>
            <a:off x="3114945" y="4914269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  <a:r>
              <a:rPr lang="en-US" altLang="ko-KR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접근</a:t>
            </a:r>
          </a:p>
        </p:txBody>
      </p:sp>
      <p:sp>
        <p:nvSpPr>
          <p:cNvPr id="71" name="AutoShape 55"/>
          <p:cNvSpPr>
            <a:spLocks noChangeArrowheads="1"/>
          </p:cNvSpPr>
          <p:nvPr/>
        </p:nvSpPr>
        <p:spPr bwMode="auto">
          <a:xfrm>
            <a:off x="1571945" y="4914269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국제화</a:t>
            </a:r>
          </a:p>
        </p:txBody>
      </p:sp>
      <p:sp>
        <p:nvSpPr>
          <p:cNvPr id="72" name="AutoShape 56"/>
          <p:cNvSpPr>
            <a:spLocks noChangeArrowheads="1"/>
          </p:cNvSpPr>
          <p:nvPr/>
        </p:nvSpPr>
        <p:spPr bwMode="auto">
          <a:xfrm>
            <a:off x="2339521" y="4914269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트랜잭션</a:t>
            </a:r>
          </a:p>
        </p:txBody>
      </p:sp>
      <p:sp>
        <p:nvSpPr>
          <p:cNvPr id="73" name="AutoShape 57"/>
          <p:cNvSpPr>
            <a:spLocks noChangeArrowheads="1"/>
          </p:cNvSpPr>
          <p:nvPr/>
        </p:nvSpPr>
        <p:spPr bwMode="auto">
          <a:xfrm>
            <a:off x="3890369" y="4914269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atch</a:t>
            </a:r>
          </a:p>
        </p:txBody>
      </p:sp>
      <p:sp>
        <p:nvSpPr>
          <p:cNvPr id="74" name="Rectangle 58"/>
          <p:cNvSpPr>
            <a:spLocks noChangeArrowheads="1"/>
          </p:cNvSpPr>
          <p:nvPr/>
        </p:nvSpPr>
        <p:spPr bwMode="auto">
          <a:xfrm>
            <a:off x="561068" y="3668148"/>
            <a:ext cx="852339" cy="174936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연계 서비스</a:t>
            </a:r>
            <a:endParaRPr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AutoShape 47"/>
          <p:cNvSpPr>
            <a:spLocks noChangeArrowheads="1"/>
          </p:cNvSpPr>
          <p:nvPr/>
        </p:nvSpPr>
        <p:spPr bwMode="auto">
          <a:xfrm>
            <a:off x="1579794" y="3943771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설정관리</a:t>
            </a:r>
          </a:p>
        </p:txBody>
      </p:sp>
      <p:sp>
        <p:nvSpPr>
          <p:cNvPr id="76" name="AutoShape 48"/>
          <p:cNvSpPr>
            <a:spLocks noChangeArrowheads="1"/>
          </p:cNvSpPr>
          <p:nvPr/>
        </p:nvSpPr>
        <p:spPr bwMode="auto">
          <a:xfrm>
            <a:off x="2347369" y="3943771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에러처리</a:t>
            </a:r>
          </a:p>
        </p:txBody>
      </p:sp>
      <p:sp>
        <p:nvSpPr>
          <p:cNvPr id="77" name="AutoShape 49"/>
          <p:cNvSpPr>
            <a:spLocks noChangeArrowheads="1"/>
          </p:cNvSpPr>
          <p:nvPr/>
        </p:nvSpPr>
        <p:spPr bwMode="auto">
          <a:xfrm>
            <a:off x="3125932" y="3943771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로깅</a:t>
            </a:r>
            <a:endParaRPr lang="ko-KR" altLang="en-US" sz="1000" b="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AutoShape 50"/>
          <p:cNvSpPr>
            <a:spLocks noChangeArrowheads="1"/>
          </p:cNvSpPr>
          <p:nvPr/>
        </p:nvSpPr>
        <p:spPr bwMode="auto">
          <a:xfrm>
            <a:off x="3898217" y="3943771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벤트</a:t>
            </a:r>
          </a:p>
        </p:txBody>
      </p:sp>
      <p:sp>
        <p:nvSpPr>
          <p:cNvPr id="79" name="AutoShape 60"/>
          <p:cNvSpPr>
            <a:spLocks noChangeArrowheads="1"/>
          </p:cNvSpPr>
          <p:nvPr/>
        </p:nvSpPr>
        <p:spPr bwMode="auto">
          <a:xfrm>
            <a:off x="627780" y="3943771"/>
            <a:ext cx="701649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채널접속</a:t>
            </a:r>
          </a:p>
        </p:txBody>
      </p:sp>
      <p:sp>
        <p:nvSpPr>
          <p:cNvPr id="80" name="AutoShape 63"/>
          <p:cNvSpPr>
            <a:spLocks noChangeArrowheads="1"/>
          </p:cNvSpPr>
          <p:nvPr/>
        </p:nvSpPr>
        <p:spPr bwMode="auto">
          <a:xfrm>
            <a:off x="627780" y="4370422"/>
            <a:ext cx="701648" cy="432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외부시스템 접속</a:t>
            </a:r>
          </a:p>
        </p:txBody>
      </p:sp>
      <p:sp>
        <p:nvSpPr>
          <p:cNvPr id="81" name="AutoShape 64"/>
          <p:cNvSpPr>
            <a:spLocks noChangeArrowheads="1"/>
          </p:cNvSpPr>
          <p:nvPr/>
        </p:nvSpPr>
        <p:spPr bwMode="auto">
          <a:xfrm>
            <a:off x="627780" y="4869072"/>
            <a:ext cx="701648" cy="432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외기관</a:t>
            </a:r>
            <a:b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접속</a:t>
            </a:r>
          </a:p>
        </p:txBody>
      </p:sp>
      <p:sp>
        <p:nvSpPr>
          <p:cNvPr id="82" name="Rectangle 65"/>
          <p:cNvSpPr>
            <a:spLocks noChangeArrowheads="1"/>
          </p:cNvSpPr>
          <p:nvPr/>
        </p:nvSpPr>
        <p:spPr bwMode="auto">
          <a:xfrm>
            <a:off x="559499" y="5517232"/>
            <a:ext cx="4153384" cy="72008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lIns="36000" tIns="36000" rIns="36000" bIns="36000" anchor="t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운영 서비스</a:t>
            </a:r>
          </a:p>
        </p:txBody>
      </p:sp>
      <p:sp>
        <p:nvSpPr>
          <p:cNvPr id="83" name="AutoShape 66"/>
          <p:cNvSpPr>
            <a:spLocks noChangeArrowheads="1"/>
          </p:cNvSpPr>
          <p:nvPr/>
        </p:nvSpPr>
        <p:spPr bwMode="auto">
          <a:xfrm>
            <a:off x="1859660" y="5755577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성능관리</a:t>
            </a:r>
          </a:p>
        </p:txBody>
      </p:sp>
      <p:sp>
        <p:nvSpPr>
          <p:cNvPr id="84" name="AutoShape 67"/>
          <p:cNvSpPr>
            <a:spLocks noChangeArrowheads="1"/>
          </p:cNvSpPr>
          <p:nvPr/>
        </p:nvSpPr>
        <p:spPr bwMode="auto">
          <a:xfrm>
            <a:off x="2726761" y="5755577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장애관리</a:t>
            </a:r>
          </a:p>
        </p:txBody>
      </p:sp>
      <p:sp>
        <p:nvSpPr>
          <p:cNvPr id="85" name="AutoShape 68"/>
          <p:cNvSpPr>
            <a:spLocks noChangeArrowheads="1"/>
          </p:cNvSpPr>
          <p:nvPr/>
        </p:nvSpPr>
        <p:spPr bwMode="auto">
          <a:xfrm>
            <a:off x="3593861" y="5755577"/>
            <a:ext cx="711067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관리</a:t>
            </a:r>
          </a:p>
        </p:txBody>
      </p:sp>
      <p:sp>
        <p:nvSpPr>
          <p:cNvPr id="86" name="AutoShape 69"/>
          <p:cNvSpPr>
            <a:spLocks noChangeArrowheads="1"/>
          </p:cNvSpPr>
          <p:nvPr/>
        </p:nvSpPr>
        <p:spPr bwMode="auto">
          <a:xfrm>
            <a:off x="992560" y="5755577"/>
            <a:ext cx="711066" cy="360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</a:p>
        </p:txBody>
      </p:sp>
      <p:sp>
        <p:nvSpPr>
          <p:cNvPr id="87" name="Rectangle 87"/>
          <p:cNvSpPr>
            <a:spLocks noChangeArrowheads="1"/>
          </p:cNvSpPr>
          <p:nvPr/>
        </p:nvSpPr>
        <p:spPr bwMode="auto">
          <a:xfrm>
            <a:off x="1352600" y="3645024"/>
            <a:ext cx="216000" cy="216000"/>
          </a:xfrm>
          <a:prstGeom prst="ellipse">
            <a:avLst/>
          </a:prstGeom>
          <a:solidFill>
            <a:srgbClr val="002060"/>
          </a:solidFill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88" name="Rectangle 89"/>
          <p:cNvSpPr>
            <a:spLocks noChangeArrowheads="1"/>
          </p:cNvSpPr>
          <p:nvPr/>
        </p:nvSpPr>
        <p:spPr bwMode="auto">
          <a:xfrm>
            <a:off x="2014527" y="5503401"/>
            <a:ext cx="216000" cy="216000"/>
          </a:xfrm>
          <a:prstGeom prst="ellipse">
            <a:avLst/>
          </a:prstGeom>
          <a:solidFill>
            <a:srgbClr val="002060"/>
          </a:solidFill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89" name="Rectangle 90"/>
          <p:cNvSpPr>
            <a:spLocks noChangeArrowheads="1"/>
          </p:cNvSpPr>
          <p:nvPr/>
        </p:nvSpPr>
        <p:spPr bwMode="auto">
          <a:xfrm>
            <a:off x="5271288" y="3617773"/>
            <a:ext cx="216000" cy="216000"/>
          </a:xfrm>
          <a:prstGeom prst="ellipse">
            <a:avLst/>
          </a:prstGeom>
          <a:solidFill>
            <a:srgbClr val="002060"/>
          </a:solidFill>
          <a:ln>
            <a:solidFill>
              <a:sysClr val="window" lastClr="FFFFFF">
                <a:lumMod val="50000"/>
              </a:sysClr>
            </a:solidFill>
          </a:ln>
          <a:effec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90" name="Rectangle 91"/>
          <p:cNvSpPr>
            <a:spLocks noChangeArrowheads="1"/>
          </p:cNvSpPr>
          <p:nvPr/>
        </p:nvSpPr>
        <p:spPr bwMode="auto">
          <a:xfrm>
            <a:off x="5271288" y="5057186"/>
            <a:ext cx="216000" cy="216000"/>
          </a:xfrm>
          <a:prstGeom prst="ellipse">
            <a:avLst/>
          </a:prstGeom>
          <a:solidFill>
            <a:srgbClr val="002060"/>
          </a:solidFill>
          <a:ln>
            <a:solidFill>
              <a:sysClr val="window" lastClr="FFFFFF">
                <a:lumMod val="50000"/>
              </a:sysClr>
            </a:solidFill>
          </a:ln>
          <a:effec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91" name="AutoShape 23" descr="밝은 하향 대각선"/>
          <p:cNvSpPr>
            <a:spLocks noChangeArrowheads="1"/>
          </p:cNvSpPr>
          <p:nvPr/>
        </p:nvSpPr>
        <p:spPr bwMode="auto">
          <a:xfrm>
            <a:off x="707049" y="2753650"/>
            <a:ext cx="1180402" cy="324000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은행공통</a:t>
            </a:r>
          </a:p>
        </p:txBody>
      </p:sp>
      <p:sp>
        <p:nvSpPr>
          <p:cNvPr id="92" name="AutoShape 24"/>
          <p:cNvSpPr>
            <a:spLocks noChangeArrowheads="1"/>
          </p:cNvSpPr>
          <p:nvPr/>
        </p:nvSpPr>
        <p:spPr bwMode="auto">
          <a:xfrm>
            <a:off x="710189" y="3140968"/>
            <a:ext cx="3784508" cy="3240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>
                <a:latin typeface="맑은 고딕" pitchFamily="50" charset="-127"/>
                <a:ea typeface="맑은 고딕" pitchFamily="50" charset="-127"/>
              </a:rPr>
              <a:t>금융 공통</a:t>
            </a:r>
          </a:p>
        </p:txBody>
      </p:sp>
      <p:sp>
        <p:nvSpPr>
          <p:cNvPr id="93" name="AutoShape 45" descr="밝은 하향 대각선"/>
          <p:cNvSpPr>
            <a:spLocks noChangeArrowheads="1"/>
          </p:cNvSpPr>
          <p:nvPr/>
        </p:nvSpPr>
        <p:spPr bwMode="auto">
          <a:xfrm>
            <a:off x="2011456" y="2750797"/>
            <a:ext cx="1180402" cy="324000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카드공통</a:t>
            </a:r>
          </a:p>
        </p:txBody>
      </p:sp>
      <p:sp>
        <p:nvSpPr>
          <p:cNvPr id="94" name="AutoShape 46" descr="밝은 하향 대각선"/>
          <p:cNvSpPr>
            <a:spLocks noChangeArrowheads="1"/>
          </p:cNvSpPr>
          <p:nvPr/>
        </p:nvSpPr>
        <p:spPr bwMode="auto">
          <a:xfrm>
            <a:off x="3319004" y="2753650"/>
            <a:ext cx="1180402" cy="324000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타공통</a:t>
            </a:r>
          </a:p>
        </p:txBody>
      </p:sp>
      <p:sp>
        <p:nvSpPr>
          <p:cNvPr id="95" name="AutoShape 100" descr="20%"/>
          <p:cNvSpPr>
            <a:spLocks noChangeArrowheads="1"/>
          </p:cNvSpPr>
          <p:nvPr/>
        </p:nvSpPr>
        <p:spPr bwMode="auto">
          <a:xfrm>
            <a:off x="707049" y="2365588"/>
            <a:ext cx="1180402" cy="324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모듈</a:t>
            </a:r>
          </a:p>
        </p:txBody>
      </p:sp>
      <p:sp>
        <p:nvSpPr>
          <p:cNvPr id="96" name="AutoShape 101" descr="20%"/>
          <p:cNvSpPr>
            <a:spLocks noChangeArrowheads="1"/>
          </p:cNvSpPr>
          <p:nvPr/>
        </p:nvSpPr>
        <p:spPr bwMode="auto">
          <a:xfrm>
            <a:off x="2011456" y="2362735"/>
            <a:ext cx="1180402" cy="324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모듈</a:t>
            </a:r>
          </a:p>
        </p:txBody>
      </p:sp>
      <p:sp>
        <p:nvSpPr>
          <p:cNvPr id="97" name="AutoShape 102" descr="20%"/>
          <p:cNvSpPr>
            <a:spLocks noChangeArrowheads="1"/>
          </p:cNvSpPr>
          <p:nvPr/>
        </p:nvSpPr>
        <p:spPr bwMode="auto">
          <a:xfrm>
            <a:off x="3319004" y="2365588"/>
            <a:ext cx="1180402" cy="3240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모듈</a:t>
            </a:r>
          </a:p>
        </p:txBody>
      </p:sp>
      <p:sp>
        <p:nvSpPr>
          <p:cNvPr id="98" name="Rectangle 88"/>
          <p:cNvSpPr>
            <a:spLocks noChangeArrowheads="1"/>
          </p:cNvSpPr>
          <p:nvPr/>
        </p:nvSpPr>
        <p:spPr bwMode="auto">
          <a:xfrm>
            <a:off x="457469" y="2996976"/>
            <a:ext cx="216000" cy="216000"/>
          </a:xfrm>
          <a:prstGeom prst="ellipse">
            <a:avLst/>
          </a:prstGeom>
          <a:solidFill>
            <a:srgbClr val="002060"/>
          </a:solidFill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99" name="이등변 삼각형 113"/>
          <p:cNvSpPr/>
          <p:nvPr/>
        </p:nvSpPr>
        <p:spPr>
          <a:xfrm rot="5400000">
            <a:off x="3783734" y="3739339"/>
            <a:ext cx="2528462" cy="252000"/>
          </a:xfrm>
          <a:prstGeom prst="triangle">
            <a:avLst/>
          </a:prstGeom>
          <a:solidFill>
            <a:sysClr val="window" lastClr="FFFFFF">
              <a:lumMod val="75000"/>
            </a:sysClr>
          </a:solidFill>
          <a:ln w="12700" algn="ctr">
            <a:noFill/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endParaRPr lang="ko-KR" altLang="en-US" kern="0" dirty="0" smtClean="0">
              <a:solidFill>
                <a:sysClr val="windowText" lastClr="000000"/>
              </a:solidFill>
              <a:latin typeface="맑은 고딕"/>
              <a:ea typeface="맑은 고딕" pitchFamily="50" charset="-127"/>
              <a:cs typeface="Arial"/>
            </a:endParaRPr>
          </a:p>
        </p:txBody>
      </p:sp>
      <p:grpSp>
        <p:nvGrpSpPr>
          <p:cNvPr id="111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12" name="TextBox 111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표준 프레임워크 도입 방안 </a:t>
              </a:r>
              <a:r>
                <a:rPr lang="en-US" altLang="ko-KR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W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사 사례</a:t>
              </a:r>
              <a:r>
                <a:rPr lang="en-US" altLang="ko-KR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13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그룹 9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0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0" name="그룹 11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441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레임워크 도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통합 개발 환경의 범위는 개발 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방법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레임워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관리 툴로 구성됨</a:t>
            </a:r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5" name="AutoShape 23"/>
          <p:cNvSpPr>
            <a:spLocks noChangeArrowheads="1"/>
          </p:cNvSpPr>
          <p:nvPr/>
        </p:nvSpPr>
        <p:spPr bwMode="gray">
          <a:xfrm rot="5400000">
            <a:off x="5014128" y="3987005"/>
            <a:ext cx="2808288" cy="215900"/>
          </a:xfrm>
          <a:prstGeom prst="triangle">
            <a:avLst>
              <a:gd name="adj" fmla="val 50000"/>
            </a:avLst>
          </a:prstGeom>
          <a:solidFill>
            <a:srgbClr val="333333">
              <a:lumMod val="20000"/>
              <a:lumOff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eaVert" wrap="none" lIns="72000" tIns="72000" rIns="72000" bIns="72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54"/>
          <p:cNvSpPr/>
          <p:nvPr/>
        </p:nvSpPr>
        <p:spPr>
          <a:xfrm>
            <a:off x="452406" y="2071678"/>
            <a:ext cx="5715040" cy="1932286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0" bIns="0" anchor="t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개발 툴</a:t>
            </a:r>
          </a:p>
        </p:txBody>
      </p:sp>
      <p:sp>
        <p:nvSpPr>
          <p:cNvPr id="88" name="Rectangle 59"/>
          <p:cNvSpPr/>
          <p:nvPr/>
        </p:nvSpPr>
        <p:spPr>
          <a:xfrm>
            <a:off x="452406" y="4090209"/>
            <a:ext cx="3857652" cy="1204682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0" bIns="0" anchor="t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개발 방법론</a:t>
            </a:r>
          </a:p>
        </p:txBody>
      </p:sp>
      <p:sp>
        <p:nvSpPr>
          <p:cNvPr id="89" name="Rectangle 60"/>
          <p:cNvSpPr/>
          <p:nvPr/>
        </p:nvSpPr>
        <p:spPr>
          <a:xfrm>
            <a:off x="452406" y="5388096"/>
            <a:ext cx="3857652" cy="906854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0" bIns="0" anchor="t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표준 프레임워크</a:t>
            </a:r>
          </a:p>
        </p:txBody>
      </p:sp>
      <p:sp>
        <p:nvSpPr>
          <p:cNvPr id="90" name="Rectangle 63"/>
          <p:cNvSpPr/>
          <p:nvPr/>
        </p:nvSpPr>
        <p:spPr>
          <a:xfrm>
            <a:off x="4462458" y="4090211"/>
            <a:ext cx="1704988" cy="2204740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0" bIns="0" anchor="t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개발 관리 툴</a:t>
            </a:r>
          </a:p>
        </p:txBody>
      </p:sp>
      <p:sp>
        <p:nvSpPr>
          <p:cNvPr id="91" name="Pentagon 64"/>
          <p:cNvSpPr/>
          <p:nvPr/>
        </p:nvSpPr>
        <p:spPr>
          <a:xfrm>
            <a:off x="920552" y="2518100"/>
            <a:ext cx="1080000" cy="1388881"/>
          </a:xfrm>
          <a:prstGeom prst="homePlate">
            <a:avLst>
              <a:gd name="adj" fmla="val 11710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indent="-215900" algn="ctr" fontAlgn="auto" latinLnBrk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ko-KR" altLang="en-US" sz="14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Pentagon 73"/>
          <p:cNvSpPr/>
          <p:nvPr/>
        </p:nvSpPr>
        <p:spPr>
          <a:xfrm>
            <a:off x="2134620" y="2518100"/>
            <a:ext cx="1080000" cy="1388881"/>
          </a:xfrm>
          <a:prstGeom prst="homePlate">
            <a:avLst>
              <a:gd name="adj" fmla="val 10928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indent="-215900" algn="ctr" fontAlgn="auto" latinLnBrk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ko-KR" altLang="en-US" sz="14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Pentagon 74"/>
          <p:cNvSpPr/>
          <p:nvPr/>
        </p:nvSpPr>
        <p:spPr>
          <a:xfrm>
            <a:off x="3376804" y="2518100"/>
            <a:ext cx="1080000" cy="1388881"/>
          </a:xfrm>
          <a:prstGeom prst="homePlate">
            <a:avLst>
              <a:gd name="adj" fmla="val 936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indent="-215900" algn="ctr" fontAlgn="auto" latinLnBrk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ko-KR" altLang="en-US" sz="14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Pentagon 75"/>
          <p:cNvSpPr/>
          <p:nvPr/>
        </p:nvSpPr>
        <p:spPr>
          <a:xfrm>
            <a:off x="4600940" y="2518100"/>
            <a:ext cx="1080000" cy="1388881"/>
          </a:xfrm>
          <a:prstGeom prst="homePlate">
            <a:avLst>
              <a:gd name="adj" fmla="val 13273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indent="-215900" algn="ctr" fontAlgn="auto" latinLnBrk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ko-KR" altLang="en-US" sz="1400" kern="0" dirty="0" smtClean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48"/>
          <p:cNvSpPr>
            <a:spLocks noChangeArrowheads="1"/>
          </p:cNvSpPr>
          <p:nvPr/>
        </p:nvSpPr>
        <p:spPr bwMode="auto">
          <a:xfrm>
            <a:off x="920552" y="2277531"/>
            <a:ext cx="875904" cy="1623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400"/>
              </a:spcBef>
              <a:spcAft>
                <a:spcPts val="0"/>
              </a:spcAft>
              <a:defRPr/>
            </a:pPr>
            <a:r>
              <a:rPr lang="ko-KR" altLang="en-US" sz="100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00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직사각형 48"/>
          <p:cNvSpPr>
            <a:spLocks noChangeArrowheads="1"/>
          </p:cNvSpPr>
          <p:nvPr/>
        </p:nvSpPr>
        <p:spPr bwMode="auto">
          <a:xfrm>
            <a:off x="2133832" y="2277531"/>
            <a:ext cx="875904" cy="1623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400"/>
              </a:spcBef>
              <a:spcAft>
                <a:spcPts val="0"/>
              </a:spcAft>
              <a:defRPr/>
            </a:pPr>
            <a:r>
              <a:rPr lang="ko-KR" altLang="en-US" sz="100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설계</a:t>
            </a:r>
            <a:endParaRPr lang="en-US" altLang="ko-KR" sz="100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48"/>
          <p:cNvSpPr>
            <a:spLocks noChangeArrowheads="1"/>
          </p:cNvSpPr>
          <p:nvPr/>
        </p:nvSpPr>
        <p:spPr bwMode="auto">
          <a:xfrm>
            <a:off x="3393876" y="2277531"/>
            <a:ext cx="875904" cy="1623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400"/>
              </a:spcBef>
              <a:spcAft>
                <a:spcPts val="0"/>
              </a:spcAft>
              <a:defRPr/>
            </a:pPr>
            <a:r>
              <a:rPr lang="ko-KR" altLang="en-US" sz="100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endParaRPr lang="en-US" altLang="ko-KR" sz="100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48"/>
          <p:cNvSpPr>
            <a:spLocks noChangeArrowheads="1"/>
          </p:cNvSpPr>
          <p:nvPr/>
        </p:nvSpPr>
        <p:spPr bwMode="auto">
          <a:xfrm>
            <a:off x="4583082" y="2277531"/>
            <a:ext cx="875904" cy="1623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eaLnBrk="0" fontAlgn="auto" latinLnBrk="0" hangingPunct="0">
              <a:spcBef>
                <a:spcPts val="400"/>
              </a:spcBef>
              <a:spcAft>
                <a:spcPts val="0"/>
              </a:spcAft>
              <a:defRPr/>
            </a:pPr>
            <a:r>
              <a:rPr lang="ko-KR" altLang="en-US" sz="100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테스트</a:t>
            </a:r>
            <a:endParaRPr lang="en-US" altLang="ko-KR" sz="100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모서리가 둥근 직사각형 13"/>
          <p:cNvSpPr/>
          <p:nvPr/>
        </p:nvSpPr>
        <p:spPr bwMode="gray">
          <a:xfrm>
            <a:off x="1063428" y="2731604"/>
            <a:ext cx="644918" cy="31212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구사항 관리 툴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모서리가 둥근 직사각형 13"/>
          <p:cNvSpPr/>
          <p:nvPr/>
        </p:nvSpPr>
        <p:spPr bwMode="gray">
          <a:xfrm>
            <a:off x="2321090" y="26659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델링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모서리가 둥근 직사각형 13"/>
          <p:cNvSpPr/>
          <p:nvPr/>
        </p:nvSpPr>
        <p:spPr bwMode="gray">
          <a:xfrm>
            <a:off x="2323066" y="2956307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UI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델링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모서리가 둥근 직사각형 13"/>
          <p:cNvSpPr/>
          <p:nvPr/>
        </p:nvSpPr>
        <p:spPr bwMode="gray">
          <a:xfrm>
            <a:off x="2323066" y="323775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B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델링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모서리가 둥근 직사각형 13"/>
          <p:cNvSpPr/>
          <p:nvPr/>
        </p:nvSpPr>
        <p:spPr bwMode="gray">
          <a:xfrm>
            <a:off x="3551448" y="26659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코딩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모서리가 둥근 직사각형 13"/>
          <p:cNvSpPr/>
          <p:nvPr/>
        </p:nvSpPr>
        <p:spPr bwMode="gray">
          <a:xfrm>
            <a:off x="3553424" y="2956307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소스 분석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모서리가 둥근 직사각형 13"/>
          <p:cNvSpPr/>
          <p:nvPr/>
        </p:nvSpPr>
        <p:spPr bwMode="gray">
          <a:xfrm>
            <a:off x="3553424" y="323775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향도분석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모서리가 둥근 직사각형 13"/>
          <p:cNvSpPr/>
          <p:nvPr/>
        </p:nvSpPr>
        <p:spPr bwMode="gray">
          <a:xfrm>
            <a:off x="3555400" y="35370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메타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모서리가 둥근 직사각형 13"/>
          <p:cNvSpPr/>
          <p:nvPr/>
        </p:nvSpPr>
        <p:spPr bwMode="gray">
          <a:xfrm>
            <a:off x="4784428" y="26659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단위 테스트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모서리가 둥근 직사각형 13"/>
          <p:cNvSpPr/>
          <p:nvPr/>
        </p:nvSpPr>
        <p:spPr bwMode="gray">
          <a:xfrm>
            <a:off x="4784428" y="2956307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면 테스트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모서리가 둥근 직사각형 13"/>
          <p:cNvSpPr/>
          <p:nvPr/>
        </p:nvSpPr>
        <p:spPr bwMode="gray">
          <a:xfrm>
            <a:off x="4784428" y="323775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문 테스트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모서리가 둥근 직사각형 13"/>
          <p:cNvSpPr/>
          <p:nvPr/>
        </p:nvSpPr>
        <p:spPr bwMode="gray">
          <a:xfrm>
            <a:off x="4784428" y="35370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코드 기반 테스트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모서리가 둥근 직사각형 13"/>
          <p:cNvSpPr/>
          <p:nvPr/>
        </p:nvSpPr>
        <p:spPr bwMode="gray">
          <a:xfrm>
            <a:off x="2323066" y="3537040"/>
            <a:ext cx="644918" cy="2520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76B0CF">
                <a:lumMod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페이스 모델링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4" name="Group 114"/>
          <p:cNvGrpSpPr/>
          <p:nvPr/>
        </p:nvGrpSpPr>
        <p:grpSpPr>
          <a:xfrm>
            <a:off x="4522257" y="4434752"/>
            <a:ext cx="573619" cy="1788760"/>
            <a:chOff x="4576961" y="4354884"/>
            <a:chExt cx="787794" cy="1220066"/>
          </a:xfrm>
        </p:grpSpPr>
        <p:sp>
          <p:nvSpPr>
            <p:cNvPr id="125" name="모서리가 둥근 직사각형 13"/>
            <p:cNvSpPr/>
            <p:nvPr/>
          </p:nvSpPr>
          <p:spPr bwMode="gray">
            <a:xfrm>
              <a:off x="4576961" y="4354884"/>
              <a:ext cx="787794" cy="360000"/>
            </a:xfrm>
            <a:prstGeom prst="roundRect">
              <a:avLst>
                <a:gd name="adj" fmla="val 3340"/>
              </a:avLst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defRPr/>
              </a:pP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요구 사항 추적</a:t>
              </a:r>
              <a:endPara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6" name="모서리가 둥근 직사각형 13"/>
            <p:cNvSpPr/>
            <p:nvPr/>
          </p:nvSpPr>
          <p:spPr bwMode="gray">
            <a:xfrm>
              <a:off x="4576961" y="4783512"/>
              <a:ext cx="787794" cy="360000"/>
            </a:xfrm>
            <a:prstGeom prst="roundRect">
              <a:avLst>
                <a:gd name="adj" fmla="val 6302"/>
              </a:avLst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defRPr/>
              </a:pP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 진행 관리</a:t>
              </a:r>
              <a:endPara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모서리가 둥근 직사각형 13"/>
            <p:cNvSpPr/>
            <p:nvPr/>
          </p:nvSpPr>
          <p:spPr bwMode="gray">
            <a:xfrm>
              <a:off x="4576961" y="5214950"/>
              <a:ext cx="787794" cy="360000"/>
            </a:xfrm>
            <a:prstGeom prst="roundRect">
              <a:avLst>
                <a:gd name="adj" fmla="val 3340"/>
              </a:avLst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eaLnBrk="0" fontAlgn="auto" latinLnBrk="0" hangingPunct="0"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defRPr/>
              </a:pP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형상배포관리</a:t>
              </a:r>
              <a:endPara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8" name="AutoShape 23"/>
          <p:cNvSpPr>
            <a:spLocks noChangeArrowheads="1"/>
          </p:cNvSpPr>
          <p:nvPr/>
        </p:nvSpPr>
        <p:spPr bwMode="gray">
          <a:xfrm rot="5400000">
            <a:off x="4721624" y="5169805"/>
            <a:ext cx="999331" cy="107950"/>
          </a:xfrm>
          <a:prstGeom prst="triangle">
            <a:avLst>
              <a:gd name="adj" fmla="val 50000"/>
            </a:avLst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vert="eaVert" wrap="none" lIns="72000" tIns="72000" rIns="72000" bIns="72000" anchor="ctr"/>
          <a:lstStyle/>
          <a:p>
            <a:pPr algn="ctr" fontAlgn="auto" latinLnBrk="0">
              <a:spcBef>
                <a:spcPct val="20000"/>
              </a:spcBef>
              <a:spcAft>
                <a:spcPts val="0"/>
              </a:spcAft>
              <a:defRPr/>
            </a:pPr>
            <a:endParaRPr lang="en-US" altLang="ko-KR" sz="1800" b="0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모서리가 둥근 직사각형 13"/>
          <p:cNvSpPr/>
          <p:nvPr/>
        </p:nvSpPr>
        <p:spPr bwMode="gray">
          <a:xfrm>
            <a:off x="5328201" y="4516060"/>
            <a:ext cx="746130" cy="1626145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합 프로젝트 관리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타원 272"/>
          <p:cNvSpPr/>
          <p:nvPr/>
        </p:nvSpPr>
        <p:spPr>
          <a:xfrm>
            <a:off x="2824639" y="2110001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 smtClean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2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31" name="타원 273"/>
          <p:cNvSpPr/>
          <p:nvPr/>
        </p:nvSpPr>
        <p:spPr>
          <a:xfrm>
            <a:off x="1754205" y="4129004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 smtClean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1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32" name="타원 274"/>
          <p:cNvSpPr/>
          <p:nvPr/>
        </p:nvSpPr>
        <p:spPr>
          <a:xfrm>
            <a:off x="1586648" y="5411316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 smtClean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3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33" name="직사각형 279"/>
          <p:cNvSpPr/>
          <p:nvPr/>
        </p:nvSpPr>
        <p:spPr bwMode="auto">
          <a:xfrm>
            <a:off x="6681070" y="2071677"/>
            <a:ext cx="2952674" cy="423704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72000" tIns="36000" rIns="72000" bIns="36000" anchor="ctr">
            <a:noAutofit/>
          </a:bodyPr>
          <a:lstStyle/>
          <a:p>
            <a:pPr marL="174625" indent="-174625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맑은 고딕" pitchFamily="50" charset="-127"/>
              <a:buChar char="▶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 방법론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개발 공정 및 표준 산출물과 템플릿</a:t>
            </a:r>
            <a:r>
              <a:rPr lang="en-US" altLang="ko-KR" sz="11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역할 및 책임에 대한 가이드 제공</a:t>
            </a:r>
            <a:endParaRPr lang="en-US" altLang="ko-KR" sz="1100" b="0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맑은 고딕" pitchFamily="50" charset="-127"/>
              <a:buChar char="▶"/>
              <a:defRPr/>
            </a:pP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맑은 고딕" pitchFamily="50" charset="-127"/>
              <a:buChar char="▶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 툴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r>
              <a:rPr lang="ko-KR" altLang="en-US" sz="1100" b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각 단계 별로 개발 생산성을 향상할 수 있는 적절한 개발 툴을 지원함</a:t>
            </a:r>
            <a:endParaRPr lang="en-US" altLang="ko-KR" sz="1100" b="0" dirty="0" smtClean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endParaRPr lang="en-US" altLang="ko-KR" sz="105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맑은 고딕" pitchFamily="50" charset="-127"/>
              <a:buChar char="▶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표준 프레임워크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DE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개발환경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를 통해 개발 툴과 개발 관리 툴을 유기적으로 연계함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endParaRPr lang="en-US" altLang="ko-KR" sz="105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4625" indent="-174625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맑은 고딕" pitchFamily="50" charset="-127"/>
              <a:buChar char="▶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 관리 툴</a:t>
            </a:r>
            <a:endParaRPr lang="en-US" altLang="ko-KR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젝트를 통합 관리하고 품질을 향상할 수 있는 관리 툴을 제공함</a:t>
            </a:r>
            <a:endParaRPr lang="en-US" altLang="ko-KR" sz="11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16000" lvl="1" indent="-108000" defTabSz="196850" fontAlgn="auto" latinLnBrk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6DC4FF">
                  <a:lumMod val="25000"/>
                </a:srgbClr>
              </a:buClr>
              <a:buFont typeface="Wingdings" pitchFamily="2" charset="2"/>
              <a:buChar char="§"/>
              <a:defRPr/>
            </a:pP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타원 283"/>
          <p:cNvSpPr/>
          <p:nvPr/>
        </p:nvSpPr>
        <p:spPr>
          <a:xfrm>
            <a:off x="6699216" y="2420888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 smtClean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1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35" name="타원 284"/>
          <p:cNvSpPr/>
          <p:nvPr/>
        </p:nvSpPr>
        <p:spPr>
          <a:xfrm>
            <a:off x="4682992" y="4129004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 smtClean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4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grpSp>
        <p:nvGrpSpPr>
          <p:cNvPr id="136" name="그룹 161"/>
          <p:cNvGrpSpPr>
            <a:grpSpLocks/>
          </p:cNvGrpSpPr>
          <p:nvPr/>
        </p:nvGrpSpPr>
        <p:grpSpPr bwMode="auto">
          <a:xfrm>
            <a:off x="1111181" y="4417944"/>
            <a:ext cx="558703" cy="275701"/>
            <a:chOff x="594420" y="3140968"/>
            <a:chExt cx="1406252" cy="360040"/>
          </a:xfrm>
        </p:grpSpPr>
        <p:sp>
          <p:nvSpPr>
            <p:cNvPr id="137" name="직사각형 61"/>
            <p:cNvSpPr/>
            <p:nvPr/>
          </p:nvSpPr>
          <p:spPr bwMode="gray">
            <a:xfrm>
              <a:off x="595868" y="3256099"/>
              <a:ext cx="287622" cy="143592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8" name="직사각형 62"/>
            <p:cNvSpPr/>
            <p:nvPr/>
          </p:nvSpPr>
          <p:spPr bwMode="gray">
            <a:xfrm>
              <a:off x="996167" y="3142423"/>
              <a:ext cx="287624" cy="143592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63"/>
            <p:cNvSpPr/>
            <p:nvPr/>
          </p:nvSpPr>
          <p:spPr bwMode="gray">
            <a:xfrm>
              <a:off x="996167" y="3357810"/>
              <a:ext cx="287624" cy="143592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64"/>
            <p:cNvSpPr/>
            <p:nvPr/>
          </p:nvSpPr>
          <p:spPr bwMode="gray">
            <a:xfrm>
              <a:off x="1354956" y="3256099"/>
              <a:ext cx="287622" cy="143592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직사각형 65"/>
            <p:cNvSpPr/>
            <p:nvPr/>
          </p:nvSpPr>
          <p:spPr bwMode="gray">
            <a:xfrm>
              <a:off x="1713743" y="3256099"/>
              <a:ext cx="287624" cy="143592"/>
            </a:xfrm>
            <a:prstGeom prst="rect">
              <a:avLst/>
            </a:prstGeom>
            <a:solidFill>
              <a:srgbClr val="76B0CF">
                <a:lumMod val="75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2" name="꺾인 연결선 66"/>
            <p:cNvCxnSpPr>
              <a:stCxn id="137" idx="3"/>
              <a:endCxn id="138" idx="1"/>
            </p:cNvCxnSpPr>
            <p:nvPr/>
          </p:nvCxnSpPr>
          <p:spPr bwMode="auto">
            <a:xfrm flipV="1">
              <a:off x="883490" y="3214219"/>
              <a:ext cx="112677" cy="113677"/>
            </a:xfrm>
            <a:prstGeom prst="bentConnector3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143" name="꺾인 연결선 67"/>
            <p:cNvCxnSpPr>
              <a:stCxn id="137" idx="3"/>
              <a:endCxn id="139" idx="1"/>
            </p:cNvCxnSpPr>
            <p:nvPr/>
          </p:nvCxnSpPr>
          <p:spPr bwMode="auto">
            <a:xfrm>
              <a:off x="883490" y="3327895"/>
              <a:ext cx="112677" cy="101711"/>
            </a:xfrm>
            <a:prstGeom prst="bentConnector3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144" name="꺾인 연결선 68"/>
            <p:cNvCxnSpPr>
              <a:stCxn id="138" idx="3"/>
              <a:endCxn id="140" idx="1"/>
            </p:cNvCxnSpPr>
            <p:nvPr/>
          </p:nvCxnSpPr>
          <p:spPr bwMode="auto">
            <a:xfrm>
              <a:off x="1283791" y="3214219"/>
              <a:ext cx="71165" cy="113677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145" name="꺾인 연결선 69"/>
            <p:cNvCxnSpPr>
              <a:stCxn id="139" idx="3"/>
              <a:endCxn id="140" idx="1"/>
            </p:cNvCxnSpPr>
            <p:nvPr/>
          </p:nvCxnSpPr>
          <p:spPr bwMode="auto">
            <a:xfrm flipV="1">
              <a:off x="1283791" y="3327895"/>
              <a:ext cx="71165" cy="101711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  <p:cxnSp>
          <p:nvCxnSpPr>
            <p:cNvPr id="146" name="꺾인 연결선 70"/>
            <p:cNvCxnSpPr>
              <a:stCxn id="140" idx="3"/>
              <a:endCxn id="141" idx="1"/>
            </p:cNvCxnSpPr>
            <p:nvPr/>
          </p:nvCxnSpPr>
          <p:spPr bwMode="auto">
            <a:xfrm>
              <a:off x="1642578" y="3327895"/>
              <a:ext cx="71165" cy="11966"/>
            </a:xfrm>
            <a:prstGeom prst="bentConnector3">
              <a:avLst>
                <a:gd name="adj1" fmla="val 50000"/>
              </a:avLst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stealth" w="sm" len="sm"/>
            </a:ln>
            <a:effectLst/>
          </p:spPr>
        </p:cxnSp>
      </p:grpSp>
      <p:grpSp>
        <p:nvGrpSpPr>
          <p:cNvPr id="147" name="그룹 171"/>
          <p:cNvGrpSpPr>
            <a:grpSpLocks/>
          </p:cNvGrpSpPr>
          <p:nvPr/>
        </p:nvGrpSpPr>
        <p:grpSpPr bwMode="auto">
          <a:xfrm>
            <a:off x="2373078" y="4415982"/>
            <a:ext cx="275666" cy="306852"/>
            <a:chOff x="2377516" y="4693962"/>
            <a:chExt cx="271228" cy="311578"/>
          </a:xfrm>
        </p:grpSpPr>
        <p:sp>
          <p:nvSpPr>
            <p:cNvPr id="148" name="모서리가 접힌 도형 72"/>
            <p:cNvSpPr/>
            <p:nvPr/>
          </p:nvSpPr>
          <p:spPr bwMode="gray">
            <a:xfrm>
              <a:off x="2376211" y="4693026"/>
              <a:ext cx="273311" cy="312690"/>
            </a:xfrm>
            <a:prstGeom prst="foldedCorner">
              <a:avLst/>
            </a:prstGeom>
            <a:solidFill>
              <a:srgbClr val="76B0CF">
                <a:lumMod val="20000"/>
                <a:lumOff val="80000"/>
              </a:srgbClr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9" name="직선 연결선 73"/>
            <p:cNvCxnSpPr/>
            <p:nvPr/>
          </p:nvCxnSpPr>
          <p:spPr bwMode="auto">
            <a:xfrm>
              <a:off x="2411741" y="4736369"/>
              <a:ext cx="180385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0" name="직선 연결선 74"/>
            <p:cNvCxnSpPr/>
            <p:nvPr/>
          </p:nvCxnSpPr>
          <p:spPr bwMode="auto">
            <a:xfrm>
              <a:off x="2411741" y="4776617"/>
              <a:ext cx="180385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1" name="직선 연결선 75"/>
            <p:cNvCxnSpPr/>
            <p:nvPr/>
          </p:nvCxnSpPr>
          <p:spPr bwMode="auto">
            <a:xfrm>
              <a:off x="2411741" y="4819960"/>
              <a:ext cx="180385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2" name="직선 연결선 76"/>
            <p:cNvCxnSpPr/>
            <p:nvPr/>
          </p:nvCxnSpPr>
          <p:spPr bwMode="auto">
            <a:xfrm>
              <a:off x="2411741" y="4857111"/>
              <a:ext cx="180385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3" name="직선 연결선 77"/>
            <p:cNvCxnSpPr/>
            <p:nvPr/>
          </p:nvCxnSpPr>
          <p:spPr bwMode="auto">
            <a:xfrm>
              <a:off x="2411741" y="4900454"/>
              <a:ext cx="180385" cy="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76B0C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4" name="그룹 181"/>
          <p:cNvGrpSpPr>
            <a:grpSpLocks/>
          </p:cNvGrpSpPr>
          <p:nvPr/>
        </p:nvGrpSpPr>
        <p:grpSpPr bwMode="auto">
          <a:xfrm>
            <a:off x="3406096" y="4390504"/>
            <a:ext cx="178752" cy="330581"/>
            <a:chOff x="1481188" y="3503732"/>
            <a:chExt cx="252000" cy="675256"/>
          </a:xfrm>
        </p:grpSpPr>
        <p:sp>
          <p:nvSpPr>
            <p:cNvPr id="155" name="타원 79"/>
            <p:cNvSpPr/>
            <p:nvPr/>
          </p:nvSpPr>
          <p:spPr bwMode="gray">
            <a:xfrm>
              <a:off x="1479299" y="3502561"/>
              <a:ext cx="254160" cy="250973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6" name="직사각형 80"/>
            <p:cNvSpPr/>
            <p:nvPr/>
          </p:nvSpPr>
          <p:spPr bwMode="gray">
            <a:xfrm>
              <a:off x="1479299" y="3817339"/>
              <a:ext cx="254160" cy="361571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76B0C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rIns="72000" anchor="ctr"/>
            <a:lstStyle/>
            <a:p>
              <a:pPr marL="180975" indent="-180975"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buSzPct val="100000"/>
                <a:buFont typeface="Wingdings" pitchFamily="2" charset="2"/>
                <a:buChar char="§"/>
                <a:defRPr/>
              </a:pPr>
              <a:endParaRPr lang="ko-KR" altLang="en-US"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57" name="직사각형 163"/>
          <p:cNvSpPr>
            <a:spLocks noChangeArrowheads="1"/>
          </p:cNvSpPr>
          <p:nvPr/>
        </p:nvSpPr>
        <p:spPr bwMode="auto">
          <a:xfrm>
            <a:off x="907756" y="4795182"/>
            <a:ext cx="102090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표준개발 공정 및 수행절차</a:t>
            </a:r>
          </a:p>
        </p:txBody>
      </p:sp>
      <p:sp>
        <p:nvSpPr>
          <p:cNvPr id="158" name="직사각형 216"/>
          <p:cNvSpPr>
            <a:spLocks noChangeArrowheads="1"/>
          </p:cNvSpPr>
          <p:nvPr/>
        </p:nvSpPr>
        <p:spPr bwMode="auto">
          <a:xfrm>
            <a:off x="2072680" y="4795182"/>
            <a:ext cx="8701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표준 산출물 및 가</a:t>
            </a:r>
            <a:r>
              <a:rPr lang="ko-KR" altLang="en-US" sz="1000" b="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드</a:t>
            </a:r>
            <a:endParaRPr lang="ko-KR" altLang="en-US" sz="1000" b="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217"/>
          <p:cNvSpPr>
            <a:spLocks noChangeArrowheads="1"/>
          </p:cNvSpPr>
          <p:nvPr/>
        </p:nvSpPr>
        <p:spPr bwMode="auto">
          <a:xfrm>
            <a:off x="3152800" y="4795182"/>
            <a:ext cx="7115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역할 및 책임</a:t>
            </a:r>
          </a:p>
        </p:txBody>
      </p:sp>
      <p:sp>
        <p:nvSpPr>
          <p:cNvPr id="160" name="모서리가 둥근 직사각형 84"/>
          <p:cNvSpPr/>
          <p:nvPr/>
        </p:nvSpPr>
        <p:spPr bwMode="gray">
          <a:xfrm>
            <a:off x="1864415" y="5733256"/>
            <a:ext cx="1080000" cy="404995"/>
          </a:xfrm>
          <a:prstGeom prst="roundRect">
            <a:avLst/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레임워크 실행영역</a:t>
            </a:r>
          </a:p>
        </p:txBody>
      </p:sp>
      <p:sp>
        <p:nvSpPr>
          <p:cNvPr id="161" name="모서리가 둥근 직사각형 86"/>
          <p:cNvSpPr/>
          <p:nvPr/>
        </p:nvSpPr>
        <p:spPr bwMode="gray">
          <a:xfrm>
            <a:off x="619010" y="5733256"/>
            <a:ext cx="1080000" cy="404995"/>
          </a:xfrm>
          <a:prstGeom prst="roundRect">
            <a:avLst/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레임워크 개발영역</a:t>
            </a:r>
          </a:p>
        </p:txBody>
      </p:sp>
      <p:sp>
        <p:nvSpPr>
          <p:cNvPr id="162" name="모서리가 둥근 직사각형 87"/>
          <p:cNvSpPr/>
          <p:nvPr/>
        </p:nvSpPr>
        <p:spPr bwMode="gray">
          <a:xfrm>
            <a:off x="3109820" y="5733256"/>
            <a:ext cx="1080000" cy="404995"/>
          </a:xfrm>
          <a:prstGeom prst="roundRect">
            <a:avLst/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</a:pPr>
            <a:r>
              <a: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레임워크 관리영역</a:t>
            </a:r>
          </a:p>
        </p:txBody>
      </p:sp>
      <p:sp>
        <p:nvSpPr>
          <p:cNvPr id="163" name="타원 88"/>
          <p:cNvSpPr/>
          <p:nvPr/>
        </p:nvSpPr>
        <p:spPr>
          <a:xfrm>
            <a:off x="6699216" y="3313450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2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64" name="타원 89"/>
          <p:cNvSpPr/>
          <p:nvPr/>
        </p:nvSpPr>
        <p:spPr>
          <a:xfrm>
            <a:off x="6699216" y="4217016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3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65" name="타원 90"/>
          <p:cNvSpPr/>
          <p:nvPr/>
        </p:nvSpPr>
        <p:spPr>
          <a:xfrm>
            <a:off x="6699216" y="5124751"/>
            <a:ext cx="198000" cy="198000"/>
          </a:xfrm>
          <a:prstGeom prst="ellipse">
            <a:avLst/>
          </a:prstGeom>
          <a:solidFill>
            <a:srgbClr val="002060"/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r>
              <a:rPr lang="en-US" altLang="ko-KR" sz="1100" kern="0" dirty="0">
                <a:solidFill>
                  <a:prstClr val="white"/>
                </a:solidFill>
                <a:latin typeface="맑은 고딕"/>
                <a:ea typeface="맑은 고딕"/>
                <a:cs typeface="Arial"/>
              </a:rPr>
              <a:t>4</a:t>
            </a:r>
            <a:endParaRPr lang="ko-KR" altLang="en-US" sz="1100" kern="0" dirty="0" smtClean="0">
              <a:solidFill>
                <a:prstClr val="white"/>
              </a:solidFill>
              <a:latin typeface="맑은 고딕"/>
              <a:ea typeface="맑은 고딕"/>
              <a:cs typeface="Arial"/>
            </a:endParaRPr>
          </a:p>
        </p:txBody>
      </p:sp>
      <p:grpSp>
        <p:nvGrpSpPr>
          <p:cNvPr id="26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65" name="TextBox 26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프레임워크와 연계된 통합 개발환경 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제공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1/2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26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그룹 110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3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4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0" name="그룹 11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8593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레임워크 도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UI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터페이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영역의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및 이행을 지원할 수 있는 통합 개발 환경을 구성함</a:t>
            </a:r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62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363" name="TextBox 362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프레임워크와 연계된 통합 개발환경 제공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2/2</a:t>
              </a:r>
              <a:r>
                <a:rPr lang="en-US" altLang="ko-KR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ko-KR" altLang="en-US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64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4" name="Rectangle 40"/>
          <p:cNvSpPr/>
          <p:nvPr/>
        </p:nvSpPr>
        <p:spPr>
          <a:xfrm>
            <a:off x="1880407" y="1995628"/>
            <a:ext cx="1008000" cy="32861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D6EBF6">
                <a:lumMod val="25000"/>
              </a:srgbClr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t"/>
          <a:lstStyle/>
          <a:p>
            <a:pPr marL="268288" indent="-215900" algn="ctr" fontAlgn="ctr" latinLnBrk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75000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395" name="Rectangle 41"/>
          <p:cNvSpPr/>
          <p:nvPr/>
        </p:nvSpPr>
        <p:spPr>
          <a:xfrm>
            <a:off x="3058339" y="1995628"/>
            <a:ext cx="1008000" cy="32861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D6EBF6">
                <a:lumMod val="25000"/>
              </a:srgbClr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t"/>
          <a:lstStyle/>
          <a:p>
            <a:pPr marL="268288" indent="-215900" algn="ctr" fontAlgn="ctr" latinLnBrk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75000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설계</a:t>
            </a:r>
          </a:p>
        </p:txBody>
      </p:sp>
      <p:sp>
        <p:nvSpPr>
          <p:cNvPr id="396" name="Rectangle 47"/>
          <p:cNvSpPr/>
          <p:nvPr/>
        </p:nvSpPr>
        <p:spPr>
          <a:xfrm>
            <a:off x="4272785" y="1995628"/>
            <a:ext cx="2214577" cy="32861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D6EBF6">
                <a:lumMod val="25000"/>
              </a:srgbClr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t"/>
          <a:lstStyle/>
          <a:p>
            <a:pPr marL="268288" indent="-215900" algn="ctr" fontAlgn="ctr" latinLnBrk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75000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</a:p>
        </p:txBody>
      </p:sp>
      <p:sp>
        <p:nvSpPr>
          <p:cNvPr id="397" name="Rectangle 48"/>
          <p:cNvSpPr/>
          <p:nvPr/>
        </p:nvSpPr>
        <p:spPr>
          <a:xfrm>
            <a:off x="6701677" y="1995628"/>
            <a:ext cx="1008000" cy="32861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D6EBF6">
                <a:lumMod val="25000"/>
              </a:srgbClr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t"/>
          <a:lstStyle/>
          <a:p>
            <a:pPr marL="268288" indent="-215900" algn="ctr" fontAlgn="ctr" latinLnBrk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75000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테스트</a:t>
            </a:r>
          </a:p>
        </p:txBody>
      </p:sp>
      <p:sp>
        <p:nvSpPr>
          <p:cNvPr id="398" name="Rectangle 49"/>
          <p:cNvSpPr/>
          <p:nvPr/>
        </p:nvSpPr>
        <p:spPr>
          <a:xfrm>
            <a:off x="7908255" y="1995628"/>
            <a:ext cx="1008000" cy="32861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D6EBF6">
                <a:lumMod val="25000"/>
              </a:srgbClr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t"/>
          <a:lstStyle/>
          <a:p>
            <a:pPr marL="268288" indent="-215900" algn="ctr" fontAlgn="ctr" latinLnBrk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75000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배포</a:t>
            </a:r>
          </a:p>
        </p:txBody>
      </p:sp>
      <p:sp>
        <p:nvSpPr>
          <p:cNvPr id="399" name="모서리가 둥근 직사각형 13"/>
          <p:cNvSpPr/>
          <p:nvPr/>
        </p:nvSpPr>
        <p:spPr bwMode="gray">
          <a:xfrm>
            <a:off x="629447" y="2390850"/>
            <a:ext cx="8538395" cy="729434"/>
          </a:xfrm>
          <a:prstGeom prst="roundRect">
            <a:avLst>
              <a:gd name="adj" fmla="val 9374"/>
            </a:avLst>
          </a:prstGeom>
          <a:solidFill>
            <a:srgbClr val="333333">
              <a:lumMod val="20000"/>
              <a:lumOff val="80000"/>
            </a:srgbClr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0" bIns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어플리케이션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0" name="모서리가 둥근 직사각형 13"/>
          <p:cNvSpPr/>
          <p:nvPr/>
        </p:nvSpPr>
        <p:spPr bwMode="gray">
          <a:xfrm>
            <a:off x="629447" y="3186005"/>
            <a:ext cx="8538395" cy="591507"/>
          </a:xfrm>
          <a:prstGeom prst="roundRect">
            <a:avLst>
              <a:gd name="adj" fmla="val 9374"/>
            </a:avLst>
          </a:prstGeom>
          <a:solidFill>
            <a:srgbClr val="FFFFFF"/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0" bIns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UI</a:t>
            </a:r>
          </a:p>
        </p:txBody>
      </p:sp>
      <p:sp>
        <p:nvSpPr>
          <p:cNvPr id="401" name="모서리가 둥근 직사각형 13"/>
          <p:cNvSpPr/>
          <p:nvPr/>
        </p:nvSpPr>
        <p:spPr bwMode="gray">
          <a:xfrm>
            <a:off x="629447" y="3843235"/>
            <a:ext cx="8538395" cy="591507"/>
          </a:xfrm>
          <a:prstGeom prst="roundRect">
            <a:avLst>
              <a:gd name="adj" fmla="val 9374"/>
            </a:avLst>
          </a:prstGeom>
          <a:solidFill>
            <a:srgbClr val="FFFFFF"/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0" bIns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페이스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2" name="모서리가 둥근 직사각형 13"/>
          <p:cNvSpPr/>
          <p:nvPr/>
        </p:nvSpPr>
        <p:spPr bwMode="gray">
          <a:xfrm>
            <a:off x="629447" y="4500465"/>
            <a:ext cx="8538395" cy="591507"/>
          </a:xfrm>
          <a:prstGeom prst="roundRect">
            <a:avLst>
              <a:gd name="adj" fmla="val 9374"/>
            </a:avLst>
          </a:prstGeom>
          <a:solidFill>
            <a:srgbClr val="FFFFFF"/>
          </a:solidFill>
          <a:ln w="19050" algn="ctr">
            <a:solidFill>
              <a:srgbClr val="004574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0" bIns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데이터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3" name="모서리가 둥근 직사각형 13"/>
          <p:cNvSpPr/>
          <p:nvPr/>
        </p:nvSpPr>
        <p:spPr bwMode="gray">
          <a:xfrm>
            <a:off x="1986770" y="2553289"/>
            <a:ext cx="770286" cy="2424765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요구사항 관리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4" name="모서리가 둥근 직사각형 13"/>
          <p:cNvSpPr/>
          <p:nvPr/>
        </p:nvSpPr>
        <p:spPr bwMode="gray">
          <a:xfrm>
            <a:off x="4415661" y="4618054"/>
            <a:ext cx="4429156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Meta</a:t>
            </a:r>
          </a:p>
        </p:txBody>
      </p:sp>
      <p:sp>
        <p:nvSpPr>
          <p:cNvPr id="405" name="모서리가 둥근 직사각형 13"/>
          <p:cNvSpPr/>
          <p:nvPr/>
        </p:nvSpPr>
        <p:spPr bwMode="gray">
          <a:xfrm>
            <a:off x="3153222" y="4618054"/>
            <a:ext cx="820743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데이터 모델링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6" name="모서리가 둥근 직사각형 13"/>
          <p:cNvSpPr/>
          <p:nvPr/>
        </p:nvSpPr>
        <p:spPr bwMode="gray">
          <a:xfrm>
            <a:off x="7995046" y="2660222"/>
            <a:ext cx="392115" cy="1577351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형상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배포관리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7" name="모서리가 둥근 직사각형 13"/>
          <p:cNvSpPr/>
          <p:nvPr/>
        </p:nvSpPr>
        <p:spPr bwMode="gray">
          <a:xfrm>
            <a:off x="3058339" y="2530127"/>
            <a:ext cx="1007999" cy="460061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어플리케이션 설계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8" name="모서리가 둥근 직사각형 13"/>
          <p:cNvSpPr/>
          <p:nvPr/>
        </p:nvSpPr>
        <p:spPr bwMode="gray">
          <a:xfrm>
            <a:off x="3058337" y="3317451"/>
            <a:ext cx="2160000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화면 개발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9" name="모서리가 둥근 직사각형 13"/>
          <p:cNvSpPr/>
          <p:nvPr/>
        </p:nvSpPr>
        <p:spPr bwMode="gray">
          <a:xfrm>
            <a:off x="3058339" y="3968633"/>
            <a:ext cx="1500196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문 통합관리 시스템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0" name="모서리가 둥근 직사각형 13"/>
          <p:cNvSpPr/>
          <p:nvPr/>
        </p:nvSpPr>
        <p:spPr bwMode="gray">
          <a:xfrm>
            <a:off x="4272785" y="2530127"/>
            <a:ext cx="571503" cy="460061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코딩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1" name="모서리가 둥근 직사각형 13"/>
          <p:cNvSpPr/>
          <p:nvPr/>
        </p:nvSpPr>
        <p:spPr bwMode="gray">
          <a:xfrm>
            <a:off x="5140559" y="2458119"/>
            <a:ext cx="1428759" cy="18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소스 분석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2" name="모서리가 둥근 직사각형 13"/>
          <p:cNvSpPr/>
          <p:nvPr/>
        </p:nvSpPr>
        <p:spPr bwMode="gray">
          <a:xfrm>
            <a:off x="6206837" y="3968633"/>
            <a:ext cx="1502840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Simulator</a:t>
            </a:r>
          </a:p>
        </p:txBody>
      </p:sp>
      <p:sp>
        <p:nvSpPr>
          <p:cNvPr id="413" name="모서리가 둥근 직사각형 13"/>
          <p:cNvSpPr/>
          <p:nvPr/>
        </p:nvSpPr>
        <p:spPr bwMode="gray">
          <a:xfrm>
            <a:off x="5140558" y="2671722"/>
            <a:ext cx="1428759" cy="18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취약점 분석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4" name="모서리가 둥근 직사각형 13"/>
          <p:cNvSpPr/>
          <p:nvPr/>
        </p:nvSpPr>
        <p:spPr bwMode="gray">
          <a:xfrm>
            <a:off x="5140558" y="2885324"/>
            <a:ext cx="1428759" cy="18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문 단위 테스트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5" name="모서리가 둥근 직사각형 13"/>
          <p:cNvSpPr/>
          <p:nvPr/>
        </p:nvSpPr>
        <p:spPr bwMode="gray">
          <a:xfrm>
            <a:off x="6862566" y="2530127"/>
            <a:ext cx="847111" cy="460061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문 기반 테스트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6" name="모서리가 둥근 직사각형 13"/>
          <p:cNvSpPr/>
          <p:nvPr/>
        </p:nvSpPr>
        <p:spPr bwMode="gray">
          <a:xfrm>
            <a:off x="8481730" y="2660222"/>
            <a:ext cx="392115" cy="1577351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영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향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석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7" name="모서리가 둥근 직사각형 13"/>
          <p:cNvSpPr/>
          <p:nvPr/>
        </p:nvSpPr>
        <p:spPr bwMode="gray">
          <a:xfrm>
            <a:off x="4651134" y="3971366"/>
            <a:ext cx="1453994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인터페이스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8" name="직사각형 111"/>
          <p:cNvSpPr/>
          <p:nvPr/>
        </p:nvSpPr>
        <p:spPr bwMode="gray">
          <a:xfrm>
            <a:off x="705222" y="5380096"/>
            <a:ext cx="3710439" cy="891414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333333">
                <a:lumMod val="50000"/>
                <a:lumOff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  </a:t>
            </a:r>
            <a:r>
              <a:rPr kumimoji="0" lang="ko-KR" altLang="en-US" sz="1100" b="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프레임워크 통합 개발 도구</a:t>
            </a:r>
            <a:endParaRPr kumimoji="0" lang="en-US" altLang="ko-KR" sz="1100" b="0" i="1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en-US" altLang="ko-KR" sz="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프레임워크에서 제공하는 통합 개발 환경은 어플리케이션 설계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발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테스트를 포함함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19" name="직사각형 112"/>
          <p:cNvSpPr/>
          <p:nvPr/>
        </p:nvSpPr>
        <p:spPr>
          <a:xfrm>
            <a:off x="644098" y="5281776"/>
            <a:ext cx="588695" cy="543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n-US" altLang="ko-KR" sz="2800" b="0" kern="0" dirty="0" smtClean="0">
                <a:solidFill>
                  <a:srgbClr val="800000"/>
                </a:solidFill>
                <a:latin typeface="맑은 고딕"/>
                <a:ea typeface="맑은 고딕"/>
              </a:rPr>
              <a:t> </a:t>
            </a:r>
            <a:endParaRPr lang="en-US" altLang="ko-KR" sz="2800" b="0" kern="0" dirty="0">
              <a:solidFill>
                <a:srgbClr val="800000"/>
              </a:solidFill>
              <a:latin typeface="맑은 고딕"/>
              <a:ea typeface="맑은 고딕"/>
            </a:endParaRPr>
          </a:p>
        </p:txBody>
      </p:sp>
      <p:sp>
        <p:nvSpPr>
          <p:cNvPr id="420" name="직사각형 113"/>
          <p:cNvSpPr/>
          <p:nvPr/>
        </p:nvSpPr>
        <p:spPr bwMode="gray">
          <a:xfrm>
            <a:off x="5446172" y="5380096"/>
            <a:ext cx="3710439" cy="891414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333333">
                <a:lumMod val="50000"/>
                <a:lumOff val="5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t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  </a:t>
            </a:r>
            <a:r>
              <a:rPr kumimoji="0" lang="ko-KR" altLang="en-US" sz="1100" b="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솔루션 별 개발 도구</a:t>
            </a:r>
            <a:endParaRPr kumimoji="0" lang="en-US" altLang="ko-KR" sz="1100" b="0" i="1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en-US" altLang="ko-KR" sz="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UI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의 설계 및 개발은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UI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발 도구에서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인터페이스는 통합 전문관리 시스템과 인터페이스 툴에서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데이터는 데이터 모델링 도구를 활용함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21" name="직사각형 114"/>
          <p:cNvSpPr/>
          <p:nvPr/>
        </p:nvSpPr>
        <p:spPr>
          <a:xfrm>
            <a:off x="5385048" y="5281776"/>
            <a:ext cx="588695" cy="543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n-US" altLang="ko-KR" sz="2800" b="0" kern="0" dirty="0" smtClean="0">
                <a:solidFill>
                  <a:srgbClr val="800000"/>
                </a:solidFill>
                <a:latin typeface="맑은 고딕"/>
                <a:ea typeface="맑은 고딕"/>
              </a:rPr>
              <a:t> </a:t>
            </a:r>
            <a:endParaRPr lang="en-US" altLang="ko-KR" sz="2800" b="0" kern="0" dirty="0">
              <a:solidFill>
                <a:srgbClr val="800000"/>
              </a:solidFill>
              <a:latin typeface="맑은 고딕"/>
              <a:ea typeface="맑은 고딕"/>
            </a:endParaRPr>
          </a:p>
        </p:txBody>
      </p:sp>
      <p:sp>
        <p:nvSpPr>
          <p:cNvPr id="422" name="모서리가 둥근 직사각형 13"/>
          <p:cNvSpPr/>
          <p:nvPr/>
        </p:nvSpPr>
        <p:spPr bwMode="gray">
          <a:xfrm>
            <a:off x="5549677" y="3317451"/>
            <a:ext cx="2160000" cy="360000"/>
          </a:xfrm>
          <a:prstGeom prst="roundRect">
            <a:avLst>
              <a:gd name="adj" fmla="val 7145"/>
            </a:avLst>
          </a:prstGeom>
          <a:solidFill>
            <a:srgbClr val="FFFFFF"/>
          </a:solidFill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algn="ctr" eaLnBrk="0" fontAlgn="auto" latinLnBrk="0" hangingPunct="0"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고</a:t>
            </a:r>
            <a:r>
              <a: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개발 툴</a:t>
            </a:r>
            <a:endParaRPr lang="en-US" altLang="ko-KR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6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6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9" name="그룹 6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34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레임워크 도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방법론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actice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dirty="0" smtClean="0"/>
              <a:t>종합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방법론을 정비함</a:t>
            </a:r>
          </a:p>
        </p:txBody>
      </p:sp>
      <p:sp>
        <p:nvSpPr>
          <p:cNvPr id="121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362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363" name="TextBox 362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전행 개발방법론 정비</a:t>
              </a:r>
            </a:p>
          </p:txBody>
        </p:sp>
        <p:cxnSp>
          <p:nvCxnSpPr>
            <p:cNvPr id="364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6" name="직사각형 175"/>
          <p:cNvSpPr/>
          <p:nvPr/>
        </p:nvSpPr>
        <p:spPr>
          <a:xfrm>
            <a:off x="413466" y="3933056"/>
            <a:ext cx="6674532" cy="237566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36000" tIns="36000" rIns="36000" bIns="36000" rtlCol="0" anchor="t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endParaRPr lang="ko-KR" altLang="en-US" sz="10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</p:txBody>
      </p:sp>
      <p:sp>
        <p:nvSpPr>
          <p:cNvPr id="192" name="Rectangle 244"/>
          <p:cNvSpPr>
            <a:spLocks noChangeArrowheads="1"/>
          </p:cNvSpPr>
          <p:nvPr/>
        </p:nvSpPr>
        <p:spPr bwMode="gray">
          <a:xfrm>
            <a:off x="358776" y="2044576"/>
            <a:ext cx="6729222" cy="11684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FD0CE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grpSp>
        <p:nvGrpSpPr>
          <p:cNvPr id="196" name="Group 156"/>
          <p:cNvGrpSpPr>
            <a:grpSpLocks/>
          </p:cNvGrpSpPr>
          <p:nvPr/>
        </p:nvGrpSpPr>
        <p:grpSpPr bwMode="auto">
          <a:xfrm>
            <a:off x="1208584" y="2103314"/>
            <a:ext cx="2927085" cy="1050925"/>
            <a:chOff x="2010" y="3377"/>
            <a:chExt cx="1397" cy="646"/>
          </a:xfrm>
        </p:grpSpPr>
        <p:sp>
          <p:nvSpPr>
            <p:cNvPr id="197" name="AutoShape 445"/>
            <p:cNvSpPr>
              <a:spLocks noChangeArrowheads="1"/>
            </p:cNvSpPr>
            <p:nvPr/>
          </p:nvSpPr>
          <p:spPr bwMode="gray">
            <a:xfrm>
              <a:off x="2010" y="3377"/>
              <a:ext cx="1397" cy="306"/>
            </a:xfrm>
            <a:prstGeom prst="roundRect">
              <a:avLst>
                <a:gd name="adj" fmla="val 0"/>
              </a:avLst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98" name="Rectangle 104"/>
            <p:cNvSpPr>
              <a:spLocks noChangeArrowheads="1"/>
            </p:cNvSpPr>
            <p:nvPr/>
          </p:nvSpPr>
          <p:spPr bwMode="gray">
            <a:xfrm>
              <a:off x="2144" y="3442"/>
              <a:ext cx="1223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marL="1588" lvl="1" fontAlgn="auto" latinLnBrk="0">
                <a:lnSpc>
                  <a:spcPct val="11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4D4D4D"/>
                </a:buClr>
                <a:defRPr/>
              </a:pP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차세대 개발 일정을 고려하여 공정의 일관성 및 각 </a:t>
              </a:r>
              <a:r>
                <a:rPr lang="en-US" altLang="ko-KR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TASK</a:t>
              </a: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간의 상호 연계성 확보</a:t>
              </a:r>
            </a:p>
          </p:txBody>
        </p:sp>
        <p:sp>
          <p:nvSpPr>
            <p:cNvPr id="199" name="AutoShape 445"/>
            <p:cNvSpPr>
              <a:spLocks noChangeArrowheads="1"/>
            </p:cNvSpPr>
            <p:nvPr/>
          </p:nvSpPr>
          <p:spPr bwMode="gray">
            <a:xfrm>
              <a:off x="2010" y="3717"/>
              <a:ext cx="1397" cy="306"/>
            </a:xfrm>
            <a:prstGeom prst="roundRect">
              <a:avLst>
                <a:gd name="adj" fmla="val 0"/>
              </a:avLst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00" name="Rectangle 104"/>
            <p:cNvSpPr>
              <a:spLocks noChangeArrowheads="1"/>
            </p:cNvSpPr>
            <p:nvPr/>
          </p:nvSpPr>
          <p:spPr bwMode="gray">
            <a:xfrm>
              <a:off x="2144" y="3782"/>
              <a:ext cx="1223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marL="1588" lvl="1" fontAlgn="auto" latinLnBrk="0">
                <a:lnSpc>
                  <a:spcPct val="11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4D4D4D"/>
                </a:buClr>
                <a:defRPr/>
              </a:pP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방법론 </a:t>
              </a:r>
              <a:r>
                <a:rPr lang="en-US" altLang="ko-KR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Tailoring</a:t>
              </a: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과 적용이 편리함</a:t>
              </a:r>
            </a:p>
          </p:txBody>
        </p:sp>
      </p:grpSp>
      <p:grpSp>
        <p:nvGrpSpPr>
          <p:cNvPr id="201" name="Group 170"/>
          <p:cNvGrpSpPr>
            <a:grpSpLocks/>
          </p:cNvGrpSpPr>
          <p:nvPr/>
        </p:nvGrpSpPr>
        <p:grpSpPr bwMode="auto">
          <a:xfrm>
            <a:off x="4232919" y="2103314"/>
            <a:ext cx="2808313" cy="1050925"/>
            <a:chOff x="2010" y="3377"/>
            <a:chExt cx="1397" cy="646"/>
          </a:xfrm>
        </p:grpSpPr>
        <p:sp>
          <p:nvSpPr>
            <p:cNvPr id="202" name="AutoShape 445"/>
            <p:cNvSpPr>
              <a:spLocks noChangeArrowheads="1"/>
            </p:cNvSpPr>
            <p:nvPr/>
          </p:nvSpPr>
          <p:spPr bwMode="gray">
            <a:xfrm>
              <a:off x="2010" y="3377"/>
              <a:ext cx="1397" cy="306"/>
            </a:xfrm>
            <a:prstGeom prst="roundRect">
              <a:avLst>
                <a:gd name="adj" fmla="val 0"/>
              </a:avLst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03" name="Rectangle 104"/>
            <p:cNvSpPr>
              <a:spLocks noChangeArrowheads="1"/>
            </p:cNvSpPr>
            <p:nvPr/>
          </p:nvSpPr>
          <p:spPr bwMode="gray">
            <a:xfrm>
              <a:off x="2144" y="3442"/>
              <a:ext cx="1223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marL="1588" lvl="1" fontAlgn="auto" latinLnBrk="0">
                <a:lnSpc>
                  <a:spcPct val="11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4D4D4D"/>
                </a:buClr>
                <a:defRPr/>
              </a:pP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방법론 프레임워크 기반의 확장이 용이한 </a:t>
              </a:r>
              <a:r>
                <a:rPr lang="en-US" altLang="ko-KR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ADD-ON </a:t>
              </a: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구조</a:t>
              </a:r>
            </a:p>
          </p:txBody>
        </p:sp>
        <p:sp>
          <p:nvSpPr>
            <p:cNvPr id="204" name="AutoShape 445"/>
            <p:cNvSpPr>
              <a:spLocks noChangeArrowheads="1"/>
            </p:cNvSpPr>
            <p:nvPr/>
          </p:nvSpPr>
          <p:spPr bwMode="gray">
            <a:xfrm>
              <a:off x="2010" y="3717"/>
              <a:ext cx="1397" cy="306"/>
            </a:xfrm>
            <a:prstGeom prst="roundRect">
              <a:avLst>
                <a:gd name="adj" fmla="val 0"/>
              </a:avLst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05" name="Rectangle 104"/>
            <p:cNvSpPr>
              <a:spLocks noChangeArrowheads="1"/>
            </p:cNvSpPr>
            <p:nvPr/>
          </p:nvSpPr>
          <p:spPr bwMode="gray">
            <a:xfrm>
              <a:off x="2144" y="3782"/>
              <a:ext cx="1223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marL="1588" lvl="1" fontAlgn="auto" latinLnBrk="0">
                <a:lnSpc>
                  <a:spcPct val="11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4D4D4D"/>
                </a:buClr>
                <a:defRPr/>
              </a:pPr>
              <a:r>
                <a:rPr lang="ko-KR" altLang="en-US" sz="1000" b="0" kern="0" dirty="0" smtClean="0">
                  <a:solidFill>
                    <a:srgbClr val="4D4D4D"/>
                  </a:solidFill>
                  <a:latin typeface="맑은 고딕" pitchFamily="50" charset="-127"/>
                  <a:ea typeface="맑은 고딕" pitchFamily="50" charset="-127"/>
                </a:rPr>
                <a:t>프로젝트 구성원간 커뮤니케이션에 도움이 되는 개발 표준 필요</a:t>
              </a:r>
            </a:p>
          </p:txBody>
        </p:sp>
      </p:grpSp>
      <p:sp>
        <p:nvSpPr>
          <p:cNvPr id="206" name="AutoShape 23"/>
          <p:cNvSpPr>
            <a:spLocks noChangeArrowheads="1"/>
          </p:cNvSpPr>
          <p:nvPr/>
        </p:nvSpPr>
        <p:spPr bwMode="gray">
          <a:xfrm rot="10800000">
            <a:off x="2335493" y="3356992"/>
            <a:ext cx="2808288" cy="432048"/>
          </a:xfrm>
          <a:prstGeom prst="triangle">
            <a:avLst>
              <a:gd name="adj" fmla="val 50000"/>
            </a:avLst>
          </a:prstGeom>
          <a:solidFill>
            <a:srgbClr val="333333">
              <a:lumMod val="20000"/>
              <a:lumOff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vert="eaVert" wrap="none" lIns="72000" tIns="72000" rIns="72000" bIns="72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2191453" y="3356992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 latinLnBrk="0">
              <a:spcBef>
                <a:spcPct val="20000"/>
              </a:spcBef>
              <a:spcAft>
                <a:spcPts val="0"/>
              </a:spcAft>
              <a:buSzPct val="100000"/>
            </a:pPr>
            <a:r>
              <a:rPr lang="ko-KR" altLang="en-US" sz="1200" i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세대 특성에 적합한 방법론 개선 및 적용</a:t>
            </a:r>
          </a:p>
        </p:txBody>
      </p:sp>
      <p:sp>
        <p:nvSpPr>
          <p:cNvPr id="208" name="오각형 188"/>
          <p:cNvSpPr/>
          <p:nvPr/>
        </p:nvSpPr>
        <p:spPr>
          <a:xfrm>
            <a:off x="490971" y="4005064"/>
            <a:ext cx="1368152" cy="465336"/>
          </a:xfrm>
          <a:prstGeom prst="homePlate">
            <a:avLst>
              <a:gd name="adj" fmla="val 24563"/>
            </a:avLst>
          </a:prstGeom>
          <a:solidFill>
            <a:srgbClr val="333333">
              <a:lumMod val="40000"/>
              <a:lumOff val="60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3600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/>
              </a:rPr>
              <a:t>개선 방향성 정의</a:t>
            </a:r>
          </a:p>
        </p:txBody>
      </p:sp>
      <p:sp>
        <p:nvSpPr>
          <p:cNvPr id="209" name="오각형 191"/>
          <p:cNvSpPr/>
          <p:nvPr/>
        </p:nvSpPr>
        <p:spPr>
          <a:xfrm>
            <a:off x="5274934" y="4005064"/>
            <a:ext cx="1768765" cy="465336"/>
          </a:xfrm>
          <a:prstGeom prst="homePlate">
            <a:avLst>
              <a:gd name="adj" fmla="val 27274"/>
            </a:avLst>
          </a:prstGeom>
          <a:solidFill>
            <a:srgbClr val="333333">
              <a:lumMod val="40000"/>
              <a:lumOff val="60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3600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/>
              </a:rPr>
              <a:t>적용 및 변화 관리</a:t>
            </a:r>
          </a:p>
        </p:txBody>
      </p:sp>
      <p:sp>
        <p:nvSpPr>
          <p:cNvPr id="210" name="오각형 196"/>
          <p:cNvSpPr/>
          <p:nvPr/>
        </p:nvSpPr>
        <p:spPr>
          <a:xfrm>
            <a:off x="1859123" y="4005064"/>
            <a:ext cx="3415811" cy="465336"/>
          </a:xfrm>
          <a:prstGeom prst="homePlate">
            <a:avLst>
              <a:gd name="adj" fmla="val 27274"/>
            </a:avLst>
          </a:prstGeom>
          <a:solidFill>
            <a:srgbClr val="333333">
              <a:lumMod val="40000"/>
              <a:lumOff val="60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3600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/>
              </a:rPr>
              <a:t>To-Be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/>
              </a:rPr>
              <a:t>방법론 설계 및 개선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9442" y="4557000"/>
            <a:ext cx="6320452" cy="1651573"/>
            <a:chOff x="549442" y="4653137"/>
            <a:chExt cx="6320452" cy="1510099"/>
          </a:xfrm>
        </p:grpSpPr>
        <p:sp>
          <p:nvSpPr>
            <p:cNvPr id="178" name="직사각형 72"/>
            <p:cNvSpPr/>
            <p:nvPr/>
          </p:nvSpPr>
          <p:spPr>
            <a:xfrm>
              <a:off x="1859122" y="4653138"/>
              <a:ext cx="3415811" cy="1510098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1905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36000" tIns="36000" rIns="36000" bIns="36000" rtlCol="0" anchor="t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105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개발 방법론 프레임워크</a:t>
              </a:r>
            </a:p>
          </p:txBody>
        </p:sp>
        <p:grpSp>
          <p:nvGrpSpPr>
            <p:cNvPr id="179" name="그룹 73"/>
            <p:cNvGrpSpPr/>
            <p:nvPr/>
          </p:nvGrpSpPr>
          <p:grpSpPr>
            <a:xfrm>
              <a:off x="1918826" y="5410161"/>
              <a:ext cx="3296401" cy="673095"/>
              <a:chOff x="560512" y="4764833"/>
              <a:chExt cx="4155510" cy="464369"/>
            </a:xfrm>
          </p:grpSpPr>
          <p:sp>
            <p:nvSpPr>
              <p:cNvPr id="185" name="위쪽 화살표 설명선 79"/>
              <p:cNvSpPr/>
              <p:nvPr/>
            </p:nvSpPr>
            <p:spPr>
              <a:xfrm>
                <a:off x="560512" y="4764839"/>
                <a:ext cx="696487" cy="464361"/>
              </a:xfrm>
              <a:prstGeom prst="upArrowCallout">
                <a:avLst>
                  <a:gd name="adj1" fmla="val 128537"/>
                  <a:gd name="adj2" fmla="val 36979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프로젝트 관리</a:t>
                </a:r>
              </a:p>
            </p:txBody>
          </p:sp>
          <p:sp>
            <p:nvSpPr>
              <p:cNvPr id="186" name="위쪽 화살표 설명선 80"/>
              <p:cNvSpPr/>
              <p:nvPr/>
            </p:nvSpPr>
            <p:spPr>
              <a:xfrm>
                <a:off x="1252317" y="4764840"/>
                <a:ext cx="696487" cy="464362"/>
              </a:xfrm>
              <a:prstGeom prst="upArrowCallout">
                <a:avLst>
                  <a:gd name="adj1" fmla="val 128537"/>
                  <a:gd name="adj2" fmla="val 36560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변경관리</a:t>
                </a:r>
              </a:p>
            </p:txBody>
          </p:sp>
          <p:sp>
            <p:nvSpPr>
              <p:cNvPr id="187" name="위쪽 화살표 설명선 81"/>
              <p:cNvSpPr/>
              <p:nvPr/>
            </p:nvSpPr>
            <p:spPr>
              <a:xfrm>
                <a:off x="1944122" y="4764837"/>
                <a:ext cx="696487" cy="464361"/>
              </a:xfrm>
              <a:prstGeom prst="upArrowCallout">
                <a:avLst>
                  <a:gd name="adj1" fmla="val 128537"/>
                  <a:gd name="adj2" fmla="val 39461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요구사항 관리</a:t>
                </a:r>
              </a:p>
            </p:txBody>
          </p:sp>
          <p:sp>
            <p:nvSpPr>
              <p:cNvPr id="188" name="위쪽 화살표 설명선 82"/>
              <p:cNvSpPr/>
              <p:nvPr/>
            </p:nvSpPr>
            <p:spPr>
              <a:xfrm>
                <a:off x="2646153" y="4764834"/>
                <a:ext cx="696487" cy="464361"/>
              </a:xfrm>
              <a:prstGeom prst="upArrowCallout">
                <a:avLst>
                  <a:gd name="adj1" fmla="val 128537"/>
                  <a:gd name="adj2" fmla="val 37285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이슈</a:t>
                </a:r>
                <a:r>
                  <a:rPr lang="en-US" altLang="ko-KR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/</a:t>
                </a: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위험관</a:t>
                </a:r>
                <a:r>
                  <a:rPr lang="ko-KR" altLang="en-US" sz="900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리</a:t>
                </a:r>
                <a:endParaRPr lang="ko-KR" altLang="en-US" sz="9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endParaRPr>
              </a:p>
            </p:txBody>
          </p:sp>
          <p:sp>
            <p:nvSpPr>
              <p:cNvPr id="189" name="위쪽 화살표 설명선 83"/>
              <p:cNvSpPr/>
              <p:nvPr/>
            </p:nvSpPr>
            <p:spPr>
              <a:xfrm>
                <a:off x="3327730" y="4764833"/>
                <a:ext cx="696487" cy="464361"/>
              </a:xfrm>
              <a:prstGeom prst="upArrowCallout">
                <a:avLst>
                  <a:gd name="adj1" fmla="val 128537"/>
                  <a:gd name="adj2" fmla="val 39190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ko-KR" altLang="en-US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테스트</a:t>
                </a:r>
              </a:p>
            </p:txBody>
          </p:sp>
          <p:sp>
            <p:nvSpPr>
              <p:cNvPr id="190" name="위쪽 화살표 설명선 84"/>
              <p:cNvSpPr/>
              <p:nvPr/>
            </p:nvSpPr>
            <p:spPr>
              <a:xfrm>
                <a:off x="4019535" y="4764835"/>
                <a:ext cx="696487" cy="464362"/>
              </a:xfrm>
              <a:prstGeom prst="upArrowCallout">
                <a:avLst>
                  <a:gd name="adj1" fmla="val 128537"/>
                  <a:gd name="adj2" fmla="val 36741"/>
                  <a:gd name="adj3" fmla="val 0"/>
                  <a:gd name="adj4" fmla="val 62795"/>
                </a:avLst>
              </a:prstGeom>
              <a:solidFill>
                <a:srgbClr val="FFFFFF">
                  <a:lumMod val="95000"/>
                </a:srgbClr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D0900"/>
                  </a:buClr>
                  <a:defRPr/>
                </a:pPr>
                <a:r>
                  <a:rPr lang="en-US" altLang="ko-KR" sz="900" kern="0" dirty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Arial"/>
                  </a:rPr>
                  <a:t>QA</a:t>
                </a:r>
                <a:endParaRPr lang="ko-KR" altLang="en-US" sz="9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endParaRPr>
              </a:p>
            </p:txBody>
          </p:sp>
        </p:grpSp>
        <p:sp>
          <p:nvSpPr>
            <p:cNvPr id="180" name="아래쪽 화살표 설명선 74"/>
            <p:cNvSpPr/>
            <p:nvPr/>
          </p:nvSpPr>
          <p:spPr>
            <a:xfrm>
              <a:off x="2195073" y="4926087"/>
              <a:ext cx="514889" cy="750584"/>
            </a:xfrm>
            <a:prstGeom prst="downArrowCallout">
              <a:avLst>
                <a:gd name="adj1" fmla="val 50000"/>
                <a:gd name="adj2" fmla="val 21401"/>
                <a:gd name="adj3" fmla="val 0"/>
                <a:gd name="adj4" fmla="val 64977"/>
              </a:avLst>
            </a:prstGeom>
            <a:solidFill>
              <a:sysClr val="window" lastClr="FFFFFF">
                <a:lumMod val="50000"/>
              </a:sysClr>
            </a:solidFill>
            <a:ln w="12700" algn="ctr">
              <a:solidFill>
                <a:sysClr val="window" lastClr="FFFFFF">
                  <a:lumMod val="75000"/>
                </a:sysClr>
              </a:solidFill>
              <a:round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CBD </a:t>
              </a: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방법론</a:t>
              </a:r>
            </a:p>
          </p:txBody>
        </p:sp>
        <p:sp>
          <p:nvSpPr>
            <p:cNvPr id="181" name="아래쪽 화살표 설명선 75"/>
            <p:cNvSpPr/>
            <p:nvPr/>
          </p:nvSpPr>
          <p:spPr>
            <a:xfrm>
              <a:off x="2752327" y="4926087"/>
              <a:ext cx="514889" cy="750584"/>
            </a:xfrm>
            <a:prstGeom prst="downArrowCallout">
              <a:avLst>
                <a:gd name="adj1" fmla="val 50000"/>
                <a:gd name="adj2" fmla="val 21401"/>
                <a:gd name="adj3" fmla="val 0"/>
                <a:gd name="adj4" fmla="val 64977"/>
              </a:avLst>
            </a:prstGeom>
            <a:solidFill>
              <a:sysClr val="window" lastClr="FFFFFF">
                <a:lumMod val="50000"/>
              </a:sysClr>
            </a:solidFill>
            <a:ln w="12700" algn="ctr">
              <a:solidFill>
                <a:sysClr val="window" lastClr="FFFFFF">
                  <a:lumMod val="75000"/>
                </a:sysClr>
              </a:solidFill>
              <a:round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객체 지향</a:t>
              </a:r>
              <a:r>
                <a:rPr lang="en-US" altLang="ko-KR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 </a:t>
              </a: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방법론</a:t>
              </a:r>
            </a:p>
          </p:txBody>
        </p:sp>
        <p:sp>
          <p:nvSpPr>
            <p:cNvPr id="182" name="아래쪽 화살표 설명선 76"/>
            <p:cNvSpPr/>
            <p:nvPr/>
          </p:nvSpPr>
          <p:spPr>
            <a:xfrm>
              <a:off x="3309582" y="4926087"/>
              <a:ext cx="514889" cy="750584"/>
            </a:xfrm>
            <a:prstGeom prst="downArrowCallout">
              <a:avLst>
                <a:gd name="adj1" fmla="val 50000"/>
                <a:gd name="adj2" fmla="val 21401"/>
                <a:gd name="adj3" fmla="val 0"/>
                <a:gd name="adj4" fmla="val 64977"/>
              </a:avLst>
            </a:prstGeom>
            <a:solidFill>
              <a:sysClr val="window" lastClr="FFFFFF">
                <a:lumMod val="50000"/>
              </a:sysClr>
            </a:solidFill>
            <a:ln w="12700" algn="ctr">
              <a:solidFill>
                <a:sysClr val="window" lastClr="FFFFFF">
                  <a:lumMod val="75000"/>
                </a:sysClr>
              </a:solidFill>
              <a:round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정보 공학</a:t>
              </a:r>
              <a:r>
                <a:rPr lang="en-US" altLang="ko-KR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 </a:t>
              </a: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방법론</a:t>
              </a:r>
            </a:p>
          </p:txBody>
        </p:sp>
        <p:sp>
          <p:nvSpPr>
            <p:cNvPr id="183" name="아래쪽 화살표 설명선 77"/>
            <p:cNvSpPr/>
            <p:nvPr/>
          </p:nvSpPr>
          <p:spPr>
            <a:xfrm>
              <a:off x="3866836" y="4926087"/>
              <a:ext cx="514889" cy="750584"/>
            </a:xfrm>
            <a:prstGeom prst="downArrowCallout">
              <a:avLst>
                <a:gd name="adj1" fmla="val 50000"/>
                <a:gd name="adj2" fmla="val 21401"/>
                <a:gd name="adj3" fmla="val 0"/>
                <a:gd name="adj4" fmla="val 64977"/>
              </a:avLst>
            </a:prstGeom>
            <a:solidFill>
              <a:sysClr val="window" lastClr="FFFFFF">
                <a:lumMod val="50000"/>
              </a:sysClr>
            </a:solidFill>
            <a:ln w="12700" algn="ctr">
              <a:solidFill>
                <a:sysClr val="window" lastClr="FFFFFF">
                  <a:lumMod val="75000"/>
                </a:sysClr>
              </a:solidFill>
              <a:round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패키지 기반</a:t>
              </a:r>
              <a:r>
                <a:rPr lang="en-US" altLang="ko-KR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 </a:t>
              </a: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방법론</a:t>
              </a:r>
            </a:p>
          </p:txBody>
        </p:sp>
        <p:sp>
          <p:nvSpPr>
            <p:cNvPr id="184" name="아래쪽 화살표 설명선 78"/>
            <p:cNvSpPr/>
            <p:nvPr/>
          </p:nvSpPr>
          <p:spPr>
            <a:xfrm>
              <a:off x="4424090" y="4926087"/>
              <a:ext cx="514889" cy="750584"/>
            </a:xfrm>
            <a:prstGeom prst="downArrowCallout">
              <a:avLst>
                <a:gd name="adj1" fmla="val 50000"/>
                <a:gd name="adj2" fmla="val 21401"/>
                <a:gd name="adj3" fmla="val 0"/>
                <a:gd name="adj4" fmla="val 64977"/>
              </a:avLst>
            </a:prstGeom>
            <a:solidFill>
              <a:sysClr val="window" lastClr="FFFFFF">
                <a:lumMod val="50000"/>
              </a:sysClr>
            </a:solidFill>
            <a:ln w="12700" algn="ctr">
              <a:solidFill>
                <a:sysClr val="window" lastClr="FFFFFF">
                  <a:lumMod val="75000"/>
                </a:sysClr>
              </a:solidFill>
              <a:round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BPR </a:t>
              </a:r>
              <a:r>
                <a:rPr lang="ko-KR" altLang="en-US" sz="900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방법론</a:t>
              </a:r>
            </a:p>
          </p:txBody>
        </p:sp>
        <p:sp>
          <p:nvSpPr>
            <p:cNvPr id="211" name="직사각형 203"/>
            <p:cNvSpPr/>
            <p:nvPr/>
          </p:nvSpPr>
          <p:spPr>
            <a:xfrm>
              <a:off x="549442" y="4653138"/>
              <a:ext cx="1169409" cy="151009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36000" tIns="36000" rIns="36000" bIns="36000" rtlCol="0" anchor="t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NH</a:t>
              </a: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농협카드 방법론</a:t>
              </a:r>
            </a:p>
          </p:txBody>
        </p:sp>
        <p:sp>
          <p:nvSpPr>
            <p:cNvPr id="212" name="모서리가 둥근 직사각형 205"/>
            <p:cNvSpPr/>
            <p:nvPr/>
          </p:nvSpPr>
          <p:spPr>
            <a:xfrm>
              <a:off x="687513" y="4941168"/>
              <a:ext cx="849483" cy="398311"/>
            </a:xfrm>
            <a:prstGeom prst="roundRect">
              <a:avLst/>
            </a:prstGeom>
            <a:solidFill>
              <a:sysClr val="window" lastClr="FFFFFF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36000" rIns="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개발 절차</a:t>
              </a:r>
            </a:p>
          </p:txBody>
        </p:sp>
        <p:sp>
          <p:nvSpPr>
            <p:cNvPr id="213" name="모서리가 둥근 직사각형 206"/>
            <p:cNvSpPr/>
            <p:nvPr/>
          </p:nvSpPr>
          <p:spPr>
            <a:xfrm>
              <a:off x="687513" y="5550969"/>
              <a:ext cx="849483" cy="398311"/>
            </a:xfrm>
            <a:prstGeom prst="roundRect">
              <a:avLst/>
            </a:prstGeom>
            <a:solidFill>
              <a:sysClr val="window" lastClr="FFFFFF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36000" rIns="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Templates</a:t>
              </a:r>
              <a:endParaRPr lang="ko-KR" altLang="en-US" sz="10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/>
              </a:endParaRPr>
            </a:p>
          </p:txBody>
        </p:sp>
        <p:sp>
          <p:nvSpPr>
            <p:cNvPr id="216" name="직사각형 208"/>
            <p:cNvSpPr/>
            <p:nvPr/>
          </p:nvSpPr>
          <p:spPr>
            <a:xfrm>
              <a:off x="5446870" y="4653137"/>
              <a:ext cx="1423024" cy="151009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36000" tIns="36000" rIns="36000" bIns="36000" rtlCol="0" anchor="t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수행 </a:t>
              </a:r>
              <a:r>
                <a:rPr lang="en-US" altLang="ko-KR" sz="10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Know-How</a:t>
              </a:r>
              <a:endParaRPr lang="ko-KR" altLang="en-US" sz="10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/>
              </a:endParaRPr>
            </a:p>
          </p:txBody>
        </p:sp>
        <p:sp>
          <p:nvSpPr>
            <p:cNvPr id="217" name="모서리가 둥근 직사각형 209"/>
            <p:cNvSpPr/>
            <p:nvPr/>
          </p:nvSpPr>
          <p:spPr>
            <a:xfrm>
              <a:off x="6230783" y="5613338"/>
              <a:ext cx="494333" cy="481956"/>
            </a:xfrm>
            <a:prstGeom prst="roundRect">
              <a:avLst/>
            </a:prstGeom>
            <a:solidFill>
              <a:sysClr val="window" lastClr="FFFFFF"/>
            </a:solidFill>
            <a:ln w="12700" algn="ctr">
              <a:solidFill>
                <a:srgbClr val="FFFFFF">
                  <a:lumMod val="50000"/>
                </a:srgbClr>
              </a:solidFill>
              <a:round/>
              <a:headEnd/>
              <a:tailEnd/>
            </a:ln>
          </p:spPr>
          <p:txBody>
            <a:bodyPr lIns="0" tIns="36000" rIns="0" bIns="36000" rtlCol="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기법</a:t>
              </a:r>
              <a:r>
                <a: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&amp;</a:t>
              </a:r>
              <a:r>
                <a:rPr lang="ko-KR" altLang="en-US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가이드</a:t>
              </a:r>
            </a:p>
          </p:txBody>
        </p:sp>
        <p:sp>
          <p:nvSpPr>
            <p:cNvPr id="218" name="원통 212"/>
            <p:cNvSpPr/>
            <p:nvPr/>
          </p:nvSpPr>
          <p:spPr>
            <a:xfrm>
              <a:off x="5682081" y="4941168"/>
              <a:ext cx="749460" cy="474280"/>
            </a:xfrm>
            <a:prstGeom prst="can">
              <a:avLst/>
            </a:prstGeom>
            <a:solidFill>
              <a:srgbClr val="9BBB59">
                <a:lumMod val="20000"/>
                <a:lumOff val="80000"/>
              </a:srgbClr>
            </a:solidFill>
            <a:ln w="6350" algn="ctr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11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Best Practices</a:t>
              </a:r>
            </a:p>
          </p:txBody>
        </p:sp>
        <p:grpSp>
          <p:nvGrpSpPr>
            <p:cNvPr id="219" name="그룹 213"/>
            <p:cNvGrpSpPr/>
            <p:nvPr/>
          </p:nvGrpSpPr>
          <p:grpSpPr>
            <a:xfrm>
              <a:off x="5550452" y="5589240"/>
              <a:ext cx="457425" cy="561802"/>
              <a:chOff x="2234931" y="3051631"/>
              <a:chExt cx="604724" cy="704730"/>
            </a:xfrm>
          </p:grpSpPr>
          <p:sp>
            <p:nvSpPr>
              <p:cNvPr id="220" name="순서도: 다중 문서 214"/>
              <p:cNvSpPr/>
              <p:nvPr/>
            </p:nvSpPr>
            <p:spPr bwMode="gray">
              <a:xfrm>
                <a:off x="2277156" y="3051631"/>
                <a:ext cx="509860" cy="411029"/>
              </a:xfrm>
              <a:prstGeom prst="flowChartMultidocument">
                <a:avLst/>
              </a:prstGeom>
              <a:solidFill>
                <a:srgbClr val="EEECE1"/>
              </a:solidFill>
              <a:ln w="9525" algn="ctr">
                <a:solidFill>
                  <a:srgbClr val="76B0CF">
                    <a:lumMod val="50000"/>
                  </a:srgb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anchor="ctr"/>
              <a:lstStyle/>
              <a:p>
                <a:pPr marL="180975" indent="-180975" algn="ctr" eaLnBrk="0" fontAlgn="auto" latinLnBrk="0" hangingPunct="0">
                  <a:spcBef>
                    <a:spcPts val="600"/>
                  </a:spcBef>
                  <a:spcAft>
                    <a:spcPts val="0"/>
                  </a:spcAft>
                  <a:buSzPct val="100000"/>
                  <a:buFont typeface="Wingdings" pitchFamily="2" charset="2"/>
                  <a:buChar char="§"/>
                  <a:defRPr/>
                </a:pPr>
                <a:endParaRPr lang="ko-KR" altLang="en-US" sz="105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221" name="직선 연결선 9"/>
              <p:cNvCxnSpPr>
                <a:cxnSpLocks noChangeShapeType="1"/>
              </p:cNvCxnSpPr>
              <p:nvPr/>
            </p:nvCxnSpPr>
            <p:spPr bwMode="auto">
              <a:xfrm>
                <a:off x="2323236" y="3201548"/>
                <a:ext cx="335943" cy="0"/>
              </a:xfrm>
              <a:prstGeom prst="line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22" name="직선 연결선 29"/>
              <p:cNvCxnSpPr>
                <a:cxnSpLocks noChangeShapeType="1"/>
              </p:cNvCxnSpPr>
              <p:nvPr/>
            </p:nvCxnSpPr>
            <p:spPr bwMode="auto">
              <a:xfrm>
                <a:off x="2323236" y="3234529"/>
                <a:ext cx="335943" cy="0"/>
              </a:xfrm>
              <a:prstGeom prst="line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23" name="직선 연결선 30"/>
              <p:cNvCxnSpPr>
                <a:cxnSpLocks noChangeShapeType="1"/>
              </p:cNvCxnSpPr>
              <p:nvPr/>
            </p:nvCxnSpPr>
            <p:spPr bwMode="auto">
              <a:xfrm>
                <a:off x="2323236" y="3277129"/>
                <a:ext cx="335943" cy="0"/>
              </a:xfrm>
              <a:prstGeom prst="line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24" name="직선 연결선 31"/>
              <p:cNvCxnSpPr>
                <a:cxnSpLocks noChangeShapeType="1"/>
              </p:cNvCxnSpPr>
              <p:nvPr/>
            </p:nvCxnSpPr>
            <p:spPr bwMode="auto">
              <a:xfrm>
                <a:off x="2323236" y="3319730"/>
                <a:ext cx="335943" cy="0"/>
              </a:xfrm>
              <a:prstGeom prst="line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25" name="직사각형 33"/>
              <p:cNvSpPr>
                <a:spLocks noChangeArrowheads="1"/>
              </p:cNvSpPr>
              <p:nvPr/>
            </p:nvSpPr>
            <p:spPr bwMode="auto">
              <a:xfrm>
                <a:off x="2234931" y="3472123"/>
                <a:ext cx="604724" cy="284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36000" rIns="36000" bIns="36000">
                <a:spAutoFit/>
              </a:bodyPr>
              <a:lstStyle/>
              <a:p>
                <a:pPr algn="ctr" eaLnBrk="0" fontAlgn="auto" latinLnBrk="0" hangingPunct="0">
                  <a:spcBef>
                    <a:spcPts val="0"/>
                  </a:spcBef>
                  <a:spcAft>
                    <a:spcPts val="0"/>
                  </a:spcAft>
                  <a:buSzPct val="100000"/>
                  <a:defRPr/>
                </a:pPr>
                <a:r>
                  <a:rPr lang="ko-KR" altLang="en-US" sz="1000" b="0" kern="0" smtClea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</a:rPr>
                  <a:t>산출</a:t>
                </a:r>
                <a:r>
                  <a:rPr lang="ko-KR" altLang="en-US" sz="1000" b="0" kern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</a:rPr>
                  <a:t>물</a:t>
                </a:r>
                <a:endParaRPr lang="en-US" altLang="ko-KR" sz="10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6" name="원통 220"/>
            <p:cNvSpPr/>
            <p:nvPr/>
          </p:nvSpPr>
          <p:spPr>
            <a:xfrm>
              <a:off x="5834481" y="5010798"/>
              <a:ext cx="749460" cy="474280"/>
            </a:xfrm>
            <a:prstGeom prst="can">
              <a:avLst/>
            </a:prstGeom>
            <a:solidFill>
              <a:srgbClr val="9BBB59">
                <a:lumMod val="20000"/>
                <a:lumOff val="80000"/>
              </a:srgbClr>
            </a:solidFill>
            <a:ln w="6350" algn="ctr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altLang="ko-KR" sz="110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Arial"/>
                </a:rPr>
                <a:t>Best Practices</a:t>
              </a:r>
            </a:p>
          </p:txBody>
        </p:sp>
        <p:sp>
          <p:nvSpPr>
            <p:cNvPr id="214" name="덧셈 기호 4"/>
            <p:cNvSpPr/>
            <p:nvPr/>
          </p:nvSpPr>
          <p:spPr>
            <a:xfrm>
              <a:off x="1487187" y="5184902"/>
              <a:ext cx="595107" cy="581582"/>
            </a:xfrm>
            <a:prstGeom prst="mathPlus">
              <a:avLst>
                <a:gd name="adj1" fmla="val 33347"/>
              </a:avLst>
            </a:prstGeom>
            <a:solidFill>
              <a:srgbClr val="004574">
                <a:lumMod val="75000"/>
              </a:srgbClr>
            </a:solidFill>
            <a:ln w="6350" algn="ctr">
              <a:solidFill>
                <a:srgbClr val="808080">
                  <a:lumMod val="65000"/>
                </a:srgbClr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marL="3175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1548480" y="5343432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latinLnBrk="0">
                <a:spcBef>
                  <a:spcPct val="20000"/>
                </a:spcBef>
                <a:spcAft>
                  <a:spcPts val="0"/>
                </a:spcAft>
                <a:buSzPct val="100000"/>
              </a:pPr>
              <a:r>
                <a:rPr lang="ko-KR" altLang="en-US" sz="1100" i="1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융</a:t>
              </a:r>
              <a:r>
                <a:rPr lang="ko-KR" altLang="en-US" sz="1100" i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합</a:t>
              </a:r>
              <a:endParaRPr lang="ko-KR" altLang="en-US" sz="1100" i="1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27" name="TextBox 226"/>
          <p:cNvSpPr txBox="1"/>
          <p:nvPr/>
        </p:nvSpPr>
        <p:spPr bwMode="gray">
          <a:xfrm>
            <a:off x="7363969" y="2420888"/>
            <a:ext cx="2134270" cy="3598332"/>
          </a:xfrm>
          <a:prstGeom prst="rect">
            <a:avLst/>
          </a:prstGeom>
          <a:noFill/>
        </p:spPr>
        <p:txBody>
          <a:bodyPr wrap="square" lIns="180000" rIns="0" rtlCol="0">
            <a:noAutofit/>
          </a:bodyPr>
          <a:lstStyle/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검증된 차세대 사례 및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Know-How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반영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아키텍트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 중심의 선도개발을 통한 개발 방법론 검증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방법론 전문가 참여를 통한 개선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TFT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구성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개발 공정과 연계된 자동화 도구 활용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altLang="ko-KR" sz="1200" kern="0" dirty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  <a:p>
            <a:pPr marL="171450" indent="-171450" fontAlgn="auto" latinLnBrk="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Arial" pitchFamily="34" charset="0"/>
              </a:rPr>
              <a:t>차세대 개발 일정에 따른 적시 제공 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28" name="오각형 227"/>
          <p:cNvSpPr/>
          <p:nvPr/>
        </p:nvSpPr>
        <p:spPr bwMode="gray">
          <a:xfrm flipH="1">
            <a:off x="7186613" y="2024063"/>
            <a:ext cx="2335371" cy="4284661"/>
          </a:xfrm>
          <a:prstGeom prst="homePlate">
            <a:avLst>
              <a:gd name="adj" fmla="val 6671"/>
            </a:avLst>
          </a:prstGeom>
          <a:noFill/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</a:pPr>
            <a:endParaRPr lang="ko-KR" altLang="en-US" dirty="0" smtClean="0">
              <a:solidFill>
                <a:srgbClr val="333333"/>
              </a:solidFill>
              <a:latin typeface="맑은 고딕"/>
              <a:ea typeface="가는각진제목체" pitchFamily="18" charset="-127"/>
              <a:cs typeface="Arial"/>
            </a:endParaRPr>
          </a:p>
        </p:txBody>
      </p:sp>
      <p:sp>
        <p:nvSpPr>
          <p:cNvPr id="230" name="AutoShape 445"/>
          <p:cNvSpPr>
            <a:spLocks noChangeArrowheads="1"/>
          </p:cNvSpPr>
          <p:nvPr/>
        </p:nvSpPr>
        <p:spPr bwMode="gray">
          <a:xfrm>
            <a:off x="404369" y="2085851"/>
            <a:ext cx="728061" cy="108585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endParaRPr lang="ko-KR" altLang="en-US" sz="12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95" name="Rectangle 255"/>
          <p:cNvSpPr>
            <a:spLocks noChangeArrowheads="1"/>
          </p:cNvSpPr>
          <p:nvPr/>
        </p:nvSpPr>
        <p:spPr bwMode="gray">
          <a:xfrm flipH="1">
            <a:off x="425741" y="2332701"/>
            <a:ext cx="682468" cy="5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latin typeface="맑은 고딕" pitchFamily="50" charset="-127"/>
                <a:ea typeface="맑은 고딕" pitchFamily="50" charset="-127"/>
              </a:rPr>
              <a:t>방법론 정비 고려사항</a:t>
            </a:r>
          </a:p>
        </p:txBody>
      </p:sp>
      <p:grpSp>
        <p:nvGrpSpPr>
          <p:cNvPr id="82" name="그룹 8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9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1" name="그룹 9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003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 아키텍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 방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개요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/>
              <a:t>타 카드사는 승인시스템의 처리성능 확보</a:t>
            </a:r>
            <a:r>
              <a:rPr lang="en-US" altLang="ko-KR" dirty="0"/>
              <a:t>, </a:t>
            </a:r>
            <a:r>
              <a:rPr lang="ko-KR" altLang="en-US" dirty="0"/>
              <a:t>비즈니스 적용 유연성에 초점을 두고 승인과 카드시스템을 분리하여 운영 중이므로</a:t>
            </a:r>
            <a:r>
              <a:rPr lang="en-US" altLang="ko-KR" dirty="0"/>
              <a:t>, NH</a:t>
            </a:r>
            <a:r>
              <a:rPr lang="ko-KR" altLang="en-US" dirty="0"/>
              <a:t>농협카드의 경우에 장단점을 검토하겠음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5533175" y="2132856"/>
            <a:ext cx="4065351" cy="3571239"/>
            <a:chOff x="5925826" y="2246083"/>
            <a:chExt cx="3706900" cy="3828851"/>
          </a:xfrm>
        </p:grpSpPr>
        <p:sp>
          <p:nvSpPr>
            <p:cNvPr id="88" name="TextBox 87"/>
            <p:cNvSpPr txBox="1"/>
            <p:nvPr>
              <p:custDataLst>
                <p:tags r:id="rId1"/>
              </p:custDataLst>
            </p:nvPr>
          </p:nvSpPr>
          <p:spPr>
            <a:xfrm>
              <a:off x="5925826" y="2246089"/>
              <a:ext cx="1123200" cy="166955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 smtClean="0"/>
                <a:t>카드</a:t>
              </a:r>
              <a:r>
                <a:rPr lang="en-US" altLang="ko-KR" sz="1200" dirty="0" smtClean="0"/>
                <a:t>/ </a:t>
              </a:r>
              <a:r>
                <a:rPr lang="ko-KR" altLang="en-US" sz="1200" dirty="0" smtClean="0"/>
                <a:t>승인시스템</a:t>
              </a:r>
              <a:r>
                <a:rPr lang="en-US" altLang="ko-KR" sz="1200" dirty="0" smtClean="0"/>
                <a:t/>
              </a:r>
              <a:br>
                <a:rPr lang="en-US" altLang="ko-KR" sz="1200" dirty="0" smtClean="0"/>
              </a:br>
              <a:r>
                <a:rPr lang="ko-KR" altLang="en-US" sz="1200" dirty="0" smtClean="0"/>
                <a:t>분리 </a:t>
              </a:r>
              <a:r>
                <a:rPr lang="ko-KR" altLang="en-US" sz="1200" dirty="0"/>
                <a:t>여부 결정 </a:t>
              </a:r>
            </a:p>
          </p:txBody>
        </p:sp>
        <p:sp>
          <p:nvSpPr>
            <p:cNvPr id="89" name="Rectangle 89"/>
            <p:cNvSpPr/>
            <p:nvPr>
              <p:custDataLst>
                <p:tags r:id="rId2"/>
              </p:custDataLst>
            </p:nvPr>
          </p:nvSpPr>
          <p:spPr>
            <a:xfrm>
              <a:off x="7118628" y="2246083"/>
              <a:ext cx="2514098" cy="16695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0" rIns="36000" bIns="0" rtlCol="0" anchor="ctr">
              <a:noAutofit/>
            </a:bodyPr>
            <a:lstStyle/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승인시스템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거래처리의 성능과 업무 연속성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장애 처리 신속성 등을 고려한 분리 여부 결정</a:t>
              </a: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타사의 구성 사례 및 장단점 비교</a:t>
              </a: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농협카드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프로세싱 업무의 특수성을 고려한 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승인시스템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아키텍처 정의</a:t>
              </a:r>
            </a:p>
          </p:txBody>
        </p:sp>
        <p:sp>
          <p:nvSpPr>
            <p:cNvPr id="90" name="Rectangle 89"/>
            <p:cNvSpPr/>
            <p:nvPr>
              <p:custDataLst>
                <p:tags r:id="rId3"/>
              </p:custDataLst>
            </p:nvPr>
          </p:nvSpPr>
          <p:spPr>
            <a:xfrm>
              <a:off x="7118628" y="4263689"/>
              <a:ext cx="2360919" cy="1811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266700" lvl="1" indent="-177800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ko-KR" altLang="en-US" sz="1200" b="0" kern="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4"/>
              </p:custDataLst>
            </p:nvPr>
          </p:nvSpPr>
          <p:spPr>
            <a:xfrm>
              <a:off x="5925826" y="3992768"/>
              <a:ext cx="1123200" cy="206180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카드</a:t>
              </a:r>
              <a:r>
                <a:rPr lang="en-US" altLang="ko-KR" sz="1200" dirty="0"/>
                <a:t>/ </a:t>
              </a:r>
              <a:r>
                <a:rPr lang="ko-KR" altLang="en-US" sz="1200" dirty="0"/>
                <a:t>승인시스템 아키텍처 정의</a:t>
              </a:r>
            </a:p>
          </p:txBody>
        </p:sp>
        <p:sp>
          <p:nvSpPr>
            <p:cNvPr id="92" name="Rectangle 89"/>
            <p:cNvSpPr/>
            <p:nvPr>
              <p:custDataLst>
                <p:tags r:id="rId5"/>
              </p:custDataLst>
            </p:nvPr>
          </p:nvSpPr>
          <p:spPr>
            <a:xfrm>
              <a:off x="7106974" y="3992768"/>
              <a:ext cx="2517010" cy="2061809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wrap="square" lIns="36000" tIns="36000" rIns="36000" bIns="36000" rtlCol="0" anchor="t">
              <a:noAutofit/>
            </a:bodyPr>
            <a:lstStyle/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92075" algn="l"/>
                </a:tabLst>
                <a:defRPr/>
              </a:pP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승인처리 안정성과 호환성을 고려한 승인 인프라 </a:t>
              </a:r>
              <a:r>
                <a:rPr lang="en-US" altLang="ko-KR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(Unix/Tandem) 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의사결정</a:t>
              </a: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92075" algn="l"/>
                </a:tabLst>
                <a:defRPr/>
              </a:pP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업무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특성을 고려한 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Language Set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결정 </a:t>
              </a:r>
              <a:r>
                <a:rPr lang="en-US" altLang="ko-KR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(C/JAVA)</a:t>
              </a: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92075" algn="l"/>
                </a:tabLst>
                <a:defRPr/>
              </a:pP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실시간 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정보</a:t>
              </a:r>
              <a:r>
                <a:rPr lang="en-US" altLang="ko-KR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데이터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연계 </a:t>
              </a: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정의</a:t>
              </a:r>
              <a:endParaRPr lang="ko-KR" altLang="en-US" sz="1100" b="0" kern="0" dirty="0">
                <a:solidFill>
                  <a:prstClr val="black"/>
                </a:solidFill>
                <a:latin typeface="맑은 고딕"/>
                <a:ea typeface="맑은 고딕"/>
              </a:endParaRP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92075" algn="l"/>
                </a:tabLst>
                <a:defRPr/>
              </a:pP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승인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장애 감지 및 최단시간 복구 인프라 구축</a:t>
              </a:r>
            </a:p>
            <a:p>
              <a:pPr marL="185738" lvl="1" indent="-96838" defTabSz="957263" fontAlgn="auto" latinLnBrk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3333"/>
                </a:buClr>
                <a:buSzPct val="100000"/>
                <a:buFont typeface="Wingdings" panose="05000000000000000000" pitchFamily="2" charset="2"/>
                <a:buChar char="§"/>
                <a:tabLst>
                  <a:tab pos="92075" algn="l"/>
                </a:tabLst>
                <a:defRPr/>
              </a:pPr>
              <a:r>
                <a:rPr lang="ko-KR" altLang="en-US" sz="1100" b="0" kern="0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승인업무 </a:t>
              </a:r>
              <a:r>
                <a:rPr lang="ko-KR" altLang="en-US" sz="1100" b="0" kern="0" dirty="0">
                  <a:solidFill>
                    <a:prstClr val="black"/>
                  </a:solidFill>
                  <a:latin typeface="맑은 고딕"/>
                  <a:ea typeface="맑은 고딕"/>
                </a:rPr>
                <a:t>장애시 대행 승인 우회 아키텍처 정의</a:t>
              </a:r>
            </a:p>
          </p:txBody>
        </p:sp>
      </p:grpSp>
      <p:sp>
        <p:nvSpPr>
          <p:cNvPr id="16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79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8965" y="2132856"/>
            <a:ext cx="4968690" cy="4045749"/>
            <a:chOff x="418965" y="2103654"/>
            <a:chExt cx="4968690" cy="3588383"/>
          </a:xfrm>
        </p:grpSpPr>
        <p:sp>
          <p:nvSpPr>
            <p:cNvPr id="93" name="Rounded Rectangle 92"/>
            <p:cNvSpPr/>
            <p:nvPr/>
          </p:nvSpPr>
          <p:spPr>
            <a:xfrm>
              <a:off x="418966" y="2103654"/>
              <a:ext cx="1369398" cy="225179"/>
            </a:xfrm>
            <a:prstGeom prst="roundRect">
              <a:avLst>
                <a:gd name="adj" fmla="val 0"/>
              </a:avLst>
            </a:prstGeom>
            <a:solidFill>
              <a:srgbClr val="333333">
                <a:lumMod val="20000"/>
                <a:lumOff val="80000"/>
              </a:srgbClr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카드사</a:t>
              </a:r>
            </a:p>
          </p:txBody>
        </p:sp>
        <p:sp>
          <p:nvSpPr>
            <p:cNvPr id="94" name="Rounded Rectangle 93"/>
            <p:cNvSpPr/>
            <p:nvPr/>
          </p:nvSpPr>
          <p:spPr>
            <a:xfrm>
              <a:off x="1912986" y="2103654"/>
              <a:ext cx="1601625" cy="225179"/>
            </a:xfrm>
            <a:prstGeom prst="roundRect">
              <a:avLst>
                <a:gd name="adj" fmla="val 0"/>
              </a:avLst>
            </a:prstGeom>
            <a:solidFill>
              <a:srgbClr val="333333">
                <a:lumMod val="20000"/>
                <a:lumOff val="80000"/>
              </a:srgbClr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분리여부</a:t>
              </a:r>
            </a:p>
          </p:txBody>
        </p:sp>
        <p:sp>
          <p:nvSpPr>
            <p:cNvPr id="95" name="Rounded Rectangle 94"/>
            <p:cNvSpPr/>
            <p:nvPr/>
          </p:nvSpPr>
          <p:spPr>
            <a:xfrm>
              <a:off x="3586747" y="2103654"/>
              <a:ext cx="852375" cy="225179"/>
            </a:xfrm>
            <a:prstGeom prst="roundRect">
              <a:avLst>
                <a:gd name="adj" fmla="val 0"/>
              </a:avLst>
            </a:prstGeom>
            <a:solidFill>
              <a:srgbClr val="333333">
                <a:lumMod val="20000"/>
                <a:lumOff val="80000"/>
              </a:srgbClr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서버기종</a:t>
              </a:r>
            </a:p>
          </p:txBody>
        </p:sp>
        <p:sp>
          <p:nvSpPr>
            <p:cNvPr id="96" name="Rounded Rectangle 95"/>
            <p:cNvSpPr/>
            <p:nvPr/>
          </p:nvSpPr>
          <p:spPr>
            <a:xfrm>
              <a:off x="4535280" y="2103654"/>
              <a:ext cx="852375" cy="225179"/>
            </a:xfrm>
            <a:prstGeom prst="roundRect">
              <a:avLst>
                <a:gd name="adj" fmla="val 0"/>
              </a:avLst>
            </a:prstGeom>
            <a:solidFill>
              <a:srgbClr val="333333">
                <a:lumMod val="20000"/>
                <a:lumOff val="80000"/>
              </a:srgbClr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사용언어</a:t>
              </a:r>
            </a:p>
          </p:txBody>
        </p:sp>
        <p:sp>
          <p:nvSpPr>
            <p:cNvPr id="98" name="AutoShape 16"/>
            <p:cNvSpPr>
              <a:spLocks noChangeArrowheads="1"/>
            </p:cNvSpPr>
            <p:nvPr/>
          </p:nvSpPr>
          <p:spPr bwMode="auto">
            <a:xfrm>
              <a:off x="418965" y="2922535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99" name="AutoShape 16"/>
            <p:cNvSpPr>
              <a:spLocks noChangeArrowheads="1"/>
            </p:cNvSpPr>
            <p:nvPr/>
          </p:nvSpPr>
          <p:spPr bwMode="auto">
            <a:xfrm>
              <a:off x="418965" y="3390570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00" name="AutoShape 16"/>
            <p:cNvSpPr>
              <a:spLocks noChangeArrowheads="1"/>
            </p:cNvSpPr>
            <p:nvPr/>
          </p:nvSpPr>
          <p:spPr bwMode="auto">
            <a:xfrm>
              <a:off x="418965" y="3855338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01" name="AutoShape 16"/>
            <p:cNvSpPr>
              <a:spLocks noChangeArrowheads="1"/>
            </p:cNvSpPr>
            <p:nvPr/>
          </p:nvSpPr>
          <p:spPr bwMode="auto">
            <a:xfrm>
              <a:off x="418965" y="4326743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02" name="직사각형 15"/>
            <p:cNvSpPr/>
            <p:nvPr/>
          </p:nvSpPr>
          <p:spPr>
            <a:xfrm>
              <a:off x="2686951" y="2922535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3" name="직사각형 15"/>
            <p:cNvSpPr/>
            <p:nvPr/>
          </p:nvSpPr>
          <p:spPr>
            <a:xfrm>
              <a:off x="2686951" y="3150582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</a:t>
              </a: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</a:t>
              </a:r>
              <a:endParaRPr kumimoji="0" lang="en-US" altLang="ko-KR" sz="12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4" name="직사각형 15"/>
            <p:cNvSpPr/>
            <p:nvPr/>
          </p:nvSpPr>
          <p:spPr>
            <a:xfrm>
              <a:off x="2686951" y="3390570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5" name="직사각형 15"/>
            <p:cNvSpPr/>
            <p:nvPr/>
          </p:nvSpPr>
          <p:spPr>
            <a:xfrm>
              <a:off x="2686951" y="3618617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6" name="직사각형 15"/>
            <p:cNvSpPr/>
            <p:nvPr/>
          </p:nvSpPr>
          <p:spPr>
            <a:xfrm>
              <a:off x="2686951" y="3855338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7" name="직사각형 15"/>
            <p:cNvSpPr/>
            <p:nvPr/>
          </p:nvSpPr>
          <p:spPr>
            <a:xfrm>
              <a:off x="2686951" y="4083385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8" name="직사각형 15"/>
            <p:cNvSpPr/>
            <p:nvPr/>
          </p:nvSpPr>
          <p:spPr>
            <a:xfrm>
              <a:off x="2686951" y="4326743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09" name="직사각형 15"/>
            <p:cNvSpPr/>
            <p:nvPr/>
          </p:nvSpPr>
          <p:spPr>
            <a:xfrm>
              <a:off x="2686951" y="4554791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0" name="직사각형 15"/>
            <p:cNvSpPr/>
            <p:nvPr/>
          </p:nvSpPr>
          <p:spPr>
            <a:xfrm>
              <a:off x="1912125" y="2922535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1" name="직사각형 15"/>
            <p:cNvSpPr/>
            <p:nvPr/>
          </p:nvSpPr>
          <p:spPr>
            <a:xfrm>
              <a:off x="1912125" y="3390570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2" name="직사각형 15"/>
            <p:cNvSpPr/>
            <p:nvPr/>
          </p:nvSpPr>
          <p:spPr>
            <a:xfrm>
              <a:off x="1912125" y="3855338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3" name="직사각형 15"/>
            <p:cNvSpPr/>
            <p:nvPr/>
          </p:nvSpPr>
          <p:spPr>
            <a:xfrm>
              <a:off x="1912125" y="4326743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4" name="AutoShape 16"/>
            <p:cNvSpPr>
              <a:spLocks noChangeArrowheads="1"/>
            </p:cNvSpPr>
            <p:nvPr/>
          </p:nvSpPr>
          <p:spPr bwMode="auto">
            <a:xfrm>
              <a:off x="418965" y="4802507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15" name="AutoShape 16"/>
            <p:cNvSpPr>
              <a:spLocks noChangeArrowheads="1"/>
            </p:cNvSpPr>
            <p:nvPr/>
          </p:nvSpPr>
          <p:spPr bwMode="auto">
            <a:xfrm>
              <a:off x="418965" y="5273912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16" name="직사각형 15"/>
            <p:cNvSpPr/>
            <p:nvPr/>
          </p:nvSpPr>
          <p:spPr>
            <a:xfrm>
              <a:off x="2686951" y="4802508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7" name="직사각형 15"/>
            <p:cNvSpPr/>
            <p:nvPr/>
          </p:nvSpPr>
          <p:spPr>
            <a:xfrm>
              <a:off x="2686951" y="5030555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8" name="직사각형 15"/>
            <p:cNvSpPr/>
            <p:nvPr/>
          </p:nvSpPr>
          <p:spPr>
            <a:xfrm>
              <a:off x="2686951" y="5273912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19" name="직사각형 15"/>
            <p:cNvSpPr/>
            <p:nvPr/>
          </p:nvSpPr>
          <p:spPr>
            <a:xfrm>
              <a:off x="2686951" y="5501959"/>
              <a:ext cx="827660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20" name="직사각형 15"/>
            <p:cNvSpPr/>
            <p:nvPr/>
          </p:nvSpPr>
          <p:spPr>
            <a:xfrm>
              <a:off x="1912125" y="4802508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21" name="직사각형 15"/>
            <p:cNvSpPr/>
            <p:nvPr/>
          </p:nvSpPr>
          <p:spPr>
            <a:xfrm>
              <a:off x="1912125" y="5273912"/>
              <a:ext cx="684654" cy="4181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분리</a:t>
              </a:r>
              <a:endParaRPr kumimoji="0" lang="en-US" altLang="ko-KR" sz="14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22" name="직사각형 15"/>
            <p:cNvSpPr/>
            <p:nvPr/>
          </p:nvSpPr>
          <p:spPr>
            <a:xfrm>
              <a:off x="3586747" y="292253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23" name="직사각형 15"/>
            <p:cNvSpPr/>
            <p:nvPr/>
          </p:nvSpPr>
          <p:spPr>
            <a:xfrm>
              <a:off x="3586747" y="3150582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24" name="직사각형 15"/>
            <p:cNvSpPr/>
            <p:nvPr/>
          </p:nvSpPr>
          <p:spPr>
            <a:xfrm>
              <a:off x="3586747" y="3390570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25" name="직사각형 15"/>
            <p:cNvSpPr/>
            <p:nvPr/>
          </p:nvSpPr>
          <p:spPr>
            <a:xfrm>
              <a:off x="3586747" y="3618617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26" name="직사각형 15"/>
            <p:cNvSpPr/>
            <p:nvPr/>
          </p:nvSpPr>
          <p:spPr>
            <a:xfrm>
              <a:off x="3586747" y="3855338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ndem</a:t>
              </a:r>
            </a:p>
          </p:txBody>
        </p:sp>
        <p:sp>
          <p:nvSpPr>
            <p:cNvPr id="127" name="직사각형 15"/>
            <p:cNvSpPr/>
            <p:nvPr/>
          </p:nvSpPr>
          <p:spPr>
            <a:xfrm>
              <a:off x="3586747" y="408338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28" name="직사각형 15"/>
            <p:cNvSpPr/>
            <p:nvPr/>
          </p:nvSpPr>
          <p:spPr>
            <a:xfrm>
              <a:off x="3586747" y="4326743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ndem</a:t>
              </a:r>
            </a:p>
          </p:txBody>
        </p:sp>
        <p:sp>
          <p:nvSpPr>
            <p:cNvPr id="129" name="직사각형 15"/>
            <p:cNvSpPr/>
            <p:nvPr/>
          </p:nvSpPr>
          <p:spPr>
            <a:xfrm>
              <a:off x="3586747" y="4554791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30" name="직사각형 15"/>
            <p:cNvSpPr/>
            <p:nvPr/>
          </p:nvSpPr>
          <p:spPr>
            <a:xfrm>
              <a:off x="4520265" y="292253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</a:t>
              </a:r>
            </a:p>
          </p:txBody>
        </p:sp>
        <p:sp>
          <p:nvSpPr>
            <p:cNvPr id="131" name="직사각형 15"/>
            <p:cNvSpPr/>
            <p:nvPr/>
          </p:nvSpPr>
          <p:spPr>
            <a:xfrm>
              <a:off x="4520265" y="3150582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</a:t>
              </a:r>
            </a:p>
          </p:txBody>
        </p:sp>
        <p:sp>
          <p:nvSpPr>
            <p:cNvPr id="132" name="직사각형 15"/>
            <p:cNvSpPr/>
            <p:nvPr/>
          </p:nvSpPr>
          <p:spPr>
            <a:xfrm>
              <a:off x="4520265" y="3390570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</a:t>
              </a:r>
            </a:p>
          </p:txBody>
        </p:sp>
        <p:sp>
          <p:nvSpPr>
            <p:cNvPr id="133" name="직사각형 15"/>
            <p:cNvSpPr/>
            <p:nvPr/>
          </p:nvSpPr>
          <p:spPr>
            <a:xfrm>
              <a:off x="4520265" y="3618617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</a:t>
              </a:r>
            </a:p>
          </p:txBody>
        </p:sp>
        <p:sp>
          <p:nvSpPr>
            <p:cNvPr id="134" name="직사각형 15"/>
            <p:cNvSpPr/>
            <p:nvPr/>
          </p:nvSpPr>
          <p:spPr>
            <a:xfrm>
              <a:off x="4520265" y="3855338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L/C</a:t>
              </a:r>
            </a:p>
          </p:txBody>
        </p:sp>
        <p:sp>
          <p:nvSpPr>
            <p:cNvPr id="135" name="직사각형 15"/>
            <p:cNvSpPr/>
            <p:nvPr/>
          </p:nvSpPr>
          <p:spPr>
            <a:xfrm>
              <a:off x="4520265" y="408338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</a:t>
              </a:r>
            </a:p>
          </p:txBody>
        </p:sp>
        <p:sp>
          <p:nvSpPr>
            <p:cNvPr id="136" name="직사각형 15"/>
            <p:cNvSpPr/>
            <p:nvPr/>
          </p:nvSpPr>
          <p:spPr>
            <a:xfrm>
              <a:off x="4520265" y="4326743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</a:t>
              </a:r>
            </a:p>
          </p:txBody>
        </p:sp>
        <p:sp>
          <p:nvSpPr>
            <p:cNvPr id="137" name="직사각형 15"/>
            <p:cNvSpPr/>
            <p:nvPr/>
          </p:nvSpPr>
          <p:spPr>
            <a:xfrm>
              <a:off x="4520265" y="4554791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</a:t>
              </a:r>
            </a:p>
          </p:txBody>
        </p:sp>
        <p:sp>
          <p:nvSpPr>
            <p:cNvPr id="138" name="직사각형 15"/>
            <p:cNvSpPr/>
            <p:nvPr/>
          </p:nvSpPr>
          <p:spPr>
            <a:xfrm>
              <a:off x="3586747" y="4802508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ndem</a:t>
              </a:r>
            </a:p>
          </p:txBody>
        </p:sp>
        <p:sp>
          <p:nvSpPr>
            <p:cNvPr id="139" name="직사각형 15"/>
            <p:cNvSpPr/>
            <p:nvPr/>
          </p:nvSpPr>
          <p:spPr>
            <a:xfrm>
              <a:off x="3586747" y="503055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M/F</a:t>
              </a:r>
            </a:p>
          </p:txBody>
        </p:sp>
        <p:sp>
          <p:nvSpPr>
            <p:cNvPr id="140" name="직사각형 15"/>
            <p:cNvSpPr/>
            <p:nvPr/>
          </p:nvSpPr>
          <p:spPr>
            <a:xfrm>
              <a:off x="3586747" y="5273912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ndem</a:t>
              </a:r>
            </a:p>
          </p:txBody>
        </p:sp>
        <p:sp>
          <p:nvSpPr>
            <p:cNvPr id="141" name="직사각형 15"/>
            <p:cNvSpPr/>
            <p:nvPr/>
          </p:nvSpPr>
          <p:spPr>
            <a:xfrm>
              <a:off x="3586747" y="5501959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42" name="직사각형 15"/>
            <p:cNvSpPr/>
            <p:nvPr/>
          </p:nvSpPr>
          <p:spPr>
            <a:xfrm>
              <a:off x="4520265" y="4802508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L/C</a:t>
              </a:r>
            </a:p>
          </p:txBody>
        </p:sp>
        <p:sp>
          <p:nvSpPr>
            <p:cNvPr id="143" name="직사각형 15"/>
            <p:cNvSpPr/>
            <p:nvPr/>
          </p:nvSpPr>
          <p:spPr>
            <a:xfrm>
              <a:off x="4520265" y="5030555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OBOL</a:t>
              </a:r>
            </a:p>
          </p:txBody>
        </p:sp>
        <p:sp>
          <p:nvSpPr>
            <p:cNvPr id="144" name="직사각형 15"/>
            <p:cNvSpPr/>
            <p:nvPr/>
          </p:nvSpPr>
          <p:spPr>
            <a:xfrm>
              <a:off x="4520265" y="5273912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TAL/C</a:t>
              </a:r>
            </a:p>
          </p:txBody>
        </p:sp>
        <p:sp>
          <p:nvSpPr>
            <p:cNvPr id="145" name="직사각형 15"/>
            <p:cNvSpPr/>
            <p:nvPr/>
          </p:nvSpPr>
          <p:spPr>
            <a:xfrm>
              <a:off x="4520265" y="5501959"/>
              <a:ext cx="852375" cy="190078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</a:t>
              </a:r>
            </a:p>
          </p:txBody>
        </p:sp>
        <p:sp>
          <p:nvSpPr>
            <p:cNvPr id="146" name="AutoShape 16"/>
            <p:cNvSpPr>
              <a:spLocks noChangeArrowheads="1"/>
            </p:cNvSpPr>
            <p:nvPr/>
          </p:nvSpPr>
          <p:spPr bwMode="auto">
            <a:xfrm>
              <a:off x="418965" y="2379577"/>
              <a:ext cx="1369399" cy="41812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>
              <a:solidFill>
                <a:srgbClr val="F0F0F0">
                  <a:lumMod val="50000"/>
                </a:srgbClr>
              </a:solidFill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47" name="직사각형 15"/>
            <p:cNvSpPr/>
            <p:nvPr/>
          </p:nvSpPr>
          <p:spPr>
            <a:xfrm>
              <a:off x="2686951" y="2379577"/>
              <a:ext cx="827660" cy="418124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</a:t>
              </a: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/</a:t>
              </a:r>
            </a:p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계정계</a:t>
              </a:r>
              <a:endParaRPr kumimoji="0" lang="en-US" altLang="ko-KR" sz="1200" b="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48" name="직사각형 15"/>
            <p:cNvSpPr/>
            <p:nvPr/>
          </p:nvSpPr>
          <p:spPr>
            <a:xfrm>
              <a:off x="1912125" y="2379577"/>
              <a:ext cx="684654" cy="418125"/>
            </a:xfrm>
            <a:prstGeom prst="rect">
              <a:avLst/>
            </a:prstGeom>
            <a:solidFill>
              <a:srgbClr val="1B3A87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-5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통합</a:t>
              </a:r>
              <a:endParaRPr kumimoji="0" lang="en-US" altLang="ko-KR" sz="1400" i="0" u="none" strike="noStrike" kern="0" cap="none" spc="-5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49" name="직사각형 15"/>
            <p:cNvSpPr/>
            <p:nvPr/>
          </p:nvSpPr>
          <p:spPr>
            <a:xfrm>
              <a:off x="3586747" y="2379577"/>
              <a:ext cx="852375" cy="418125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Unix</a:t>
              </a:r>
            </a:p>
          </p:txBody>
        </p:sp>
        <p:sp>
          <p:nvSpPr>
            <p:cNvPr id="150" name="직사각형 15"/>
            <p:cNvSpPr/>
            <p:nvPr/>
          </p:nvSpPr>
          <p:spPr>
            <a:xfrm>
              <a:off x="4520265" y="2379577"/>
              <a:ext cx="852375" cy="418125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rgbClr val="F0F0F0">
                  <a:lumMod val="50000"/>
                </a:srgb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</a:t>
              </a:r>
            </a:p>
          </p:txBody>
        </p:sp>
        <p:cxnSp>
          <p:nvCxnSpPr>
            <p:cNvPr id="151" name="Straight Connector 74"/>
            <p:cNvCxnSpPr/>
            <p:nvPr/>
          </p:nvCxnSpPr>
          <p:spPr bwMode="auto">
            <a:xfrm>
              <a:off x="475212" y="2861197"/>
              <a:ext cx="491244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miter lim="800000"/>
              <a:headEnd type="none" w="med" len="med"/>
              <a:tailEnd type="none"/>
            </a:ln>
            <a:effectLst/>
          </p:spPr>
        </p:cxnSp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398" y="3029141"/>
              <a:ext cx="988654" cy="204912"/>
            </a:xfrm>
            <a:prstGeom prst="rect">
              <a:avLst/>
            </a:prstGeom>
          </p:spPr>
        </p:pic>
        <p:pic>
          <p:nvPicPr>
            <p:cNvPr id="154" name="Picture 1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995" y="5353711"/>
              <a:ext cx="1014254" cy="266016"/>
            </a:xfrm>
            <a:prstGeom prst="rect">
              <a:avLst/>
            </a:prstGeom>
          </p:spPr>
        </p:pic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85" y="4897547"/>
              <a:ext cx="1106868" cy="223504"/>
            </a:xfrm>
            <a:prstGeom prst="rect">
              <a:avLst/>
            </a:prstGeom>
          </p:spPr>
        </p:pic>
        <p:pic>
          <p:nvPicPr>
            <p:cNvPr id="156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987" y="3451119"/>
              <a:ext cx="1133475" cy="29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7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596" y="3981408"/>
              <a:ext cx="1116255" cy="190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1" name="Picture 10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24" y="4424122"/>
              <a:ext cx="1170000" cy="25071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" name="Picture 2" descr="https://pbs.twimg.com/profile_images/499720463698755585/YTqR6o2x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833" y="2490371"/>
              <a:ext cx="1109199" cy="1711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7" name="그룹 9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62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6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7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7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7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7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7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7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76" name="그룹 17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7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164" name="오각형 74"/>
          <p:cNvSpPr/>
          <p:nvPr/>
        </p:nvSpPr>
        <p:spPr bwMode="auto">
          <a:xfrm>
            <a:off x="5533175" y="1620301"/>
            <a:ext cx="4065351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165" name="그룹 164"/>
          <p:cNvGrpSpPr/>
          <p:nvPr/>
        </p:nvGrpSpPr>
        <p:grpSpPr>
          <a:xfrm>
            <a:off x="273050" y="1620301"/>
            <a:ext cx="5114605" cy="352800"/>
            <a:chOff x="1397655" y="1982397"/>
            <a:chExt cx="4014787" cy="365811"/>
          </a:xfrm>
        </p:grpSpPr>
        <p:sp>
          <p:nvSpPr>
            <p:cNvPr id="166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dirty="0">
                  <a:latin typeface="맑은 고딕"/>
                  <a:ea typeface="맑은 고딕"/>
                </a:rPr>
                <a:t>카드사별 카드</a:t>
              </a:r>
              <a:r>
                <a:rPr kumimoji="0" lang="en-US" altLang="ko-KR" sz="1300" kern="0" dirty="0">
                  <a:latin typeface="맑은 고딕"/>
                  <a:ea typeface="맑은 고딕"/>
                </a:rPr>
                <a:t>/</a:t>
              </a:r>
              <a:r>
                <a:rPr kumimoji="0" lang="ko-KR" altLang="en-US" sz="1300" kern="0" dirty="0">
                  <a:latin typeface="맑은 고딕"/>
                  <a:ea typeface="맑은 고딕"/>
                </a:rPr>
                <a:t>승인시스템 운영 현황</a:t>
              </a:r>
            </a:p>
          </p:txBody>
        </p:sp>
        <p:sp>
          <p:nvSpPr>
            <p:cNvPr id="167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644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 아키텍처 구성 방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립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재 통합 운영되고 있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를 기준으로 통합 및 분리에 따른 다양한 고려사항을 분석하고 각 업무 특성에 기반한 최적의 구성 방안을 수립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328036"/>
              </p:ext>
            </p:extLst>
          </p:nvPr>
        </p:nvGraphicFramePr>
        <p:xfrm>
          <a:off x="5889129" y="2334813"/>
          <a:ext cx="3600501" cy="2569909"/>
        </p:xfrm>
        <a:graphic>
          <a:graphicData uri="http://schemas.openxmlformats.org/drawingml/2006/table">
            <a:tbl>
              <a:tblPr firstRow="1" bandRow="1"/>
              <a:tblGrid>
                <a:gridCol w="442489"/>
                <a:gridCol w="1579006"/>
                <a:gridCol w="1579006"/>
              </a:tblGrid>
              <a:tr h="2666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altLang="en-US" sz="1200" spc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분리</a:t>
                      </a:r>
                      <a:endParaRPr lang="ko-KR" altLang="en-US" sz="1200" spc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200" spc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107189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algn="ctr" eaLnBrk="0" hangingPunct="0">
                        <a:lnSpc>
                          <a:spcPct val="90000"/>
                        </a:lnSpc>
                      </a:pPr>
                      <a:r>
                        <a:rPr lang="ko-KR" altLang="en-US" sz="1200" b="1" spc="-50" dirty="0" smtClean="0">
                          <a:latin typeface="맑은 고딕" pitchFamily="50" charset="-127"/>
                          <a:ea typeface="맑은 고딕" pitchFamily="50" charset="-127"/>
                        </a:rPr>
                        <a:t>장점</a:t>
                      </a:r>
                      <a:endParaRPr lang="ko-KR" altLang="en-US" sz="1200" b="1" spc="-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승인시스템 분리로 승인 거래의 안정성 확보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거래 및 서비스 특성에 맞는 프레임워크 및 기반 인프라 확보 가능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데이터 동기화가 불필요하여 데이터의 정합성 확보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별도의 인터페이스가 필요없는 단순한 연계구조 구성 가능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2313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algn="ctr" eaLnBrk="0" hangingPunct="0">
                        <a:lnSpc>
                          <a:spcPct val="90000"/>
                        </a:lnSpc>
                      </a:pPr>
                      <a:r>
                        <a:rPr lang="ko-KR" altLang="en-US" sz="1200" b="1" spc="-50" dirty="0" smtClean="0">
                          <a:latin typeface="맑은 고딕" pitchFamily="50" charset="-127"/>
                          <a:ea typeface="맑은 고딕" pitchFamily="50" charset="-127"/>
                        </a:rPr>
                        <a:t>단점</a:t>
                      </a:r>
                      <a:endParaRPr lang="ko-KR" altLang="en-US" sz="1200" b="1" spc="-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승인시스템과 </a:t>
                      </a:r>
                      <a:r>
                        <a:rPr lang="ko-KR" altLang="en-US" sz="1000" kern="1200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계정계</a:t>
                      </a: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간 데이타 동기화 및 정합성 검증 기능 필요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호간 인터페이스 기능 구축 필요</a:t>
                      </a:r>
                      <a:endParaRPr lang="en-US" altLang="ko-KR" sz="1000" kern="1200" spc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계정계 거래가 승인 거래에 영향을 줄 수 있음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08000" marR="0" indent="-1080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altLang="ko-KR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Web</a:t>
                      </a:r>
                      <a:r>
                        <a:rPr lang="ko-KR" altLang="en-US" sz="1000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기반이 아니므로 최근 기술 트랜드 및 비즈니스 확장의 한계 존재 </a:t>
                      </a:r>
                      <a:endParaRPr lang="en-US" altLang="ko-KR" sz="1000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75000"/>
                          <a:lumOff val="2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40" name="AutoShape 16"/>
          <p:cNvSpPr>
            <a:spLocks noChangeArrowheads="1"/>
          </p:cNvSpPr>
          <p:nvPr/>
        </p:nvSpPr>
        <p:spPr bwMode="auto">
          <a:xfrm>
            <a:off x="5889129" y="5021638"/>
            <a:ext cx="648090" cy="1217864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  <a:extLst/>
        </p:spPr>
        <p:txBody>
          <a:bodyPr lIns="90732" tIns="45367" rIns="90732" bIns="45367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수행 방안</a:t>
            </a:r>
          </a:p>
        </p:txBody>
      </p:sp>
      <p:sp>
        <p:nvSpPr>
          <p:cNvPr id="41" name="AutoShape 41"/>
          <p:cNvSpPr>
            <a:spLocks noChangeArrowheads="1"/>
          </p:cNvSpPr>
          <p:nvPr/>
        </p:nvSpPr>
        <p:spPr bwMode="auto">
          <a:xfrm>
            <a:off x="6537219" y="5037271"/>
            <a:ext cx="2952411" cy="120223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 anchorCtr="0"/>
          <a:lstStyle/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승인계와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계정계를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 분리 운영하고 있는 선행 카드사의 운영 상황 및 문제점을 확인하여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NH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농협카드를 위한 최적의 구성안 도출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현황분석을 통해 통합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분리에 대한 방향성을 수립하고 관련된 기술요소와의 상호 운영성을 분석하여 진행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6315075" y="2309413"/>
            <a:ext cx="1590335" cy="265440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 anchor="ctr">
            <a:noAutofit/>
          </a:bodyPr>
          <a:lstStyle/>
          <a:p>
            <a:pPr marL="268288" indent="-215900" algn="ctr" latinLnBrk="0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kern="0" dirty="0" smtClean="0">
              <a:solidFill>
                <a:srgbClr val="FFFFFF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1409372" y="1885529"/>
            <a:ext cx="3054696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카드</a:t>
            </a:r>
            <a:r>
              <a:rPr lang="en-US" altLang="ko-KR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/</a:t>
            </a:r>
            <a:r>
              <a:rPr lang="ko-KR" altLang="en-US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승인시스템 분리 시 고려사항</a:t>
            </a:r>
            <a:endParaRPr lang="ko-KR" altLang="en-US" sz="1300" kern="0" dirty="0">
              <a:solidFill>
                <a:srgbClr val="333333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cxnSp>
        <p:nvCxnSpPr>
          <p:cNvPr id="45" name="Straight Connector 72"/>
          <p:cNvCxnSpPr>
            <a:cxnSpLocks noChangeShapeType="1"/>
          </p:cNvCxnSpPr>
          <p:nvPr/>
        </p:nvCxnSpPr>
        <p:spPr bwMode="gray">
          <a:xfrm>
            <a:off x="430656" y="2194779"/>
            <a:ext cx="501212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grpSp>
        <p:nvGrpSpPr>
          <p:cNvPr id="46" name="Group 45"/>
          <p:cNvGrpSpPr/>
          <p:nvPr/>
        </p:nvGrpSpPr>
        <p:grpSpPr>
          <a:xfrm>
            <a:off x="488380" y="2323286"/>
            <a:ext cx="5040700" cy="3916216"/>
            <a:chOff x="344360" y="2018677"/>
            <a:chExt cx="5184720" cy="3930673"/>
          </a:xfrm>
        </p:grpSpPr>
        <p:sp>
          <p:nvSpPr>
            <p:cNvPr id="47" name="Rounded Rectangle 46"/>
            <p:cNvSpPr/>
            <p:nvPr/>
          </p:nvSpPr>
          <p:spPr>
            <a:xfrm>
              <a:off x="344360" y="2295514"/>
              <a:ext cx="5112710" cy="1143662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344360" y="4519326"/>
              <a:ext cx="5112710" cy="115077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lIns="36000" tIns="36000" rIns="36000" bIns="3600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endParaRPr>
            </a:p>
          </p:txBody>
        </p:sp>
        <p:sp>
          <p:nvSpPr>
            <p:cNvPr id="49" name="Hexagon 28"/>
            <p:cNvSpPr/>
            <p:nvPr/>
          </p:nvSpPr>
          <p:spPr bwMode="auto">
            <a:xfrm>
              <a:off x="4696132" y="2428350"/>
              <a:ext cx="702998" cy="505042"/>
            </a:xfrm>
            <a:prstGeom prst="can">
              <a:avLst/>
            </a:prstGeom>
            <a:pattFill prst="ltUpDiag">
              <a:fgClr>
                <a:srgbClr val="F0F0F0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0F0F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115000"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승인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DB</a:t>
              </a:r>
            </a:p>
          </p:txBody>
        </p:sp>
        <p:sp>
          <p:nvSpPr>
            <p:cNvPr id="50" name="Hexagon 28"/>
            <p:cNvSpPr/>
            <p:nvPr/>
          </p:nvSpPr>
          <p:spPr bwMode="auto">
            <a:xfrm>
              <a:off x="4696132" y="5051884"/>
              <a:ext cx="702998" cy="505042"/>
            </a:xfrm>
            <a:prstGeom prst="can">
              <a:avLst/>
            </a:prstGeom>
            <a:pattFill prst="ltUpDiag">
              <a:fgClr>
                <a:srgbClr val="F0F0F0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0F0F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115000"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카드</a:t>
              </a: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DB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3224760" y="3066229"/>
              <a:ext cx="1656230" cy="277864"/>
            </a:xfrm>
            <a:prstGeom prst="roundRect">
              <a:avLst/>
            </a:prstGeom>
            <a:solidFill>
              <a:srgbClr val="F0F0F0">
                <a:lumMod val="75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플랫폼</a:t>
              </a:r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2144610" y="2748977"/>
              <a:ext cx="2376330" cy="277864"/>
            </a:xfrm>
            <a:prstGeom prst="roundRect">
              <a:avLst/>
            </a:prstGeom>
            <a:solidFill>
              <a:srgbClr val="F0F0F0">
                <a:lumMod val="90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Language-Set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1136471" y="2424198"/>
              <a:ext cx="3024420" cy="277864"/>
            </a:xfrm>
            <a:prstGeom prst="roundRect">
              <a:avLst/>
            </a:prstGeom>
            <a:solidFill>
              <a:srgbClr val="C0C0C0">
                <a:lumMod val="40000"/>
                <a:lumOff val="60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승인업무의 연속성</a:t>
              </a: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1136471" y="5279062"/>
              <a:ext cx="3024420" cy="277864"/>
            </a:xfrm>
            <a:prstGeom prst="roundRect">
              <a:avLst/>
            </a:prstGeom>
            <a:solidFill>
              <a:srgbClr val="C0C0C0">
                <a:lumMod val="40000"/>
                <a:lumOff val="60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승인업무의 연속성</a:t>
              </a: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2144610" y="4961810"/>
              <a:ext cx="2376330" cy="277864"/>
            </a:xfrm>
            <a:prstGeom prst="roundRect">
              <a:avLst/>
            </a:prstGeom>
            <a:solidFill>
              <a:srgbClr val="F0F0F0">
                <a:lumMod val="90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Language-Set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3224760" y="4637031"/>
              <a:ext cx="1656230" cy="277864"/>
            </a:xfrm>
            <a:prstGeom prst="roundRect">
              <a:avLst/>
            </a:prstGeom>
            <a:solidFill>
              <a:srgbClr val="F0F0F0">
                <a:lumMod val="75000"/>
              </a:srgbClr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플랫폼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auto">
            <a:xfrm flipV="1">
              <a:off x="1856082" y="2748977"/>
              <a:ext cx="0" cy="2531471"/>
            </a:xfrm>
            <a:prstGeom prst="straightConnector1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58" name="Straight Arrow Connector 57"/>
            <p:cNvCxnSpPr/>
            <p:nvPr/>
          </p:nvCxnSpPr>
          <p:spPr bwMode="auto">
            <a:xfrm flipV="1">
              <a:off x="2936628" y="3026841"/>
              <a:ext cx="0" cy="1934325"/>
            </a:xfrm>
            <a:prstGeom prst="straightConnector1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59" name="Straight Arrow Connector 58"/>
            <p:cNvCxnSpPr/>
            <p:nvPr/>
          </p:nvCxnSpPr>
          <p:spPr bwMode="auto">
            <a:xfrm flipV="1">
              <a:off x="3994503" y="3344093"/>
              <a:ext cx="0" cy="1294323"/>
            </a:xfrm>
            <a:prstGeom prst="straightConnector1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60" name="Straight Arrow Connector 59"/>
            <p:cNvCxnSpPr>
              <a:stCxn id="50" idx="1"/>
              <a:endCxn id="49" idx="3"/>
            </p:cNvCxnSpPr>
            <p:nvPr/>
          </p:nvCxnSpPr>
          <p:spPr bwMode="auto">
            <a:xfrm flipV="1">
              <a:off x="5047631" y="2933392"/>
              <a:ext cx="0" cy="2118492"/>
            </a:xfrm>
            <a:prstGeom prst="straightConnector1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61" name="Rounded Rectangle 60"/>
            <p:cNvSpPr/>
            <p:nvPr/>
          </p:nvSpPr>
          <p:spPr>
            <a:xfrm>
              <a:off x="344360" y="5671486"/>
              <a:ext cx="5112710" cy="277864"/>
            </a:xfrm>
            <a:prstGeom prst="roundRect">
              <a:avLst>
                <a:gd name="adj" fmla="val 0"/>
              </a:avLst>
            </a:prstGeom>
            <a:pattFill prst="pct60">
              <a:fgClr>
                <a:srgbClr val="F0F0F0">
                  <a:lumMod val="75000"/>
                </a:srgbClr>
              </a:fgClr>
              <a:bgClr>
                <a:srgbClr val="FFFFFF"/>
              </a:bgClr>
            </a:pattFill>
            <a:ln w="9525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카드시스템</a:t>
              </a: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344360" y="2018677"/>
              <a:ext cx="5112710" cy="277864"/>
            </a:xfrm>
            <a:prstGeom prst="roundRect">
              <a:avLst>
                <a:gd name="adj" fmla="val 0"/>
              </a:avLst>
            </a:prstGeom>
            <a:pattFill prst="pct60">
              <a:fgClr>
                <a:srgbClr val="F0F0F0">
                  <a:lumMod val="75000"/>
                </a:srgbClr>
              </a:fgClr>
              <a:bgClr>
                <a:srgbClr val="FFFFFF"/>
              </a:bgClr>
            </a:pattFill>
            <a:ln w="9525" cap="flat" cmpd="sng" algn="ctr">
              <a:solidFill>
                <a:srgbClr val="F0F0F0">
                  <a:lumMod val="5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승인시스템</a:t>
              </a:r>
            </a:p>
          </p:txBody>
        </p:sp>
        <p:sp>
          <p:nvSpPr>
            <p:cNvPr id="63" name="Rounded Rectangle 62"/>
            <p:cNvSpPr/>
            <p:nvPr/>
          </p:nvSpPr>
          <p:spPr>
            <a:xfrm rot="16200000">
              <a:off x="325997" y="2710888"/>
              <a:ext cx="890671" cy="277864"/>
            </a:xfrm>
            <a:prstGeom prst="roundRect">
              <a:avLst/>
            </a:prstGeom>
            <a:solidFill>
              <a:srgbClr val="F0F0F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연계성</a:t>
              </a:r>
            </a:p>
          </p:txBody>
        </p:sp>
        <p:sp>
          <p:nvSpPr>
            <p:cNvPr id="64" name="Rounded Rectangle 63"/>
            <p:cNvSpPr/>
            <p:nvPr/>
          </p:nvSpPr>
          <p:spPr>
            <a:xfrm rot="16200000">
              <a:off x="325997" y="4944820"/>
              <a:ext cx="890671" cy="277864"/>
            </a:xfrm>
            <a:prstGeom prst="roundRect">
              <a:avLst/>
            </a:prstGeom>
            <a:solidFill>
              <a:srgbClr val="F0F0F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연계성</a:t>
              </a:r>
            </a:p>
          </p:txBody>
        </p:sp>
        <p:cxnSp>
          <p:nvCxnSpPr>
            <p:cNvPr id="65" name="Straight Arrow Connector 64"/>
            <p:cNvCxnSpPr>
              <a:endCxn id="63" idx="1"/>
            </p:cNvCxnSpPr>
            <p:nvPr/>
          </p:nvCxnSpPr>
          <p:spPr bwMode="auto">
            <a:xfrm flipV="1">
              <a:off x="771333" y="3295156"/>
              <a:ext cx="0" cy="1341875"/>
            </a:xfrm>
            <a:prstGeom prst="straightConnector1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66" name="Rounded Rectangle 65"/>
            <p:cNvSpPr/>
            <p:nvPr/>
          </p:nvSpPr>
          <p:spPr>
            <a:xfrm>
              <a:off x="344360" y="3655206"/>
              <a:ext cx="932211" cy="720100"/>
            </a:xfrm>
            <a:prstGeom prst="round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-10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EAI</a:t>
              </a: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를 통한 </a:t>
              </a: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Application</a:t>
              </a:r>
              <a:r>
                <a:rPr kumimoji="0" lang="en-US" altLang="ko-KR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연계</a:t>
              </a:r>
              <a:endParaRPr kumimoji="0" lang="en-US" altLang="ko-KR" sz="1000" i="0" u="none" strike="noStrike" kern="0" cap="none" spc="-10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4596869" y="3655206"/>
              <a:ext cx="932211" cy="720100"/>
            </a:xfrm>
            <a:prstGeom prst="round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데이터 정합성이 보장되는 동기화 구현</a:t>
              </a:r>
              <a:endParaRPr kumimoji="0" lang="en-US" altLang="ko-KR" sz="1000" i="0" u="none" strike="noStrike" kern="0" cap="none" spc="-10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1389977" y="3655206"/>
              <a:ext cx="932211" cy="720100"/>
            </a:xfrm>
            <a:prstGeom prst="round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카드시스템  업무로 인한 승인 거래 영향도 배제</a:t>
              </a:r>
              <a:endParaRPr kumimoji="0" lang="en-US" altLang="ko-KR" sz="1000" i="0" u="none" strike="noStrike" kern="0" cap="none" spc="-10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2456294" y="3655206"/>
              <a:ext cx="932211" cy="720100"/>
            </a:xfrm>
            <a:prstGeom prst="round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성능과 업무효율성 관점의 언어 선택</a:t>
              </a:r>
              <a:endParaRPr kumimoji="0" lang="en-US" altLang="ko-KR" sz="1000" i="0" u="none" strike="noStrike" kern="0" cap="none" spc="-10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3528398" y="3655206"/>
              <a:ext cx="932211" cy="720100"/>
            </a:xfrm>
            <a:prstGeom prst="roundRect">
              <a:avLst/>
            </a:prstGeom>
            <a:solidFill>
              <a:srgbClr val="002060">
                <a:alpha val="80000"/>
              </a:srgbClr>
            </a:solidFill>
            <a:ln>
              <a:noFill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승인거래의 성능</a:t>
              </a:r>
              <a:r>
                <a:rPr kumimoji="0" lang="en-US" altLang="ko-KR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kumimoji="0" lang="ko-KR" altLang="en-US" sz="1000" i="0" u="none" strike="noStrike" kern="0" cap="none" spc="-10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rPr>
                <a:t>안정성 고려</a:t>
              </a:r>
              <a:endParaRPr kumimoji="0" lang="en-US" altLang="ko-KR" sz="1000" i="0" u="none" strike="noStrike" kern="0" cap="none" spc="-10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sp>
        <p:nvSpPr>
          <p:cNvPr id="72" name="TextBox 71"/>
          <p:cNvSpPr txBox="1"/>
          <p:nvPr/>
        </p:nvSpPr>
        <p:spPr bwMode="gray">
          <a:xfrm>
            <a:off x="6697595" y="1885529"/>
            <a:ext cx="1983570" cy="272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분리</a:t>
            </a:r>
            <a:r>
              <a:rPr lang="en-US" altLang="ko-KR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/</a:t>
            </a:r>
            <a:r>
              <a:rPr lang="ko-KR" altLang="en-US" sz="1300" kern="0" dirty="0" smtClean="0">
                <a:solidFill>
                  <a:srgbClr val="333333"/>
                </a:solidFill>
                <a:latin typeface="맑은 고딕"/>
                <a:ea typeface="맑은 고딕"/>
                <a:cs typeface="Arial" panose="020B0604020202020204" pitchFamily="34" charset="0"/>
              </a:rPr>
              <a:t>통합 장단점</a:t>
            </a:r>
            <a:endParaRPr lang="ko-KR" altLang="en-US" sz="1300" kern="0" dirty="0">
              <a:solidFill>
                <a:srgbClr val="333333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cxnSp>
        <p:nvCxnSpPr>
          <p:cNvPr id="73" name="Straight Connector 72"/>
          <p:cNvCxnSpPr>
            <a:cxnSpLocks noChangeShapeType="1"/>
          </p:cNvCxnSpPr>
          <p:nvPr/>
        </p:nvCxnSpPr>
        <p:spPr bwMode="gray">
          <a:xfrm>
            <a:off x="5899333" y="2194779"/>
            <a:ext cx="358009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85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6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87" name="TextBox 8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0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91" name="TextBox 9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048000" algn="l"/>
                </a:tabLst>
                <a:defRPr/>
              </a:pP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아키텍처 분리 비교 검토 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(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/>
                  <a:ea typeface="맑은 고딕"/>
                </a:rPr>
                <a:t>)</a:t>
              </a:r>
              <a:endParaRPr lang="en-US" altLang="ko-KR" sz="1400" kern="0" dirty="0">
                <a:solidFill>
                  <a:srgbClr val="333333">
                    <a:lumMod val="50000"/>
                  </a:srgbClr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92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그룹 7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4" name="그룹 8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3943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602456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배경 및 목적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범위 및 추진 전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진행 로드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의 특장점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4739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 아키텍처 구성 방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립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리할 경우 서비스 연계와 데이터 동기화를 위해 필요한 기술요소 정의와 데이터 정합성을 고려한 연계 아키텍처를 </a:t>
            </a:r>
            <a:r>
              <a:rPr lang="ko-KR" altLang="en-US" dirty="0" smtClean="0"/>
              <a:t>설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4" name="Group 103"/>
          <p:cNvGrpSpPr/>
          <p:nvPr/>
        </p:nvGrpSpPr>
        <p:grpSpPr>
          <a:xfrm>
            <a:off x="1970394" y="2253980"/>
            <a:ext cx="2117179" cy="1300516"/>
            <a:chOff x="2232331" y="2253980"/>
            <a:chExt cx="2422158" cy="1455420"/>
          </a:xfrm>
        </p:grpSpPr>
        <p:sp>
          <p:nvSpPr>
            <p:cNvPr id="105" name="Rectangle 12"/>
            <p:cNvSpPr>
              <a:spLocks noChangeArrowheads="1"/>
            </p:cNvSpPr>
            <p:nvPr/>
          </p:nvSpPr>
          <p:spPr bwMode="auto">
            <a:xfrm>
              <a:off x="2232331" y="2253980"/>
              <a:ext cx="2422158" cy="1455420"/>
            </a:xfrm>
            <a:prstGeom prst="rect">
              <a:avLst/>
            </a:prstGeom>
            <a:noFill/>
            <a:ln w="28575">
              <a:solidFill>
                <a:srgbClr val="000000">
                  <a:lumMod val="75000"/>
                  <a:lumOff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2309980" y="2307385"/>
              <a:ext cx="2274022" cy="252000"/>
            </a:xfrm>
            <a:prstGeom prst="roundRect">
              <a:avLst/>
            </a:prstGeom>
            <a:solidFill>
              <a:srgbClr val="646464">
                <a:lumMod val="7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승인시스템</a:t>
              </a:r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2530492" y="2606956"/>
              <a:ext cx="1823703" cy="770258"/>
              <a:chOff x="2636907" y="2730416"/>
              <a:chExt cx="2028053" cy="770258"/>
            </a:xfrm>
          </p:grpSpPr>
          <p:sp>
            <p:nvSpPr>
              <p:cNvPr id="112" name="직사각형 46"/>
              <p:cNvSpPr/>
              <p:nvPr/>
            </p:nvSpPr>
            <p:spPr>
              <a:xfrm>
                <a:off x="2636907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국내승인</a:t>
                </a:r>
              </a:p>
            </p:txBody>
          </p:sp>
          <p:sp>
            <p:nvSpPr>
              <p:cNvPr id="113" name="직사각형 46"/>
              <p:cNvSpPr/>
              <p:nvPr/>
            </p:nvSpPr>
            <p:spPr>
              <a:xfrm>
                <a:off x="3321263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해외승인</a:t>
                </a:r>
              </a:p>
            </p:txBody>
          </p:sp>
          <p:sp>
            <p:nvSpPr>
              <p:cNvPr id="114" name="직사각형 46"/>
              <p:cNvSpPr/>
              <p:nvPr/>
            </p:nvSpPr>
            <p:spPr>
              <a:xfrm>
                <a:off x="4020281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체크카드</a:t>
                </a:r>
                <a:endParaRPr kumimoji="0" lang="en-US" altLang="ko-KR" sz="9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승인</a:t>
                </a:r>
              </a:p>
            </p:txBody>
          </p:sp>
          <p:sp>
            <p:nvSpPr>
              <p:cNvPr id="115" name="직사각형 46"/>
              <p:cNvSpPr/>
              <p:nvPr/>
            </p:nvSpPr>
            <p:spPr>
              <a:xfrm>
                <a:off x="2636907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포인트</a:t>
                </a:r>
                <a:endParaRPr kumimoji="0" lang="en-US" altLang="ko-KR" sz="9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승인</a:t>
                </a:r>
              </a:p>
            </p:txBody>
          </p:sp>
          <p:sp>
            <p:nvSpPr>
              <p:cNvPr id="116" name="직사각형 46"/>
              <p:cNvSpPr/>
              <p:nvPr/>
            </p:nvSpPr>
            <p:spPr>
              <a:xfrm>
                <a:off x="3321263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업무공통</a:t>
                </a:r>
              </a:p>
            </p:txBody>
          </p:sp>
          <p:sp>
            <p:nvSpPr>
              <p:cNvPr id="117" name="직사각형 46"/>
              <p:cNvSpPr/>
              <p:nvPr/>
            </p:nvSpPr>
            <p:spPr>
              <a:xfrm>
                <a:off x="4020281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시스템</a:t>
                </a:r>
                <a:endParaRPr kumimoji="0" lang="en-US" altLang="ko-KR" sz="9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공통</a:t>
                </a:r>
              </a:p>
            </p:txBody>
          </p:sp>
        </p:grpSp>
        <p:grpSp>
          <p:nvGrpSpPr>
            <p:cNvPr id="108" name="Group 107"/>
            <p:cNvGrpSpPr/>
            <p:nvPr/>
          </p:nvGrpSpPr>
          <p:grpSpPr>
            <a:xfrm>
              <a:off x="2309980" y="2606956"/>
              <a:ext cx="2274022" cy="1052476"/>
              <a:chOff x="2278109" y="2730416"/>
              <a:chExt cx="2738703" cy="1052476"/>
            </a:xfrm>
          </p:grpSpPr>
          <p:sp>
            <p:nvSpPr>
              <p:cNvPr id="109" name="Rounded Rectangle 108"/>
              <p:cNvSpPr/>
              <p:nvPr/>
            </p:nvSpPr>
            <p:spPr>
              <a:xfrm>
                <a:off x="2278109" y="3573020"/>
                <a:ext cx="2738703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C Framework</a:t>
                </a:r>
                <a:endPara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0" name="Rounded Rectangle 109"/>
              <p:cNvSpPr/>
              <p:nvPr/>
            </p:nvSpPr>
            <p:spPr>
              <a:xfrm rot="16200000">
                <a:off x="1869923" y="3138602"/>
                <a:ext cx="1026244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1" name="Rounded Rectangle 110"/>
              <p:cNvSpPr/>
              <p:nvPr/>
            </p:nvSpPr>
            <p:spPr>
              <a:xfrm rot="16200000">
                <a:off x="4398754" y="3138602"/>
                <a:ext cx="1026244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118" name="Group 117"/>
          <p:cNvGrpSpPr/>
          <p:nvPr/>
        </p:nvGrpSpPr>
        <p:grpSpPr>
          <a:xfrm>
            <a:off x="1970394" y="4639309"/>
            <a:ext cx="2117179" cy="1300516"/>
            <a:chOff x="2232331" y="4486310"/>
            <a:chExt cx="2422158" cy="1455420"/>
          </a:xfrm>
        </p:grpSpPr>
        <p:sp>
          <p:nvSpPr>
            <p:cNvPr id="119" name="Rectangle 12"/>
            <p:cNvSpPr>
              <a:spLocks noChangeArrowheads="1"/>
            </p:cNvSpPr>
            <p:nvPr/>
          </p:nvSpPr>
          <p:spPr bwMode="auto">
            <a:xfrm>
              <a:off x="2232331" y="4486310"/>
              <a:ext cx="2422158" cy="1455420"/>
            </a:xfrm>
            <a:prstGeom prst="rect">
              <a:avLst/>
            </a:prstGeom>
            <a:noFill/>
            <a:ln w="28575">
              <a:solidFill>
                <a:srgbClr val="000000">
                  <a:lumMod val="75000"/>
                  <a:lumOff val="25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0" name="Rounded Rectangle 119"/>
            <p:cNvSpPr/>
            <p:nvPr/>
          </p:nvSpPr>
          <p:spPr>
            <a:xfrm>
              <a:off x="2309980" y="4539715"/>
              <a:ext cx="2274022" cy="252000"/>
            </a:xfrm>
            <a:prstGeom prst="roundRect">
              <a:avLst/>
            </a:prstGeom>
            <a:solidFill>
              <a:srgbClr val="646464">
                <a:lumMod val="7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카드시스템</a:t>
              </a:r>
              <a:endPara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121" name="Group 120"/>
            <p:cNvGrpSpPr/>
            <p:nvPr/>
          </p:nvGrpSpPr>
          <p:grpSpPr>
            <a:xfrm>
              <a:off x="2530492" y="4839286"/>
              <a:ext cx="1823703" cy="770258"/>
              <a:chOff x="2636907" y="2730416"/>
              <a:chExt cx="2028053" cy="770258"/>
            </a:xfrm>
          </p:grpSpPr>
          <p:sp>
            <p:nvSpPr>
              <p:cNvPr id="126" name="직사각형 46"/>
              <p:cNvSpPr/>
              <p:nvPr/>
            </p:nvSpPr>
            <p:spPr>
              <a:xfrm>
                <a:off x="2636907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고객관리</a:t>
                </a:r>
              </a:p>
            </p:txBody>
          </p:sp>
          <p:sp>
            <p:nvSpPr>
              <p:cNvPr id="127" name="직사각형 46"/>
              <p:cNvSpPr/>
              <p:nvPr/>
            </p:nvSpPr>
            <p:spPr>
              <a:xfrm>
                <a:off x="3321263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관리</a:t>
                </a:r>
              </a:p>
            </p:txBody>
          </p:sp>
          <p:sp>
            <p:nvSpPr>
              <p:cNvPr id="128" name="직사각형 46"/>
              <p:cNvSpPr/>
              <p:nvPr/>
            </p:nvSpPr>
            <p:spPr>
              <a:xfrm>
                <a:off x="4020281" y="2730416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가맹점</a:t>
                </a:r>
                <a:endParaRPr kumimoji="0" lang="en-US" altLang="ko-KR" sz="900" b="0" i="0" u="none" strike="noStrike" kern="0" cap="none" spc="-1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anose="020B0503020000020004" pitchFamily="50" charset="-127"/>
                  </a:rPr>
                  <a:t>관리</a:t>
                </a:r>
              </a:p>
            </p:txBody>
          </p:sp>
          <p:sp>
            <p:nvSpPr>
              <p:cNvPr id="129" name="직사각형 46"/>
              <p:cNvSpPr/>
              <p:nvPr/>
            </p:nvSpPr>
            <p:spPr>
              <a:xfrm>
                <a:off x="2636907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심사발급</a:t>
                </a:r>
              </a:p>
            </p:txBody>
          </p:sp>
          <p:sp>
            <p:nvSpPr>
              <p:cNvPr id="130" name="직사각형 46"/>
              <p:cNvSpPr/>
              <p:nvPr/>
            </p:nvSpPr>
            <p:spPr>
              <a:xfrm>
                <a:off x="3321263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고객정산</a:t>
                </a:r>
              </a:p>
            </p:txBody>
          </p:sp>
          <p:sp>
            <p:nvSpPr>
              <p:cNvPr id="131" name="직사각형 46"/>
              <p:cNvSpPr/>
              <p:nvPr/>
            </p:nvSpPr>
            <p:spPr>
              <a:xfrm>
                <a:off x="4020281" y="3140960"/>
                <a:ext cx="644679" cy="35971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646464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-10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매출</a:t>
                </a:r>
                <a:endParaRPr kumimoji="0" lang="ko-KR" altLang="en-US" sz="9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122" name="Group 121"/>
            <p:cNvGrpSpPr/>
            <p:nvPr/>
          </p:nvGrpSpPr>
          <p:grpSpPr>
            <a:xfrm>
              <a:off x="2309980" y="4839286"/>
              <a:ext cx="2274022" cy="1052476"/>
              <a:chOff x="2278109" y="2730416"/>
              <a:chExt cx="2738703" cy="1052476"/>
            </a:xfrm>
          </p:grpSpPr>
          <p:sp>
            <p:nvSpPr>
              <p:cNvPr id="123" name="Rounded Rectangle 122"/>
              <p:cNvSpPr/>
              <p:nvPr/>
            </p:nvSpPr>
            <p:spPr>
              <a:xfrm>
                <a:off x="2278109" y="3573020"/>
                <a:ext cx="2738703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JAVA Framework</a:t>
                </a:r>
                <a:endPara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 rot="16200000">
                <a:off x="1869923" y="3138602"/>
                <a:ext cx="1026244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5" name="Rounded Rectangle 124"/>
              <p:cNvSpPr/>
              <p:nvPr/>
            </p:nvSpPr>
            <p:spPr>
              <a:xfrm rot="16200000">
                <a:off x="4398754" y="3138602"/>
                <a:ext cx="1026244" cy="209872"/>
              </a:xfrm>
              <a:prstGeom prst="roundRect">
                <a:avLst/>
              </a:prstGeom>
              <a:solidFill>
                <a:srgbClr val="F0F0F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sp>
        <p:nvSpPr>
          <p:cNvPr id="132" name="직사각형 36"/>
          <p:cNvSpPr/>
          <p:nvPr/>
        </p:nvSpPr>
        <p:spPr>
          <a:xfrm>
            <a:off x="1034264" y="2238741"/>
            <a:ext cx="728434" cy="867332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직사각형 36"/>
          <p:cNvSpPr/>
          <p:nvPr/>
        </p:nvSpPr>
        <p:spPr>
          <a:xfrm>
            <a:off x="1034264" y="5098207"/>
            <a:ext cx="728434" cy="851144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36"/>
          <p:cNvSpPr/>
          <p:nvPr/>
        </p:nvSpPr>
        <p:spPr>
          <a:xfrm>
            <a:off x="1034264" y="3188795"/>
            <a:ext cx="728434" cy="867332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직사각형 36"/>
          <p:cNvSpPr/>
          <p:nvPr/>
        </p:nvSpPr>
        <p:spPr>
          <a:xfrm>
            <a:off x="1034264" y="4147871"/>
            <a:ext cx="728434" cy="867332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  <a:defRPr/>
            </a:pPr>
            <a:endParaRPr lang="ko-KR" altLang="en-US" sz="10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Rounded Rectangle 135"/>
          <p:cNvSpPr/>
          <p:nvPr/>
        </p:nvSpPr>
        <p:spPr>
          <a:xfrm>
            <a:off x="1096979" y="2304535"/>
            <a:ext cx="612000" cy="221835"/>
          </a:xfrm>
          <a:prstGeom prst="roundRect">
            <a:avLst/>
          </a:prstGeom>
          <a:solidFill>
            <a:srgbClr val="F0F0F0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 </a:t>
            </a:r>
            <a:r>
              <a:rPr kumimoji="0" lang="en-US" altLang="ko-KR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FEP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7" name="Group 136"/>
          <p:cNvGrpSpPr/>
          <p:nvPr/>
        </p:nvGrpSpPr>
        <p:grpSpPr>
          <a:xfrm>
            <a:off x="1192966" y="2606410"/>
            <a:ext cx="453528" cy="389838"/>
            <a:chOff x="1691162" y="2637146"/>
            <a:chExt cx="453528" cy="389838"/>
          </a:xfrm>
        </p:grpSpPr>
        <p:pic>
          <p:nvPicPr>
            <p:cNvPr id="138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91162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9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32818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0" name="Rounded Rectangle 139"/>
          <p:cNvSpPr/>
          <p:nvPr/>
        </p:nvSpPr>
        <p:spPr>
          <a:xfrm>
            <a:off x="1096979" y="5164860"/>
            <a:ext cx="612000" cy="221835"/>
          </a:xfrm>
          <a:prstGeom prst="roundRect">
            <a:avLst/>
          </a:prstGeom>
          <a:solidFill>
            <a:srgbClr val="F0F0F0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외 </a:t>
            </a:r>
            <a:r>
              <a:rPr kumimoji="0" lang="en-US" altLang="ko-KR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FEP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192966" y="5460520"/>
            <a:ext cx="453528" cy="389838"/>
            <a:chOff x="1691162" y="2637146"/>
            <a:chExt cx="453528" cy="389838"/>
          </a:xfrm>
        </p:grpSpPr>
        <p:pic>
          <p:nvPicPr>
            <p:cNvPr id="142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91162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32818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4" name="Rounded Rectangle 143"/>
          <p:cNvSpPr/>
          <p:nvPr/>
        </p:nvSpPr>
        <p:spPr>
          <a:xfrm>
            <a:off x="416370" y="2503219"/>
            <a:ext cx="507693" cy="490579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0F0F0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V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제휴사</a:t>
            </a:r>
          </a:p>
        </p:txBody>
      </p:sp>
      <p:sp>
        <p:nvSpPr>
          <p:cNvPr id="145" name="Rounded Rectangle 144"/>
          <p:cNvSpPr/>
          <p:nvPr/>
        </p:nvSpPr>
        <p:spPr>
          <a:xfrm>
            <a:off x="1096979" y="3243450"/>
            <a:ext cx="612000" cy="221835"/>
          </a:xfrm>
          <a:prstGeom prst="roundRect">
            <a:avLst/>
          </a:prstGeom>
          <a:solidFill>
            <a:srgbClr val="333333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홈페이지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1192966" y="3543232"/>
            <a:ext cx="453528" cy="389838"/>
            <a:chOff x="1691162" y="2637146"/>
            <a:chExt cx="453528" cy="389838"/>
          </a:xfrm>
        </p:grpSpPr>
        <p:pic>
          <p:nvPicPr>
            <p:cNvPr id="147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91162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8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32818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9" name="Rounded Rectangle 148"/>
          <p:cNvSpPr/>
          <p:nvPr/>
        </p:nvSpPr>
        <p:spPr>
          <a:xfrm>
            <a:off x="1096979" y="4213490"/>
            <a:ext cx="612000" cy="221835"/>
          </a:xfrm>
          <a:prstGeom prst="roundRect">
            <a:avLst/>
          </a:prstGeom>
          <a:solidFill>
            <a:srgbClr val="333333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대내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MCI</a:t>
            </a: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0" name="Group 149"/>
          <p:cNvGrpSpPr/>
          <p:nvPr/>
        </p:nvGrpSpPr>
        <p:grpSpPr>
          <a:xfrm>
            <a:off x="1192966" y="4509150"/>
            <a:ext cx="453528" cy="389838"/>
            <a:chOff x="1691162" y="2637146"/>
            <a:chExt cx="453528" cy="389838"/>
          </a:xfrm>
        </p:grpSpPr>
        <p:pic>
          <p:nvPicPr>
            <p:cNvPr id="151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91162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" name="Picture 115" descr="Picture37"/>
            <p:cNvPicPr preferRelativeResize="0"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32818" y="2637146"/>
              <a:ext cx="311872" cy="389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3" name="Can 152"/>
          <p:cNvSpPr/>
          <p:nvPr/>
        </p:nvSpPr>
        <p:spPr>
          <a:xfrm>
            <a:off x="4274714" y="4599421"/>
            <a:ext cx="2023880" cy="1368980"/>
          </a:xfrm>
          <a:prstGeom prst="can">
            <a:avLst>
              <a:gd name="adj" fmla="val 11817"/>
            </a:avLst>
          </a:prstGeom>
          <a:solidFill>
            <a:srgbClr val="F0F0F0"/>
          </a:solidFill>
          <a:ln w="6350">
            <a:solidFill>
              <a:srgbClr val="F0F0F0">
                <a:lumMod val="25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4" name="Can 153"/>
          <p:cNvSpPr/>
          <p:nvPr/>
        </p:nvSpPr>
        <p:spPr>
          <a:xfrm>
            <a:off x="4274714" y="2217515"/>
            <a:ext cx="2023880" cy="1368980"/>
          </a:xfrm>
          <a:prstGeom prst="can">
            <a:avLst>
              <a:gd name="adj" fmla="val 11817"/>
            </a:avLst>
          </a:prstGeom>
          <a:solidFill>
            <a:srgbClr val="F0F0F0"/>
          </a:solidFill>
          <a:ln w="6350">
            <a:solidFill>
              <a:srgbClr val="F0F0F0">
                <a:lumMod val="25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5" name="Straight Arrow Connector 154"/>
          <p:cNvCxnSpPr>
            <a:stCxn id="165" idx="3"/>
            <a:endCxn id="169" idx="1"/>
          </p:cNvCxnSpPr>
          <p:nvPr/>
        </p:nvCxnSpPr>
        <p:spPr bwMode="auto">
          <a:xfrm>
            <a:off x="4631150" y="3468999"/>
            <a:ext cx="0" cy="136502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56" name="Straight Arrow Connector 155"/>
          <p:cNvCxnSpPr>
            <a:stCxn id="170" idx="1"/>
            <a:endCxn id="166" idx="3"/>
          </p:cNvCxnSpPr>
          <p:nvPr/>
        </p:nvCxnSpPr>
        <p:spPr bwMode="auto">
          <a:xfrm flipV="1">
            <a:off x="5158169" y="3468999"/>
            <a:ext cx="0" cy="136502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57" name="Straight Arrow Connector 156"/>
          <p:cNvCxnSpPr>
            <a:stCxn id="171" idx="1"/>
            <a:endCxn id="167" idx="3"/>
          </p:cNvCxnSpPr>
          <p:nvPr/>
        </p:nvCxnSpPr>
        <p:spPr bwMode="auto">
          <a:xfrm flipV="1">
            <a:off x="5690332" y="3468999"/>
            <a:ext cx="0" cy="136502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58" name="직사각형 36"/>
          <p:cNvSpPr/>
          <p:nvPr/>
        </p:nvSpPr>
        <p:spPr>
          <a:xfrm>
            <a:off x="4347465" y="3785776"/>
            <a:ext cx="665254" cy="263704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lang="en-US" altLang="ko-KR" sz="1100" kern="0" spc="-100" dirty="0" err="1">
                <a:latin typeface="맑은 고딕" pitchFamily="50" charset="-127"/>
                <a:ea typeface="맑은 고딕" pitchFamily="50" charset="-127"/>
                <a:cs typeface="Arial" charset="0"/>
              </a:rPr>
              <a:t>EAI</a:t>
            </a:r>
            <a:r>
              <a:rPr lang="en-US" altLang="ko-KR" sz="1100" kern="0" spc="-100" dirty="0">
                <a:latin typeface="맑은 고딕" pitchFamily="50" charset="-127"/>
                <a:ea typeface="맑은 고딕" pitchFamily="50" charset="-127"/>
                <a:cs typeface="Arial" charset="0"/>
              </a:rPr>
              <a:t>(DB)</a:t>
            </a:r>
            <a:endParaRPr lang="ko-KR" altLang="en-US" sz="1100" kern="0" spc="-1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59" name="직사각형 36"/>
          <p:cNvSpPr/>
          <p:nvPr/>
        </p:nvSpPr>
        <p:spPr>
          <a:xfrm>
            <a:off x="4979954" y="4154002"/>
            <a:ext cx="844690" cy="263704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lang="en-US" altLang="ko-KR" sz="1100" kern="0" spc="-100" dirty="0">
                <a:latin typeface="맑은 고딕" pitchFamily="50" charset="-127"/>
                <a:ea typeface="맑은 고딕" pitchFamily="50" charset="-127"/>
                <a:cs typeface="Arial" charset="0"/>
              </a:rPr>
              <a:t>CDC</a:t>
            </a:r>
            <a:endParaRPr lang="ko-KR" altLang="en-US" sz="1100" kern="0" spc="-1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160" name="Straight Arrow Connector 159"/>
          <p:cNvCxnSpPr/>
          <p:nvPr/>
        </p:nvCxnSpPr>
        <p:spPr bwMode="auto">
          <a:xfrm>
            <a:off x="2520151" y="3586495"/>
            <a:ext cx="0" cy="1052814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1" name="Straight Arrow Connector 160"/>
          <p:cNvCxnSpPr/>
          <p:nvPr/>
        </p:nvCxnSpPr>
        <p:spPr bwMode="auto">
          <a:xfrm>
            <a:off x="2763362" y="3586495"/>
            <a:ext cx="0" cy="1052814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2" name="Straight Arrow Connector 161"/>
          <p:cNvCxnSpPr/>
          <p:nvPr/>
        </p:nvCxnSpPr>
        <p:spPr bwMode="auto">
          <a:xfrm>
            <a:off x="3034833" y="3586495"/>
            <a:ext cx="0" cy="1052814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3" name="Straight Arrow Connector 162"/>
          <p:cNvCxnSpPr/>
          <p:nvPr/>
        </p:nvCxnSpPr>
        <p:spPr bwMode="auto">
          <a:xfrm flipV="1">
            <a:off x="3538903" y="3584361"/>
            <a:ext cx="0" cy="1016848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64" name="직사각형 36"/>
          <p:cNvSpPr/>
          <p:nvPr/>
        </p:nvSpPr>
        <p:spPr>
          <a:xfrm>
            <a:off x="2298094" y="3933070"/>
            <a:ext cx="1476376" cy="263704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lang="en-US" altLang="ko-KR" sz="1100" kern="0" spc="-100" dirty="0" err="1">
                <a:latin typeface="맑은 고딕" pitchFamily="50" charset="-127"/>
                <a:ea typeface="맑은 고딕" pitchFamily="50" charset="-127"/>
                <a:cs typeface="Arial" charset="0"/>
              </a:rPr>
              <a:t>EAI</a:t>
            </a:r>
            <a:r>
              <a:rPr lang="en-US" altLang="ko-KR" sz="1100" kern="0" spc="-100" dirty="0">
                <a:latin typeface="맑은 고딕" pitchFamily="50" charset="-127"/>
                <a:ea typeface="맑은 고딕" pitchFamily="50" charset="-127"/>
                <a:cs typeface="Arial" charset="0"/>
              </a:rPr>
              <a:t>(AP)</a:t>
            </a:r>
            <a:endParaRPr lang="ko-KR" altLang="en-US" sz="1100" kern="0" spc="-1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65" name="Hexagon 28"/>
          <p:cNvSpPr/>
          <p:nvPr/>
        </p:nvSpPr>
        <p:spPr bwMode="auto">
          <a:xfrm>
            <a:off x="4376041" y="2963957"/>
            <a:ext cx="510217" cy="505042"/>
          </a:xfrm>
          <a:prstGeom prst="can">
            <a:avLst/>
          </a:prstGeom>
          <a:solidFill>
            <a:srgbClr val="0070C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</a:pPr>
            <a:r>
              <a:rPr kumimoji="1" lang="ko-KR" altLang="en-US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endParaRPr kumimoji="1"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</a:pPr>
            <a:r>
              <a:rPr kumimoji="1" lang="ko-KR" altLang="en-US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역</a:t>
            </a:r>
            <a:endParaRPr kumimoji="1"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6" name="Hexagon 28"/>
          <p:cNvSpPr/>
          <p:nvPr/>
        </p:nvSpPr>
        <p:spPr bwMode="auto">
          <a:xfrm>
            <a:off x="4903060" y="2963957"/>
            <a:ext cx="510217" cy="505042"/>
          </a:xfrm>
          <a:prstGeom prst="can">
            <a:avLst/>
          </a:prstGeom>
          <a:solidFill>
            <a:srgbClr val="1B3A87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7" name="Hexagon 28"/>
          <p:cNvSpPr/>
          <p:nvPr/>
        </p:nvSpPr>
        <p:spPr bwMode="auto">
          <a:xfrm>
            <a:off x="5435223" y="2963957"/>
            <a:ext cx="510217" cy="505042"/>
          </a:xfrm>
          <a:prstGeom prst="can">
            <a:avLst/>
          </a:prstGeom>
          <a:solidFill>
            <a:srgbClr val="1B3A87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8" name="Hexagon 28"/>
          <p:cNvSpPr/>
          <p:nvPr/>
        </p:nvSpPr>
        <p:spPr bwMode="auto">
          <a:xfrm>
            <a:off x="5435223" y="5364366"/>
            <a:ext cx="510217" cy="505042"/>
          </a:xfrm>
          <a:prstGeom prst="can">
            <a:avLst/>
          </a:prstGeom>
          <a:solidFill>
            <a:srgbClr val="F0F0F0">
              <a:lumMod val="2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9" name="Hexagon 28"/>
          <p:cNvSpPr/>
          <p:nvPr/>
        </p:nvSpPr>
        <p:spPr bwMode="auto">
          <a:xfrm>
            <a:off x="4376041" y="4834028"/>
            <a:ext cx="510217" cy="505042"/>
          </a:xfrm>
          <a:prstGeom prst="can">
            <a:avLst/>
          </a:prstGeom>
          <a:solidFill>
            <a:srgbClr val="0070C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kumimoji="1" lang="ko-KR" altLang="en-US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endParaRPr kumimoji="1" lang="en-US" altLang="ko-KR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kumimoji="1" lang="ko-KR" altLang="en-US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</a:t>
            </a:r>
            <a:r>
              <a:rPr kumimoji="1" lang="ko-KR" altLang="en-US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역</a:t>
            </a:r>
            <a:endParaRPr kumimoji="1"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0" name="Hexagon 28"/>
          <p:cNvSpPr/>
          <p:nvPr/>
        </p:nvSpPr>
        <p:spPr bwMode="auto">
          <a:xfrm>
            <a:off x="4903060" y="4834028"/>
            <a:ext cx="510217" cy="505042"/>
          </a:xfrm>
          <a:prstGeom prst="can">
            <a:avLst/>
          </a:prstGeom>
          <a:solidFill>
            <a:srgbClr val="1B3A87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1" name="Hexagon 28"/>
          <p:cNvSpPr/>
          <p:nvPr/>
        </p:nvSpPr>
        <p:spPr bwMode="auto">
          <a:xfrm>
            <a:off x="5435223" y="4834028"/>
            <a:ext cx="510217" cy="505042"/>
          </a:xfrm>
          <a:prstGeom prst="can">
            <a:avLst/>
          </a:prstGeom>
          <a:solidFill>
            <a:srgbClr val="1B3A87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2" name="Hexagon 28"/>
          <p:cNvSpPr/>
          <p:nvPr/>
        </p:nvSpPr>
        <p:spPr bwMode="auto">
          <a:xfrm>
            <a:off x="5435223" y="2442204"/>
            <a:ext cx="510217" cy="505042"/>
          </a:xfrm>
          <a:prstGeom prst="can">
            <a:avLst/>
          </a:prstGeom>
          <a:solidFill>
            <a:srgbClr val="F0F0F0">
              <a:lumMod val="2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한도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15000"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잔</a:t>
            </a:r>
            <a:r>
              <a:rPr kumimoji="1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액</a:t>
            </a: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3" name="Elbow Connector 172"/>
          <p:cNvCxnSpPr>
            <a:stCxn id="172" idx="4"/>
            <a:endCxn id="168" idx="4"/>
          </p:cNvCxnSpPr>
          <p:nvPr/>
        </p:nvCxnSpPr>
        <p:spPr bwMode="auto">
          <a:xfrm>
            <a:off x="5945440" y="2694725"/>
            <a:ext cx="12700" cy="2922162"/>
          </a:xfrm>
          <a:prstGeom prst="bentConnector3">
            <a:avLst>
              <a:gd name="adj1" fmla="val 1100000"/>
            </a:avLst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triangle" w="med" len="med"/>
            <a:tailEnd type="none" w="med" len="med"/>
          </a:ln>
          <a:effectLst/>
        </p:spPr>
      </p:cxnSp>
      <p:sp>
        <p:nvSpPr>
          <p:cNvPr id="174" name="직사각형 36"/>
          <p:cNvSpPr/>
          <p:nvPr/>
        </p:nvSpPr>
        <p:spPr>
          <a:xfrm>
            <a:off x="5770669" y="3785776"/>
            <a:ext cx="543655" cy="263704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lang="ko-KR" altLang="en-US" sz="1100" kern="0" spc="-10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디퍼드</a:t>
            </a:r>
          </a:p>
        </p:txBody>
      </p:sp>
      <p:cxnSp>
        <p:nvCxnSpPr>
          <p:cNvPr id="175" name="Straight Connector 174"/>
          <p:cNvCxnSpPr>
            <a:stCxn id="105" idx="3"/>
            <a:endCxn id="154" idx="2"/>
          </p:cNvCxnSpPr>
          <p:nvPr/>
        </p:nvCxnSpPr>
        <p:spPr bwMode="auto">
          <a:xfrm flipV="1">
            <a:off x="4087573" y="2902005"/>
            <a:ext cx="187141" cy="2233"/>
          </a:xfrm>
          <a:prstGeom prst="line">
            <a:avLst/>
          </a:prstGeom>
          <a:solidFill>
            <a:srgbClr val="FFD200"/>
          </a:solidFill>
          <a:ln w="285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Straight Connector 175"/>
          <p:cNvCxnSpPr>
            <a:stCxn id="119" idx="3"/>
            <a:endCxn id="153" idx="2"/>
          </p:cNvCxnSpPr>
          <p:nvPr/>
        </p:nvCxnSpPr>
        <p:spPr bwMode="auto">
          <a:xfrm flipV="1">
            <a:off x="4087573" y="5283911"/>
            <a:ext cx="187141" cy="5656"/>
          </a:xfrm>
          <a:prstGeom prst="line">
            <a:avLst/>
          </a:prstGeom>
          <a:solidFill>
            <a:srgbClr val="FFD200"/>
          </a:solidFill>
          <a:ln w="285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7" name="Rounded Rectangle 176"/>
          <p:cNvSpPr/>
          <p:nvPr/>
        </p:nvSpPr>
        <p:spPr>
          <a:xfrm>
            <a:off x="416370" y="5236990"/>
            <a:ext cx="507693" cy="490579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0F0F0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관</a:t>
            </a:r>
          </a:p>
        </p:txBody>
      </p:sp>
      <p:sp>
        <p:nvSpPr>
          <p:cNvPr id="178" name="Rounded Rectangle 177"/>
          <p:cNvSpPr/>
          <p:nvPr/>
        </p:nvSpPr>
        <p:spPr>
          <a:xfrm>
            <a:off x="416370" y="3432079"/>
            <a:ext cx="507693" cy="490579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0F0F0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고객</a:t>
            </a:r>
          </a:p>
        </p:txBody>
      </p:sp>
      <p:sp>
        <p:nvSpPr>
          <p:cNvPr id="179" name="Rounded Rectangle 178"/>
          <p:cNvSpPr/>
          <p:nvPr/>
        </p:nvSpPr>
        <p:spPr>
          <a:xfrm>
            <a:off x="416370" y="4309040"/>
            <a:ext cx="507693" cy="490579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0F0F0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직원</a:t>
            </a:r>
          </a:p>
        </p:txBody>
      </p:sp>
      <p:cxnSp>
        <p:nvCxnSpPr>
          <p:cNvPr id="180" name="Straight Arrow Connector 179"/>
          <p:cNvCxnSpPr>
            <a:stCxn id="144" idx="3"/>
            <a:endCxn id="138" idx="1"/>
          </p:cNvCxnSpPr>
          <p:nvPr/>
        </p:nvCxnSpPr>
        <p:spPr bwMode="auto">
          <a:xfrm>
            <a:off x="924063" y="2748509"/>
            <a:ext cx="268903" cy="52820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1" name="Straight Arrow Connector 180"/>
          <p:cNvCxnSpPr>
            <a:stCxn id="178" idx="0"/>
            <a:endCxn id="144" idx="2"/>
          </p:cNvCxnSpPr>
          <p:nvPr/>
        </p:nvCxnSpPr>
        <p:spPr bwMode="auto">
          <a:xfrm flipV="1">
            <a:off x="670217" y="2993798"/>
            <a:ext cx="0" cy="438281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2" name="Straight Arrow Connector 181"/>
          <p:cNvCxnSpPr>
            <a:stCxn id="178" idx="3"/>
            <a:endCxn id="147" idx="1"/>
          </p:cNvCxnSpPr>
          <p:nvPr/>
        </p:nvCxnSpPr>
        <p:spPr bwMode="auto">
          <a:xfrm>
            <a:off x="924063" y="3677369"/>
            <a:ext cx="268903" cy="60782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3" name="Straight Arrow Connector 182"/>
          <p:cNvCxnSpPr>
            <a:stCxn id="179" idx="3"/>
            <a:endCxn id="151" idx="1"/>
          </p:cNvCxnSpPr>
          <p:nvPr/>
        </p:nvCxnSpPr>
        <p:spPr bwMode="auto">
          <a:xfrm>
            <a:off x="924063" y="4554330"/>
            <a:ext cx="268903" cy="14973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4" name="Straight Arrow Connector 183"/>
          <p:cNvCxnSpPr>
            <a:stCxn id="177" idx="3"/>
            <a:endCxn id="142" idx="1"/>
          </p:cNvCxnSpPr>
          <p:nvPr/>
        </p:nvCxnSpPr>
        <p:spPr bwMode="auto">
          <a:xfrm>
            <a:off x="924063" y="5482280"/>
            <a:ext cx="268903" cy="17315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5" name="Straight Arrow Connector 184"/>
          <p:cNvCxnSpPr>
            <a:stCxn id="139" idx="3"/>
            <a:endCxn id="105" idx="1"/>
          </p:cNvCxnSpPr>
          <p:nvPr/>
        </p:nvCxnSpPr>
        <p:spPr bwMode="auto">
          <a:xfrm>
            <a:off x="1646494" y="2801329"/>
            <a:ext cx="323900" cy="102909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6" name="Straight Arrow Connector 185"/>
          <p:cNvCxnSpPr>
            <a:stCxn id="148" idx="3"/>
            <a:endCxn id="119" idx="1"/>
          </p:cNvCxnSpPr>
          <p:nvPr/>
        </p:nvCxnSpPr>
        <p:spPr bwMode="auto">
          <a:xfrm>
            <a:off x="1646494" y="3738151"/>
            <a:ext cx="323900" cy="1551416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7" name="Straight Arrow Connector 186"/>
          <p:cNvCxnSpPr>
            <a:stCxn id="152" idx="3"/>
            <a:endCxn id="119" idx="1"/>
          </p:cNvCxnSpPr>
          <p:nvPr/>
        </p:nvCxnSpPr>
        <p:spPr bwMode="auto">
          <a:xfrm>
            <a:off x="1646494" y="4704069"/>
            <a:ext cx="323900" cy="585498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8" name="Straight Arrow Connector 187"/>
          <p:cNvCxnSpPr>
            <a:stCxn id="143" idx="3"/>
            <a:endCxn id="119" idx="1"/>
          </p:cNvCxnSpPr>
          <p:nvPr/>
        </p:nvCxnSpPr>
        <p:spPr bwMode="auto">
          <a:xfrm flipV="1">
            <a:off x="1646494" y="5289567"/>
            <a:ext cx="323900" cy="365872"/>
          </a:xfrm>
          <a:prstGeom prst="straightConnector1">
            <a:avLst/>
          </a:prstGeom>
          <a:solidFill>
            <a:srgbClr val="FFD200"/>
          </a:solidFill>
          <a:ln w="19050" cap="flat" cmpd="sng" algn="ctr">
            <a:solidFill>
              <a:srgbClr val="333333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89" name="Rectangle 188"/>
          <p:cNvSpPr/>
          <p:nvPr/>
        </p:nvSpPr>
        <p:spPr>
          <a:xfrm>
            <a:off x="2038265" y="3677368"/>
            <a:ext cx="2049308" cy="831782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4268754" y="3677368"/>
            <a:ext cx="2101851" cy="831782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1" name="Rounded Rectangle 190"/>
          <p:cNvSpPr/>
          <p:nvPr/>
        </p:nvSpPr>
        <p:spPr>
          <a:xfrm>
            <a:off x="4396285" y="2491712"/>
            <a:ext cx="844167" cy="225179"/>
          </a:xfrm>
          <a:prstGeom prst="roundRect">
            <a:avLst/>
          </a:prstGeom>
          <a:solidFill>
            <a:srgbClr val="646464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승인</a:t>
            </a: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B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2" name="Rounded Rectangle 191"/>
          <p:cNvSpPr/>
          <p:nvPr/>
        </p:nvSpPr>
        <p:spPr>
          <a:xfrm>
            <a:off x="4396285" y="5576228"/>
            <a:ext cx="844167" cy="225179"/>
          </a:xfrm>
          <a:prstGeom prst="roundRect">
            <a:avLst/>
          </a:prstGeom>
          <a:solidFill>
            <a:srgbClr val="646464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</a:t>
            </a: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DB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3" name="AutoShape 41"/>
          <p:cNvSpPr>
            <a:spLocks noChangeArrowheads="1"/>
          </p:cNvSpPr>
          <p:nvPr/>
        </p:nvSpPr>
        <p:spPr bwMode="auto">
          <a:xfrm>
            <a:off x="6971151" y="2478413"/>
            <a:ext cx="2661575" cy="345648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algn="ctr">
            <a:noFill/>
            <a:round/>
            <a:headEnd/>
            <a:tailEnd/>
          </a:ln>
        </p:spPr>
        <p:txBody>
          <a:bodyPr lIns="72000" tIns="72000" rIns="72000" bIns="7200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시스템과 실시간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보 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P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연계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 승인 시점에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시스템과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보를 연계를 위한 </a:t>
            </a:r>
            <a:r>
              <a:rPr kumimoji="0" lang="en-US" altLang="ko-KR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EAI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 시점의 연계 서비스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를 정의하고 승인 시점 연동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예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포인트사용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발렛파킹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현장할인 등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952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동기화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실시간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준실시간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의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내역은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EAI(DB2DB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를 사용하여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카드시스템에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전송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빠른 승인처리에 필요한 기준 정보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정보 등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의 테이블은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DC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하여 실시간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시스템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복제 동기화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68288" marR="0" lvl="0" indent="-1730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정상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취소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C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배치 결과를 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승인계에 반영하여 정합성 확보    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준 실시간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배치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194" name="Straight Connector 74"/>
          <p:cNvCxnSpPr/>
          <p:nvPr/>
        </p:nvCxnSpPr>
        <p:spPr bwMode="auto">
          <a:xfrm flipV="1">
            <a:off x="6503310" y="2217516"/>
            <a:ext cx="0" cy="3803844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 type="none" w="med" len="med"/>
            <a:tailEnd type="none"/>
          </a:ln>
          <a:effectLst/>
        </p:spPr>
      </p:cxnSp>
      <p:grpSp>
        <p:nvGrpSpPr>
          <p:cNvPr id="195" name="Group 194"/>
          <p:cNvGrpSpPr/>
          <p:nvPr/>
        </p:nvGrpSpPr>
        <p:grpSpPr>
          <a:xfrm>
            <a:off x="6645566" y="1953138"/>
            <a:ext cx="2840009" cy="360050"/>
            <a:chOff x="272350" y="2112188"/>
            <a:chExt cx="4001166" cy="360050"/>
          </a:xfrm>
        </p:grpSpPr>
        <p:sp>
          <p:nvSpPr>
            <p:cNvPr id="196" name="TextBox 195"/>
            <p:cNvSpPr txBox="1"/>
            <p:nvPr/>
          </p:nvSpPr>
          <p:spPr bwMode="gray">
            <a:xfrm>
              <a:off x="272350" y="2112188"/>
              <a:ext cx="4001166" cy="2862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7D0900"/>
                </a:buClr>
              </a:pPr>
              <a:r>
                <a:rPr lang="ko-KR" altLang="en-US" sz="140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수행 </a:t>
              </a:r>
              <a:r>
                <a:rPr lang="ko-KR" altLang="en-US" sz="1400" kern="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방안</a:t>
              </a:r>
              <a:endParaRPr lang="ko-KR" altLang="en-US" sz="1400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197" name="Straight Connector 72"/>
            <p:cNvCxnSpPr>
              <a:cxnSpLocks noChangeShapeType="1"/>
            </p:cNvCxnSpPr>
            <p:nvPr/>
          </p:nvCxnSpPr>
          <p:spPr bwMode="gray">
            <a:xfrm>
              <a:off x="313516" y="2472238"/>
              <a:ext cx="3960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</p:grpSp>
      <p:sp>
        <p:nvSpPr>
          <p:cNvPr id="198" name="Oval 197"/>
          <p:cNvSpPr/>
          <p:nvPr/>
        </p:nvSpPr>
        <p:spPr bwMode="auto">
          <a:xfrm>
            <a:off x="6618414" y="2507612"/>
            <a:ext cx="281631" cy="281631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defRPr/>
            </a:pPr>
            <a:r>
              <a:rPr 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199" name="Oval 198"/>
          <p:cNvSpPr/>
          <p:nvPr/>
        </p:nvSpPr>
        <p:spPr bwMode="auto">
          <a:xfrm>
            <a:off x="6618414" y="4180881"/>
            <a:ext cx="281631" cy="281631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defRPr/>
            </a:pPr>
            <a:r>
              <a:rPr 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200" name="Oval 199"/>
          <p:cNvSpPr/>
          <p:nvPr/>
        </p:nvSpPr>
        <p:spPr bwMode="auto">
          <a:xfrm>
            <a:off x="1897449" y="3978622"/>
            <a:ext cx="281631" cy="281631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defRPr/>
            </a:pPr>
            <a:r>
              <a:rPr 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201" name="Oval 200"/>
          <p:cNvSpPr/>
          <p:nvPr/>
        </p:nvSpPr>
        <p:spPr bwMode="auto">
          <a:xfrm>
            <a:off x="4153377" y="4114947"/>
            <a:ext cx="281631" cy="281631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defRPr/>
            </a:pPr>
            <a:r>
              <a:rPr 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20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13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14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15" name="TextBox 214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71463" algn="l"/>
                </a:tabLst>
                <a:defRPr/>
              </a:pPr>
              <a:r>
                <a:rPr lang="ko-KR" altLang="en-US" sz="1400" kern="0" smtClean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</a:t>
              </a:r>
              <a:r>
                <a:rPr lang="en-US" altLang="ko-KR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kern="0" dirty="0" smtClean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시스템 </a:t>
              </a:r>
              <a:r>
                <a:rPr lang="ko-KR" altLang="en-US" sz="1400" kern="0" dirty="0">
                  <a:solidFill>
                    <a:srgbClr val="333333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리에 따른 데이터 동기화 방안</a:t>
              </a:r>
            </a:p>
          </p:txBody>
        </p:sp>
        <p:cxnSp>
          <p:nvCxnSpPr>
            <p:cNvPr id="216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7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218" name="TextBox 21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1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03" name="그룹 202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04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05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06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07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08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09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10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11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12" name="그룹 21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3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3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35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</a:t>
            </a:r>
            <a:r>
              <a:rPr lang="ko-KR" altLang="en-US" dirty="0" smtClean="0"/>
              <a:t>   고객정보 </a:t>
            </a:r>
            <a:r>
              <a:rPr lang="ko-KR" altLang="en-US" dirty="0"/>
              <a:t>보호 강화 및 통합 정보보호 체계 적용 </a:t>
            </a:r>
            <a:r>
              <a:rPr lang="en-US" altLang="ko-KR" dirty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271087" cy="605126"/>
          </a:xfrm>
        </p:spPr>
        <p:txBody>
          <a:bodyPr/>
          <a:lstStyle/>
          <a:p>
            <a:r>
              <a:rPr lang="ko-KR" altLang="en-US" dirty="0" smtClean="0"/>
              <a:t>주요 고객 정보에 대한 보호 체계를 수립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선제적인 탐지 체계와 정보보호 플랫폼을 설계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45599" y="2032252"/>
            <a:ext cx="5155336" cy="4205060"/>
            <a:chOff x="433479" y="1954905"/>
            <a:chExt cx="4817560" cy="4205060"/>
          </a:xfrm>
        </p:grpSpPr>
        <p:sp>
          <p:nvSpPr>
            <p:cNvPr id="110" name="직사각형 34"/>
            <p:cNvSpPr/>
            <p:nvPr/>
          </p:nvSpPr>
          <p:spPr bwMode="auto">
            <a:xfrm>
              <a:off x="433479" y="2257999"/>
              <a:ext cx="1118010" cy="185861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3175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>
                <a:defRPr/>
              </a:pPr>
              <a:endParaRPr lang="ko-KR" altLang="en-US" sz="800" b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1" name="직사각형 35"/>
            <p:cNvSpPr/>
            <p:nvPr/>
          </p:nvSpPr>
          <p:spPr bwMode="auto">
            <a:xfrm>
              <a:off x="456414" y="2291950"/>
              <a:ext cx="1043113" cy="228532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36000" rIns="0" bIns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ko-KR" altLang="en-US" sz="800" spc="-15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국내 보안 관련 법률∙규정</a:t>
              </a:r>
              <a:endParaRPr lang="ko-KR" altLang="en-US" sz="800" spc="-15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2" name="TextBox 7"/>
            <p:cNvSpPr txBox="1">
              <a:spLocks noChangeArrowheads="1"/>
            </p:cNvSpPr>
            <p:nvPr/>
          </p:nvSpPr>
          <p:spPr bwMode="auto">
            <a:xfrm>
              <a:off x="456414" y="2573362"/>
              <a:ext cx="1043113" cy="15283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88900" indent="-88900">
                <a:buFont typeface="Arial" pitchFamily="34" charset="0"/>
                <a:buChar char="•"/>
              </a:pP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여신업업 </a:t>
              </a:r>
              <a:r>
                <a:rPr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법∙시행령 </a:t>
              </a:r>
            </a:p>
            <a:p>
              <a:pPr marL="88900" indent="-88900">
                <a:buFont typeface="Arial" pitchFamily="34" charset="0"/>
                <a:buChar char="•"/>
              </a:pP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전자금융거래법</a:t>
              </a:r>
              <a:r>
                <a:rPr lang="en-US" altLang="ko-KR" sz="8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∙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시행령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감독규정 등 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8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종</a:t>
              </a:r>
              <a:endPara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88900" indent="-88900">
                <a:buFont typeface="Arial" pitchFamily="34" charset="0"/>
                <a:buChar char="•"/>
              </a:pP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신용정보의 이용 및 보호에 관한 법률∙시행령 등 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7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종</a:t>
              </a:r>
              <a:endPara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88900" indent="-88900">
                <a:buFont typeface="Arial" pitchFamily="34" charset="0"/>
                <a:buChar char="•"/>
              </a:pP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보호법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안전성 확보조치 기준 등 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5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종</a:t>
              </a:r>
              <a:endPara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88900" indent="-88900">
                <a:buFont typeface="Arial" pitchFamily="34" charset="0"/>
                <a:buChar char="•"/>
              </a:pP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보통신망법 </a:t>
              </a:r>
              <a:r>
                <a: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4</a:t>
              </a:r>
              <a:r>
                <a:rPr lang="ko-KR" altLang="en-US" sz="8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종</a:t>
              </a:r>
              <a:endParaRPr lang="en-US" altLang="ko-KR" sz="8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433479" y="4971263"/>
              <a:ext cx="1188914" cy="1171904"/>
              <a:chOff x="348865" y="4934544"/>
              <a:chExt cx="2089150" cy="1374775"/>
            </a:xfrm>
          </p:grpSpPr>
          <p:sp>
            <p:nvSpPr>
              <p:cNvPr id="114" name="직사각형 37"/>
              <p:cNvSpPr/>
              <p:nvPr/>
            </p:nvSpPr>
            <p:spPr bwMode="auto">
              <a:xfrm>
                <a:off x="348865" y="4934544"/>
                <a:ext cx="1964558" cy="1374775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>
                  <a:defRPr/>
                </a:pPr>
                <a:endParaRPr lang="ko-KR" altLang="en-US" sz="800" b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15" name="직사각형 38"/>
              <p:cNvSpPr/>
              <p:nvPr/>
            </p:nvSpPr>
            <p:spPr bwMode="auto">
              <a:xfrm>
                <a:off x="414669" y="4995339"/>
                <a:ext cx="1832949" cy="270905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ko-KR" altLang="en-US" sz="8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고객사 내부 기준</a:t>
                </a:r>
                <a:endParaRPr lang="ko-KR" altLang="en-US" sz="8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16" name="TextBox 7"/>
              <p:cNvSpPr txBox="1">
                <a:spLocks noChangeArrowheads="1"/>
              </p:cNvSpPr>
              <p:nvPr/>
            </p:nvSpPr>
            <p:spPr bwMode="auto">
              <a:xfrm>
                <a:off x="376568" y="5265209"/>
                <a:ext cx="2061447" cy="5782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marL="88900" indent="-88900">
                  <a:buFont typeface="Arial" pitchFamily="34" charset="0"/>
                  <a:buChar char="•"/>
                </a:pPr>
                <a:r>
                  <a:rPr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운영 매뉴얼</a:t>
                </a:r>
                <a:endPara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  <a:p>
                <a:pPr marL="88900" indent="-88900">
                  <a:buFont typeface="Arial" pitchFamily="34" charset="0"/>
                  <a:buChar char="•"/>
                </a:pPr>
                <a:r>
                  <a:rPr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정보보안 관련 지침∙</a:t>
                </a:r>
                <a:r>
                  <a:rPr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/>
                </a:r>
                <a:br>
                  <a:rPr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</a:br>
                <a:r>
                  <a:rPr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절차 매뉴얼</a:t>
                </a:r>
                <a:endParaRPr lang="en-US" altLang="ko-KR" sz="800" b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>
              <a:off x="433479" y="4206195"/>
              <a:ext cx="1118010" cy="745925"/>
              <a:chOff x="348865" y="4337440"/>
              <a:chExt cx="1964558" cy="620816"/>
            </a:xfrm>
          </p:grpSpPr>
          <p:sp>
            <p:nvSpPr>
              <p:cNvPr id="118" name="직사각형 46"/>
              <p:cNvSpPr/>
              <p:nvPr/>
            </p:nvSpPr>
            <p:spPr bwMode="auto">
              <a:xfrm>
                <a:off x="348865" y="4337440"/>
                <a:ext cx="1964558" cy="531719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>
                  <a:defRPr/>
                </a:pPr>
                <a:endParaRPr lang="ko-KR" altLang="en-US" sz="800" b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19" name="직사각형 47"/>
              <p:cNvSpPr/>
              <p:nvPr/>
            </p:nvSpPr>
            <p:spPr bwMode="auto">
              <a:xfrm>
                <a:off x="414670" y="4356297"/>
                <a:ext cx="1832949" cy="225496"/>
              </a:xfrm>
              <a:prstGeom prst="rect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ko-KR" altLang="en-US" sz="8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국제 표준</a:t>
                </a:r>
                <a:endParaRPr lang="ko-KR" altLang="en-US" sz="8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0" name="TextBox 7"/>
              <p:cNvSpPr txBox="1">
                <a:spLocks noChangeArrowheads="1"/>
              </p:cNvSpPr>
              <p:nvPr/>
            </p:nvSpPr>
            <p:spPr bwMode="auto">
              <a:xfrm>
                <a:off x="414670" y="4656345"/>
                <a:ext cx="1832949" cy="3019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marL="88900" indent="-88900">
                  <a:buFont typeface="Arial" pitchFamily="34" charset="0"/>
                  <a:buChar char="•"/>
                </a:pPr>
                <a:r>
                  <a:rPr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ISO27001:2013</a:t>
                </a:r>
              </a:p>
            </p:txBody>
          </p:sp>
        </p:grpSp>
        <p:sp>
          <p:nvSpPr>
            <p:cNvPr id="121" name="AutoShape 30"/>
            <p:cNvSpPr>
              <a:spLocks noChangeArrowheads="1"/>
            </p:cNvSpPr>
            <p:nvPr/>
          </p:nvSpPr>
          <p:spPr bwMode="auto">
            <a:xfrm>
              <a:off x="1559619" y="2258001"/>
              <a:ext cx="214550" cy="3840709"/>
            </a:xfrm>
            <a:custGeom>
              <a:avLst/>
              <a:gdLst>
                <a:gd name="connsiteX0" fmla="*/ 0 w 268287"/>
                <a:gd name="connsiteY0" fmla="*/ 0 h 1376363"/>
                <a:gd name="connsiteX1" fmla="*/ 0 w 268287"/>
                <a:gd name="connsiteY1" fmla="*/ 0 h 1376363"/>
                <a:gd name="connsiteX2" fmla="*/ 268287 w 268287"/>
                <a:gd name="connsiteY2" fmla="*/ 688182 h 1376363"/>
                <a:gd name="connsiteX3" fmla="*/ 0 w 268287"/>
                <a:gd name="connsiteY3" fmla="*/ 1376363 h 1376363"/>
                <a:gd name="connsiteX4" fmla="*/ 0 w 268287"/>
                <a:gd name="connsiteY4" fmla="*/ 1376363 h 1376363"/>
                <a:gd name="connsiteX5" fmla="*/ 0 w 268287"/>
                <a:gd name="connsiteY5" fmla="*/ 0 h 1376363"/>
                <a:gd name="connsiteX0" fmla="*/ 0 w 280987"/>
                <a:gd name="connsiteY0" fmla="*/ 0 h 1376363"/>
                <a:gd name="connsiteX1" fmla="*/ 0 w 280987"/>
                <a:gd name="connsiteY1" fmla="*/ 0 h 1376363"/>
                <a:gd name="connsiteX2" fmla="*/ 280987 w 280987"/>
                <a:gd name="connsiteY2" fmla="*/ 205582 h 1376363"/>
                <a:gd name="connsiteX3" fmla="*/ 0 w 280987"/>
                <a:gd name="connsiteY3" fmla="*/ 1376363 h 1376363"/>
                <a:gd name="connsiteX4" fmla="*/ 0 w 280987"/>
                <a:gd name="connsiteY4" fmla="*/ 1376363 h 1376363"/>
                <a:gd name="connsiteX5" fmla="*/ 0 w 280987"/>
                <a:gd name="connsiteY5" fmla="*/ 0 h 137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987" h="1376363">
                  <a:moveTo>
                    <a:pt x="0" y="0"/>
                  </a:moveTo>
                  <a:lnTo>
                    <a:pt x="0" y="0"/>
                  </a:lnTo>
                  <a:lnTo>
                    <a:pt x="280987" y="205582"/>
                  </a:lnTo>
                  <a:lnTo>
                    <a:pt x="0" y="1376363"/>
                  </a:lnTo>
                  <a:lnTo>
                    <a:pt x="0" y="137636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FFFFFF">
                    <a:lumMod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latinLnBrk="0">
                <a:defRPr/>
              </a:pPr>
              <a:endParaRPr kumimoji="1" lang="ko-KR" altLang="en-US" sz="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22" name="AutoShape 30"/>
            <p:cNvSpPr>
              <a:spLocks noChangeArrowheads="1"/>
            </p:cNvSpPr>
            <p:nvPr/>
          </p:nvSpPr>
          <p:spPr bwMode="auto">
            <a:xfrm rot="5400000">
              <a:off x="2836030" y="4157892"/>
              <a:ext cx="184955" cy="2210382"/>
            </a:xfrm>
            <a:custGeom>
              <a:avLst/>
              <a:gdLst>
                <a:gd name="connsiteX0" fmla="*/ 0 w 268287"/>
                <a:gd name="connsiteY0" fmla="*/ 0 h 1376363"/>
                <a:gd name="connsiteX1" fmla="*/ 0 w 268287"/>
                <a:gd name="connsiteY1" fmla="*/ 0 h 1376363"/>
                <a:gd name="connsiteX2" fmla="*/ 268287 w 268287"/>
                <a:gd name="connsiteY2" fmla="*/ 688182 h 1376363"/>
                <a:gd name="connsiteX3" fmla="*/ 0 w 268287"/>
                <a:gd name="connsiteY3" fmla="*/ 1376363 h 1376363"/>
                <a:gd name="connsiteX4" fmla="*/ 0 w 268287"/>
                <a:gd name="connsiteY4" fmla="*/ 1376363 h 1376363"/>
                <a:gd name="connsiteX5" fmla="*/ 0 w 268287"/>
                <a:gd name="connsiteY5" fmla="*/ 0 h 1376363"/>
                <a:gd name="connsiteX0" fmla="*/ 0 w 280987"/>
                <a:gd name="connsiteY0" fmla="*/ 0 h 1376363"/>
                <a:gd name="connsiteX1" fmla="*/ 0 w 280987"/>
                <a:gd name="connsiteY1" fmla="*/ 0 h 1376363"/>
                <a:gd name="connsiteX2" fmla="*/ 280987 w 280987"/>
                <a:gd name="connsiteY2" fmla="*/ 205582 h 1376363"/>
                <a:gd name="connsiteX3" fmla="*/ 0 w 280987"/>
                <a:gd name="connsiteY3" fmla="*/ 1376363 h 1376363"/>
                <a:gd name="connsiteX4" fmla="*/ 0 w 280987"/>
                <a:gd name="connsiteY4" fmla="*/ 1376363 h 1376363"/>
                <a:gd name="connsiteX5" fmla="*/ 0 w 280987"/>
                <a:gd name="connsiteY5" fmla="*/ 0 h 1376363"/>
                <a:gd name="connsiteX0" fmla="*/ 0 w 252591"/>
                <a:gd name="connsiteY0" fmla="*/ 0 h 1376363"/>
                <a:gd name="connsiteX1" fmla="*/ 0 w 252591"/>
                <a:gd name="connsiteY1" fmla="*/ 0 h 1376363"/>
                <a:gd name="connsiteX2" fmla="*/ 252591 w 252591"/>
                <a:gd name="connsiteY2" fmla="*/ 632327 h 1376363"/>
                <a:gd name="connsiteX3" fmla="*/ 0 w 252591"/>
                <a:gd name="connsiteY3" fmla="*/ 1376363 h 1376363"/>
                <a:gd name="connsiteX4" fmla="*/ 0 w 252591"/>
                <a:gd name="connsiteY4" fmla="*/ 1376363 h 1376363"/>
                <a:gd name="connsiteX5" fmla="*/ 0 w 252591"/>
                <a:gd name="connsiteY5" fmla="*/ 0 h 137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591" h="1376363">
                  <a:moveTo>
                    <a:pt x="0" y="0"/>
                  </a:moveTo>
                  <a:lnTo>
                    <a:pt x="0" y="0"/>
                  </a:lnTo>
                  <a:lnTo>
                    <a:pt x="252591" y="632327"/>
                  </a:lnTo>
                  <a:lnTo>
                    <a:pt x="0" y="1376363"/>
                  </a:lnTo>
                  <a:lnTo>
                    <a:pt x="0" y="137636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2D2DB9">
                    <a:lumMod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latinLnBrk="0">
                <a:defRPr/>
              </a:pPr>
              <a:endParaRPr kumimoji="1" lang="ko-KR" altLang="en-US" sz="800" b="0" kern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23" name="직사각형 70"/>
            <p:cNvSpPr/>
            <p:nvPr/>
          </p:nvSpPr>
          <p:spPr bwMode="auto">
            <a:xfrm>
              <a:off x="1812347" y="5430304"/>
              <a:ext cx="2153029" cy="711102"/>
            </a:xfrm>
            <a:prstGeom prst="rect">
              <a:avLst/>
            </a:prstGeom>
            <a:solidFill>
              <a:srgbClr val="333333">
                <a:lumMod val="95000"/>
              </a:srgbClr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24" name="직사각형 71"/>
            <p:cNvSpPr/>
            <p:nvPr/>
          </p:nvSpPr>
          <p:spPr bwMode="auto">
            <a:xfrm>
              <a:off x="1845748" y="5501986"/>
              <a:ext cx="2073775" cy="222402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36000" rIns="0" bIns="0" anchor="ctr" anchorCtr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차세대 요건 도출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25" name="직사각형 79"/>
            <p:cNvSpPr/>
            <p:nvPr/>
          </p:nvSpPr>
          <p:spPr bwMode="auto">
            <a:xfrm>
              <a:off x="1845749" y="5793154"/>
              <a:ext cx="1014279" cy="286870"/>
            </a:xfrm>
            <a:prstGeom prst="rect">
              <a:avLst/>
            </a:prstGeom>
            <a:solidFill>
              <a:srgbClr val="1B3A87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36000" rIns="0" bIns="0" anchor="ctr" anchorCtr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Compliance </a:t>
              </a:r>
              <a:r>
                <a:rPr kumimoji="1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Inventory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</a:t>
              </a:r>
              <a:endParaRPr kumimoji="1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26" name="Group 125"/>
            <p:cNvGrpSpPr/>
            <p:nvPr/>
          </p:nvGrpSpPr>
          <p:grpSpPr>
            <a:xfrm>
              <a:off x="1775107" y="2258000"/>
              <a:ext cx="2156742" cy="2802994"/>
              <a:chOff x="2742367" y="1731728"/>
              <a:chExt cx="3789810" cy="3288228"/>
            </a:xfrm>
          </p:grpSpPr>
          <p:sp>
            <p:nvSpPr>
              <p:cNvPr id="127" name="AutoShape 55"/>
              <p:cNvSpPr>
                <a:spLocks noChangeArrowheads="1"/>
              </p:cNvSpPr>
              <p:nvPr/>
            </p:nvSpPr>
            <p:spPr bwMode="auto">
              <a:xfrm>
                <a:off x="2807805" y="2120308"/>
                <a:ext cx="3724372" cy="462772"/>
              </a:xfrm>
              <a:prstGeom prst="roundRect">
                <a:avLst>
                  <a:gd name="adj" fmla="val 4908"/>
                </a:avLst>
              </a:prstGeom>
              <a:solidFill>
                <a:srgbClr val="FFFFFF">
                  <a:lumMod val="85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8" name="직사각형 51"/>
              <p:cNvSpPr/>
              <p:nvPr/>
            </p:nvSpPr>
            <p:spPr>
              <a:xfrm>
                <a:off x="2742367" y="2178662"/>
                <a:ext cx="1128298" cy="474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latinLnBrk="0">
                  <a:defRPr/>
                </a:pPr>
                <a:r>
                  <a:rPr kumimoji="1" lang="ko-KR" altLang="en-US" sz="8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정보시스템</a:t>
                </a:r>
                <a:endParaRPr kumimoji="1" lang="en-US" altLang="ko-KR" sz="8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  <a:p>
                <a:pPr algn="ctr" latinLnBrk="0">
                  <a:defRPr/>
                </a:pPr>
                <a:r>
                  <a:rPr kumimoji="1" lang="ko-KR" altLang="en-US" sz="8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계층</a:t>
                </a:r>
                <a:endParaRPr kumimoji="1" lang="ko-KR" altLang="en-US" sz="800" kern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9" name="AutoShape 55"/>
              <p:cNvSpPr>
                <a:spLocks noChangeArrowheads="1"/>
              </p:cNvSpPr>
              <p:nvPr/>
            </p:nvSpPr>
            <p:spPr bwMode="auto">
              <a:xfrm>
                <a:off x="2807805" y="2620152"/>
                <a:ext cx="3724372" cy="2399804"/>
              </a:xfrm>
              <a:prstGeom prst="roundRect">
                <a:avLst>
                  <a:gd name="adj" fmla="val 2216"/>
                </a:avLst>
              </a:prstGeom>
              <a:solidFill>
                <a:srgbClr val="FFFFFF">
                  <a:lumMod val="85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0" name="직사각형 53"/>
              <p:cNvSpPr/>
              <p:nvPr/>
            </p:nvSpPr>
            <p:spPr>
              <a:xfrm>
                <a:off x="2825329" y="3678336"/>
                <a:ext cx="962373" cy="474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latinLnBrk="0">
                  <a:defRPr/>
                </a:pPr>
                <a:r>
                  <a:rPr kumimoji="1" lang="ko-KR" altLang="en-US" sz="8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정보보안</a:t>
                </a:r>
                <a:endParaRPr kumimoji="1" lang="en-US" altLang="ko-KR" sz="8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  <a:p>
                <a:pPr algn="ctr" latinLnBrk="0">
                  <a:defRPr/>
                </a:pPr>
                <a:r>
                  <a:rPr kumimoji="1" lang="ko-KR" altLang="en-US" sz="8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기술영역</a:t>
                </a:r>
                <a:endParaRPr kumimoji="1" lang="ko-KR" altLang="en-US" sz="800" kern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1" name="AutoShape 55"/>
              <p:cNvSpPr>
                <a:spLocks noChangeArrowheads="1"/>
              </p:cNvSpPr>
              <p:nvPr/>
            </p:nvSpPr>
            <p:spPr bwMode="auto">
              <a:xfrm>
                <a:off x="3865811" y="2187467"/>
                <a:ext cx="432000" cy="2772000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t" anchorCtr="0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Sec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2" name="AutoShape 55"/>
              <p:cNvSpPr>
                <a:spLocks noChangeArrowheads="1"/>
              </p:cNvSpPr>
              <p:nvPr/>
            </p:nvSpPr>
            <p:spPr bwMode="auto">
              <a:xfrm>
                <a:off x="4369445" y="2187467"/>
                <a:ext cx="432000" cy="2772000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t" anchorCtr="0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en-US" altLang="ko-KR" sz="8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N/W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3" name="AutoShape 55"/>
              <p:cNvSpPr>
                <a:spLocks noChangeArrowheads="1"/>
              </p:cNvSpPr>
              <p:nvPr/>
            </p:nvSpPr>
            <p:spPr bwMode="auto">
              <a:xfrm>
                <a:off x="4873079" y="2187467"/>
                <a:ext cx="432000" cy="2772000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t" anchorCtr="0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Server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4" name="AutoShape 55"/>
              <p:cNvSpPr>
                <a:spLocks noChangeArrowheads="1"/>
              </p:cNvSpPr>
              <p:nvPr/>
            </p:nvSpPr>
            <p:spPr bwMode="auto">
              <a:xfrm>
                <a:off x="5376713" y="2187467"/>
                <a:ext cx="432000" cy="2772000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t" anchorCtr="0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App.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5" name="AutoShape 55"/>
              <p:cNvSpPr>
                <a:spLocks noChangeArrowheads="1"/>
              </p:cNvSpPr>
              <p:nvPr/>
            </p:nvSpPr>
            <p:spPr bwMode="auto">
              <a:xfrm>
                <a:off x="5880347" y="2187467"/>
                <a:ext cx="432000" cy="2772000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t" anchorCtr="0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lnSpc>
                    <a:spcPts val="1200"/>
                  </a:lnSpc>
                  <a:defRPr/>
                </a:pP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DB</a:t>
                </a:r>
              </a:p>
              <a:p>
                <a:pPr latinLnBrk="0">
                  <a:lnSpc>
                    <a:spcPts val="1200"/>
                  </a:lnSpc>
                  <a:defRPr/>
                </a:pP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Data)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6" name="AutoShape 55"/>
              <p:cNvSpPr>
                <a:spLocks noChangeArrowheads="1"/>
              </p:cNvSpPr>
              <p:nvPr/>
            </p:nvSpPr>
            <p:spPr bwMode="auto">
              <a:xfrm>
                <a:off x="3711182" y="2690179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접근통제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7" name="AutoShape 55"/>
              <p:cNvSpPr>
                <a:spLocks noChangeArrowheads="1"/>
              </p:cNvSpPr>
              <p:nvPr/>
            </p:nvSpPr>
            <p:spPr bwMode="auto">
              <a:xfrm>
                <a:off x="3711182" y="2969768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식별인증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8" name="AutoShape 55"/>
              <p:cNvSpPr>
                <a:spLocks noChangeArrowheads="1"/>
              </p:cNvSpPr>
              <p:nvPr/>
            </p:nvSpPr>
            <p:spPr bwMode="auto">
              <a:xfrm>
                <a:off x="3711182" y="3249357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부인방지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39" name="AutoShape 55"/>
              <p:cNvSpPr>
                <a:spLocks noChangeArrowheads="1"/>
              </p:cNvSpPr>
              <p:nvPr/>
            </p:nvSpPr>
            <p:spPr bwMode="auto">
              <a:xfrm>
                <a:off x="3711182" y="3528946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데이터 기밀성 </a:t>
                </a: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</a:t>
                </a: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암호화</a:t>
                </a:r>
                <a:r>
                  <a:rPr kumimoji="1" lang="en-US" altLang="ko-KR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)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0" name="AutoShape 55"/>
              <p:cNvSpPr>
                <a:spLocks noChangeArrowheads="1"/>
              </p:cNvSpPr>
              <p:nvPr/>
            </p:nvSpPr>
            <p:spPr bwMode="auto">
              <a:xfrm>
                <a:off x="3711182" y="3808535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통신보안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1" name="AutoShape 55"/>
              <p:cNvSpPr>
                <a:spLocks noChangeArrowheads="1"/>
              </p:cNvSpPr>
              <p:nvPr/>
            </p:nvSpPr>
            <p:spPr bwMode="auto">
              <a:xfrm>
                <a:off x="3711182" y="4088124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무결성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2" name="직사각형 66"/>
              <p:cNvSpPr/>
              <p:nvPr/>
            </p:nvSpPr>
            <p:spPr bwMode="auto">
              <a:xfrm>
                <a:off x="2807804" y="1731728"/>
                <a:ext cx="3724105" cy="331272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317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2400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>
                  <a:defRPr/>
                </a:pPr>
                <a:endParaRPr lang="ko-KR" altLang="en-US" sz="800" b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3" name="직사각형 67"/>
              <p:cNvSpPr/>
              <p:nvPr/>
            </p:nvSpPr>
            <p:spPr bwMode="auto">
              <a:xfrm>
                <a:off x="3652022" y="1746859"/>
                <a:ext cx="2116510" cy="288000"/>
              </a:xfrm>
              <a:prstGeom prst="rect">
                <a:avLst/>
              </a:prstGeom>
              <a:noFill/>
              <a:ln w="158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/>
                <a:r>
                  <a:rPr kumimoji="1" lang="ko-KR" altLang="en-US" sz="8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기술보안 프레임워크 </a:t>
                </a:r>
                <a:r>
                  <a:rPr kumimoji="1" lang="en-US" altLang="ko-KR" sz="8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&gt;</a:t>
                </a:r>
                <a:endParaRPr kumimoji="1" lang="ko-KR" altLang="en-US" sz="80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4" name="AutoShape 55"/>
              <p:cNvSpPr>
                <a:spLocks noChangeArrowheads="1"/>
              </p:cNvSpPr>
              <p:nvPr/>
            </p:nvSpPr>
            <p:spPr bwMode="auto">
              <a:xfrm>
                <a:off x="3711182" y="4367713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가용성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45" name="AutoShape 55"/>
              <p:cNvSpPr>
                <a:spLocks noChangeArrowheads="1"/>
              </p:cNvSpPr>
              <p:nvPr/>
            </p:nvSpPr>
            <p:spPr bwMode="auto">
              <a:xfrm>
                <a:off x="3711182" y="4647301"/>
                <a:ext cx="2736000" cy="20864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90000"/>
                </a:srgbClr>
              </a:solidFill>
              <a:ln w="9525" algn="ctr">
                <a:solidFill>
                  <a:srgbClr val="FFFFFF">
                    <a:lumMod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sz="9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latinLnBrk="0">
                  <a:defRPr/>
                </a:pPr>
                <a:r>
                  <a:rPr kumimoji="1" lang="ko-KR" altLang="en-US" sz="8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개인정보보호</a:t>
                </a:r>
                <a:endParaRPr kumimoji="1" lang="ko-KR" altLang="en-US" sz="800" b="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146" name="Rectangle 25"/>
            <p:cNvSpPr>
              <a:spLocks noChangeArrowheads="1"/>
            </p:cNvSpPr>
            <p:nvPr/>
          </p:nvSpPr>
          <p:spPr bwMode="gray">
            <a:xfrm>
              <a:off x="4008646" y="1954905"/>
              <a:ext cx="1242393" cy="245836"/>
            </a:xfrm>
            <a:prstGeom prst="homePlate">
              <a:avLst>
                <a:gd name="adj" fmla="val 31703"/>
              </a:avLst>
            </a:prstGeom>
            <a:solidFill>
              <a:srgbClr val="646464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50000"/>
                </a:spcBef>
                <a:defRPr/>
              </a:pPr>
              <a:r>
                <a:rPr lang="ko-KR" altLang="en-US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설계</a:t>
              </a:r>
              <a:r>
                <a:rPr lang="ko-KR" altLang="en-US" sz="800" kern="0" dirty="0">
                  <a:solidFill>
                    <a:srgbClr val="FFFFFF"/>
                  </a:solidFill>
                  <a:latin typeface="맑은 고딕"/>
                  <a:ea typeface="맑은 고딕"/>
                </a:rPr>
                <a:t>∙</a:t>
              </a:r>
              <a:r>
                <a:rPr lang="ko-KR" altLang="en-US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개발∙통</a:t>
              </a:r>
              <a:r>
                <a:rPr lang="en-US" altLang="ko-KR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테∙이행</a:t>
              </a:r>
            </a:p>
          </p:txBody>
        </p:sp>
        <p:sp>
          <p:nvSpPr>
            <p:cNvPr id="147" name="Rectangle 38"/>
            <p:cNvSpPr>
              <a:spLocks noChangeArrowheads="1"/>
            </p:cNvSpPr>
            <p:nvPr/>
          </p:nvSpPr>
          <p:spPr bwMode="gray">
            <a:xfrm>
              <a:off x="1530914" y="1955118"/>
              <a:ext cx="2502785" cy="245836"/>
            </a:xfrm>
            <a:prstGeom prst="homePlate">
              <a:avLst>
                <a:gd name="adj" fmla="val 32051"/>
              </a:avLst>
            </a:prstGeom>
            <a:solidFill>
              <a:srgbClr val="646464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50000"/>
                </a:spcBef>
                <a:defRPr/>
              </a:pPr>
              <a:r>
                <a:rPr lang="ko-KR" altLang="en-US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분</a:t>
              </a:r>
              <a:r>
                <a:rPr lang="ko-KR" altLang="en-US" sz="800" kern="0" dirty="0">
                  <a:solidFill>
                    <a:srgbClr val="FFFFFF"/>
                  </a:solidFill>
                  <a:latin typeface="맑은 고딕"/>
                  <a:ea typeface="맑은 고딕"/>
                </a:rPr>
                <a:t>석</a:t>
              </a:r>
              <a:endParaRPr lang="ko-KR" altLang="en-US" sz="800" kern="0" dirty="0" smtClean="0">
                <a:solidFill>
                  <a:srgbClr val="FFFFFF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48" name="Rectangle 38"/>
            <p:cNvSpPr>
              <a:spLocks noChangeArrowheads="1"/>
            </p:cNvSpPr>
            <p:nvPr/>
          </p:nvSpPr>
          <p:spPr bwMode="gray">
            <a:xfrm>
              <a:off x="433479" y="1955118"/>
              <a:ext cx="1126140" cy="245836"/>
            </a:xfrm>
            <a:prstGeom prst="homePlate">
              <a:avLst>
                <a:gd name="adj" fmla="val 32051"/>
              </a:avLst>
            </a:prstGeom>
            <a:solidFill>
              <a:srgbClr val="646464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latinLnBrk="0">
                <a:spcBef>
                  <a:spcPct val="50000"/>
                </a:spcBef>
                <a:defRPr/>
              </a:pPr>
              <a:r>
                <a:rPr lang="en-US" altLang="ko-KR" sz="8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Readiness</a:t>
              </a:r>
              <a:endParaRPr lang="ko-KR" altLang="en-US" sz="800" kern="0" dirty="0" smtClean="0">
                <a:solidFill>
                  <a:srgbClr val="FFFFFF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49" name="Elbow Connector 148"/>
            <p:cNvCxnSpPr/>
            <p:nvPr/>
          </p:nvCxnSpPr>
          <p:spPr bwMode="auto">
            <a:xfrm flipV="1">
              <a:off x="3869963" y="3997966"/>
              <a:ext cx="392543" cy="1957182"/>
            </a:xfrm>
            <a:prstGeom prst="bentConnector3">
              <a:avLst/>
            </a:prstGeom>
            <a:solidFill>
              <a:srgbClr val="FFD200"/>
            </a:solidFill>
            <a:ln w="19050" cap="flat" cmpd="sng" algn="ctr">
              <a:solidFill>
                <a:srgbClr val="C00000"/>
              </a:solidFill>
              <a:prstDash val="sysDash"/>
              <a:round/>
              <a:headEnd type="none" w="med" len="med"/>
              <a:tailEnd type="arrow"/>
            </a:ln>
            <a:effectLst/>
          </p:spPr>
        </p:cxnSp>
        <p:sp>
          <p:nvSpPr>
            <p:cNvPr id="150" name="AutoShape 42"/>
            <p:cNvSpPr>
              <a:spLocks noChangeArrowheads="1"/>
            </p:cNvSpPr>
            <p:nvPr/>
          </p:nvSpPr>
          <p:spPr bwMode="gray">
            <a:xfrm>
              <a:off x="4312067" y="2386505"/>
              <a:ext cx="938971" cy="994117"/>
            </a:xfrm>
            <a:prstGeom prst="foldedCorner">
              <a:avLst>
                <a:gd name="adj" fmla="val 11653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108000" tIns="0" rIns="0" bIns="0" anchor="ctr"/>
            <a:lstStyle/>
            <a:p>
              <a:pPr marL="171450" indent="-171450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171450" indent="-171450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defTabSz="781050" latinLnBrk="0"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법규와 </a:t>
              </a:r>
              <a:r>
                <a:rPr lang="ko-KR" altLang="en-US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내규의 </a:t>
              </a:r>
              <a:r>
                <a:rPr lang="en-US" altLang="ko-KR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Gap </a:t>
              </a:r>
              <a:r>
                <a:rPr lang="ko-KR" altLang="en-US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분석 의견서 포함</a:t>
              </a: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컴플라이언스 표준 및 보호대책 </a:t>
              </a: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법률 검토 보고서 </a:t>
              </a:r>
              <a:r>
                <a:rPr lang="ko-KR" altLang="en-US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포함</a:t>
              </a:r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4364917" y="2424680"/>
              <a:ext cx="857013" cy="159224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아키텍처 상세설계서</a:t>
              </a:r>
            </a:p>
          </p:txBody>
        </p:sp>
        <p:sp>
          <p:nvSpPr>
            <p:cNvPr id="152" name="AutoShape 42"/>
            <p:cNvSpPr>
              <a:spLocks noChangeArrowheads="1"/>
            </p:cNvSpPr>
            <p:nvPr/>
          </p:nvSpPr>
          <p:spPr bwMode="gray">
            <a:xfrm>
              <a:off x="4312067" y="3522669"/>
              <a:ext cx="938971" cy="913477"/>
            </a:xfrm>
            <a:prstGeom prst="foldedCorner">
              <a:avLst>
                <a:gd name="adj" fmla="val 11653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108000" tIns="0" rIns="0" bIns="0" anchor="ctr"/>
            <a:lstStyle/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defTabSz="781050" latinLnBrk="0"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설계</a:t>
              </a: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개발</a:t>
              </a: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통합 테스트</a:t>
              </a: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</a:b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단계별 적용성 보고서</a:t>
              </a: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프로젝트 보안관리</a:t>
              </a: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</a:b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점검내역 포함</a:t>
              </a:r>
              <a:endParaRPr lang="ko-KR" altLang="en-US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53" name="Rounded Rectangle 152"/>
            <p:cNvSpPr/>
            <p:nvPr/>
          </p:nvSpPr>
          <p:spPr>
            <a:xfrm>
              <a:off x="4330069" y="3557776"/>
              <a:ext cx="904635" cy="157585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단계별 </a:t>
              </a:r>
              <a:r>
                <a:rPr kumimoji="0" lang="ko-KR" altLang="en-US" sz="7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적용성보고서</a:t>
              </a:r>
              <a:endParaRPr kumimoji="0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54" name="AutoShape 42"/>
            <p:cNvSpPr>
              <a:spLocks noChangeArrowheads="1"/>
            </p:cNvSpPr>
            <p:nvPr/>
          </p:nvSpPr>
          <p:spPr bwMode="gray">
            <a:xfrm>
              <a:off x="4312067" y="4511207"/>
              <a:ext cx="938971" cy="856524"/>
            </a:xfrm>
            <a:prstGeom prst="foldedCorner">
              <a:avLst>
                <a:gd name="adj" fmla="val 11653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108000" tIns="0" rIns="0" bIns="0" anchor="ctr"/>
            <a:lstStyle/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defTabSz="781050" latinLnBrk="0"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개선과제 </a:t>
              </a:r>
              <a:r>
                <a:rPr lang="ko-KR" altLang="en-US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및 </a:t>
              </a: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세부 이행과제 추진 방안 </a:t>
              </a:r>
              <a:endParaRPr lang="ko-KR" altLang="en-US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Road </a:t>
              </a:r>
              <a:r>
                <a:rPr lang="en-US" altLang="ko-KR" sz="600" b="0" kern="0" dirty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Map</a:t>
              </a: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컴플라이언스 실행과제</a:t>
              </a:r>
              <a:endParaRPr lang="ko-KR" altLang="en-US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55" name="Rounded Rectangle 154"/>
            <p:cNvSpPr/>
            <p:nvPr/>
          </p:nvSpPr>
          <p:spPr>
            <a:xfrm>
              <a:off x="4394025" y="4562349"/>
              <a:ext cx="778601" cy="159224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정보보안 마스터플랜</a:t>
              </a:r>
            </a:p>
          </p:txBody>
        </p:sp>
        <p:sp>
          <p:nvSpPr>
            <p:cNvPr id="156" name="AutoShape 42"/>
            <p:cNvSpPr>
              <a:spLocks noChangeArrowheads="1"/>
            </p:cNvSpPr>
            <p:nvPr/>
          </p:nvSpPr>
          <p:spPr bwMode="gray">
            <a:xfrm>
              <a:off x="4312067" y="5484763"/>
              <a:ext cx="938971" cy="675202"/>
            </a:xfrm>
            <a:prstGeom prst="foldedCorner">
              <a:avLst>
                <a:gd name="adj" fmla="val 11653"/>
              </a:avLst>
            </a:prstGeom>
            <a:solidFill>
              <a:srgbClr val="FFFFFF">
                <a:lumMod val="95000"/>
              </a:srgbClr>
            </a:solidFill>
            <a:ln w="9525" algn="ctr">
              <a:solidFill>
                <a:srgbClr val="808080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wrap="square" lIns="108000" tIns="0" rIns="0" bIns="0" anchor="ctr"/>
            <a:lstStyle/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endParaRPr lang="en-US" altLang="ko-KR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보안 기능상 중복누락 제거 중점 제시</a:t>
              </a:r>
              <a:endParaRPr lang="en-US" altLang="ko-KR" sz="600" b="0" kern="0" dirty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  <a:p>
              <a:pPr marL="92075" indent="-92075" defTabSz="781050" latinLnBrk="0">
                <a:buFont typeface="Wingdings" panose="05000000000000000000" pitchFamily="2" charset="2"/>
                <a:buChar char="ü"/>
                <a:defRPr/>
              </a:pPr>
              <a:r>
                <a:rPr lang="en-US" altLang="ko-KR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Shot List </a:t>
              </a:r>
              <a:r>
                <a:rPr lang="ko-KR" altLang="en-US" sz="600" b="0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</a:rPr>
                <a:t>권고</a:t>
              </a:r>
              <a:endParaRPr lang="ko-KR" altLang="en-US" sz="600" b="0" kern="0" dirty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57" name="Rounded Rectangle 156"/>
            <p:cNvSpPr/>
            <p:nvPr/>
          </p:nvSpPr>
          <p:spPr>
            <a:xfrm>
              <a:off x="4394025" y="5520664"/>
              <a:ext cx="778601" cy="159223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안솔루션 선정</a:t>
              </a:r>
            </a:p>
          </p:txBody>
        </p:sp>
        <p:cxnSp>
          <p:nvCxnSpPr>
            <p:cNvPr id="158" name="Straight Connector 157"/>
            <p:cNvCxnSpPr/>
            <p:nvPr/>
          </p:nvCxnSpPr>
          <p:spPr bwMode="auto">
            <a:xfrm>
              <a:off x="4230109" y="2540387"/>
              <a:ext cx="0" cy="3263418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9" name="Straight Connector 158"/>
            <p:cNvCxnSpPr/>
            <p:nvPr/>
          </p:nvCxnSpPr>
          <p:spPr bwMode="auto">
            <a:xfrm flipH="1">
              <a:off x="4230109" y="2529275"/>
              <a:ext cx="81958" cy="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FFD200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0" name="Straight Connector 159"/>
            <p:cNvCxnSpPr/>
            <p:nvPr/>
          </p:nvCxnSpPr>
          <p:spPr bwMode="auto">
            <a:xfrm flipH="1">
              <a:off x="4230109" y="4001720"/>
              <a:ext cx="81958" cy="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FFD200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1" name="Straight Connector 160"/>
            <p:cNvCxnSpPr/>
            <p:nvPr/>
          </p:nvCxnSpPr>
          <p:spPr bwMode="auto">
            <a:xfrm flipH="1">
              <a:off x="4230109" y="4928877"/>
              <a:ext cx="81958" cy="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2" name="Straight Connector 161"/>
            <p:cNvCxnSpPr/>
            <p:nvPr/>
          </p:nvCxnSpPr>
          <p:spPr bwMode="auto">
            <a:xfrm flipH="1">
              <a:off x="4230109" y="5824812"/>
              <a:ext cx="81958" cy="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FFD200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3" name="직사각형 80"/>
            <p:cNvSpPr/>
            <p:nvPr/>
          </p:nvSpPr>
          <p:spPr bwMode="auto">
            <a:xfrm>
              <a:off x="2905245" y="5793154"/>
              <a:ext cx="1014279" cy="286870"/>
            </a:xfrm>
            <a:prstGeom prst="rect">
              <a:avLst/>
            </a:prstGeom>
            <a:solidFill>
              <a:srgbClr val="1B3A87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36000" rIns="0" bIns="0" anchor="ctr" anchorCtr="0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2400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보안아키텍처 요건정의서</a:t>
              </a:r>
              <a:endParaRPr kumimoji="1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5637203" y="2032251"/>
            <a:ext cx="3961323" cy="4186501"/>
            <a:chOff x="5412070" y="2132856"/>
            <a:chExt cx="4283473" cy="4049987"/>
          </a:xfrm>
        </p:grpSpPr>
        <p:sp>
          <p:nvSpPr>
            <p:cNvPr id="55" name="Rectangle 10"/>
            <p:cNvSpPr>
              <a:spLocks noChangeArrowheads="1"/>
            </p:cNvSpPr>
            <p:nvPr/>
          </p:nvSpPr>
          <p:spPr bwMode="auto">
            <a:xfrm>
              <a:off x="6593903" y="3117171"/>
              <a:ext cx="3101640" cy="85848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36000" tIns="108000" rIns="36000" bIns="36000" anchor="t" anchorCtr="0"/>
            <a:lstStyle/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Life Cycle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단계별 원칙 수립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고객정보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흐름도 등의 최신성 유지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연관 정보보호 도메인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및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조직별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R&amp;R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관리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</p:txBody>
        </p:sp>
        <p:sp>
          <p:nvSpPr>
            <p:cNvPr id="56" name="Rectangle 10"/>
            <p:cNvSpPr>
              <a:spLocks noChangeArrowheads="1"/>
            </p:cNvSpPr>
            <p:nvPr/>
          </p:nvSpPr>
          <p:spPr bwMode="auto">
            <a:xfrm>
              <a:off x="6593903" y="4048585"/>
              <a:ext cx="3101640" cy="103201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36000" tIns="108000" rIns="36000" bIns="36000" anchor="t" anchorCtr="0"/>
            <a:lstStyle/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탐지 체제 구현을 위한 단일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/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복합 시나리오 수립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측정지표 수립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lvl="1" indent="-92075" fontAlgn="auto" latinLnBrk="0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대응 프로세스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수립 </a:t>
              </a:r>
              <a:r>
                <a:rPr lang="en-US" altLang="ko-KR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(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측정 시 조치 프로세스</a:t>
              </a:r>
              <a:r>
                <a:rPr lang="en-US" altLang="ko-KR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)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</p:txBody>
        </p:sp>
        <p:sp>
          <p:nvSpPr>
            <p:cNvPr id="57" name="Rectangle 10"/>
            <p:cNvSpPr>
              <a:spLocks noChangeArrowheads="1"/>
            </p:cNvSpPr>
            <p:nvPr/>
          </p:nvSpPr>
          <p:spPr bwMode="auto">
            <a:xfrm>
              <a:off x="6593903" y="2132857"/>
              <a:ext cx="3101640" cy="91054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36000" tIns="108000" rIns="36000" bIns="36000" anchor="t" anchorCtr="0"/>
            <a:lstStyle/>
            <a:p>
              <a:pPr marL="92075" marR="0" lvl="1" indent="-92075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관련 법규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(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개인정보 보호법 등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)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 준수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marR="0" lvl="1" indent="-92075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최소한의 고객정보 수집 및 처리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marR="0" lvl="1" indent="-92075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altLang="ko-KR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To-Be </a:t>
              </a:r>
              <a:r>
                <a:rPr lang="ko-KR" altLang="en-US" sz="1100" b="0" kern="0" spc="-1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적용 </a:t>
              </a:r>
              <a:r>
                <a:rPr lang="ko-KR" altLang="en-US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방안 </a:t>
              </a:r>
              <a:r>
                <a:rPr lang="en-US" altLang="ko-KR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(</a:t>
              </a:r>
              <a:r>
                <a:rPr lang="ko-KR" altLang="en-US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보관 장소 </a:t>
              </a:r>
              <a:r>
                <a:rPr lang="en-US" altLang="ko-KR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/ </a:t>
              </a:r>
              <a:r>
                <a:rPr lang="ko-KR" altLang="en-US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암호화 시 통신 방안</a:t>
              </a:r>
              <a:r>
                <a:rPr lang="en-US" altLang="ko-KR" sz="1100" b="0" kern="0" spc="-1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)</a:t>
              </a:r>
              <a:endParaRPr lang="en-US" altLang="ko-KR" sz="1100" b="0" kern="0" spc="-1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</p:txBody>
        </p:sp>
        <p:sp>
          <p:nvSpPr>
            <p:cNvPr id="61" name="Rectangle 10"/>
            <p:cNvSpPr>
              <a:spLocks noChangeArrowheads="1"/>
            </p:cNvSpPr>
            <p:nvPr/>
          </p:nvSpPr>
          <p:spPr bwMode="auto">
            <a:xfrm>
              <a:off x="6593903" y="5150831"/>
              <a:ext cx="3101640" cy="103201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36000" tIns="108000" rIns="36000" bIns="36000" anchor="t" anchorCtr="0"/>
            <a:lstStyle/>
            <a:p>
              <a:pPr marL="92075" marR="0" lvl="1" indent="-92075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보안 솔루션 통합 관리를 위한 정보보호 플랫폼 수립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92075" marR="0" lvl="1" indent="-92075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단말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,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서버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,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네트워크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, OA,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  <a:sym typeface="Arial"/>
                </a:rPr>
                <a:t>기타 영역에 대한 비적용 현황 도출</a:t>
              </a:r>
              <a:endPara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  <a:sym typeface="Arial"/>
              </a:endParaRPr>
            </a:p>
            <a:p>
              <a:pPr marL="88900" marR="0" lvl="1" indent="0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Tx/>
                <a:buNone/>
                <a:tabLst/>
                <a:defRPr/>
              </a:pP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charset="0"/>
                <a:sym typeface="Arial"/>
              </a:endParaRPr>
            </a:p>
          </p:txBody>
        </p:sp>
        <p:sp>
          <p:nvSpPr>
            <p:cNvPr id="169" name="TextBox 168"/>
            <p:cNvSpPr txBox="1"/>
            <p:nvPr>
              <p:custDataLst>
                <p:tags r:id="rId1"/>
              </p:custDataLst>
            </p:nvPr>
          </p:nvSpPr>
          <p:spPr>
            <a:xfrm>
              <a:off x="5412070" y="2132856"/>
              <a:ext cx="1123200" cy="91408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원장 최소화</a:t>
              </a:r>
              <a:r>
                <a:rPr lang="en-US" altLang="ko-KR" sz="1200" dirty="0" smtClean="0"/>
                <a:t>/</a:t>
              </a:r>
            </a:p>
            <a:p>
              <a:pPr lvl="1"/>
              <a:r>
                <a:rPr lang="ko-KR" altLang="en-US" sz="1200" dirty="0" smtClean="0"/>
                <a:t>암호화</a:t>
              </a:r>
              <a:endParaRPr lang="ko-KR" altLang="en-US" sz="1200" dirty="0"/>
            </a:p>
          </p:txBody>
        </p:sp>
        <p:sp>
          <p:nvSpPr>
            <p:cNvPr id="170" name="TextBox 169"/>
            <p:cNvSpPr txBox="1"/>
            <p:nvPr>
              <p:custDataLst>
                <p:tags r:id="rId2"/>
              </p:custDataLst>
            </p:nvPr>
          </p:nvSpPr>
          <p:spPr>
            <a:xfrm>
              <a:off x="5412070" y="3117171"/>
              <a:ext cx="1123200" cy="8611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고객정보 관리체계 수립</a:t>
              </a:r>
            </a:p>
          </p:txBody>
        </p:sp>
        <p:sp>
          <p:nvSpPr>
            <p:cNvPr id="171" name="TextBox 170"/>
            <p:cNvSpPr txBox="1"/>
            <p:nvPr>
              <p:custDataLst>
                <p:tags r:id="rId3"/>
              </p:custDataLst>
            </p:nvPr>
          </p:nvSpPr>
          <p:spPr>
            <a:xfrm>
              <a:off x="5412070" y="4048585"/>
              <a:ext cx="1123200" cy="103201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선제적 탐지 체계 구현</a:t>
              </a:r>
            </a:p>
          </p:txBody>
        </p:sp>
        <p:sp>
          <p:nvSpPr>
            <p:cNvPr id="172" name="TextBox 171"/>
            <p:cNvSpPr txBox="1"/>
            <p:nvPr>
              <p:custDataLst>
                <p:tags r:id="rId4"/>
              </p:custDataLst>
            </p:nvPr>
          </p:nvSpPr>
          <p:spPr>
            <a:xfrm>
              <a:off x="5412070" y="5150831"/>
              <a:ext cx="1123200" cy="103201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</p:spPr>
          <p:txBody>
            <a:bodyPr wrap="square" lIns="36000" tIns="0" rIns="36000" bIns="0" rtlCol="0" anchor="ctr">
              <a:noAutofit/>
            </a:bodyPr>
            <a:lstStyle>
              <a:defPPr>
                <a:defRPr lang="en-US"/>
              </a:defPPr>
              <a:lvl1pPr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defRPr sz="1200" ker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marL="0" marR="0" lvl="1" indent="0" algn="ctr" defTabSz="95726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 kumimoji="0" sz="1300" u="none" strike="noStrike" kern="0" cap="none" spc="0" normalizeH="0" baseline="0">
                  <a:ln>
                    <a:solidFill>
                      <a:srgbClr val="FFD200">
                        <a:alpha val="0"/>
                      </a:srgbClr>
                    </a:solidFill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defRPr>
              </a:lvl2pPr>
            </a:lstStyle>
            <a:p>
              <a:pPr lvl="1"/>
              <a:r>
                <a:rPr lang="ko-KR" altLang="en-US" sz="1200" dirty="0"/>
                <a:t>정보보호 플랫폼 구현</a:t>
              </a:r>
            </a:p>
          </p:txBody>
        </p:sp>
      </p:grpSp>
      <p:grpSp>
        <p:nvGrpSpPr>
          <p:cNvPr id="96" name="그룹 95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97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9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9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0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0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04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05" name="그룹 104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0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0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sp>
        <p:nvSpPr>
          <p:cNvPr id="89" name="오각형 74"/>
          <p:cNvSpPr/>
          <p:nvPr/>
        </p:nvSpPr>
        <p:spPr bwMode="auto">
          <a:xfrm>
            <a:off x="5637203" y="1620301"/>
            <a:ext cx="3961323" cy="351180"/>
          </a:xfrm>
          <a:prstGeom prst="homePlate">
            <a:avLst>
              <a:gd name="adj" fmla="val 29682"/>
            </a:avLst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주요</a:t>
            </a:r>
            <a:r>
              <a:rPr lang="ko-KR" altLang="en-US" sz="13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수행 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Task </a:t>
            </a:r>
            <a:endParaRPr kumimoji="0" lang="ko-KR" altLang="en-US" sz="13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90" name="그룹 89"/>
          <p:cNvGrpSpPr/>
          <p:nvPr/>
        </p:nvGrpSpPr>
        <p:grpSpPr>
          <a:xfrm>
            <a:off x="345600" y="1620301"/>
            <a:ext cx="5155336" cy="352800"/>
            <a:chOff x="1397655" y="1982397"/>
            <a:chExt cx="4014787" cy="365811"/>
          </a:xfrm>
        </p:grpSpPr>
        <p:sp>
          <p:nvSpPr>
            <p:cNvPr id="91" name="Text Box 8"/>
            <p:cNvSpPr txBox="1">
              <a:spLocks noChangeArrowheads="1"/>
            </p:cNvSpPr>
            <p:nvPr/>
          </p:nvSpPr>
          <p:spPr bwMode="auto">
            <a:xfrm>
              <a:off x="1397655" y="1982397"/>
              <a:ext cx="4014787" cy="3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36000" rIns="36000" bIns="36000" anchor="ctr">
              <a:noAutofit/>
            </a:bodyPr>
            <a:lstStyle>
              <a:lvl1pPr marL="100013" indent="-100013">
                <a:lnSpc>
                  <a:spcPct val="120000"/>
                </a:lnSpc>
                <a:spcBef>
                  <a:spcPct val="30000"/>
                </a:spcBef>
                <a:buChar char="•"/>
                <a:tabLst>
                  <a:tab pos="88900" algn="l"/>
                </a:tabLst>
                <a:defRPr kumimoji="1" sz="2000" b="1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88900" algn="l"/>
                </a:tabLst>
                <a:defRPr kumimoji="1" sz="14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vl="0" algn="ctr" fontAlgn="auto" latinLnBrk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None/>
                <a:defRPr/>
              </a:pPr>
              <a:r>
                <a:rPr kumimoji="0" lang="ko-KR" altLang="en-US" sz="1300" kern="0" dirty="0">
                  <a:latin typeface="맑은 고딕"/>
                  <a:ea typeface="맑은 고딕"/>
                </a:rPr>
                <a:t>차세대 정보보안 요건 정의 및 체계 수립 </a:t>
              </a:r>
              <a:r>
                <a:rPr kumimoji="0" lang="en-US" altLang="ko-KR" sz="1300" kern="0" dirty="0">
                  <a:latin typeface="맑은 고딕"/>
                  <a:ea typeface="맑은 고딕"/>
                </a:rPr>
                <a:t>(</a:t>
              </a:r>
              <a:r>
                <a:rPr kumimoji="0" lang="ko-KR" altLang="en-US" sz="1300" kern="0" dirty="0">
                  <a:latin typeface="맑은 고딕"/>
                  <a:ea typeface="맑은 고딕"/>
                </a:rPr>
                <a:t>案</a:t>
              </a:r>
              <a:r>
                <a:rPr kumimoji="0" lang="en-US" altLang="ko-KR" sz="1300" kern="0" dirty="0">
                  <a:latin typeface="맑은 고딕"/>
                  <a:ea typeface="맑은 고딕"/>
                </a:rPr>
                <a:t>)</a:t>
              </a:r>
            </a:p>
          </p:txBody>
        </p:sp>
        <p:sp>
          <p:nvSpPr>
            <p:cNvPr id="92" name="Line 9"/>
            <p:cNvSpPr>
              <a:spLocks noChangeShapeType="1"/>
            </p:cNvSpPr>
            <p:nvPr/>
          </p:nvSpPr>
          <p:spPr bwMode="auto">
            <a:xfrm>
              <a:off x="1397655" y="2348208"/>
              <a:ext cx="4014787" cy="0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3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pic>
        <p:nvPicPr>
          <p:cNvPr id="7" name="그림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26671" y="1756990"/>
            <a:ext cx="757850" cy="18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08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보호 강화 및 통합 정보보호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59312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처리시스템 별로 보유한 개인정보 현황을 분석하여 불필요하고 중복되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현황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점검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직사각형 47"/>
          <p:cNvSpPr/>
          <p:nvPr/>
        </p:nvSpPr>
        <p:spPr bwMode="auto">
          <a:xfrm>
            <a:off x="286940" y="1844824"/>
            <a:ext cx="747706" cy="538910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 smtClean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개인정보 최소화</a:t>
            </a:r>
            <a:endParaRPr lang="ko-KR" altLang="en-US" sz="12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35" name="직사각형 154"/>
          <p:cNvSpPr/>
          <p:nvPr/>
        </p:nvSpPr>
        <p:spPr bwMode="auto">
          <a:xfrm>
            <a:off x="1111423" y="1844824"/>
            <a:ext cx="2093287" cy="538910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36" name="직사각형 155"/>
          <p:cNvSpPr/>
          <p:nvPr/>
        </p:nvSpPr>
        <p:spPr bwMode="auto">
          <a:xfrm>
            <a:off x="3273902" y="1844824"/>
            <a:ext cx="747602" cy="538910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개인정보</a:t>
            </a:r>
          </a:p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암호화</a:t>
            </a:r>
          </a:p>
        </p:txBody>
      </p:sp>
      <p:sp>
        <p:nvSpPr>
          <p:cNvPr id="137" name="직사각형 156"/>
          <p:cNvSpPr/>
          <p:nvPr/>
        </p:nvSpPr>
        <p:spPr bwMode="auto">
          <a:xfrm>
            <a:off x="4102248" y="1844824"/>
            <a:ext cx="5534277" cy="538910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1111423" y="1979380"/>
            <a:ext cx="1758332" cy="2591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보호법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16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조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4120415" y="1979380"/>
            <a:ext cx="1758332" cy="2591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보호법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24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조</a:t>
            </a:r>
          </a:p>
        </p:txBody>
      </p:sp>
      <p:sp>
        <p:nvSpPr>
          <p:cNvPr id="142" name="직사각형 161"/>
          <p:cNvSpPr/>
          <p:nvPr/>
        </p:nvSpPr>
        <p:spPr bwMode="auto">
          <a:xfrm>
            <a:off x="286939" y="2425570"/>
            <a:ext cx="2917686" cy="53891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3" name="직사각형 162"/>
          <p:cNvSpPr/>
          <p:nvPr/>
        </p:nvSpPr>
        <p:spPr bwMode="auto">
          <a:xfrm>
            <a:off x="3279396" y="2420009"/>
            <a:ext cx="6357129" cy="53891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246057" y="2388907"/>
            <a:ext cx="3039964" cy="6047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를 수집하는 경우에는 그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목적에 필요한 최소한의 개인정보를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수집하여야 한다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.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3204626" y="2388907"/>
            <a:ext cx="61353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처리자는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 주민등록번호가 분실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·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도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·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유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  <a:cs typeface="Arial"/>
              </a:rPr>
              <a:t>·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변조 또는 훼손되지 아니하도록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암호화 조치를 통하여 안전하게 보관하여야 한다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.</a:t>
            </a:r>
          </a:p>
        </p:txBody>
      </p:sp>
      <p:sp>
        <p:nvSpPr>
          <p:cNvPr id="146" name="직사각형 165"/>
          <p:cNvSpPr/>
          <p:nvPr/>
        </p:nvSpPr>
        <p:spPr bwMode="auto">
          <a:xfrm>
            <a:off x="286939" y="3107140"/>
            <a:ext cx="2917686" cy="3230522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7" name="직사각형 172"/>
          <p:cNvSpPr/>
          <p:nvPr/>
        </p:nvSpPr>
        <p:spPr bwMode="auto">
          <a:xfrm>
            <a:off x="6868387" y="3107140"/>
            <a:ext cx="2768139" cy="3230522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8" name="직사각형 173"/>
          <p:cNvSpPr/>
          <p:nvPr/>
        </p:nvSpPr>
        <p:spPr bwMode="auto">
          <a:xfrm>
            <a:off x="418787" y="3238365"/>
            <a:ext cx="2653989" cy="5389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9" name="직사각형 174"/>
          <p:cNvSpPr/>
          <p:nvPr/>
        </p:nvSpPr>
        <p:spPr bwMode="auto">
          <a:xfrm>
            <a:off x="418787" y="3861594"/>
            <a:ext cx="2653989" cy="5389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50" name="직사각형 175"/>
          <p:cNvSpPr/>
          <p:nvPr/>
        </p:nvSpPr>
        <p:spPr bwMode="auto">
          <a:xfrm>
            <a:off x="418787" y="4484821"/>
            <a:ext cx="2653989" cy="5389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51" name="직사각형 176"/>
          <p:cNvSpPr/>
          <p:nvPr/>
        </p:nvSpPr>
        <p:spPr bwMode="auto">
          <a:xfrm>
            <a:off x="418787" y="5108049"/>
            <a:ext cx="2653989" cy="5389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52" name="직사각형 177"/>
          <p:cNvSpPr/>
          <p:nvPr/>
        </p:nvSpPr>
        <p:spPr bwMode="auto">
          <a:xfrm>
            <a:off x="418787" y="5731278"/>
            <a:ext cx="2653989" cy="5389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900678" y="3258726"/>
            <a:ext cx="1690206" cy="5324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시스템 별 개인정보</a:t>
            </a:r>
            <a:endParaRPr kumimoji="0" lang="en-US" altLang="ko-KR" sz="1300" i="0" u="none" strike="noStrike" kern="0" cap="none" spc="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보유현황 조사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704315" y="3994262"/>
            <a:ext cx="208294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시스템 별 개인정보 분류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733974" y="4617490"/>
            <a:ext cx="202363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 통합방안 협의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930333" y="5240718"/>
            <a:ext cx="163089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 통합관리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57024" y="5769587"/>
            <a:ext cx="2177519" cy="5324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-10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중복되고 불필요한 개인정보</a:t>
            </a:r>
            <a:endParaRPr kumimoji="0" lang="en-US" altLang="ko-KR" sz="1300" i="0" u="none" strike="noStrike" kern="0" cap="none" spc="-10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-10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삭제</a:t>
            </a:r>
          </a:p>
        </p:txBody>
      </p:sp>
      <p:sp>
        <p:nvSpPr>
          <p:cNvPr id="158" name="오른쪽 화살표 183"/>
          <p:cNvSpPr/>
          <p:nvPr/>
        </p:nvSpPr>
        <p:spPr bwMode="auto">
          <a:xfrm rot="5400000">
            <a:off x="458506" y="3619691"/>
            <a:ext cx="370517" cy="485942"/>
          </a:xfrm>
          <a:prstGeom prst="rightArrow">
            <a:avLst/>
          </a:prstGeom>
          <a:solidFill>
            <a:srgbClr val="00206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59" name="오른쪽 화살표 184"/>
          <p:cNvSpPr/>
          <p:nvPr/>
        </p:nvSpPr>
        <p:spPr bwMode="auto">
          <a:xfrm rot="5400000">
            <a:off x="458506" y="4233129"/>
            <a:ext cx="370517" cy="485942"/>
          </a:xfrm>
          <a:prstGeom prst="rightArrow">
            <a:avLst/>
          </a:prstGeom>
          <a:solidFill>
            <a:srgbClr val="00206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0" name="오른쪽 화살표 185"/>
          <p:cNvSpPr/>
          <p:nvPr/>
        </p:nvSpPr>
        <p:spPr bwMode="auto">
          <a:xfrm rot="5400000">
            <a:off x="458506" y="4852283"/>
            <a:ext cx="370517" cy="485942"/>
          </a:xfrm>
          <a:prstGeom prst="rightArrow">
            <a:avLst/>
          </a:prstGeom>
          <a:solidFill>
            <a:srgbClr val="00206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1" name="오른쪽 화살표 186"/>
          <p:cNvSpPr/>
          <p:nvPr/>
        </p:nvSpPr>
        <p:spPr bwMode="auto">
          <a:xfrm rot="5400000">
            <a:off x="458506" y="5484207"/>
            <a:ext cx="370517" cy="485942"/>
          </a:xfrm>
          <a:prstGeom prst="rightArrow">
            <a:avLst/>
          </a:prstGeom>
          <a:solidFill>
            <a:srgbClr val="00206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3254314" y="3107140"/>
            <a:ext cx="3600743" cy="3230522"/>
            <a:chOff x="3265465" y="3137620"/>
            <a:chExt cx="3600743" cy="3230522"/>
          </a:xfrm>
        </p:grpSpPr>
        <p:sp>
          <p:nvSpPr>
            <p:cNvPr id="193" name="직사각형 166"/>
            <p:cNvSpPr/>
            <p:nvPr/>
          </p:nvSpPr>
          <p:spPr bwMode="auto">
            <a:xfrm>
              <a:off x="3286021" y="3137620"/>
              <a:ext cx="3513732" cy="3230522"/>
            </a:xfrm>
            <a:prstGeom prst="rect">
              <a:avLst/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4616168" y="3211800"/>
              <a:ext cx="85343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sng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려사항</a:t>
              </a:r>
            </a:p>
          </p:txBody>
        </p:sp>
        <p:sp>
          <p:nvSpPr>
            <p:cNvPr id="195" name="모서리가 둥근 직사각형 188"/>
            <p:cNvSpPr/>
            <p:nvPr/>
          </p:nvSpPr>
          <p:spPr bwMode="auto">
            <a:xfrm>
              <a:off x="3342706" y="3529107"/>
              <a:ext cx="2055907" cy="2728350"/>
            </a:xfrm>
            <a:prstGeom prst="roundRect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96" name="원통 189"/>
            <p:cNvSpPr/>
            <p:nvPr/>
          </p:nvSpPr>
          <p:spPr bwMode="auto">
            <a:xfrm>
              <a:off x="3551315" y="3781032"/>
              <a:ext cx="747602" cy="462891"/>
            </a:xfrm>
            <a:prstGeom prst="can">
              <a:avLst/>
            </a:prstGeom>
            <a:gradFill flip="none" rotWithShape="1">
              <a:gsLst>
                <a:gs pos="0">
                  <a:srgbClr val="FFFFFF">
                    <a:lumMod val="65000"/>
                  </a:srgbClr>
                </a:gs>
                <a:gs pos="50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0" scaled="1"/>
              <a:tileRect/>
            </a:gra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3431673" y="3872702"/>
              <a:ext cx="959393" cy="4031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번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유 테이블</a:t>
              </a:r>
            </a:p>
          </p:txBody>
        </p:sp>
        <p:grpSp>
          <p:nvGrpSpPr>
            <p:cNvPr id="198" name="그룹 206"/>
            <p:cNvGrpSpPr/>
            <p:nvPr/>
          </p:nvGrpSpPr>
          <p:grpSpPr>
            <a:xfrm>
              <a:off x="4220552" y="3955620"/>
              <a:ext cx="1096179" cy="512379"/>
              <a:chOff x="4387657" y="4019550"/>
              <a:chExt cx="1055707" cy="547619"/>
            </a:xfrm>
          </p:grpSpPr>
          <p:grpSp>
            <p:nvGrpSpPr>
              <p:cNvPr id="244" name="그룹 205"/>
              <p:cNvGrpSpPr/>
              <p:nvPr/>
            </p:nvGrpSpPr>
            <p:grpSpPr>
              <a:xfrm>
                <a:off x="4387657" y="4019550"/>
                <a:ext cx="1055707" cy="547619"/>
                <a:chOff x="4387657" y="4019550"/>
                <a:chExt cx="1055707" cy="547619"/>
              </a:xfrm>
            </p:grpSpPr>
            <p:sp>
              <p:nvSpPr>
                <p:cNvPr id="246" name="직사각형 194"/>
                <p:cNvSpPr/>
                <p:nvPr/>
              </p:nvSpPr>
              <p:spPr bwMode="auto">
                <a:xfrm>
                  <a:off x="4520900" y="4029616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47" name="TextBox 246"/>
                <p:cNvSpPr txBox="1"/>
                <p:nvPr/>
              </p:nvSpPr>
              <p:spPr>
                <a:xfrm>
                  <a:off x="4387657" y="4019550"/>
                  <a:ext cx="853439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ko-KR" altLang="en-US" sz="900" b="0" i="0" u="none" strike="noStrike" kern="0" cap="none" spc="-100" normalizeH="0" baseline="0" noProof="0" dirty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주민등록번호</a:t>
                  </a:r>
                </a:p>
              </p:txBody>
            </p:sp>
            <p:sp>
              <p:nvSpPr>
                <p:cNvPr id="248" name="직사각형 196"/>
                <p:cNvSpPr/>
                <p:nvPr/>
              </p:nvSpPr>
              <p:spPr bwMode="auto">
                <a:xfrm>
                  <a:off x="4520900" y="4207289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49" name="직사각형 197"/>
                <p:cNvSpPr/>
                <p:nvPr/>
              </p:nvSpPr>
              <p:spPr bwMode="auto">
                <a:xfrm>
                  <a:off x="4520900" y="4387169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cxnSp>
              <p:nvCxnSpPr>
                <p:cNvPr id="250" name="직선 연결선 199"/>
                <p:cNvCxnSpPr/>
                <p:nvPr/>
              </p:nvCxnSpPr>
              <p:spPr bwMode="auto">
                <a:xfrm>
                  <a:off x="4522271" y="4028252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1" name="직선 연결선 202"/>
                <p:cNvCxnSpPr/>
                <p:nvPr/>
              </p:nvCxnSpPr>
              <p:spPr bwMode="auto">
                <a:xfrm>
                  <a:off x="4522271" y="4389230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2" name="직선 연결선 203"/>
                <p:cNvCxnSpPr/>
                <p:nvPr/>
              </p:nvCxnSpPr>
              <p:spPr bwMode="auto">
                <a:xfrm>
                  <a:off x="4522271" y="4564958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53" name="TextBox 252"/>
                <p:cNvSpPr txBox="1"/>
                <p:nvPr/>
              </p:nvSpPr>
              <p:spPr>
                <a:xfrm>
                  <a:off x="5096474" y="4019550"/>
                  <a:ext cx="346890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altLang="ko-KR" sz="900" b="0" i="0" u="none" strike="noStrike" kern="0" cap="none" spc="-100" normalizeH="0" baseline="0" noProof="0" dirty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PK</a:t>
                  </a:r>
                  <a:endPara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</p:grpSp>
          <p:cxnSp>
            <p:nvCxnSpPr>
              <p:cNvPr id="245" name="직선 연결선 201"/>
              <p:cNvCxnSpPr/>
              <p:nvPr/>
            </p:nvCxnSpPr>
            <p:spPr bwMode="auto">
              <a:xfrm>
                <a:off x="4522271" y="4208741"/>
                <a:ext cx="918000" cy="0"/>
              </a:xfrm>
              <a:prstGeom prst="line">
                <a:avLst/>
              </a:prstGeom>
              <a:solidFill>
                <a:srgbClr val="FFD200"/>
              </a:solidFill>
              <a:ln w="9525" cap="flat" cmpd="sng" algn="ctr">
                <a:solidFill>
                  <a:srgbClr val="33333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99" name="TextBox 198"/>
            <p:cNvSpPr txBox="1"/>
            <p:nvPr/>
          </p:nvSpPr>
          <p:spPr>
            <a:xfrm>
              <a:off x="3817514" y="4477608"/>
              <a:ext cx="1668451" cy="340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등록번호 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K</a:t>
              </a:r>
            </a:p>
            <a:p>
              <a:pPr marL="268288" marR="0" lvl="0" indent="-215900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사용업무 암호화 불가</a:t>
              </a: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65465" y="5087998"/>
              <a:ext cx="1763326" cy="340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등록번호로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매핑된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268288" marR="0" lvl="0" indent="-215900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테이블간 영향도 파악</a:t>
              </a:r>
            </a:p>
          </p:txBody>
        </p:sp>
        <p:sp>
          <p:nvSpPr>
            <p:cNvPr id="201" name="원통 233"/>
            <p:cNvSpPr/>
            <p:nvPr/>
          </p:nvSpPr>
          <p:spPr bwMode="auto">
            <a:xfrm>
              <a:off x="3531535" y="5393150"/>
              <a:ext cx="747602" cy="462891"/>
            </a:xfrm>
            <a:prstGeom prst="can">
              <a:avLst/>
            </a:prstGeom>
            <a:gradFill flip="none" rotWithShape="1">
              <a:gsLst>
                <a:gs pos="0">
                  <a:srgbClr val="FFFFFF">
                    <a:lumMod val="65000"/>
                  </a:srgbClr>
                </a:gs>
                <a:gs pos="50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0" scaled="1"/>
              <a:tileRect/>
            </a:gra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3411892" y="5484820"/>
              <a:ext cx="959393" cy="4031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번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유 테이블</a:t>
              </a:r>
            </a:p>
          </p:txBody>
        </p:sp>
        <p:grpSp>
          <p:nvGrpSpPr>
            <p:cNvPr id="203" name="그룹 222"/>
            <p:cNvGrpSpPr/>
            <p:nvPr/>
          </p:nvGrpSpPr>
          <p:grpSpPr>
            <a:xfrm>
              <a:off x="4127250" y="5694275"/>
              <a:ext cx="1096182" cy="539055"/>
              <a:chOff x="4387654" y="4019550"/>
              <a:chExt cx="1055710" cy="576130"/>
            </a:xfrm>
          </p:grpSpPr>
          <p:grpSp>
            <p:nvGrpSpPr>
              <p:cNvPr id="232" name="그룹 223"/>
              <p:cNvGrpSpPr/>
              <p:nvPr/>
            </p:nvGrpSpPr>
            <p:grpSpPr>
              <a:xfrm>
                <a:off x="4387654" y="4019550"/>
                <a:ext cx="1055710" cy="576130"/>
                <a:chOff x="4387654" y="4019550"/>
                <a:chExt cx="1055710" cy="576130"/>
              </a:xfrm>
            </p:grpSpPr>
            <p:sp>
              <p:nvSpPr>
                <p:cNvPr id="234" name="직사각형 225"/>
                <p:cNvSpPr/>
                <p:nvPr/>
              </p:nvSpPr>
              <p:spPr bwMode="auto">
                <a:xfrm>
                  <a:off x="4520900" y="4029616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35" name="TextBox 234"/>
                <p:cNvSpPr txBox="1"/>
                <p:nvPr/>
              </p:nvSpPr>
              <p:spPr>
                <a:xfrm>
                  <a:off x="4515423" y="4019550"/>
                  <a:ext cx="648254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ko-KR" altLang="en-US" sz="900" b="0" i="0" u="none" strike="noStrike" kern="0" cap="none" spc="-100" normalizeH="0" baseline="0" noProof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담보번호</a:t>
                  </a:r>
                  <a:endPara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36" name="직사각형 227"/>
                <p:cNvSpPr/>
                <p:nvPr/>
              </p:nvSpPr>
              <p:spPr bwMode="auto">
                <a:xfrm>
                  <a:off x="4520900" y="4207289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37" name="직사각형 228"/>
                <p:cNvSpPr/>
                <p:nvPr/>
              </p:nvSpPr>
              <p:spPr bwMode="auto">
                <a:xfrm>
                  <a:off x="4520900" y="4387169"/>
                  <a:ext cx="648000" cy="180000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vert270" wrap="square" lIns="108000" tIns="46800" rIns="36000" bIns="4680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85750" marR="0" lvl="0" indent="-28575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cxnSp>
              <p:nvCxnSpPr>
                <p:cNvPr id="238" name="직선 연결선 229"/>
                <p:cNvCxnSpPr/>
                <p:nvPr/>
              </p:nvCxnSpPr>
              <p:spPr bwMode="auto">
                <a:xfrm>
                  <a:off x="4522271" y="4028252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9" name="직선 연결선 230"/>
                <p:cNvCxnSpPr/>
                <p:nvPr/>
              </p:nvCxnSpPr>
              <p:spPr bwMode="auto">
                <a:xfrm>
                  <a:off x="4522271" y="4389230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0" name="직선 연결선 231"/>
                <p:cNvCxnSpPr/>
                <p:nvPr/>
              </p:nvCxnSpPr>
              <p:spPr bwMode="auto">
                <a:xfrm>
                  <a:off x="4522271" y="4564958"/>
                  <a:ext cx="918000" cy="0"/>
                </a:xfrm>
                <a:prstGeom prst="line">
                  <a:avLst/>
                </a:prstGeom>
                <a:solidFill>
                  <a:srgbClr val="FFD200"/>
                </a:solidFill>
                <a:ln w="9525" cap="flat" cmpd="sng" algn="ctr">
                  <a:solidFill>
                    <a:srgbClr val="33333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41" name="TextBox 240"/>
                <p:cNvSpPr txBox="1"/>
                <p:nvPr/>
              </p:nvSpPr>
              <p:spPr>
                <a:xfrm>
                  <a:off x="5096474" y="4019550"/>
                  <a:ext cx="346890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altLang="ko-KR" sz="900" b="0" i="0" u="none" strike="noStrike" kern="0" cap="none" spc="-100" normalizeH="0" baseline="0" noProof="0" dirty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PK</a:t>
                  </a:r>
                  <a:endPara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42" name="TextBox 241"/>
                <p:cNvSpPr txBox="1"/>
                <p:nvPr/>
              </p:nvSpPr>
              <p:spPr>
                <a:xfrm>
                  <a:off x="4387654" y="4364848"/>
                  <a:ext cx="853439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ko-KR" altLang="en-US" sz="900" b="0" i="0" u="none" strike="noStrike" kern="0" cap="none" spc="-100" normalizeH="0" baseline="0" noProof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주민등록번호</a:t>
                  </a:r>
                  <a:endParaRPr kumimoji="0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43" name="TextBox 242"/>
                <p:cNvSpPr txBox="1"/>
                <p:nvPr/>
              </p:nvSpPr>
              <p:spPr>
                <a:xfrm>
                  <a:off x="5086950" y="4179400"/>
                  <a:ext cx="340478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268288" marR="0" lvl="0" indent="-215900" defTabSz="914400" eaLnBrk="1" fontAlgn="auto" latinLnBrk="0" hangingPunct="1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altLang="ko-KR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646464">
                          <a:lumMod val="50000"/>
                        </a:srgb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</a:rPr>
                    <a:t>....</a:t>
                  </a:r>
                  <a:endPara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46464">
                        <a:lumMod val="50000"/>
                      </a:srgbClr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</p:grpSp>
          <p:cxnSp>
            <p:nvCxnSpPr>
              <p:cNvPr id="233" name="직선 연결선 224"/>
              <p:cNvCxnSpPr/>
              <p:nvPr/>
            </p:nvCxnSpPr>
            <p:spPr bwMode="auto">
              <a:xfrm>
                <a:off x="4522271" y="4208741"/>
                <a:ext cx="918000" cy="0"/>
              </a:xfrm>
              <a:prstGeom prst="line">
                <a:avLst/>
              </a:prstGeom>
              <a:solidFill>
                <a:srgbClr val="FFD200"/>
              </a:solidFill>
              <a:ln w="9525" cap="flat" cmpd="sng" algn="ctr">
                <a:solidFill>
                  <a:srgbClr val="33333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04" name="폭발 1 237"/>
            <p:cNvSpPr/>
            <p:nvPr/>
          </p:nvSpPr>
          <p:spPr bwMode="auto">
            <a:xfrm>
              <a:off x="3401794" y="4548989"/>
              <a:ext cx="299041" cy="269467"/>
            </a:xfrm>
            <a:prstGeom prst="irregularSeal1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cxnSp>
          <p:nvCxnSpPr>
            <p:cNvPr id="205" name="꺾인 연결선 246"/>
            <p:cNvCxnSpPr/>
            <p:nvPr/>
          </p:nvCxnSpPr>
          <p:spPr bwMode="auto">
            <a:xfrm rot="10800000" flipH="1" flipV="1">
              <a:off x="3574741" y="4061713"/>
              <a:ext cx="3738" cy="1583117"/>
            </a:xfrm>
            <a:prstGeom prst="bentConnector3">
              <a:avLst>
                <a:gd name="adj1" fmla="val -4908640"/>
              </a:avLst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206" name="폭발 1 253"/>
            <p:cNvSpPr/>
            <p:nvPr/>
          </p:nvSpPr>
          <p:spPr bwMode="auto">
            <a:xfrm>
              <a:off x="4098817" y="4178463"/>
              <a:ext cx="299041" cy="269467"/>
            </a:xfrm>
            <a:prstGeom prst="irregularSeal1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4101873" y="3497709"/>
              <a:ext cx="4510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DB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08" name="TextBox 207"/>
            <p:cNvSpPr txBox="1"/>
            <p:nvPr/>
          </p:nvSpPr>
          <p:spPr>
            <a:xfrm>
              <a:off x="5357544" y="3539464"/>
              <a:ext cx="1508664" cy="4834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algn="r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등록번호 등록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</a:t>
              </a:r>
            </a:p>
            <a:p>
              <a:pPr marL="268288" marR="0" lvl="0" indent="-215900" algn="r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조회시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복호화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</a:t>
              </a:r>
            </a:p>
            <a:p>
              <a:pPr marL="268288" marR="0" lvl="0" indent="-215900" algn="r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암호화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로직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적용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09" name="폭발 1 256"/>
            <p:cNvSpPr/>
            <p:nvPr/>
          </p:nvSpPr>
          <p:spPr bwMode="auto">
            <a:xfrm>
              <a:off x="5253103" y="3551182"/>
              <a:ext cx="299041" cy="269467"/>
            </a:xfrm>
            <a:prstGeom prst="irregularSeal1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5344229" y="6028337"/>
              <a:ext cx="1521979" cy="3398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화면 조회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출력시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268288" marR="0" lvl="0" indent="-215900" algn="ctr" defTabSz="914400" eaLnBrk="1" fontAlgn="auto" latinLnBrk="0" hangingPunct="1">
                <a:lnSpc>
                  <a:spcPct val="7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민번호 수집 금지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1" name="폭발 1 258"/>
            <p:cNvSpPr/>
            <p:nvPr/>
          </p:nvSpPr>
          <p:spPr bwMode="auto">
            <a:xfrm>
              <a:off x="5363084" y="5811310"/>
              <a:ext cx="299041" cy="269467"/>
            </a:xfrm>
            <a:prstGeom prst="irregularSeal1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2" name="타원 259"/>
            <p:cNvSpPr/>
            <p:nvPr/>
          </p:nvSpPr>
          <p:spPr bwMode="auto">
            <a:xfrm>
              <a:off x="5597286" y="4051922"/>
              <a:ext cx="560702" cy="336833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5492652" y="4122510"/>
              <a:ext cx="699737" cy="230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프로그램</a:t>
              </a:r>
            </a:p>
          </p:txBody>
        </p:sp>
        <p:sp>
          <p:nvSpPr>
            <p:cNvPr id="214" name="타원 263"/>
            <p:cNvSpPr/>
            <p:nvPr/>
          </p:nvSpPr>
          <p:spPr bwMode="auto">
            <a:xfrm>
              <a:off x="5597286" y="4548989"/>
              <a:ext cx="560702" cy="336833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5" name="타원 266"/>
            <p:cNvSpPr/>
            <p:nvPr/>
          </p:nvSpPr>
          <p:spPr bwMode="auto">
            <a:xfrm>
              <a:off x="5600095" y="5005926"/>
              <a:ext cx="560702" cy="336833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5502458" y="5053725"/>
              <a:ext cx="699737" cy="24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.......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7" name="타원 269"/>
            <p:cNvSpPr/>
            <p:nvPr/>
          </p:nvSpPr>
          <p:spPr bwMode="auto">
            <a:xfrm>
              <a:off x="5606594" y="5458748"/>
              <a:ext cx="560702" cy="336833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5483396" y="5531382"/>
              <a:ext cx="699737" cy="230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프로그램</a:t>
              </a:r>
            </a:p>
          </p:txBody>
        </p:sp>
        <p:cxnSp>
          <p:nvCxnSpPr>
            <p:cNvPr id="219" name="직선 화살표 연결선 272"/>
            <p:cNvCxnSpPr>
              <a:endCxn id="212" idx="2"/>
            </p:cNvCxnSpPr>
            <p:nvPr/>
          </p:nvCxnSpPr>
          <p:spPr bwMode="auto">
            <a:xfrm flipV="1">
              <a:off x="5398613" y="4220338"/>
              <a:ext cx="198673" cy="850705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20" name="직선 화살표 연결선 278"/>
            <p:cNvCxnSpPr>
              <a:endCxn id="214" idx="2"/>
            </p:cNvCxnSpPr>
            <p:nvPr/>
          </p:nvCxnSpPr>
          <p:spPr bwMode="auto">
            <a:xfrm flipV="1">
              <a:off x="5401421" y="4717406"/>
              <a:ext cx="195865" cy="353638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21" name="직선 화살표 연결선 284"/>
            <p:cNvCxnSpPr>
              <a:endCxn id="215" idx="2"/>
            </p:cNvCxnSpPr>
            <p:nvPr/>
          </p:nvCxnSpPr>
          <p:spPr bwMode="auto">
            <a:xfrm>
              <a:off x="5398613" y="5071044"/>
              <a:ext cx="201482" cy="103299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22" name="직선 화살표 연결선 286"/>
            <p:cNvCxnSpPr>
              <a:endCxn id="217" idx="2"/>
            </p:cNvCxnSpPr>
            <p:nvPr/>
          </p:nvCxnSpPr>
          <p:spPr bwMode="auto">
            <a:xfrm>
              <a:off x="5398613" y="5071044"/>
              <a:ext cx="207982" cy="556121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23" name="타원 288"/>
            <p:cNvSpPr/>
            <p:nvPr/>
          </p:nvSpPr>
          <p:spPr bwMode="auto">
            <a:xfrm>
              <a:off x="6363963" y="3984546"/>
              <a:ext cx="373801" cy="336833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108000" tIns="46800" rIns="36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5492652" y="4614267"/>
              <a:ext cx="699737" cy="230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프로그램</a:t>
              </a: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6270221" y="4049109"/>
              <a:ext cx="513318" cy="230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8288" marR="0" lvl="0" indent="-215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현업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pic>
          <p:nvPicPr>
            <p:cNvPr id="226" name="Picture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C0C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 flipH="1">
              <a:off x="6434954" y="4426960"/>
              <a:ext cx="243811" cy="202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7" name="Picture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C0C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 flipH="1">
              <a:off x="6434954" y="4683742"/>
              <a:ext cx="243811" cy="202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8" name="Picture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C0C0C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 flipH="1">
              <a:off x="6434954" y="4972243"/>
              <a:ext cx="243811" cy="202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29" name="직선 화살표 연결선 298"/>
            <p:cNvCxnSpPr>
              <a:stCxn id="214" idx="6"/>
              <a:endCxn id="226" idx="3"/>
            </p:cNvCxnSpPr>
            <p:nvPr/>
          </p:nvCxnSpPr>
          <p:spPr bwMode="auto">
            <a:xfrm flipV="1">
              <a:off x="6157988" y="4528010"/>
              <a:ext cx="276966" cy="189396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30" name="직선 화살표 연결선 300"/>
            <p:cNvCxnSpPr>
              <a:stCxn id="214" idx="6"/>
              <a:endCxn id="227" idx="3"/>
            </p:cNvCxnSpPr>
            <p:nvPr/>
          </p:nvCxnSpPr>
          <p:spPr bwMode="auto">
            <a:xfrm>
              <a:off x="6157988" y="4717406"/>
              <a:ext cx="276966" cy="67385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31" name="직선 화살표 연결선 302"/>
            <p:cNvCxnSpPr>
              <a:stCxn id="214" idx="6"/>
              <a:endCxn id="228" idx="3"/>
            </p:cNvCxnSpPr>
            <p:nvPr/>
          </p:nvCxnSpPr>
          <p:spPr bwMode="auto">
            <a:xfrm>
              <a:off x="6157988" y="4717406"/>
              <a:ext cx="276966" cy="355887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F0F0F0">
                  <a:lumMod val="25000"/>
                </a:srgb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163" name="TextBox 162"/>
          <p:cNvSpPr txBox="1"/>
          <p:nvPr/>
        </p:nvSpPr>
        <p:spPr>
          <a:xfrm>
            <a:off x="7582884" y="3181320"/>
            <a:ext cx="1339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i="0" u="sng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To-Be </a:t>
            </a: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적용방안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6849930" y="3464086"/>
            <a:ext cx="25410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6513" marR="0" lvl="0" indent="-73025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내부시스템이 아닌 별도 장소에 개인식별정보를</a:t>
            </a: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보관</a:t>
            </a: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필요 시 이용하는 체계로 변경</a:t>
            </a:r>
            <a:endParaRPr kumimoji="0" lang="en-US" altLang="ko-KR" sz="1000" b="0" i="0" u="none" strike="noStrike" kern="0" cap="none" spc="-15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6513" marR="0" lvl="0" indent="-73025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모든 어플리케이션은 고객번호 기반으로 연동</a:t>
            </a:r>
          </a:p>
        </p:txBody>
      </p:sp>
      <p:sp>
        <p:nvSpPr>
          <p:cNvPr id="165" name="모서리가 둥근 직사각형 305"/>
          <p:cNvSpPr/>
          <p:nvPr/>
        </p:nvSpPr>
        <p:spPr bwMode="auto">
          <a:xfrm>
            <a:off x="6901970" y="4006879"/>
            <a:ext cx="2691369" cy="619646"/>
          </a:xfrm>
          <a:prstGeom prst="roundRect">
            <a:avLst/>
          </a:prstGeom>
          <a:solidFill>
            <a:srgbClr val="FFFFFF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6" name="원통 306"/>
          <p:cNvSpPr/>
          <p:nvPr/>
        </p:nvSpPr>
        <p:spPr bwMode="auto">
          <a:xfrm>
            <a:off x="6913258" y="4076184"/>
            <a:ext cx="747602" cy="462891"/>
          </a:xfrm>
          <a:prstGeom prst="can">
            <a:avLst/>
          </a:prstGeom>
          <a:gradFill flip="none" rotWithShape="1">
            <a:gsLst>
              <a:gs pos="0">
                <a:srgbClr val="FFFFFF">
                  <a:lumMod val="65000"/>
                </a:srgbClr>
              </a:gs>
              <a:gs pos="50000">
                <a:srgbClr val="FFFFFF"/>
              </a:gs>
              <a:gs pos="100000">
                <a:srgbClr val="FFFFFF">
                  <a:lumMod val="65000"/>
                </a:srgbClr>
              </a:gs>
            </a:gsLst>
            <a:lin ang="0" scaled="1"/>
            <a:tileRect/>
          </a:gra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6811327" y="4167854"/>
            <a:ext cx="923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주민번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268288" marR="0" lvl="0" indent="-215900" algn="ctr" defTabSz="91440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보유 테이블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7980056" y="3967430"/>
            <a:ext cx="959393" cy="230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업무 시스템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7616093" y="4140990"/>
            <a:ext cx="1821332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marR="0" lvl="0" indent="-36513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정보 최소화 </a:t>
            </a:r>
            <a:r>
              <a:rPr kumimoji="0" lang="en-US" altLang="ko-KR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: PK</a:t>
            </a:r>
            <a:r>
              <a:rPr kumimoji="0" lang="ko-KR" altLang="en-US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가 아니거나</a:t>
            </a:r>
            <a:r>
              <a:rPr kumimoji="0" lang="en-US" altLang="ko-KR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0" lang="en-US" altLang="ko-KR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0" lang="en-US" altLang="ko-KR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0" lang="ko-KR" altLang="en-US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대체 가능한 경우 주민등록번호 삭제</a:t>
            </a:r>
            <a:endParaRPr kumimoji="0" lang="en-US" altLang="ko-KR" sz="900" b="0" i="0" u="none" strike="noStrike" kern="0" cap="none" spc="-15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8900" marR="0" lvl="0" indent="-36513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75000"/>
              <a:buFont typeface="Arial" pitchFamily="34" charset="0"/>
              <a:buChar char="●"/>
              <a:tabLst/>
              <a:defRPr/>
            </a:pPr>
            <a:r>
              <a:rPr kumimoji="0" lang="ko-KR" altLang="en-US" sz="9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고객번호 기반 체계 운영</a:t>
            </a:r>
          </a:p>
        </p:txBody>
      </p:sp>
      <p:sp>
        <p:nvSpPr>
          <p:cNvPr id="170" name="타원 310"/>
          <p:cNvSpPr/>
          <p:nvPr/>
        </p:nvSpPr>
        <p:spPr bwMode="auto">
          <a:xfrm>
            <a:off x="7859558" y="4720638"/>
            <a:ext cx="785797" cy="387412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1" name="모서리가 둥근 직사각형 311"/>
          <p:cNvSpPr/>
          <p:nvPr/>
        </p:nvSpPr>
        <p:spPr bwMode="auto">
          <a:xfrm>
            <a:off x="6913258" y="5362670"/>
            <a:ext cx="1066798" cy="934231"/>
          </a:xfrm>
          <a:prstGeom prst="roundRect">
            <a:avLst/>
          </a:prstGeom>
          <a:solidFill>
            <a:srgbClr val="FFFFFF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2" name="모서리가 둥근 직사각형 312"/>
          <p:cNvSpPr/>
          <p:nvPr/>
        </p:nvSpPr>
        <p:spPr bwMode="auto">
          <a:xfrm>
            <a:off x="8486981" y="5362670"/>
            <a:ext cx="1066798" cy="934231"/>
          </a:xfrm>
          <a:prstGeom prst="roundRect">
            <a:avLst/>
          </a:prstGeom>
          <a:solidFill>
            <a:srgbClr val="FFFFFF"/>
          </a:solidFill>
          <a:ln w="317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903368" y="5366309"/>
            <a:ext cx="1092549" cy="230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별도 보관장소</a:t>
            </a:r>
          </a:p>
        </p:txBody>
      </p:sp>
      <p:sp>
        <p:nvSpPr>
          <p:cNvPr id="174" name="직사각형 317"/>
          <p:cNvSpPr/>
          <p:nvPr/>
        </p:nvSpPr>
        <p:spPr bwMode="auto">
          <a:xfrm>
            <a:off x="7003178" y="5715386"/>
            <a:ext cx="897123" cy="527146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6938807" y="5730908"/>
            <a:ext cx="972018" cy="547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A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B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C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D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8477470" y="5366309"/>
            <a:ext cx="1092549" cy="230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별도 보관장소</a:t>
            </a:r>
          </a:p>
        </p:txBody>
      </p:sp>
      <p:sp>
        <p:nvSpPr>
          <p:cNvPr id="177" name="직사각형 322"/>
          <p:cNvSpPr/>
          <p:nvPr/>
        </p:nvSpPr>
        <p:spPr bwMode="auto">
          <a:xfrm>
            <a:off x="8577280" y="5715386"/>
            <a:ext cx="897123" cy="527146"/>
          </a:xfrm>
          <a:prstGeom prst="rect">
            <a:avLst/>
          </a:prstGeom>
          <a:solidFill>
            <a:srgbClr val="333333">
              <a:lumMod val="20000"/>
              <a:lumOff val="80000"/>
            </a:srgbClr>
          </a:solidFill>
          <a:ln w="19050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8512275" y="5731621"/>
            <a:ext cx="972018" cy="547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A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B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C</a:t>
            </a:r>
          </a:p>
          <a:p>
            <a:pPr marL="268288" marR="0" lvl="0" indent="-215900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개인식별정보</a:t>
            </a:r>
            <a:r>
              <a:rPr kumimoji="0" lang="en-US" altLang="ko-KR" sz="95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D</a:t>
            </a:r>
          </a:p>
        </p:txBody>
      </p:sp>
      <p:sp>
        <p:nvSpPr>
          <p:cNvPr id="179" name="모서리가 둥근 직사각형 324"/>
          <p:cNvSpPr/>
          <p:nvPr/>
        </p:nvSpPr>
        <p:spPr bwMode="auto">
          <a:xfrm>
            <a:off x="7673888" y="5564798"/>
            <a:ext cx="411181" cy="202100"/>
          </a:xfrm>
          <a:prstGeom prst="roundRect">
            <a:avLst/>
          </a:prstGeom>
          <a:solidFill>
            <a:srgbClr val="C0C0C0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80" name="모서리가 둥근 직사각형 325"/>
          <p:cNvSpPr/>
          <p:nvPr/>
        </p:nvSpPr>
        <p:spPr bwMode="auto">
          <a:xfrm>
            <a:off x="9191816" y="5573710"/>
            <a:ext cx="411181" cy="202100"/>
          </a:xfrm>
          <a:prstGeom prst="roundRect">
            <a:avLst/>
          </a:prstGeom>
          <a:solidFill>
            <a:srgbClr val="C0C0C0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7551212" y="5545434"/>
            <a:ext cx="5648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i="0" u="none" strike="noStrike" kern="0" cap="none" spc="-150" normalizeH="0" baseline="0" noProof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암호화</a:t>
            </a:r>
            <a:endParaRPr kumimoji="0" lang="ko-KR" altLang="en-US" sz="1000" i="0" u="none" strike="noStrike" kern="0" cap="none" spc="-15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9070756" y="5545434"/>
            <a:ext cx="5648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i="0" u="none" strike="noStrike" kern="0" cap="none" spc="-150" normalizeH="0" baseline="0" noProof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rPr>
              <a:t>암호화</a:t>
            </a:r>
            <a:endParaRPr kumimoji="0" lang="ko-KR" altLang="en-US" sz="1000" i="0" u="none" strike="noStrike" kern="0" cap="none" spc="-150" normalizeH="0" baseline="0" noProof="0" dirty="0" smtClean="0">
              <a:ln>
                <a:noFill/>
              </a:ln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7837674" y="4757272"/>
            <a:ext cx="786291" cy="340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Secure</a:t>
            </a:r>
          </a:p>
          <a:p>
            <a:pPr marL="268288" marR="0" lvl="0" indent="-215900" algn="ctr" defTabSz="91440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channel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84" name="꺾인 연결선 330"/>
          <p:cNvCxnSpPr>
            <a:stCxn id="173" idx="0"/>
            <a:endCxn id="170" idx="4"/>
          </p:cNvCxnSpPr>
          <p:nvPr/>
        </p:nvCxnSpPr>
        <p:spPr bwMode="auto">
          <a:xfrm rot="5400000" flipH="1" flipV="1">
            <a:off x="7721920" y="4835772"/>
            <a:ext cx="258259" cy="802813"/>
          </a:xfrm>
          <a:prstGeom prst="bentConnector3">
            <a:avLst>
              <a:gd name="adj1" fmla="val 50000"/>
            </a:avLst>
          </a:prstGeom>
          <a:solidFill>
            <a:srgbClr val="FFD200"/>
          </a:solidFill>
          <a:ln w="9525" cap="flat" cmpd="sng" algn="ctr">
            <a:solidFill>
              <a:srgbClr val="333333">
                <a:lumMod val="50000"/>
              </a:srgb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85" name="꺾인 연결선 332"/>
          <p:cNvCxnSpPr>
            <a:stCxn id="176" idx="0"/>
            <a:endCxn id="170" idx="4"/>
          </p:cNvCxnSpPr>
          <p:nvPr/>
        </p:nvCxnSpPr>
        <p:spPr bwMode="auto">
          <a:xfrm rot="16200000" flipV="1">
            <a:off x="8508971" y="4851534"/>
            <a:ext cx="258259" cy="771289"/>
          </a:xfrm>
          <a:prstGeom prst="bentConnector3">
            <a:avLst>
              <a:gd name="adj1" fmla="val 50000"/>
            </a:avLst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dash"/>
            <a:round/>
            <a:headEnd type="triangle" w="med" len="med"/>
            <a:tailEnd type="triangle" w="med" len="med"/>
          </a:ln>
          <a:effectLst/>
        </p:spPr>
      </p:cxnSp>
      <p:sp>
        <p:nvSpPr>
          <p:cNvPr id="186" name="TextBox 185"/>
          <p:cNvSpPr txBox="1"/>
          <p:nvPr/>
        </p:nvSpPr>
        <p:spPr>
          <a:xfrm>
            <a:off x="7931746" y="5245742"/>
            <a:ext cx="646475" cy="403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암호화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회선</a:t>
            </a:r>
          </a:p>
        </p:txBody>
      </p:sp>
      <p:cxnSp>
        <p:nvCxnSpPr>
          <p:cNvPr id="187" name="직선 연결선 335"/>
          <p:cNvCxnSpPr>
            <a:endCxn id="170" idx="0"/>
          </p:cNvCxnSpPr>
          <p:nvPr/>
        </p:nvCxnSpPr>
        <p:spPr bwMode="auto">
          <a:xfrm>
            <a:off x="8252456" y="4626525"/>
            <a:ext cx="0" cy="94112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8" name="이등변 삼각형 338"/>
          <p:cNvSpPr/>
          <p:nvPr/>
        </p:nvSpPr>
        <p:spPr bwMode="auto">
          <a:xfrm rot="16200000">
            <a:off x="8155366" y="4619706"/>
            <a:ext cx="94313" cy="104664"/>
          </a:xfrm>
          <a:prstGeom prst="triangle">
            <a:avLst/>
          </a:prstGeom>
          <a:solidFill>
            <a:srgbClr val="333333"/>
          </a:solidFill>
          <a:ln w="31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46800" rIns="36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89" name="꺾인 연결선 340"/>
          <p:cNvCxnSpPr>
            <a:stCxn id="188" idx="0"/>
            <a:endCxn id="183" idx="1"/>
          </p:cNvCxnSpPr>
          <p:nvPr/>
        </p:nvCxnSpPr>
        <p:spPr bwMode="auto">
          <a:xfrm rot="10800000" flipV="1">
            <a:off x="7837674" y="4672038"/>
            <a:ext cx="312517" cy="255677"/>
          </a:xfrm>
          <a:prstGeom prst="bentConnector3">
            <a:avLst>
              <a:gd name="adj1" fmla="val 175952"/>
            </a:avLst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90" name="TextBox 189"/>
          <p:cNvSpPr txBox="1"/>
          <p:nvPr/>
        </p:nvSpPr>
        <p:spPr>
          <a:xfrm>
            <a:off x="7013068" y="5159115"/>
            <a:ext cx="485024" cy="230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Main</a:t>
            </a:r>
            <a:endParaRPr kumimoji="0" lang="ko-KR" altLang="en-US" sz="1000" b="0" i="0" u="none" strike="noStrike" kern="0" cap="none" spc="-15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8919669" y="5159115"/>
            <a:ext cx="621509" cy="2303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indent="-215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Back-up</a:t>
            </a:r>
            <a:endParaRPr kumimoji="0" lang="ko-KR" altLang="en-US" sz="1000" b="0" i="0" u="none" strike="noStrike" kern="0" cap="none" spc="-15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2" name="Line 168"/>
          <p:cNvSpPr>
            <a:spLocks noChangeShapeType="1"/>
          </p:cNvSpPr>
          <p:nvPr/>
        </p:nvSpPr>
        <p:spPr bwMode="gray">
          <a:xfrm>
            <a:off x="8535526" y="4626567"/>
            <a:ext cx="877887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54000" tIns="46800" rIns="54000" bIns="46800" anchor="ctr"/>
          <a:lstStyle/>
          <a:p>
            <a:pPr marL="0" marR="0" lvl="0" indent="0" defTabSz="914400" eaLnBrk="0" fontAlgn="auto" latinLnBrk="0" hangingPunct="0">
              <a:lnSpc>
                <a:spcPct val="13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5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70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71" name="TextBox 27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원장 최소화 및 암호화 방안 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72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3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274" name="TextBox 27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7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59" name="직사각형 258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0" name="그룹 25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6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6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6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6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6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6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6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6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69" name="그룹 26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8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8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217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보호 강화 및 통합 정보보호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 Cyc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별 통제 활동 관리에 대한 최신성을 상시 유지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CPO, CISO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보보안부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업부서 등 관련 조직의 역할과 책임을 명확히 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446748" y="2247211"/>
            <a:ext cx="9021109" cy="4062189"/>
            <a:chOff x="393378" y="1947582"/>
            <a:chExt cx="9021109" cy="4062189"/>
          </a:xfrm>
        </p:grpSpPr>
        <p:sp>
          <p:nvSpPr>
            <p:cNvPr id="73" name="오른쪽 화살표 133"/>
            <p:cNvSpPr/>
            <p:nvPr/>
          </p:nvSpPr>
          <p:spPr bwMode="gray">
            <a:xfrm rot="19620000">
              <a:off x="393378" y="2132110"/>
              <a:ext cx="980844" cy="151107"/>
            </a:xfrm>
            <a:prstGeom prst="rightArrow">
              <a:avLst/>
            </a:prstGeom>
            <a:solidFill>
              <a:srgbClr val="FFFFFF">
                <a:lumMod val="75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4" name="직사각형 128"/>
            <p:cNvSpPr/>
            <p:nvPr/>
          </p:nvSpPr>
          <p:spPr bwMode="gray">
            <a:xfrm>
              <a:off x="5918351" y="1988941"/>
              <a:ext cx="881294" cy="4020826"/>
            </a:xfrm>
            <a:custGeom>
              <a:avLst/>
              <a:gdLst>
                <a:gd name="connsiteX0" fmla="*/ 0 w 1118024"/>
                <a:gd name="connsiteY0" fmla="*/ 0 h 4464644"/>
                <a:gd name="connsiteX1" fmla="*/ 1118024 w 1118024"/>
                <a:gd name="connsiteY1" fmla="*/ 0 h 4464644"/>
                <a:gd name="connsiteX2" fmla="*/ 1118024 w 1118024"/>
                <a:gd name="connsiteY2" fmla="*/ 4464644 h 4464644"/>
                <a:gd name="connsiteX3" fmla="*/ 0 w 1118024"/>
                <a:gd name="connsiteY3" fmla="*/ 4464644 h 4464644"/>
                <a:gd name="connsiteX4" fmla="*/ 0 w 1118024"/>
                <a:gd name="connsiteY4" fmla="*/ 0 h 4464644"/>
                <a:gd name="connsiteX0" fmla="*/ 0 w 1118024"/>
                <a:gd name="connsiteY0" fmla="*/ 633984 h 4464644"/>
                <a:gd name="connsiteX1" fmla="*/ 1118024 w 1118024"/>
                <a:gd name="connsiteY1" fmla="*/ 0 h 4464644"/>
                <a:gd name="connsiteX2" fmla="*/ 1118024 w 1118024"/>
                <a:gd name="connsiteY2" fmla="*/ 4464644 h 4464644"/>
                <a:gd name="connsiteX3" fmla="*/ 0 w 1118024"/>
                <a:gd name="connsiteY3" fmla="*/ 4464644 h 4464644"/>
                <a:gd name="connsiteX4" fmla="*/ 0 w 1118024"/>
                <a:gd name="connsiteY4" fmla="*/ 633984 h 4464644"/>
                <a:gd name="connsiteX0" fmla="*/ 0 w 1118024"/>
                <a:gd name="connsiteY0" fmla="*/ 633984 h 4464644"/>
                <a:gd name="connsiteX1" fmla="*/ 1118024 w 1118024"/>
                <a:gd name="connsiteY1" fmla="*/ 0 h 4464644"/>
                <a:gd name="connsiteX2" fmla="*/ 1118024 w 1118024"/>
                <a:gd name="connsiteY2" fmla="*/ 3824564 h 4464644"/>
                <a:gd name="connsiteX3" fmla="*/ 0 w 1118024"/>
                <a:gd name="connsiteY3" fmla="*/ 4464644 h 4464644"/>
                <a:gd name="connsiteX4" fmla="*/ 0 w 1118024"/>
                <a:gd name="connsiteY4" fmla="*/ 633984 h 446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8024" h="4464644">
                  <a:moveTo>
                    <a:pt x="0" y="633984"/>
                  </a:moveTo>
                  <a:lnTo>
                    <a:pt x="1118024" y="0"/>
                  </a:lnTo>
                  <a:lnTo>
                    <a:pt x="1118024" y="3824564"/>
                  </a:lnTo>
                  <a:lnTo>
                    <a:pt x="0" y="4464644"/>
                  </a:lnTo>
                  <a:lnTo>
                    <a:pt x="0" y="633984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5" name="평행 사변형 125"/>
            <p:cNvSpPr/>
            <p:nvPr/>
          </p:nvSpPr>
          <p:spPr bwMode="gray">
            <a:xfrm>
              <a:off x="499174" y="1988945"/>
              <a:ext cx="6300473" cy="583783"/>
            </a:xfrm>
            <a:prstGeom prst="parallelogram">
              <a:avLst>
                <a:gd name="adj" fmla="val 155306"/>
              </a:avLst>
            </a:prstGeom>
            <a:solidFill>
              <a:srgbClr val="FFFFFF">
                <a:lumMod val="9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6" name="AutoShape 56"/>
            <p:cNvSpPr>
              <a:spLocks noChangeArrowheads="1"/>
            </p:cNvSpPr>
            <p:nvPr/>
          </p:nvSpPr>
          <p:spPr bwMode="gray">
            <a:xfrm>
              <a:off x="499173" y="2556531"/>
              <a:ext cx="5417454" cy="345323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ko-KR" sz="1200" b="0" kern="0" dirty="0" smtClean="0">
                <a:solidFill>
                  <a:srgbClr val="00B05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7" name="직사각형 9"/>
            <p:cNvSpPr/>
            <p:nvPr/>
          </p:nvSpPr>
          <p:spPr bwMode="gray">
            <a:xfrm>
              <a:off x="643314" y="2650784"/>
              <a:ext cx="678425" cy="615936"/>
            </a:xfrm>
            <a:prstGeom prst="rect">
              <a:avLst/>
            </a:prstGeom>
            <a:solidFill>
              <a:srgbClr val="646464"/>
            </a:solidFill>
          </p:spPr>
          <p:txBody>
            <a:bodyPr wrap="none" anchor="ctr" anchorCtr="0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Life Cycl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단계</a:t>
              </a:r>
            </a:p>
          </p:txBody>
        </p:sp>
        <p:sp>
          <p:nvSpPr>
            <p:cNvPr id="78" name="직사각형 41"/>
            <p:cNvSpPr/>
            <p:nvPr/>
          </p:nvSpPr>
          <p:spPr bwMode="gray">
            <a:xfrm>
              <a:off x="643314" y="3296727"/>
              <a:ext cx="678425" cy="1934657"/>
            </a:xfrm>
            <a:prstGeom prst="rect">
              <a:avLst/>
            </a:prstGeom>
            <a:solidFill>
              <a:srgbClr val="646464"/>
            </a:solidFill>
          </p:spPr>
          <p:txBody>
            <a:bodyPr wrap="none" anchor="ctr" anchorCtr="0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관리 요소</a:t>
              </a:r>
            </a:p>
          </p:txBody>
        </p:sp>
        <p:sp>
          <p:nvSpPr>
            <p:cNvPr id="79" name="직사각형 43"/>
            <p:cNvSpPr/>
            <p:nvPr/>
          </p:nvSpPr>
          <p:spPr bwMode="gray">
            <a:xfrm>
              <a:off x="643314" y="5251352"/>
              <a:ext cx="678425" cy="688202"/>
            </a:xfrm>
            <a:prstGeom prst="rect">
              <a:avLst/>
            </a:prstGeom>
            <a:solidFill>
              <a:srgbClr val="646464"/>
            </a:solidFill>
          </p:spPr>
          <p:txBody>
            <a:bodyPr wrap="none" anchor="ctr" anchorCtr="0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연관</a:t>
              </a:r>
              <a:endParaRPr lang="en-US" altLang="ko-KR" sz="1000" kern="0" dirty="0" smtClean="0">
                <a:solidFill>
                  <a:srgbClr val="FFFFFF"/>
                </a:solidFill>
                <a:latin typeface="맑은 고딕"/>
                <a:ea typeface="맑은 고딕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부문</a:t>
              </a:r>
            </a:p>
          </p:txBody>
        </p:sp>
        <p:grpSp>
          <p:nvGrpSpPr>
            <p:cNvPr id="80" name="그룹 12"/>
            <p:cNvGrpSpPr/>
            <p:nvPr/>
          </p:nvGrpSpPr>
          <p:grpSpPr bwMode="gray">
            <a:xfrm>
              <a:off x="1390603" y="2836752"/>
              <a:ext cx="4425350" cy="395286"/>
              <a:chOff x="1547381" y="2708920"/>
              <a:chExt cx="5421843" cy="531091"/>
            </a:xfrm>
          </p:grpSpPr>
          <p:sp>
            <p:nvSpPr>
              <p:cNvPr id="127" name="AutoShape 33"/>
              <p:cNvSpPr>
                <a:spLocks noChangeArrowheads="1"/>
              </p:cNvSpPr>
              <p:nvPr/>
            </p:nvSpPr>
            <p:spPr bwMode="gray">
              <a:xfrm>
                <a:off x="1547381" y="2708920"/>
                <a:ext cx="1872000" cy="531091"/>
              </a:xfrm>
              <a:prstGeom prst="homePlate">
                <a:avLst>
                  <a:gd name="adj" fmla="val 35612"/>
                </a:avLst>
              </a:prstGeom>
              <a:solidFill>
                <a:srgbClr val="FFFFFF">
                  <a:lumMod val="75000"/>
                </a:srgbClr>
              </a:solidFill>
              <a:ln>
                <a:solidFill>
                  <a:srgbClr val="646464"/>
                </a:solidFill>
              </a:ln>
              <a:effectLst/>
            </p:spPr>
            <p:txBody>
              <a:bodyPr wrap="square" lIns="72000" tIns="36000" rIns="72000" bIns="3600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수집</a:t>
                </a:r>
                <a:r>
                  <a:rPr lang="en-US" altLang="ko-KR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저장</a:t>
                </a:r>
                <a:endParaRPr lang="en-US" altLang="ko-KR" sz="12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8" name="AutoShape 34"/>
              <p:cNvSpPr>
                <a:spLocks noChangeArrowheads="1"/>
              </p:cNvSpPr>
              <p:nvPr/>
            </p:nvSpPr>
            <p:spPr bwMode="gray">
              <a:xfrm>
                <a:off x="3312388" y="2708920"/>
                <a:ext cx="1872000" cy="531091"/>
              </a:xfrm>
              <a:prstGeom prst="chevron">
                <a:avLst>
                  <a:gd name="adj" fmla="val 34975"/>
                </a:avLst>
              </a:prstGeom>
              <a:solidFill>
                <a:srgbClr val="FFFFFF">
                  <a:lumMod val="75000"/>
                </a:srgbClr>
              </a:solidFill>
              <a:ln>
                <a:solidFill>
                  <a:srgbClr val="646464"/>
                </a:solidFill>
              </a:ln>
              <a:effectLst/>
            </p:spPr>
            <p:txBody>
              <a:bodyPr wrap="square" lIns="72000" tIns="36000" rIns="72000" bIns="3600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이용</a:t>
                </a:r>
                <a:r>
                  <a:rPr lang="en-US" altLang="ko-KR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제공</a:t>
                </a:r>
              </a:p>
            </p:txBody>
          </p:sp>
          <p:sp>
            <p:nvSpPr>
              <p:cNvPr id="129" name="AutoShape 35"/>
              <p:cNvSpPr>
                <a:spLocks noChangeArrowheads="1"/>
              </p:cNvSpPr>
              <p:nvPr/>
            </p:nvSpPr>
            <p:spPr bwMode="gray">
              <a:xfrm>
                <a:off x="5097224" y="2708920"/>
                <a:ext cx="1872000" cy="531091"/>
              </a:xfrm>
              <a:prstGeom prst="chevron">
                <a:avLst>
                  <a:gd name="adj" fmla="val 34975"/>
                </a:avLst>
              </a:prstGeom>
              <a:solidFill>
                <a:srgbClr val="FFFFFF">
                  <a:lumMod val="75000"/>
                </a:srgbClr>
              </a:solidFill>
              <a:ln>
                <a:solidFill>
                  <a:srgbClr val="646464"/>
                </a:solidFill>
              </a:ln>
              <a:effectLst/>
            </p:spPr>
            <p:txBody>
              <a:bodyPr wrap="square" lIns="72000" tIns="36000" rIns="72000" bIns="3600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관리</a:t>
                </a:r>
                <a:r>
                  <a:rPr lang="en-US" altLang="ko-KR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파기</a:t>
                </a:r>
              </a:p>
            </p:txBody>
          </p:sp>
        </p:grpSp>
        <p:grpSp>
          <p:nvGrpSpPr>
            <p:cNvPr id="81" name="그룹 14"/>
            <p:cNvGrpSpPr/>
            <p:nvPr/>
          </p:nvGrpSpPr>
          <p:grpSpPr bwMode="gray">
            <a:xfrm>
              <a:off x="1390604" y="3370869"/>
              <a:ext cx="4315173" cy="1786366"/>
              <a:chOff x="1547380" y="3413295"/>
              <a:chExt cx="5286859" cy="1983545"/>
            </a:xfrm>
          </p:grpSpPr>
          <p:sp>
            <p:nvSpPr>
              <p:cNvPr id="122" name="직사각형 5"/>
              <p:cNvSpPr/>
              <p:nvPr/>
            </p:nvSpPr>
            <p:spPr bwMode="gray">
              <a:xfrm>
                <a:off x="1547380" y="3834721"/>
                <a:ext cx="5286859" cy="305881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>
                    <a:lumMod val="50000"/>
                  </a:srgbClr>
                </a:solidFill>
                <a:prstDash val="solid"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auto" latinLnBrk="0">
                  <a:spcBef>
                    <a:spcPts val="20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통제항목</a:t>
                </a:r>
                <a:endPara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3" name="직사각형 34"/>
              <p:cNvSpPr/>
              <p:nvPr/>
            </p:nvSpPr>
            <p:spPr bwMode="gray">
              <a:xfrm>
                <a:off x="1547380" y="4256147"/>
                <a:ext cx="5286859" cy="305881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>
                    <a:lumMod val="50000"/>
                  </a:srgbClr>
                </a:solidFill>
                <a:prstDash val="solid"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auto" latinLnBrk="0">
                  <a:spcBef>
                    <a:spcPts val="20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매뉴얼 </a:t>
                </a:r>
                <a:r>
                  <a:rPr lang="en-US" altLang="ko-KR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체크리스트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상세 통제활동에 대한 가이드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)</a:t>
                </a:r>
                <a:endPara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4" name="직사각형 35"/>
              <p:cNvSpPr/>
              <p:nvPr/>
            </p:nvSpPr>
            <p:spPr bwMode="gray">
              <a:xfrm>
                <a:off x="1547380" y="3413295"/>
                <a:ext cx="5286859" cy="305881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>
                    <a:lumMod val="50000"/>
                  </a:srgbClr>
                </a:solidFill>
                <a:prstDash val="solid"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auto" latinLnBrk="0">
                  <a:spcBef>
                    <a:spcPts val="20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법</a:t>
                </a:r>
                <a:r>
                  <a:rPr lang="en-US" altLang="ko-KR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규제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최소한의 법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규제 요구사항 관리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)</a:t>
                </a:r>
                <a:endPara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5" name="직사각형 36"/>
              <p:cNvSpPr/>
              <p:nvPr/>
            </p:nvSpPr>
            <p:spPr bwMode="gray">
              <a:xfrm>
                <a:off x="1547380" y="4677573"/>
                <a:ext cx="5286859" cy="305881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>
                    <a:lumMod val="50000"/>
                  </a:srgbClr>
                </a:solidFill>
                <a:prstDash val="solid"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auto" latinLnBrk="0">
                  <a:spcBef>
                    <a:spcPts val="20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개인정보 흐름도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개인정보 흐름 전 단계에 대한 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Flow Chart)</a:t>
                </a:r>
                <a:endPara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26" name="직사각형 37"/>
              <p:cNvSpPr/>
              <p:nvPr/>
            </p:nvSpPr>
            <p:spPr bwMode="gray">
              <a:xfrm>
                <a:off x="1547380" y="5098999"/>
                <a:ext cx="5286859" cy="297841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>
                    <a:lumMod val="50000"/>
                  </a:srgbClr>
                </a:solidFill>
                <a:prstDash val="dash"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auto" latinLnBrk="0">
                  <a:spcBef>
                    <a:spcPts val="200"/>
                  </a:spcBef>
                  <a:spcAft>
                    <a:spcPts val="0"/>
                  </a:spcAft>
                  <a:defRPr/>
                </a:pPr>
                <a:r>
                  <a:rPr lang="ko-KR" altLang="en-US" sz="12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개인정보 생명주기 관리 시스템 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</a:t>
                </a:r>
                <a:r>
                  <a:rPr lang="ko-KR" altLang="en-US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통제활동에 대한 자동화 지원</a:t>
                </a:r>
                <a:r>
                  <a:rPr lang="en-US" altLang="ko-KR" sz="1000" kern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)</a:t>
                </a:r>
                <a:endPara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82" name="직사각형 47"/>
            <p:cNvSpPr/>
            <p:nvPr/>
          </p:nvSpPr>
          <p:spPr bwMode="gray">
            <a:xfrm>
              <a:off x="1390605" y="5585326"/>
              <a:ext cx="1038099" cy="324563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  <a:prstDash val="solid"/>
            </a:ln>
          </p:spPr>
          <p:txBody>
            <a:bodyPr wrap="non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보보호 조직</a:t>
              </a:r>
            </a:p>
          </p:txBody>
        </p:sp>
        <p:sp>
          <p:nvSpPr>
            <p:cNvPr id="83" name="직사각형 49"/>
            <p:cNvSpPr/>
            <p:nvPr/>
          </p:nvSpPr>
          <p:spPr bwMode="gray">
            <a:xfrm>
              <a:off x="2482962" y="5585326"/>
              <a:ext cx="1038099" cy="324563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  <a:prstDash val="solid"/>
            </a:ln>
          </p:spPr>
          <p:txBody>
            <a:bodyPr wrap="non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인적보안</a:t>
              </a:r>
            </a:p>
          </p:txBody>
        </p:sp>
        <p:sp>
          <p:nvSpPr>
            <p:cNvPr id="84" name="직사각형 50"/>
            <p:cNvSpPr/>
            <p:nvPr/>
          </p:nvSpPr>
          <p:spPr bwMode="gray">
            <a:xfrm>
              <a:off x="3575321" y="5585326"/>
              <a:ext cx="1038099" cy="324563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  <a:prstDash val="solid"/>
            </a:ln>
          </p:spPr>
          <p:txBody>
            <a:bodyPr wrap="non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위수탁 보안관리</a:t>
              </a:r>
            </a:p>
          </p:txBody>
        </p:sp>
        <p:sp>
          <p:nvSpPr>
            <p:cNvPr id="85" name="직사각형 51"/>
            <p:cNvSpPr/>
            <p:nvPr/>
          </p:nvSpPr>
          <p:spPr bwMode="gray">
            <a:xfrm>
              <a:off x="4667678" y="5585326"/>
              <a:ext cx="1038099" cy="324563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  <a:prstDash val="solid"/>
            </a:ln>
          </p:spPr>
          <p:txBody>
            <a:bodyPr wrap="non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보주체 권리보장</a:t>
              </a:r>
            </a:p>
          </p:txBody>
        </p:sp>
        <p:sp>
          <p:nvSpPr>
            <p:cNvPr id="86" name="위쪽/아래쪽 화살표 15"/>
            <p:cNvSpPr/>
            <p:nvPr/>
          </p:nvSpPr>
          <p:spPr bwMode="gray">
            <a:xfrm>
              <a:off x="4666421" y="5258401"/>
              <a:ext cx="109428" cy="206726"/>
            </a:xfrm>
            <a:prstGeom prst="upDownArrow">
              <a:avLst/>
            </a:prstGeom>
            <a:solidFill>
              <a:srgbClr val="FFFFFF">
                <a:lumMod val="7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7" name="위쪽/아래쪽 화살표 54"/>
            <p:cNvSpPr/>
            <p:nvPr/>
          </p:nvSpPr>
          <p:spPr bwMode="gray">
            <a:xfrm>
              <a:off x="3569449" y="5258401"/>
              <a:ext cx="109428" cy="206726"/>
            </a:xfrm>
            <a:prstGeom prst="upDownArrow">
              <a:avLst/>
            </a:prstGeom>
            <a:solidFill>
              <a:srgbClr val="FFFFFF">
                <a:lumMod val="7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8" name="위쪽/아래쪽 화살표 55"/>
            <p:cNvSpPr/>
            <p:nvPr/>
          </p:nvSpPr>
          <p:spPr bwMode="gray">
            <a:xfrm>
              <a:off x="2516093" y="5258401"/>
              <a:ext cx="109428" cy="206726"/>
            </a:xfrm>
            <a:prstGeom prst="upDownArrow">
              <a:avLst/>
            </a:prstGeom>
            <a:solidFill>
              <a:srgbClr val="FFFFFF">
                <a:lumMod val="7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9" name="위쪽/아래쪽 화살표 56"/>
            <p:cNvSpPr/>
            <p:nvPr/>
          </p:nvSpPr>
          <p:spPr bwMode="gray">
            <a:xfrm>
              <a:off x="1435973" y="5258401"/>
              <a:ext cx="109428" cy="206726"/>
            </a:xfrm>
            <a:prstGeom prst="upDownArrow">
              <a:avLst/>
            </a:prstGeom>
            <a:solidFill>
              <a:srgbClr val="FFFFFF">
                <a:lumMod val="7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0" name="직사각형 16"/>
            <p:cNvSpPr/>
            <p:nvPr/>
          </p:nvSpPr>
          <p:spPr bwMode="gray">
            <a:xfrm>
              <a:off x="4716979" y="5190265"/>
              <a:ext cx="118814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파기 및 보안조치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,</a:t>
              </a:r>
            </a:p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보조회 요청 대응</a:t>
              </a:r>
              <a:endParaRPr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1" name="직사각형 58"/>
            <p:cNvSpPr/>
            <p:nvPr/>
          </p:nvSpPr>
          <p:spPr bwMode="gray">
            <a:xfrm>
              <a:off x="3628583" y="5190266"/>
              <a:ext cx="114326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위수탁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제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3</a:t>
              </a: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자</a:t>
              </a:r>
              <a:r>
                <a:rPr lang="en-US" altLang="ko-KR" sz="9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제공</a:t>
              </a:r>
              <a:endPara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리 현황 연계</a:t>
              </a:r>
              <a:endParaRPr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2" name="직사각형 61"/>
            <p:cNvSpPr/>
            <p:nvPr/>
          </p:nvSpPr>
          <p:spPr bwMode="gray">
            <a:xfrm>
              <a:off x="2563829" y="5190266"/>
              <a:ext cx="10326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 취급자</a:t>
              </a:r>
              <a:endPara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리 연계</a:t>
              </a:r>
              <a:endParaRPr lang="ko-KR" altLang="en-US" sz="9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3" name="직사각형 62"/>
            <p:cNvSpPr/>
            <p:nvPr/>
          </p:nvSpPr>
          <p:spPr bwMode="gray">
            <a:xfrm>
              <a:off x="1483706" y="5190268"/>
              <a:ext cx="1053866" cy="339795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단계별 관리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조직 및 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R&amp;R </a:t>
              </a:r>
              <a:r>
                <a:rPr lang="ko-KR" altLang="en-US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의</a:t>
              </a:r>
              <a:endParaRPr lang="en-US" altLang="ko-KR" sz="9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94" name="직선 연결선 26"/>
            <p:cNvCxnSpPr/>
            <p:nvPr/>
          </p:nvCxnSpPr>
          <p:spPr bwMode="gray">
            <a:xfrm>
              <a:off x="1381740" y="1989075"/>
              <a:ext cx="5417904" cy="0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직선 연결선 45"/>
            <p:cNvCxnSpPr/>
            <p:nvPr/>
          </p:nvCxnSpPr>
          <p:spPr bwMode="gray">
            <a:xfrm>
              <a:off x="6799644" y="1989079"/>
              <a:ext cx="0" cy="3458933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6" name="직사각형 103"/>
            <p:cNvSpPr/>
            <p:nvPr/>
          </p:nvSpPr>
          <p:spPr bwMode="gray">
            <a:xfrm rot="19740000">
              <a:off x="6121898" y="2540869"/>
              <a:ext cx="47160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1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CPO</a:t>
              </a:r>
              <a:endParaRPr lang="en-US" altLang="ko-KR" sz="11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7" name="직사각형 104"/>
            <p:cNvSpPr/>
            <p:nvPr/>
          </p:nvSpPr>
          <p:spPr bwMode="gray">
            <a:xfrm rot="19620000">
              <a:off x="5842174" y="3831823"/>
              <a:ext cx="1031051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1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정보보안부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서</a:t>
              </a:r>
              <a:endParaRPr lang="en-US" altLang="ko-KR" sz="11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8" name="직사각형 105"/>
            <p:cNvSpPr/>
            <p:nvPr/>
          </p:nvSpPr>
          <p:spPr bwMode="gray">
            <a:xfrm rot="19740000">
              <a:off x="6202853" y="4563506"/>
              <a:ext cx="30970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1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IT</a:t>
              </a:r>
              <a:endParaRPr lang="en-US" altLang="ko-KR" sz="11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99" name="직사각형 109"/>
            <p:cNvSpPr/>
            <p:nvPr/>
          </p:nvSpPr>
          <p:spPr bwMode="gray">
            <a:xfrm rot="19740000">
              <a:off x="6104265" y="3208776"/>
              <a:ext cx="50687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1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CISO</a:t>
              </a:r>
              <a:endParaRPr lang="en-US" altLang="ko-KR" sz="11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00" name="직선 연결선 63"/>
            <p:cNvCxnSpPr/>
            <p:nvPr/>
          </p:nvCxnSpPr>
          <p:spPr bwMode="gray">
            <a:xfrm flipV="1">
              <a:off x="5916626" y="1988945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1" name="직사각형 111"/>
            <p:cNvSpPr/>
            <p:nvPr/>
          </p:nvSpPr>
          <p:spPr bwMode="gray">
            <a:xfrm rot="19740000">
              <a:off x="5983240" y="5265553"/>
              <a:ext cx="7489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현업부서</a:t>
              </a:r>
              <a:endParaRPr lang="en-US" altLang="ko-KR" sz="11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02" name="직선 연결선 114"/>
            <p:cNvCxnSpPr/>
            <p:nvPr/>
          </p:nvCxnSpPr>
          <p:spPr bwMode="gray">
            <a:xfrm flipV="1">
              <a:off x="5916626" y="2677799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직선 연결선 115"/>
            <p:cNvCxnSpPr/>
            <p:nvPr/>
          </p:nvCxnSpPr>
          <p:spPr bwMode="gray">
            <a:xfrm flipV="1">
              <a:off x="5916626" y="3282908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직선 연결선 116"/>
            <p:cNvCxnSpPr/>
            <p:nvPr/>
          </p:nvCxnSpPr>
          <p:spPr bwMode="gray">
            <a:xfrm flipV="1">
              <a:off x="5916626" y="4042065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직선 연결선 117"/>
            <p:cNvCxnSpPr/>
            <p:nvPr/>
          </p:nvCxnSpPr>
          <p:spPr bwMode="gray">
            <a:xfrm flipV="1">
              <a:off x="5916626" y="4777624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직선 연결선 118"/>
            <p:cNvCxnSpPr/>
            <p:nvPr/>
          </p:nvCxnSpPr>
          <p:spPr bwMode="gray">
            <a:xfrm flipV="1">
              <a:off x="5916626" y="5442180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직선 연결선 119"/>
            <p:cNvCxnSpPr/>
            <p:nvPr/>
          </p:nvCxnSpPr>
          <p:spPr bwMode="gray">
            <a:xfrm flipV="1">
              <a:off x="498724" y="1988945"/>
              <a:ext cx="883019" cy="567591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8" name="직선 연결선 120"/>
            <p:cNvCxnSpPr/>
            <p:nvPr/>
          </p:nvCxnSpPr>
          <p:spPr bwMode="gray">
            <a:xfrm>
              <a:off x="786936" y="2367379"/>
              <a:ext cx="5417904" cy="0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직선 연결선 121"/>
            <p:cNvCxnSpPr/>
            <p:nvPr/>
          </p:nvCxnSpPr>
          <p:spPr bwMode="gray">
            <a:xfrm>
              <a:off x="1092655" y="2178227"/>
              <a:ext cx="5417904" cy="0"/>
            </a:xfrm>
            <a:prstGeom prst="line">
              <a:avLst/>
            </a:prstGeom>
            <a:solidFill>
              <a:srgbClr val="808080"/>
            </a:solidFill>
            <a:ln w="9525" cap="flat" cmpd="sng" algn="ctr">
              <a:solidFill>
                <a:srgbClr val="6464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0" name="직사각형 122"/>
            <p:cNvSpPr/>
            <p:nvPr/>
          </p:nvSpPr>
          <p:spPr bwMode="gray">
            <a:xfrm rot="21540000">
              <a:off x="2961677" y="2331939"/>
              <a:ext cx="492444" cy="24622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Day1</a:t>
              </a:r>
              <a:endParaRPr lang="en-US" altLang="ko-KR" sz="10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1" name="직사각형 123"/>
            <p:cNvSpPr/>
            <p:nvPr/>
          </p:nvSpPr>
          <p:spPr bwMode="gray">
            <a:xfrm rot="21540000">
              <a:off x="3403072" y="2141610"/>
              <a:ext cx="492444" cy="24622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Day2</a:t>
              </a:r>
              <a:endParaRPr lang="en-US" altLang="ko-KR" sz="10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2" name="직사각형 124"/>
            <p:cNvSpPr/>
            <p:nvPr/>
          </p:nvSpPr>
          <p:spPr bwMode="gray">
            <a:xfrm rot="21540000">
              <a:off x="3844470" y="1947582"/>
              <a:ext cx="492444" cy="24622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Day3</a:t>
              </a:r>
              <a:endParaRPr lang="en-US" altLang="ko-KR" sz="10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3" name="오른쪽 화살표 134"/>
            <p:cNvSpPr/>
            <p:nvPr/>
          </p:nvSpPr>
          <p:spPr bwMode="gray">
            <a:xfrm rot="16200000">
              <a:off x="5232660" y="3642231"/>
              <a:ext cx="3327921" cy="145485"/>
            </a:xfrm>
            <a:prstGeom prst="rightArrow">
              <a:avLst/>
            </a:prstGeom>
            <a:solidFill>
              <a:srgbClr val="FFFFFF">
                <a:lumMod val="75000"/>
              </a:srgbClr>
            </a:solidFill>
          </p:spPr>
          <p:txBody>
            <a:bodyPr wrap="square" rtlCol="0" anchor="ctr">
              <a:noAutofit/>
            </a:bodyPr>
            <a:lstStyle/>
            <a:p>
              <a:pPr algn="ctr" fontAlgn="auto" latinLnBrk="0">
                <a:spcBef>
                  <a:spcPts val="200"/>
                </a:spcBef>
                <a:spcAft>
                  <a:spcPts val="0"/>
                </a:spcAft>
                <a:defRPr/>
              </a:pPr>
              <a:endParaRPr lang="ko-KR" altLang="en-US" sz="100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4" name="직사각형 135"/>
            <p:cNvSpPr/>
            <p:nvPr/>
          </p:nvSpPr>
          <p:spPr bwMode="gray">
            <a:xfrm rot="19800000">
              <a:off x="448128" y="1964723"/>
              <a:ext cx="69762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00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변화관리</a:t>
              </a:r>
              <a:endParaRPr lang="en-US" altLang="ko-KR" sz="10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5" name="직사각형 136"/>
            <p:cNvSpPr/>
            <p:nvPr/>
          </p:nvSpPr>
          <p:spPr bwMode="gray">
            <a:xfrm rot="5400000">
              <a:off x="5660179" y="3582536"/>
              <a:ext cx="278313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 생명주기 관리를 위한 조직 별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R&amp;R</a:t>
              </a:r>
              <a:endParaRPr lang="en-US" altLang="ko-KR" sz="10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6" name="AutoShape 56"/>
            <p:cNvSpPr>
              <a:spLocks noChangeArrowheads="1"/>
            </p:cNvSpPr>
            <p:nvPr/>
          </p:nvSpPr>
          <p:spPr bwMode="gray">
            <a:xfrm>
              <a:off x="7346918" y="1988840"/>
              <a:ext cx="2067569" cy="1174414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주기적 변화관리를 통한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 생명주기 관리의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최신성 유지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7" name="AutoShape 56"/>
            <p:cNvSpPr>
              <a:spLocks noChangeArrowheads="1"/>
            </p:cNvSpPr>
            <p:nvPr/>
          </p:nvSpPr>
          <p:spPr bwMode="gray">
            <a:xfrm>
              <a:off x="7346918" y="3395193"/>
              <a:ext cx="2067569" cy="1174414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타 도메인과의 연계관리를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통한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보호 통합관리</a:t>
              </a:r>
            </a:p>
          </p:txBody>
        </p:sp>
        <p:sp>
          <p:nvSpPr>
            <p:cNvPr id="118" name="AutoShape 56"/>
            <p:cNvSpPr>
              <a:spLocks noChangeArrowheads="1"/>
            </p:cNvSpPr>
            <p:nvPr/>
          </p:nvSpPr>
          <p:spPr bwMode="gray">
            <a:xfrm>
              <a:off x="7346918" y="4835353"/>
              <a:ext cx="2067569" cy="1174414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>
                  <a:lumMod val="50000"/>
                </a:srgbClr>
              </a:solidFill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개인정보 생명주기 관리를 위한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CPO/CISO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등 조직별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R&amp;R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명확화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9" name="AutoShape 56"/>
            <p:cNvSpPr>
              <a:spLocks noChangeArrowheads="1"/>
            </p:cNvSpPr>
            <p:nvPr/>
          </p:nvSpPr>
          <p:spPr bwMode="gray">
            <a:xfrm>
              <a:off x="1468341" y="2657545"/>
              <a:ext cx="1219400" cy="15869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‘ </a:t>
              </a:r>
              <a:r>
                <a:rPr lang="ko-KR" altLang="en-US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최소 수집 원칙 </a:t>
              </a: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’</a:t>
              </a:r>
            </a:p>
          </p:txBody>
        </p:sp>
        <p:sp>
          <p:nvSpPr>
            <p:cNvPr id="120" name="AutoShape 56"/>
            <p:cNvSpPr>
              <a:spLocks noChangeArrowheads="1"/>
            </p:cNvSpPr>
            <p:nvPr/>
          </p:nvSpPr>
          <p:spPr bwMode="gray">
            <a:xfrm>
              <a:off x="2845080" y="2657545"/>
              <a:ext cx="1421986" cy="15869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‘ </a:t>
              </a:r>
              <a:r>
                <a:rPr lang="ko-KR" altLang="en-US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목적 내 활용 및 제공 </a:t>
              </a: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’</a:t>
              </a:r>
            </a:p>
          </p:txBody>
        </p:sp>
        <p:sp>
          <p:nvSpPr>
            <p:cNvPr id="121" name="AutoShape 56"/>
            <p:cNvSpPr>
              <a:spLocks noChangeArrowheads="1"/>
            </p:cNvSpPr>
            <p:nvPr/>
          </p:nvSpPr>
          <p:spPr bwMode="gray">
            <a:xfrm>
              <a:off x="4388301" y="2657545"/>
              <a:ext cx="1219400" cy="15869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‘ </a:t>
              </a:r>
              <a:r>
                <a:rPr lang="ko-KR" altLang="en-US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적시 파기 </a:t>
              </a:r>
              <a:r>
                <a:rPr lang="en-US" altLang="ko-KR" sz="1000" i="1" kern="0" dirty="0" smtClean="0">
                  <a:solidFill>
                    <a:srgbClr val="002060"/>
                  </a:solidFill>
                  <a:latin typeface="맑은 고딕"/>
                  <a:ea typeface="맑은 고딕"/>
                </a:rPr>
                <a:t>’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437096" y="1844824"/>
            <a:ext cx="6636993" cy="307777"/>
            <a:chOff x="630005" y="2090501"/>
            <a:chExt cx="4282520" cy="307777"/>
          </a:xfrm>
        </p:grpSpPr>
        <p:sp>
          <p:nvSpPr>
            <p:cNvPr id="131" name="TextBox 100"/>
            <p:cNvSpPr txBox="1">
              <a:spLocks noChangeArrowheads="1"/>
            </p:cNvSpPr>
            <p:nvPr/>
          </p:nvSpPr>
          <p:spPr bwMode="auto">
            <a:xfrm>
              <a:off x="657655" y="2090501"/>
              <a:ext cx="425487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kern="0" dirty="0" smtClean="0">
                  <a:solidFill>
                    <a:prstClr val="black"/>
                  </a:solidFill>
                  <a:ea typeface="맑은 고딕" pitchFamily="50" charset="-127"/>
                </a:rPr>
                <a:t>고객정보 </a:t>
              </a:r>
              <a:r>
                <a:rPr kumimoji="0" lang="en-US" altLang="ko-KR" sz="1400" kern="0" dirty="0" smtClean="0">
                  <a:solidFill>
                    <a:prstClr val="black"/>
                  </a:solidFill>
                  <a:ea typeface="맑은 고딕" pitchFamily="50" charset="-127"/>
                </a:rPr>
                <a:t>Life Cycle </a:t>
              </a:r>
              <a:r>
                <a:rPr kumimoji="0" lang="ko-KR" altLang="en-US" sz="1400" kern="0" dirty="0" smtClean="0">
                  <a:solidFill>
                    <a:prstClr val="black"/>
                  </a:solidFill>
                  <a:ea typeface="맑은 고딕" pitchFamily="50" charset="-127"/>
                </a:rPr>
                <a:t>관리 </a:t>
              </a:r>
              <a:r>
                <a:rPr kumimoji="0" lang="en-US" altLang="ko-KR" sz="1400" kern="0" dirty="0" smtClean="0">
                  <a:solidFill>
                    <a:prstClr val="black"/>
                  </a:solidFill>
                  <a:ea typeface="맑은 고딕" pitchFamily="50" charset="-127"/>
                </a:rPr>
                <a:t>Framework</a:t>
              </a:r>
              <a:endParaRPr kumimoji="0" lang="ko-KR" altLang="en-US" sz="1400" kern="0" dirty="0">
                <a:solidFill>
                  <a:prstClr val="black"/>
                </a:solidFill>
                <a:ea typeface="맑은 고딕" pitchFamily="50" charset="-127"/>
              </a:endParaRPr>
            </a:p>
          </p:txBody>
        </p:sp>
        <p:cxnSp>
          <p:nvCxnSpPr>
            <p:cNvPr id="132" name="Straight Connector 60"/>
            <p:cNvCxnSpPr/>
            <p:nvPr/>
          </p:nvCxnSpPr>
          <p:spPr bwMode="auto">
            <a:xfrm>
              <a:off x="630005" y="2380370"/>
              <a:ext cx="425487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tailEnd type="none"/>
            </a:ln>
            <a:effectLst/>
          </p:spPr>
        </p:cxnSp>
      </p:grpSp>
      <p:grpSp>
        <p:nvGrpSpPr>
          <p:cNvPr id="133" name="Group 132"/>
          <p:cNvGrpSpPr/>
          <p:nvPr/>
        </p:nvGrpSpPr>
        <p:grpSpPr>
          <a:xfrm>
            <a:off x="7400288" y="1844824"/>
            <a:ext cx="2067570" cy="307777"/>
            <a:chOff x="630005" y="2090501"/>
            <a:chExt cx="4282520" cy="307777"/>
          </a:xfrm>
        </p:grpSpPr>
        <p:sp>
          <p:nvSpPr>
            <p:cNvPr id="134" name="TextBox 100"/>
            <p:cNvSpPr txBox="1">
              <a:spLocks noChangeArrowheads="1"/>
            </p:cNvSpPr>
            <p:nvPr/>
          </p:nvSpPr>
          <p:spPr bwMode="auto">
            <a:xfrm>
              <a:off x="657655" y="2090501"/>
              <a:ext cx="425487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itchFamily="50" charset="-127"/>
                  <a:ea typeface="굴림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kern="0" smtClean="0">
                  <a:solidFill>
                    <a:prstClr val="black"/>
                  </a:solidFill>
                  <a:ea typeface="맑은 고딕" pitchFamily="50" charset="-127"/>
                </a:rPr>
                <a:t>관리 방향성</a:t>
              </a:r>
              <a:endParaRPr kumimoji="0" lang="ko-KR" altLang="en-US" sz="1400" kern="0" dirty="0">
                <a:solidFill>
                  <a:prstClr val="black"/>
                </a:solidFill>
                <a:ea typeface="맑은 고딕" pitchFamily="50" charset="-127"/>
              </a:endParaRPr>
            </a:p>
          </p:txBody>
        </p:sp>
        <p:cxnSp>
          <p:nvCxnSpPr>
            <p:cNvPr id="135" name="Straight Connector 60"/>
            <p:cNvCxnSpPr/>
            <p:nvPr/>
          </p:nvCxnSpPr>
          <p:spPr bwMode="auto">
            <a:xfrm>
              <a:off x="630005" y="2380370"/>
              <a:ext cx="4254871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tailEnd type="none"/>
            </a:ln>
            <a:effectLst/>
          </p:spPr>
        </p:cxnSp>
      </p:grpSp>
      <p:sp>
        <p:nvSpPr>
          <p:cNvPr id="13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48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49" name="TextBox 14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정보 관리체계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50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152" name="TextBox 15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7" name="직사각형 136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8" name="그룹 13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3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4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4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4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4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4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4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4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47" name="그룹 14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6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6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852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보호 강화 및 통합 정보보호 체계 적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제적인 보안내부통제 이상징후 탐지체계를 제시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374317" y="2192635"/>
            <a:ext cx="9150133" cy="4139998"/>
            <a:chOff x="383842" y="1954510"/>
            <a:chExt cx="9150133" cy="4482235"/>
          </a:xfrm>
        </p:grpSpPr>
        <p:grpSp>
          <p:nvGrpSpPr>
            <p:cNvPr id="59" name="그룹 2"/>
            <p:cNvGrpSpPr/>
            <p:nvPr/>
          </p:nvGrpSpPr>
          <p:grpSpPr>
            <a:xfrm>
              <a:off x="6006394" y="2311413"/>
              <a:ext cx="3527581" cy="2019668"/>
              <a:chOff x="5824885" y="1759655"/>
              <a:chExt cx="3460861" cy="2282284"/>
            </a:xfrm>
          </p:grpSpPr>
          <p:sp>
            <p:nvSpPr>
              <p:cNvPr id="101" name="직사각형 29"/>
              <p:cNvSpPr/>
              <p:nvPr/>
            </p:nvSpPr>
            <p:spPr bwMode="auto">
              <a:xfrm>
                <a:off x="5824885" y="1762765"/>
                <a:ext cx="1685327" cy="2279174"/>
              </a:xfrm>
              <a:prstGeom prst="rect">
                <a:avLst/>
              </a:prstGeom>
              <a:pattFill prst="ltUpDiag">
                <a:fgClr>
                  <a:srgbClr val="FFFFFF">
                    <a:lumMod val="95000"/>
                  </a:srgbClr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08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업무시스템에서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객정보를 </a:t>
                </a:r>
                <a:r>
                  <a:rPr kumimoji="1" lang="ko-KR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과다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/>
                </a:r>
                <a:b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</a:b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조회하고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,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PC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내 고객정보를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/>
                </a:r>
                <a:b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</a:b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과다 보유하고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,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DRM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해제하고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,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USB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를 사용하여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/>
                </a:r>
                <a:b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</a:b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객정보 유출</a:t>
                </a:r>
                <a:endParaRPr kumimoji="1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102" name="직사각형 29"/>
              <p:cNvSpPr/>
              <p:nvPr/>
            </p:nvSpPr>
            <p:spPr bwMode="auto">
              <a:xfrm>
                <a:off x="7594921" y="1759655"/>
                <a:ext cx="1690825" cy="2282283"/>
              </a:xfrm>
              <a:prstGeom prst="rect">
                <a:avLst/>
              </a:prstGeom>
              <a:pattFill prst="ltUpDiag">
                <a:fgClr>
                  <a:srgbClr val="FFFFFF">
                    <a:lumMod val="95000"/>
                  </a:srgbClr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08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1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개월 기간 內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-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객정보 조회건수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-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객정보 보유건수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- DRM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해제 승인건수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171450" marR="0" lvl="0" indent="-17145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USB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사용 승인건수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171450" marR="0" lvl="0" indent="-17145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endParaRPr kumimoji="1" lang="en-US" altLang="ko-KR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이상징후가 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모두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1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회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이상 발생</a:t>
                </a:r>
                <a:endPara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103" name="타원 123"/>
              <p:cNvSpPr/>
              <p:nvPr/>
            </p:nvSpPr>
            <p:spPr bwMode="auto">
              <a:xfrm>
                <a:off x="8898531" y="1794561"/>
                <a:ext cx="345094" cy="313113"/>
              </a:xfrm>
              <a:prstGeom prst="ellipse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>
                <a:glow rad="63500">
                  <a:srgbClr val="000000">
                    <a:satMod val="175000"/>
                    <a:alpha val="40000"/>
                  </a:srgbClr>
                </a:glow>
              </a:effectLst>
            </p:spPr>
            <p:txBody>
              <a:bodyPr rtlCol="0" anchor="ctr">
                <a:scene3d>
                  <a:camera prst="orthographicFront"/>
                  <a:lightRig rig="threePt" dir="t"/>
                </a:scene3d>
                <a:sp3d>
                  <a:bevelT w="1270"/>
                  <a:contourClr>
                    <a:srgbClr val="173E49"/>
                  </a:contourClr>
                </a:sp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600" b="0" i="0" u="none" strike="noStrike" kern="0" cap="none" spc="-8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60" name="TextBox 59"/>
            <p:cNvSpPr txBox="1"/>
            <p:nvPr/>
          </p:nvSpPr>
          <p:spPr>
            <a:xfrm rot="16200000">
              <a:off x="817960" y="3852166"/>
              <a:ext cx="723681" cy="42573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eaVert"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맑은 고딕"/>
                  <a:ea typeface="맑은 고딕"/>
                </a:rPr>
                <a:t>4</a:t>
              </a:r>
              <a:endParaRPr kumimoji="1" lang="ko-KR" altLang="en-US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1" name="Left Arrow 135"/>
            <p:cNvSpPr/>
            <p:nvPr/>
          </p:nvSpPr>
          <p:spPr bwMode="auto">
            <a:xfrm rot="16200000">
              <a:off x="-1332" y="2762876"/>
              <a:ext cx="2063529" cy="1072880"/>
            </a:xfrm>
            <a:prstGeom prst="leftArrow">
              <a:avLst>
                <a:gd name="adj1" fmla="val 65549"/>
                <a:gd name="adj2" fmla="val 50000"/>
              </a:avLst>
            </a:prstGeom>
            <a:solidFill>
              <a:srgbClr val="D6EBF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2" name="직사각형 29"/>
            <p:cNvSpPr/>
            <p:nvPr/>
          </p:nvSpPr>
          <p:spPr bwMode="auto">
            <a:xfrm>
              <a:off x="1172757" y="2317246"/>
              <a:ext cx="3407303" cy="4384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업무 시스템에서 비근무 시간에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내부망에서 고객정보를 과다 조회</a:t>
              </a:r>
              <a:endPara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3" name="직사각형 29"/>
            <p:cNvSpPr/>
            <p:nvPr/>
          </p:nvSpPr>
          <p:spPr bwMode="auto">
            <a:xfrm>
              <a:off x="1172757" y="2829229"/>
              <a:ext cx="3407303" cy="43981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PC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內 고객정보 과다 보유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4" name="직사각형 29"/>
            <p:cNvSpPr/>
            <p:nvPr/>
          </p:nvSpPr>
          <p:spPr bwMode="auto">
            <a:xfrm>
              <a:off x="1172757" y="3341215"/>
              <a:ext cx="3407303" cy="43981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정보 문서 암호화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(DRM)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해제</a:t>
              </a: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5" name="직사각형 29"/>
            <p:cNvSpPr/>
            <p:nvPr/>
          </p:nvSpPr>
          <p:spPr bwMode="auto">
            <a:xfrm>
              <a:off x="1172757" y="3854561"/>
              <a:ext cx="3407303" cy="4384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USB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를 이용한 고객정보 외부 유출</a:t>
              </a: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6" name="직사각형 32"/>
            <p:cNvSpPr/>
            <p:nvPr/>
          </p:nvSpPr>
          <p:spPr bwMode="auto">
            <a:xfrm rot="16200000">
              <a:off x="85128" y="3000524"/>
              <a:ext cx="1515544" cy="40570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Time Window Analysis</a:t>
              </a:r>
              <a:endParaRPr kumimoji="1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 rot="16200000">
              <a:off x="779691" y="2267977"/>
              <a:ext cx="800219" cy="425738"/>
            </a:xfrm>
            <a:prstGeom prst="rect">
              <a:avLst/>
            </a:prstGeom>
            <a:noFill/>
            <a:effectLst/>
          </p:spPr>
          <p:txBody>
            <a:bodyPr vert="eaVert"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1</a:t>
              </a:r>
              <a:endParaRPr kumimoji="1" lang="ko-KR" altLang="en-US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 rot="16200000">
              <a:off x="779691" y="2810644"/>
              <a:ext cx="800219" cy="425738"/>
            </a:xfrm>
            <a:prstGeom prst="rect">
              <a:avLst/>
            </a:prstGeom>
            <a:noFill/>
            <a:effectLst/>
          </p:spPr>
          <p:txBody>
            <a:bodyPr vert="eaVert"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2</a:t>
              </a:r>
              <a:endParaRPr kumimoji="1" lang="ko-KR" altLang="en-US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 rot="16200000">
              <a:off x="779691" y="3326543"/>
              <a:ext cx="800219" cy="425738"/>
            </a:xfrm>
            <a:prstGeom prst="rect">
              <a:avLst/>
            </a:prstGeom>
            <a:noFill/>
            <a:effectLst/>
          </p:spPr>
          <p:txBody>
            <a:bodyPr vert="eaVert"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3</a:t>
              </a:r>
              <a:endParaRPr kumimoji="1" lang="ko-KR" altLang="en-US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0" name="직사각형 29"/>
            <p:cNvSpPr/>
            <p:nvPr/>
          </p:nvSpPr>
          <p:spPr bwMode="auto">
            <a:xfrm>
              <a:off x="4687046" y="2317246"/>
              <a:ext cx="1221756" cy="4384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정보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조회 건수</a:t>
              </a:r>
              <a:endPara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1" name="직사각형 29"/>
            <p:cNvSpPr/>
            <p:nvPr/>
          </p:nvSpPr>
          <p:spPr bwMode="auto">
            <a:xfrm>
              <a:off x="4687046" y="2829229"/>
              <a:ext cx="1221756" cy="43981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정보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유 건수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2" name="직사각형 29"/>
            <p:cNvSpPr/>
            <p:nvPr/>
          </p:nvSpPr>
          <p:spPr bwMode="auto">
            <a:xfrm>
              <a:off x="4687046" y="3341215"/>
              <a:ext cx="1221756" cy="43981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DRM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해제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승인 건수</a:t>
              </a: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3" name="직사각형 29"/>
            <p:cNvSpPr/>
            <p:nvPr/>
          </p:nvSpPr>
          <p:spPr bwMode="auto">
            <a:xfrm>
              <a:off x="4687046" y="3854561"/>
              <a:ext cx="1221756" cy="43845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USB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사용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승인 건수</a:t>
              </a: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4" name="타원 119"/>
            <p:cNvSpPr/>
            <p:nvPr/>
          </p:nvSpPr>
          <p:spPr bwMode="auto">
            <a:xfrm>
              <a:off x="5739550" y="2366676"/>
              <a:ext cx="180501" cy="142187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glow rad="63500">
                <a:srgbClr val="000000">
                  <a:satMod val="175000"/>
                  <a:alpha val="40000"/>
                </a:srgbClr>
              </a:glow>
            </a:effectLst>
          </p:spPr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1270"/>
                <a:contourClr>
                  <a:srgbClr val="173E49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5" name="타원 120"/>
            <p:cNvSpPr/>
            <p:nvPr/>
          </p:nvSpPr>
          <p:spPr bwMode="auto">
            <a:xfrm>
              <a:off x="5739550" y="2879652"/>
              <a:ext cx="180501" cy="1421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>
              <a:glow rad="63500">
                <a:srgbClr val="000000">
                  <a:satMod val="175000"/>
                  <a:alpha val="40000"/>
                </a:srgbClr>
              </a:glow>
            </a:effectLst>
          </p:spPr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1270"/>
                <a:contourClr>
                  <a:srgbClr val="173E49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6" name="타원 121"/>
            <p:cNvSpPr/>
            <p:nvPr/>
          </p:nvSpPr>
          <p:spPr bwMode="auto">
            <a:xfrm>
              <a:off x="5739550" y="3378825"/>
              <a:ext cx="180501" cy="1421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>
              <a:glow rad="63500">
                <a:srgbClr val="000000">
                  <a:satMod val="175000"/>
                  <a:alpha val="40000"/>
                </a:srgbClr>
              </a:glow>
            </a:effectLst>
          </p:spPr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1270"/>
                <a:contourClr>
                  <a:srgbClr val="173E49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7" name="타원 122"/>
            <p:cNvSpPr/>
            <p:nvPr/>
          </p:nvSpPr>
          <p:spPr bwMode="auto">
            <a:xfrm>
              <a:off x="5739550" y="3895392"/>
              <a:ext cx="180501" cy="142187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glow rad="63500">
                <a:srgbClr val="000000">
                  <a:satMod val="175000"/>
                  <a:alpha val="40000"/>
                </a:srgbClr>
              </a:glow>
            </a:effectLst>
          </p:spPr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1270"/>
                <a:contourClr>
                  <a:srgbClr val="173E49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 rot="16200000">
              <a:off x="779691" y="3850316"/>
              <a:ext cx="800219" cy="425738"/>
            </a:xfrm>
            <a:prstGeom prst="rect">
              <a:avLst/>
            </a:prstGeom>
            <a:noFill/>
            <a:effectLst/>
          </p:spPr>
          <p:txBody>
            <a:bodyPr vert="eaVert"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4</a:t>
              </a:r>
              <a:endParaRPr kumimoji="1" lang="ko-KR" altLang="en-US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grpSp>
          <p:nvGrpSpPr>
            <p:cNvPr id="79" name="그룹 4"/>
            <p:cNvGrpSpPr/>
            <p:nvPr/>
          </p:nvGrpSpPr>
          <p:grpSpPr>
            <a:xfrm>
              <a:off x="383842" y="4816368"/>
              <a:ext cx="9096460" cy="1620377"/>
              <a:chOff x="308678" y="4582954"/>
              <a:chExt cx="8924410" cy="1831074"/>
            </a:xfrm>
          </p:grpSpPr>
          <p:sp>
            <p:nvSpPr>
              <p:cNvPr id="92" name="직사각형 29"/>
              <p:cNvSpPr/>
              <p:nvPr/>
            </p:nvSpPr>
            <p:spPr bwMode="auto">
              <a:xfrm>
                <a:off x="2932796" y="5055625"/>
                <a:ext cx="6300292" cy="471419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0800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    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소명처리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(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소명 요청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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본인 소명 처리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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관리자 소명 승인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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보안팀 확인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) </a:t>
                </a:r>
                <a:endPara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93" name="직사각형 29"/>
              <p:cNvSpPr/>
              <p:nvPr/>
            </p:nvSpPr>
            <p:spPr bwMode="auto">
              <a:xfrm>
                <a:off x="2932796" y="5631838"/>
                <a:ext cx="6300292" cy="694032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08000" anchor="ctr"/>
              <a:lstStyle/>
              <a:p>
                <a:pPr marL="0" marR="0" lvl="0" indent="0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     비정상 행동으로 </a:t>
                </a:r>
                <a:r>
                  <a:rPr kumimoji="1" lang="ko-KR" altLang="en-US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판정시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itchFamily="2" charset="2"/>
                  </a:rPr>
                  <a:t>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권한 회수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&amp;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법적 대응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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anose="05000000000000000000" pitchFamily="2" charset="2"/>
                  </a:rPr>
                  <a:t>재발방지 대책 마련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/>
                </a:r>
                <a:b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</a:b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    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정상 행동으로 </a:t>
                </a:r>
                <a:r>
                  <a:rPr kumimoji="1" lang="ko-KR" altLang="en-US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판정시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  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itchFamily="2" charset="2"/>
                  </a:rPr>
                  <a:t> 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itchFamily="2" charset="2"/>
                  </a:rPr>
                  <a:t>스코어링 모델 개선 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  <a:sym typeface="Wingdings" pitchFamily="2" charset="2"/>
                  </a:rPr>
                  <a:t>(</a:t>
                </a:r>
                <a:r>
                  <a:rPr kumimoji="1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임계치 조정 및 예외처리</a:t>
                </a:r>
                <a:r>
                  <a:rPr kumimoji="1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)</a:t>
                </a:r>
                <a:endPara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 rot="16200000">
                <a:off x="2501537" y="5080556"/>
                <a:ext cx="904271" cy="417686"/>
              </a:xfrm>
              <a:prstGeom prst="rect">
                <a:avLst/>
              </a:prstGeom>
              <a:noFill/>
              <a:effectLst/>
            </p:spPr>
            <p:txBody>
              <a:bodyPr vert="eaVert"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4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5</a:t>
                </a:r>
                <a:endParaRPr kumimoji="1" lang="ko-KR" altLang="en-US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 rot="16200000">
                <a:off x="2480931" y="5727899"/>
                <a:ext cx="904271" cy="417686"/>
              </a:xfrm>
              <a:prstGeom prst="rect">
                <a:avLst/>
              </a:prstGeom>
              <a:noFill/>
              <a:effectLst/>
            </p:spPr>
            <p:txBody>
              <a:bodyPr vert="eaVert"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4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6</a:t>
                </a:r>
                <a:endParaRPr kumimoji="1" lang="ko-KR" altLang="en-US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pic>
            <p:nvPicPr>
              <p:cNvPr id="96" name="Picture 5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678" y="4845986"/>
                <a:ext cx="2447532" cy="15680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7" name="Freeform 5"/>
              <p:cNvSpPr>
                <a:spLocks noChangeAspect="1"/>
              </p:cNvSpPr>
              <p:nvPr/>
            </p:nvSpPr>
            <p:spPr>
              <a:xfrm>
                <a:off x="1525988" y="4582954"/>
                <a:ext cx="413534" cy="1139049"/>
              </a:xfrm>
              <a:custGeom>
                <a:avLst/>
                <a:gdLst>
                  <a:gd name="connsiteX0" fmla="*/ 793750 w 1892300"/>
                  <a:gd name="connsiteY0" fmla="*/ 753533 h 5964766"/>
                  <a:gd name="connsiteX1" fmla="*/ 812800 w 1892300"/>
                  <a:gd name="connsiteY1" fmla="*/ 683683 h 5964766"/>
                  <a:gd name="connsiteX2" fmla="*/ 768350 w 1892300"/>
                  <a:gd name="connsiteY2" fmla="*/ 607483 h 5964766"/>
                  <a:gd name="connsiteX3" fmla="*/ 730250 w 1892300"/>
                  <a:gd name="connsiteY3" fmla="*/ 569383 h 5964766"/>
                  <a:gd name="connsiteX4" fmla="*/ 711200 w 1892300"/>
                  <a:gd name="connsiteY4" fmla="*/ 499533 h 5964766"/>
                  <a:gd name="connsiteX5" fmla="*/ 723900 w 1892300"/>
                  <a:gd name="connsiteY5" fmla="*/ 410633 h 5964766"/>
                  <a:gd name="connsiteX6" fmla="*/ 736600 w 1892300"/>
                  <a:gd name="connsiteY6" fmla="*/ 321733 h 5964766"/>
                  <a:gd name="connsiteX7" fmla="*/ 736600 w 1892300"/>
                  <a:gd name="connsiteY7" fmla="*/ 150283 h 5964766"/>
                  <a:gd name="connsiteX8" fmla="*/ 901700 w 1892300"/>
                  <a:gd name="connsiteY8" fmla="*/ 23283 h 5964766"/>
                  <a:gd name="connsiteX9" fmla="*/ 1066800 w 1892300"/>
                  <a:gd name="connsiteY9" fmla="*/ 10583 h 5964766"/>
                  <a:gd name="connsiteX10" fmla="*/ 1193800 w 1892300"/>
                  <a:gd name="connsiteY10" fmla="*/ 80433 h 5964766"/>
                  <a:gd name="connsiteX11" fmla="*/ 1257300 w 1892300"/>
                  <a:gd name="connsiteY11" fmla="*/ 194733 h 5964766"/>
                  <a:gd name="connsiteX12" fmla="*/ 1257300 w 1892300"/>
                  <a:gd name="connsiteY12" fmla="*/ 340783 h 5964766"/>
                  <a:gd name="connsiteX13" fmla="*/ 1263650 w 1892300"/>
                  <a:gd name="connsiteY13" fmla="*/ 416983 h 5964766"/>
                  <a:gd name="connsiteX14" fmla="*/ 1276350 w 1892300"/>
                  <a:gd name="connsiteY14" fmla="*/ 486833 h 5964766"/>
                  <a:gd name="connsiteX15" fmla="*/ 1244600 w 1892300"/>
                  <a:gd name="connsiteY15" fmla="*/ 493183 h 5964766"/>
                  <a:gd name="connsiteX16" fmla="*/ 1212850 w 1892300"/>
                  <a:gd name="connsiteY16" fmla="*/ 601133 h 5964766"/>
                  <a:gd name="connsiteX17" fmla="*/ 1174750 w 1892300"/>
                  <a:gd name="connsiteY17" fmla="*/ 639233 h 5964766"/>
                  <a:gd name="connsiteX18" fmla="*/ 1149350 w 1892300"/>
                  <a:gd name="connsiteY18" fmla="*/ 690033 h 5964766"/>
                  <a:gd name="connsiteX19" fmla="*/ 1155700 w 1892300"/>
                  <a:gd name="connsiteY19" fmla="*/ 759883 h 5964766"/>
                  <a:gd name="connsiteX20" fmla="*/ 1193800 w 1892300"/>
                  <a:gd name="connsiteY20" fmla="*/ 785283 h 5964766"/>
                  <a:gd name="connsiteX21" fmla="*/ 1212850 w 1892300"/>
                  <a:gd name="connsiteY21" fmla="*/ 842433 h 5964766"/>
                  <a:gd name="connsiteX22" fmla="*/ 1314450 w 1892300"/>
                  <a:gd name="connsiteY22" fmla="*/ 842433 h 5964766"/>
                  <a:gd name="connsiteX23" fmla="*/ 1384300 w 1892300"/>
                  <a:gd name="connsiteY23" fmla="*/ 905933 h 5964766"/>
                  <a:gd name="connsiteX24" fmla="*/ 1416050 w 1892300"/>
                  <a:gd name="connsiteY24" fmla="*/ 988483 h 5964766"/>
                  <a:gd name="connsiteX25" fmla="*/ 1517650 w 1892300"/>
                  <a:gd name="connsiteY25" fmla="*/ 1045633 h 5964766"/>
                  <a:gd name="connsiteX26" fmla="*/ 1638300 w 1892300"/>
                  <a:gd name="connsiteY26" fmla="*/ 1102783 h 5964766"/>
                  <a:gd name="connsiteX27" fmla="*/ 1765300 w 1892300"/>
                  <a:gd name="connsiteY27" fmla="*/ 1274233 h 5964766"/>
                  <a:gd name="connsiteX28" fmla="*/ 1771650 w 1892300"/>
                  <a:gd name="connsiteY28" fmla="*/ 1369483 h 5964766"/>
                  <a:gd name="connsiteX29" fmla="*/ 1860550 w 1892300"/>
                  <a:gd name="connsiteY29" fmla="*/ 1477433 h 5964766"/>
                  <a:gd name="connsiteX30" fmla="*/ 1879600 w 1892300"/>
                  <a:gd name="connsiteY30" fmla="*/ 1547283 h 5964766"/>
                  <a:gd name="connsiteX31" fmla="*/ 1828800 w 1892300"/>
                  <a:gd name="connsiteY31" fmla="*/ 1579033 h 5964766"/>
                  <a:gd name="connsiteX32" fmla="*/ 1841500 w 1892300"/>
                  <a:gd name="connsiteY32" fmla="*/ 1680633 h 5964766"/>
                  <a:gd name="connsiteX33" fmla="*/ 1892300 w 1892300"/>
                  <a:gd name="connsiteY33" fmla="*/ 1744133 h 5964766"/>
                  <a:gd name="connsiteX34" fmla="*/ 1841500 w 1892300"/>
                  <a:gd name="connsiteY34" fmla="*/ 1794933 h 5964766"/>
                  <a:gd name="connsiteX35" fmla="*/ 1841500 w 1892300"/>
                  <a:gd name="connsiteY35" fmla="*/ 1966383 h 5964766"/>
                  <a:gd name="connsiteX36" fmla="*/ 1828800 w 1892300"/>
                  <a:gd name="connsiteY36" fmla="*/ 2042583 h 5964766"/>
                  <a:gd name="connsiteX37" fmla="*/ 1822450 w 1892300"/>
                  <a:gd name="connsiteY37" fmla="*/ 2302933 h 5964766"/>
                  <a:gd name="connsiteX38" fmla="*/ 1873250 w 1892300"/>
                  <a:gd name="connsiteY38" fmla="*/ 2385483 h 5964766"/>
                  <a:gd name="connsiteX39" fmla="*/ 1809750 w 1892300"/>
                  <a:gd name="connsiteY39" fmla="*/ 2461683 h 5964766"/>
                  <a:gd name="connsiteX40" fmla="*/ 1784350 w 1892300"/>
                  <a:gd name="connsiteY40" fmla="*/ 2601383 h 5964766"/>
                  <a:gd name="connsiteX41" fmla="*/ 1746250 w 1892300"/>
                  <a:gd name="connsiteY41" fmla="*/ 2683933 h 5964766"/>
                  <a:gd name="connsiteX42" fmla="*/ 1727200 w 1892300"/>
                  <a:gd name="connsiteY42" fmla="*/ 2931583 h 5964766"/>
                  <a:gd name="connsiteX43" fmla="*/ 1739900 w 1892300"/>
                  <a:gd name="connsiteY43" fmla="*/ 3058583 h 5964766"/>
                  <a:gd name="connsiteX44" fmla="*/ 1784350 w 1892300"/>
                  <a:gd name="connsiteY44" fmla="*/ 3160183 h 5964766"/>
                  <a:gd name="connsiteX45" fmla="*/ 1752600 w 1892300"/>
                  <a:gd name="connsiteY45" fmla="*/ 3318933 h 5964766"/>
                  <a:gd name="connsiteX46" fmla="*/ 1587500 w 1892300"/>
                  <a:gd name="connsiteY46" fmla="*/ 3426883 h 5964766"/>
                  <a:gd name="connsiteX47" fmla="*/ 1517650 w 1892300"/>
                  <a:gd name="connsiteY47" fmla="*/ 3395133 h 5964766"/>
                  <a:gd name="connsiteX48" fmla="*/ 1574800 w 1892300"/>
                  <a:gd name="connsiteY48" fmla="*/ 3318933 h 5964766"/>
                  <a:gd name="connsiteX49" fmla="*/ 1587500 w 1892300"/>
                  <a:gd name="connsiteY49" fmla="*/ 3217333 h 5964766"/>
                  <a:gd name="connsiteX50" fmla="*/ 1555750 w 1892300"/>
                  <a:gd name="connsiteY50" fmla="*/ 3191933 h 5964766"/>
                  <a:gd name="connsiteX51" fmla="*/ 1517650 w 1892300"/>
                  <a:gd name="connsiteY51" fmla="*/ 3147483 h 5964766"/>
                  <a:gd name="connsiteX52" fmla="*/ 1517650 w 1892300"/>
                  <a:gd name="connsiteY52" fmla="*/ 2531533 h 5964766"/>
                  <a:gd name="connsiteX53" fmla="*/ 1581150 w 1892300"/>
                  <a:gd name="connsiteY53" fmla="*/ 2188633 h 5964766"/>
                  <a:gd name="connsiteX54" fmla="*/ 1530350 w 1892300"/>
                  <a:gd name="connsiteY54" fmla="*/ 2023533 h 5964766"/>
                  <a:gd name="connsiteX55" fmla="*/ 1492250 w 1892300"/>
                  <a:gd name="connsiteY55" fmla="*/ 2106083 h 5964766"/>
                  <a:gd name="connsiteX56" fmla="*/ 1492250 w 1892300"/>
                  <a:gd name="connsiteY56" fmla="*/ 2302933 h 5964766"/>
                  <a:gd name="connsiteX57" fmla="*/ 1492250 w 1892300"/>
                  <a:gd name="connsiteY57" fmla="*/ 2461683 h 5964766"/>
                  <a:gd name="connsiteX58" fmla="*/ 1504950 w 1892300"/>
                  <a:gd name="connsiteY58" fmla="*/ 3255433 h 5964766"/>
                  <a:gd name="connsiteX59" fmla="*/ 1473200 w 1892300"/>
                  <a:gd name="connsiteY59" fmla="*/ 3604683 h 5964766"/>
                  <a:gd name="connsiteX60" fmla="*/ 1428750 w 1892300"/>
                  <a:gd name="connsiteY60" fmla="*/ 4030133 h 5964766"/>
                  <a:gd name="connsiteX61" fmla="*/ 1314450 w 1892300"/>
                  <a:gd name="connsiteY61" fmla="*/ 4728633 h 5964766"/>
                  <a:gd name="connsiteX62" fmla="*/ 1257300 w 1892300"/>
                  <a:gd name="connsiteY62" fmla="*/ 5046133 h 5964766"/>
                  <a:gd name="connsiteX63" fmla="*/ 1200150 w 1892300"/>
                  <a:gd name="connsiteY63" fmla="*/ 5262033 h 5964766"/>
                  <a:gd name="connsiteX64" fmla="*/ 1320800 w 1892300"/>
                  <a:gd name="connsiteY64" fmla="*/ 5395383 h 5964766"/>
                  <a:gd name="connsiteX65" fmla="*/ 1346200 w 1892300"/>
                  <a:gd name="connsiteY65" fmla="*/ 5560483 h 5964766"/>
                  <a:gd name="connsiteX66" fmla="*/ 1263650 w 1892300"/>
                  <a:gd name="connsiteY66" fmla="*/ 5585883 h 5964766"/>
                  <a:gd name="connsiteX67" fmla="*/ 1416050 w 1892300"/>
                  <a:gd name="connsiteY67" fmla="*/ 5700183 h 5964766"/>
                  <a:gd name="connsiteX68" fmla="*/ 1441450 w 1892300"/>
                  <a:gd name="connsiteY68" fmla="*/ 5776383 h 5964766"/>
                  <a:gd name="connsiteX69" fmla="*/ 1314450 w 1892300"/>
                  <a:gd name="connsiteY69" fmla="*/ 5865283 h 5964766"/>
                  <a:gd name="connsiteX70" fmla="*/ 1130300 w 1892300"/>
                  <a:gd name="connsiteY70" fmla="*/ 5839883 h 5964766"/>
                  <a:gd name="connsiteX71" fmla="*/ 1066800 w 1892300"/>
                  <a:gd name="connsiteY71" fmla="*/ 5731933 h 5964766"/>
                  <a:gd name="connsiteX72" fmla="*/ 920750 w 1892300"/>
                  <a:gd name="connsiteY72" fmla="*/ 5693833 h 5964766"/>
                  <a:gd name="connsiteX73" fmla="*/ 889000 w 1892300"/>
                  <a:gd name="connsiteY73" fmla="*/ 5611283 h 5964766"/>
                  <a:gd name="connsiteX74" fmla="*/ 863600 w 1892300"/>
                  <a:gd name="connsiteY74" fmla="*/ 5598583 h 5964766"/>
                  <a:gd name="connsiteX75" fmla="*/ 850900 w 1892300"/>
                  <a:gd name="connsiteY75" fmla="*/ 4500033 h 5964766"/>
                  <a:gd name="connsiteX76" fmla="*/ 933450 w 1892300"/>
                  <a:gd name="connsiteY76" fmla="*/ 3680883 h 5964766"/>
                  <a:gd name="connsiteX77" fmla="*/ 984250 w 1892300"/>
                  <a:gd name="connsiteY77" fmla="*/ 3376083 h 5964766"/>
                  <a:gd name="connsiteX78" fmla="*/ 914400 w 1892300"/>
                  <a:gd name="connsiteY78" fmla="*/ 3490383 h 5964766"/>
                  <a:gd name="connsiteX79" fmla="*/ 800100 w 1892300"/>
                  <a:gd name="connsiteY79" fmla="*/ 3960283 h 5964766"/>
                  <a:gd name="connsiteX80" fmla="*/ 781050 w 1892300"/>
                  <a:gd name="connsiteY80" fmla="*/ 4334933 h 5964766"/>
                  <a:gd name="connsiteX81" fmla="*/ 812800 w 1892300"/>
                  <a:gd name="connsiteY81" fmla="*/ 4944533 h 5964766"/>
                  <a:gd name="connsiteX82" fmla="*/ 844550 w 1892300"/>
                  <a:gd name="connsiteY82" fmla="*/ 5649383 h 5964766"/>
                  <a:gd name="connsiteX83" fmla="*/ 666750 w 1892300"/>
                  <a:gd name="connsiteY83" fmla="*/ 5877983 h 5964766"/>
                  <a:gd name="connsiteX84" fmla="*/ 508000 w 1892300"/>
                  <a:gd name="connsiteY84" fmla="*/ 5960533 h 5964766"/>
                  <a:gd name="connsiteX85" fmla="*/ 342900 w 1892300"/>
                  <a:gd name="connsiteY85" fmla="*/ 5903383 h 5964766"/>
                  <a:gd name="connsiteX86" fmla="*/ 349250 w 1892300"/>
                  <a:gd name="connsiteY86" fmla="*/ 5738283 h 5964766"/>
                  <a:gd name="connsiteX87" fmla="*/ 330200 w 1892300"/>
                  <a:gd name="connsiteY87" fmla="*/ 5579533 h 5964766"/>
                  <a:gd name="connsiteX88" fmla="*/ 304800 w 1892300"/>
                  <a:gd name="connsiteY88" fmla="*/ 5236633 h 5964766"/>
                  <a:gd name="connsiteX89" fmla="*/ 336550 w 1892300"/>
                  <a:gd name="connsiteY89" fmla="*/ 5096933 h 5964766"/>
                  <a:gd name="connsiteX90" fmla="*/ 355600 w 1892300"/>
                  <a:gd name="connsiteY90" fmla="*/ 4639733 h 5964766"/>
                  <a:gd name="connsiteX91" fmla="*/ 387350 w 1892300"/>
                  <a:gd name="connsiteY91" fmla="*/ 4512733 h 5964766"/>
                  <a:gd name="connsiteX92" fmla="*/ 368300 w 1892300"/>
                  <a:gd name="connsiteY92" fmla="*/ 4347633 h 5964766"/>
                  <a:gd name="connsiteX93" fmla="*/ 349250 w 1892300"/>
                  <a:gd name="connsiteY93" fmla="*/ 4163483 h 5964766"/>
                  <a:gd name="connsiteX94" fmla="*/ 381000 w 1892300"/>
                  <a:gd name="connsiteY94" fmla="*/ 3534833 h 5964766"/>
                  <a:gd name="connsiteX95" fmla="*/ 374650 w 1892300"/>
                  <a:gd name="connsiteY95" fmla="*/ 3083983 h 5964766"/>
                  <a:gd name="connsiteX96" fmla="*/ 311150 w 1892300"/>
                  <a:gd name="connsiteY96" fmla="*/ 2810933 h 5964766"/>
                  <a:gd name="connsiteX97" fmla="*/ 349250 w 1892300"/>
                  <a:gd name="connsiteY97" fmla="*/ 2442633 h 5964766"/>
                  <a:gd name="connsiteX98" fmla="*/ 374650 w 1892300"/>
                  <a:gd name="connsiteY98" fmla="*/ 2137833 h 5964766"/>
                  <a:gd name="connsiteX99" fmla="*/ 342900 w 1892300"/>
                  <a:gd name="connsiteY99" fmla="*/ 2036233 h 5964766"/>
                  <a:gd name="connsiteX100" fmla="*/ 298450 w 1892300"/>
                  <a:gd name="connsiteY100" fmla="*/ 2169583 h 5964766"/>
                  <a:gd name="connsiteX101" fmla="*/ 317500 w 1892300"/>
                  <a:gd name="connsiteY101" fmla="*/ 2461683 h 5964766"/>
                  <a:gd name="connsiteX102" fmla="*/ 292100 w 1892300"/>
                  <a:gd name="connsiteY102" fmla="*/ 2842683 h 5964766"/>
                  <a:gd name="connsiteX103" fmla="*/ 273050 w 1892300"/>
                  <a:gd name="connsiteY103" fmla="*/ 2995083 h 5964766"/>
                  <a:gd name="connsiteX104" fmla="*/ 311150 w 1892300"/>
                  <a:gd name="connsiteY104" fmla="*/ 3039533 h 5964766"/>
                  <a:gd name="connsiteX105" fmla="*/ 311150 w 1892300"/>
                  <a:gd name="connsiteY105" fmla="*/ 3172883 h 5964766"/>
                  <a:gd name="connsiteX106" fmla="*/ 317500 w 1892300"/>
                  <a:gd name="connsiteY106" fmla="*/ 3299883 h 5964766"/>
                  <a:gd name="connsiteX107" fmla="*/ 279400 w 1892300"/>
                  <a:gd name="connsiteY107" fmla="*/ 3299883 h 5964766"/>
                  <a:gd name="connsiteX108" fmla="*/ 273050 w 1892300"/>
                  <a:gd name="connsiteY108" fmla="*/ 3185583 h 5964766"/>
                  <a:gd name="connsiteX109" fmla="*/ 247650 w 1892300"/>
                  <a:gd name="connsiteY109" fmla="*/ 3261783 h 5964766"/>
                  <a:gd name="connsiteX110" fmla="*/ 292100 w 1892300"/>
                  <a:gd name="connsiteY110" fmla="*/ 3357033 h 5964766"/>
                  <a:gd name="connsiteX111" fmla="*/ 304800 w 1892300"/>
                  <a:gd name="connsiteY111" fmla="*/ 3426883 h 5964766"/>
                  <a:gd name="connsiteX112" fmla="*/ 241300 w 1892300"/>
                  <a:gd name="connsiteY112" fmla="*/ 3420533 h 5964766"/>
                  <a:gd name="connsiteX113" fmla="*/ 158750 w 1892300"/>
                  <a:gd name="connsiteY113" fmla="*/ 3318933 h 5964766"/>
                  <a:gd name="connsiteX114" fmla="*/ 120650 w 1892300"/>
                  <a:gd name="connsiteY114" fmla="*/ 3274483 h 5964766"/>
                  <a:gd name="connsiteX115" fmla="*/ 107950 w 1892300"/>
                  <a:gd name="connsiteY115" fmla="*/ 3001433 h 5964766"/>
                  <a:gd name="connsiteX116" fmla="*/ 107950 w 1892300"/>
                  <a:gd name="connsiteY116" fmla="*/ 2779183 h 5964766"/>
                  <a:gd name="connsiteX117" fmla="*/ 57150 w 1892300"/>
                  <a:gd name="connsiteY117" fmla="*/ 2385483 h 5964766"/>
                  <a:gd name="connsiteX118" fmla="*/ 82550 w 1892300"/>
                  <a:gd name="connsiteY118" fmla="*/ 2137833 h 5964766"/>
                  <a:gd name="connsiteX119" fmla="*/ 76200 w 1892300"/>
                  <a:gd name="connsiteY119" fmla="*/ 2010833 h 5964766"/>
                  <a:gd name="connsiteX120" fmla="*/ 0 w 1892300"/>
                  <a:gd name="connsiteY120" fmla="*/ 1902883 h 5964766"/>
                  <a:gd name="connsiteX0" fmla="*/ 793750 w 1892300"/>
                  <a:gd name="connsiteY0" fmla="*/ 753533 h 5964766"/>
                  <a:gd name="connsiteX1" fmla="*/ 812800 w 1892300"/>
                  <a:gd name="connsiteY1" fmla="*/ 683683 h 5964766"/>
                  <a:gd name="connsiteX2" fmla="*/ 768350 w 1892300"/>
                  <a:gd name="connsiteY2" fmla="*/ 607483 h 5964766"/>
                  <a:gd name="connsiteX3" fmla="*/ 730250 w 1892300"/>
                  <a:gd name="connsiteY3" fmla="*/ 569383 h 5964766"/>
                  <a:gd name="connsiteX4" fmla="*/ 711200 w 1892300"/>
                  <a:gd name="connsiteY4" fmla="*/ 499533 h 5964766"/>
                  <a:gd name="connsiteX5" fmla="*/ 723900 w 1892300"/>
                  <a:gd name="connsiteY5" fmla="*/ 410633 h 5964766"/>
                  <a:gd name="connsiteX6" fmla="*/ 736600 w 1892300"/>
                  <a:gd name="connsiteY6" fmla="*/ 321733 h 5964766"/>
                  <a:gd name="connsiteX7" fmla="*/ 736600 w 1892300"/>
                  <a:gd name="connsiteY7" fmla="*/ 150283 h 5964766"/>
                  <a:gd name="connsiteX8" fmla="*/ 901700 w 1892300"/>
                  <a:gd name="connsiteY8" fmla="*/ 23283 h 5964766"/>
                  <a:gd name="connsiteX9" fmla="*/ 1066800 w 1892300"/>
                  <a:gd name="connsiteY9" fmla="*/ 10583 h 5964766"/>
                  <a:gd name="connsiteX10" fmla="*/ 1193800 w 1892300"/>
                  <a:gd name="connsiteY10" fmla="*/ 80433 h 5964766"/>
                  <a:gd name="connsiteX11" fmla="*/ 1257300 w 1892300"/>
                  <a:gd name="connsiteY11" fmla="*/ 194733 h 5964766"/>
                  <a:gd name="connsiteX12" fmla="*/ 1257300 w 1892300"/>
                  <a:gd name="connsiteY12" fmla="*/ 340783 h 5964766"/>
                  <a:gd name="connsiteX13" fmla="*/ 1263650 w 1892300"/>
                  <a:gd name="connsiteY13" fmla="*/ 416983 h 5964766"/>
                  <a:gd name="connsiteX14" fmla="*/ 1276350 w 1892300"/>
                  <a:gd name="connsiteY14" fmla="*/ 486833 h 5964766"/>
                  <a:gd name="connsiteX15" fmla="*/ 1244600 w 1892300"/>
                  <a:gd name="connsiteY15" fmla="*/ 493183 h 5964766"/>
                  <a:gd name="connsiteX16" fmla="*/ 1212850 w 1892300"/>
                  <a:gd name="connsiteY16" fmla="*/ 601133 h 5964766"/>
                  <a:gd name="connsiteX17" fmla="*/ 1174750 w 1892300"/>
                  <a:gd name="connsiteY17" fmla="*/ 639233 h 5964766"/>
                  <a:gd name="connsiteX18" fmla="*/ 1149350 w 1892300"/>
                  <a:gd name="connsiteY18" fmla="*/ 690033 h 5964766"/>
                  <a:gd name="connsiteX19" fmla="*/ 1155700 w 1892300"/>
                  <a:gd name="connsiteY19" fmla="*/ 759883 h 5964766"/>
                  <a:gd name="connsiteX20" fmla="*/ 1193800 w 1892300"/>
                  <a:gd name="connsiteY20" fmla="*/ 785283 h 5964766"/>
                  <a:gd name="connsiteX21" fmla="*/ 1212850 w 1892300"/>
                  <a:gd name="connsiteY21" fmla="*/ 842433 h 5964766"/>
                  <a:gd name="connsiteX22" fmla="*/ 1314450 w 1892300"/>
                  <a:gd name="connsiteY22" fmla="*/ 842433 h 5964766"/>
                  <a:gd name="connsiteX23" fmla="*/ 1384300 w 1892300"/>
                  <a:gd name="connsiteY23" fmla="*/ 905933 h 5964766"/>
                  <a:gd name="connsiteX24" fmla="*/ 1416050 w 1892300"/>
                  <a:gd name="connsiteY24" fmla="*/ 988483 h 5964766"/>
                  <a:gd name="connsiteX25" fmla="*/ 1517650 w 1892300"/>
                  <a:gd name="connsiteY25" fmla="*/ 1045633 h 5964766"/>
                  <a:gd name="connsiteX26" fmla="*/ 1638300 w 1892300"/>
                  <a:gd name="connsiteY26" fmla="*/ 1102783 h 5964766"/>
                  <a:gd name="connsiteX27" fmla="*/ 1765300 w 1892300"/>
                  <a:gd name="connsiteY27" fmla="*/ 1274233 h 5964766"/>
                  <a:gd name="connsiteX28" fmla="*/ 1771650 w 1892300"/>
                  <a:gd name="connsiteY28" fmla="*/ 1369483 h 5964766"/>
                  <a:gd name="connsiteX29" fmla="*/ 1860550 w 1892300"/>
                  <a:gd name="connsiteY29" fmla="*/ 1477433 h 5964766"/>
                  <a:gd name="connsiteX30" fmla="*/ 1879600 w 1892300"/>
                  <a:gd name="connsiteY30" fmla="*/ 1547283 h 5964766"/>
                  <a:gd name="connsiteX31" fmla="*/ 1828800 w 1892300"/>
                  <a:gd name="connsiteY31" fmla="*/ 1579033 h 5964766"/>
                  <a:gd name="connsiteX32" fmla="*/ 1841500 w 1892300"/>
                  <a:gd name="connsiteY32" fmla="*/ 1680633 h 5964766"/>
                  <a:gd name="connsiteX33" fmla="*/ 1892300 w 1892300"/>
                  <a:gd name="connsiteY33" fmla="*/ 1744133 h 5964766"/>
                  <a:gd name="connsiteX34" fmla="*/ 1841500 w 1892300"/>
                  <a:gd name="connsiteY34" fmla="*/ 1794933 h 5964766"/>
                  <a:gd name="connsiteX35" fmla="*/ 1841500 w 1892300"/>
                  <a:gd name="connsiteY35" fmla="*/ 1966383 h 5964766"/>
                  <a:gd name="connsiteX36" fmla="*/ 1828800 w 1892300"/>
                  <a:gd name="connsiteY36" fmla="*/ 2042583 h 5964766"/>
                  <a:gd name="connsiteX37" fmla="*/ 1822450 w 1892300"/>
                  <a:gd name="connsiteY37" fmla="*/ 2302933 h 5964766"/>
                  <a:gd name="connsiteX38" fmla="*/ 1873250 w 1892300"/>
                  <a:gd name="connsiteY38" fmla="*/ 2385483 h 5964766"/>
                  <a:gd name="connsiteX39" fmla="*/ 1809750 w 1892300"/>
                  <a:gd name="connsiteY39" fmla="*/ 2461683 h 5964766"/>
                  <a:gd name="connsiteX40" fmla="*/ 1784350 w 1892300"/>
                  <a:gd name="connsiteY40" fmla="*/ 2601383 h 5964766"/>
                  <a:gd name="connsiteX41" fmla="*/ 1746250 w 1892300"/>
                  <a:gd name="connsiteY41" fmla="*/ 2683933 h 5964766"/>
                  <a:gd name="connsiteX42" fmla="*/ 1727200 w 1892300"/>
                  <a:gd name="connsiteY42" fmla="*/ 2931583 h 5964766"/>
                  <a:gd name="connsiteX43" fmla="*/ 1739900 w 1892300"/>
                  <a:gd name="connsiteY43" fmla="*/ 3058583 h 5964766"/>
                  <a:gd name="connsiteX44" fmla="*/ 1784350 w 1892300"/>
                  <a:gd name="connsiteY44" fmla="*/ 3160183 h 5964766"/>
                  <a:gd name="connsiteX45" fmla="*/ 1752600 w 1892300"/>
                  <a:gd name="connsiteY45" fmla="*/ 3318933 h 5964766"/>
                  <a:gd name="connsiteX46" fmla="*/ 1587500 w 1892300"/>
                  <a:gd name="connsiteY46" fmla="*/ 3426883 h 5964766"/>
                  <a:gd name="connsiteX47" fmla="*/ 1517650 w 1892300"/>
                  <a:gd name="connsiteY47" fmla="*/ 3395133 h 5964766"/>
                  <a:gd name="connsiteX48" fmla="*/ 1574800 w 1892300"/>
                  <a:gd name="connsiteY48" fmla="*/ 3318933 h 5964766"/>
                  <a:gd name="connsiteX49" fmla="*/ 1587500 w 1892300"/>
                  <a:gd name="connsiteY49" fmla="*/ 3217333 h 5964766"/>
                  <a:gd name="connsiteX50" fmla="*/ 1555750 w 1892300"/>
                  <a:gd name="connsiteY50" fmla="*/ 3191933 h 5964766"/>
                  <a:gd name="connsiteX51" fmla="*/ 1517650 w 1892300"/>
                  <a:gd name="connsiteY51" fmla="*/ 3147483 h 5964766"/>
                  <a:gd name="connsiteX52" fmla="*/ 1517650 w 1892300"/>
                  <a:gd name="connsiteY52" fmla="*/ 2531533 h 5964766"/>
                  <a:gd name="connsiteX53" fmla="*/ 1581150 w 1892300"/>
                  <a:gd name="connsiteY53" fmla="*/ 2188633 h 5964766"/>
                  <a:gd name="connsiteX54" fmla="*/ 1530350 w 1892300"/>
                  <a:gd name="connsiteY54" fmla="*/ 2023533 h 5964766"/>
                  <a:gd name="connsiteX55" fmla="*/ 1492250 w 1892300"/>
                  <a:gd name="connsiteY55" fmla="*/ 2106083 h 5964766"/>
                  <a:gd name="connsiteX56" fmla="*/ 1492250 w 1892300"/>
                  <a:gd name="connsiteY56" fmla="*/ 2302933 h 5964766"/>
                  <a:gd name="connsiteX57" fmla="*/ 1492250 w 1892300"/>
                  <a:gd name="connsiteY57" fmla="*/ 2461683 h 5964766"/>
                  <a:gd name="connsiteX58" fmla="*/ 1504950 w 1892300"/>
                  <a:gd name="connsiteY58" fmla="*/ 3255433 h 5964766"/>
                  <a:gd name="connsiteX59" fmla="*/ 1473200 w 1892300"/>
                  <a:gd name="connsiteY59" fmla="*/ 3604683 h 5964766"/>
                  <a:gd name="connsiteX60" fmla="*/ 1428750 w 1892300"/>
                  <a:gd name="connsiteY60" fmla="*/ 4030133 h 5964766"/>
                  <a:gd name="connsiteX61" fmla="*/ 1314450 w 1892300"/>
                  <a:gd name="connsiteY61" fmla="*/ 4728633 h 5964766"/>
                  <a:gd name="connsiteX62" fmla="*/ 1257300 w 1892300"/>
                  <a:gd name="connsiteY62" fmla="*/ 5046133 h 5964766"/>
                  <a:gd name="connsiteX63" fmla="*/ 1200150 w 1892300"/>
                  <a:gd name="connsiteY63" fmla="*/ 5262033 h 5964766"/>
                  <a:gd name="connsiteX64" fmla="*/ 1320800 w 1892300"/>
                  <a:gd name="connsiteY64" fmla="*/ 5395383 h 5964766"/>
                  <a:gd name="connsiteX65" fmla="*/ 1346200 w 1892300"/>
                  <a:gd name="connsiteY65" fmla="*/ 5560483 h 5964766"/>
                  <a:gd name="connsiteX66" fmla="*/ 1263650 w 1892300"/>
                  <a:gd name="connsiteY66" fmla="*/ 5585883 h 5964766"/>
                  <a:gd name="connsiteX67" fmla="*/ 1416050 w 1892300"/>
                  <a:gd name="connsiteY67" fmla="*/ 5700183 h 5964766"/>
                  <a:gd name="connsiteX68" fmla="*/ 1441450 w 1892300"/>
                  <a:gd name="connsiteY68" fmla="*/ 5776383 h 5964766"/>
                  <a:gd name="connsiteX69" fmla="*/ 1314450 w 1892300"/>
                  <a:gd name="connsiteY69" fmla="*/ 5865283 h 5964766"/>
                  <a:gd name="connsiteX70" fmla="*/ 1130300 w 1892300"/>
                  <a:gd name="connsiteY70" fmla="*/ 5839883 h 5964766"/>
                  <a:gd name="connsiteX71" fmla="*/ 1066800 w 1892300"/>
                  <a:gd name="connsiteY71" fmla="*/ 5731933 h 5964766"/>
                  <a:gd name="connsiteX72" fmla="*/ 920750 w 1892300"/>
                  <a:gd name="connsiteY72" fmla="*/ 5693833 h 5964766"/>
                  <a:gd name="connsiteX73" fmla="*/ 889000 w 1892300"/>
                  <a:gd name="connsiteY73" fmla="*/ 5611283 h 5964766"/>
                  <a:gd name="connsiteX74" fmla="*/ 863600 w 1892300"/>
                  <a:gd name="connsiteY74" fmla="*/ 5598583 h 5964766"/>
                  <a:gd name="connsiteX75" fmla="*/ 850900 w 1892300"/>
                  <a:gd name="connsiteY75" fmla="*/ 4500033 h 5964766"/>
                  <a:gd name="connsiteX76" fmla="*/ 933450 w 1892300"/>
                  <a:gd name="connsiteY76" fmla="*/ 3680883 h 5964766"/>
                  <a:gd name="connsiteX77" fmla="*/ 984250 w 1892300"/>
                  <a:gd name="connsiteY77" fmla="*/ 3376083 h 5964766"/>
                  <a:gd name="connsiteX78" fmla="*/ 914400 w 1892300"/>
                  <a:gd name="connsiteY78" fmla="*/ 3490383 h 5964766"/>
                  <a:gd name="connsiteX79" fmla="*/ 800100 w 1892300"/>
                  <a:gd name="connsiteY79" fmla="*/ 3960283 h 5964766"/>
                  <a:gd name="connsiteX80" fmla="*/ 781050 w 1892300"/>
                  <a:gd name="connsiteY80" fmla="*/ 4334933 h 5964766"/>
                  <a:gd name="connsiteX81" fmla="*/ 812800 w 1892300"/>
                  <a:gd name="connsiteY81" fmla="*/ 4944533 h 5964766"/>
                  <a:gd name="connsiteX82" fmla="*/ 844550 w 1892300"/>
                  <a:gd name="connsiteY82" fmla="*/ 5649383 h 5964766"/>
                  <a:gd name="connsiteX83" fmla="*/ 666750 w 1892300"/>
                  <a:gd name="connsiteY83" fmla="*/ 5877983 h 5964766"/>
                  <a:gd name="connsiteX84" fmla="*/ 508000 w 1892300"/>
                  <a:gd name="connsiteY84" fmla="*/ 5960533 h 5964766"/>
                  <a:gd name="connsiteX85" fmla="*/ 342900 w 1892300"/>
                  <a:gd name="connsiteY85" fmla="*/ 5903383 h 5964766"/>
                  <a:gd name="connsiteX86" fmla="*/ 349250 w 1892300"/>
                  <a:gd name="connsiteY86" fmla="*/ 5738283 h 5964766"/>
                  <a:gd name="connsiteX87" fmla="*/ 330200 w 1892300"/>
                  <a:gd name="connsiteY87" fmla="*/ 5579533 h 5964766"/>
                  <a:gd name="connsiteX88" fmla="*/ 304800 w 1892300"/>
                  <a:gd name="connsiteY88" fmla="*/ 5236633 h 5964766"/>
                  <a:gd name="connsiteX89" fmla="*/ 336550 w 1892300"/>
                  <a:gd name="connsiteY89" fmla="*/ 5096933 h 5964766"/>
                  <a:gd name="connsiteX90" fmla="*/ 355600 w 1892300"/>
                  <a:gd name="connsiteY90" fmla="*/ 4639733 h 5964766"/>
                  <a:gd name="connsiteX91" fmla="*/ 387350 w 1892300"/>
                  <a:gd name="connsiteY91" fmla="*/ 4512733 h 5964766"/>
                  <a:gd name="connsiteX92" fmla="*/ 368300 w 1892300"/>
                  <a:gd name="connsiteY92" fmla="*/ 4347633 h 5964766"/>
                  <a:gd name="connsiteX93" fmla="*/ 349250 w 1892300"/>
                  <a:gd name="connsiteY93" fmla="*/ 4163483 h 5964766"/>
                  <a:gd name="connsiteX94" fmla="*/ 381000 w 1892300"/>
                  <a:gd name="connsiteY94" fmla="*/ 3534833 h 5964766"/>
                  <a:gd name="connsiteX95" fmla="*/ 374650 w 1892300"/>
                  <a:gd name="connsiteY95" fmla="*/ 3083983 h 5964766"/>
                  <a:gd name="connsiteX96" fmla="*/ 311150 w 1892300"/>
                  <a:gd name="connsiteY96" fmla="*/ 2810933 h 5964766"/>
                  <a:gd name="connsiteX97" fmla="*/ 349250 w 1892300"/>
                  <a:gd name="connsiteY97" fmla="*/ 2442633 h 5964766"/>
                  <a:gd name="connsiteX98" fmla="*/ 374650 w 1892300"/>
                  <a:gd name="connsiteY98" fmla="*/ 2137833 h 5964766"/>
                  <a:gd name="connsiteX99" fmla="*/ 342900 w 1892300"/>
                  <a:gd name="connsiteY99" fmla="*/ 2036233 h 5964766"/>
                  <a:gd name="connsiteX100" fmla="*/ 298450 w 1892300"/>
                  <a:gd name="connsiteY100" fmla="*/ 2169583 h 5964766"/>
                  <a:gd name="connsiteX101" fmla="*/ 317500 w 1892300"/>
                  <a:gd name="connsiteY101" fmla="*/ 2461683 h 5964766"/>
                  <a:gd name="connsiteX102" fmla="*/ 292100 w 1892300"/>
                  <a:gd name="connsiteY102" fmla="*/ 2842683 h 5964766"/>
                  <a:gd name="connsiteX103" fmla="*/ 273050 w 1892300"/>
                  <a:gd name="connsiteY103" fmla="*/ 2995083 h 5964766"/>
                  <a:gd name="connsiteX104" fmla="*/ 311150 w 1892300"/>
                  <a:gd name="connsiteY104" fmla="*/ 3039533 h 5964766"/>
                  <a:gd name="connsiteX105" fmla="*/ 311150 w 1892300"/>
                  <a:gd name="connsiteY105" fmla="*/ 3172883 h 5964766"/>
                  <a:gd name="connsiteX106" fmla="*/ 317500 w 1892300"/>
                  <a:gd name="connsiteY106" fmla="*/ 3299883 h 5964766"/>
                  <a:gd name="connsiteX107" fmla="*/ 279400 w 1892300"/>
                  <a:gd name="connsiteY107" fmla="*/ 3299883 h 5964766"/>
                  <a:gd name="connsiteX108" fmla="*/ 273050 w 1892300"/>
                  <a:gd name="connsiteY108" fmla="*/ 3185583 h 5964766"/>
                  <a:gd name="connsiteX109" fmla="*/ 247650 w 1892300"/>
                  <a:gd name="connsiteY109" fmla="*/ 3261783 h 5964766"/>
                  <a:gd name="connsiteX110" fmla="*/ 292100 w 1892300"/>
                  <a:gd name="connsiteY110" fmla="*/ 3357033 h 5964766"/>
                  <a:gd name="connsiteX111" fmla="*/ 304800 w 1892300"/>
                  <a:gd name="connsiteY111" fmla="*/ 3426883 h 5964766"/>
                  <a:gd name="connsiteX112" fmla="*/ 241300 w 1892300"/>
                  <a:gd name="connsiteY112" fmla="*/ 3420533 h 5964766"/>
                  <a:gd name="connsiteX113" fmla="*/ 158750 w 1892300"/>
                  <a:gd name="connsiteY113" fmla="*/ 3318933 h 5964766"/>
                  <a:gd name="connsiteX114" fmla="*/ 120650 w 1892300"/>
                  <a:gd name="connsiteY114" fmla="*/ 3274483 h 5964766"/>
                  <a:gd name="connsiteX115" fmla="*/ 107950 w 1892300"/>
                  <a:gd name="connsiteY115" fmla="*/ 3001433 h 5964766"/>
                  <a:gd name="connsiteX116" fmla="*/ 107950 w 1892300"/>
                  <a:gd name="connsiteY116" fmla="*/ 2779183 h 5964766"/>
                  <a:gd name="connsiteX117" fmla="*/ 57150 w 1892300"/>
                  <a:gd name="connsiteY117" fmla="*/ 2385483 h 5964766"/>
                  <a:gd name="connsiteX118" fmla="*/ 82550 w 1892300"/>
                  <a:gd name="connsiteY118" fmla="*/ 2137833 h 5964766"/>
                  <a:gd name="connsiteX119" fmla="*/ 76200 w 1892300"/>
                  <a:gd name="connsiteY119" fmla="*/ 2010833 h 5964766"/>
                  <a:gd name="connsiteX120" fmla="*/ 0 w 1892300"/>
                  <a:gd name="connsiteY120" fmla="*/ 1902883 h 5964766"/>
                  <a:gd name="connsiteX121" fmla="*/ 793750 w 1892300"/>
                  <a:gd name="connsiteY121" fmla="*/ 753533 h 5964766"/>
                  <a:gd name="connsiteX0" fmla="*/ 842433 w 1940983"/>
                  <a:gd name="connsiteY0" fmla="*/ 753533 h 5964766"/>
                  <a:gd name="connsiteX1" fmla="*/ 861483 w 1940983"/>
                  <a:gd name="connsiteY1" fmla="*/ 683683 h 5964766"/>
                  <a:gd name="connsiteX2" fmla="*/ 817033 w 1940983"/>
                  <a:gd name="connsiteY2" fmla="*/ 607483 h 5964766"/>
                  <a:gd name="connsiteX3" fmla="*/ 778933 w 1940983"/>
                  <a:gd name="connsiteY3" fmla="*/ 569383 h 5964766"/>
                  <a:gd name="connsiteX4" fmla="*/ 759883 w 1940983"/>
                  <a:gd name="connsiteY4" fmla="*/ 499533 h 5964766"/>
                  <a:gd name="connsiteX5" fmla="*/ 772583 w 1940983"/>
                  <a:gd name="connsiteY5" fmla="*/ 410633 h 5964766"/>
                  <a:gd name="connsiteX6" fmla="*/ 785283 w 1940983"/>
                  <a:gd name="connsiteY6" fmla="*/ 321733 h 5964766"/>
                  <a:gd name="connsiteX7" fmla="*/ 785283 w 1940983"/>
                  <a:gd name="connsiteY7" fmla="*/ 150283 h 5964766"/>
                  <a:gd name="connsiteX8" fmla="*/ 950383 w 1940983"/>
                  <a:gd name="connsiteY8" fmla="*/ 23283 h 5964766"/>
                  <a:gd name="connsiteX9" fmla="*/ 1115483 w 1940983"/>
                  <a:gd name="connsiteY9" fmla="*/ 10583 h 5964766"/>
                  <a:gd name="connsiteX10" fmla="*/ 1242483 w 1940983"/>
                  <a:gd name="connsiteY10" fmla="*/ 80433 h 5964766"/>
                  <a:gd name="connsiteX11" fmla="*/ 1305983 w 1940983"/>
                  <a:gd name="connsiteY11" fmla="*/ 194733 h 5964766"/>
                  <a:gd name="connsiteX12" fmla="*/ 1305983 w 1940983"/>
                  <a:gd name="connsiteY12" fmla="*/ 340783 h 5964766"/>
                  <a:gd name="connsiteX13" fmla="*/ 1312333 w 1940983"/>
                  <a:gd name="connsiteY13" fmla="*/ 416983 h 5964766"/>
                  <a:gd name="connsiteX14" fmla="*/ 1325033 w 1940983"/>
                  <a:gd name="connsiteY14" fmla="*/ 486833 h 5964766"/>
                  <a:gd name="connsiteX15" fmla="*/ 1293283 w 1940983"/>
                  <a:gd name="connsiteY15" fmla="*/ 493183 h 5964766"/>
                  <a:gd name="connsiteX16" fmla="*/ 1261533 w 1940983"/>
                  <a:gd name="connsiteY16" fmla="*/ 601133 h 5964766"/>
                  <a:gd name="connsiteX17" fmla="*/ 1223433 w 1940983"/>
                  <a:gd name="connsiteY17" fmla="*/ 639233 h 5964766"/>
                  <a:gd name="connsiteX18" fmla="*/ 1198033 w 1940983"/>
                  <a:gd name="connsiteY18" fmla="*/ 690033 h 5964766"/>
                  <a:gd name="connsiteX19" fmla="*/ 1204383 w 1940983"/>
                  <a:gd name="connsiteY19" fmla="*/ 759883 h 5964766"/>
                  <a:gd name="connsiteX20" fmla="*/ 1242483 w 1940983"/>
                  <a:gd name="connsiteY20" fmla="*/ 785283 h 5964766"/>
                  <a:gd name="connsiteX21" fmla="*/ 1261533 w 1940983"/>
                  <a:gd name="connsiteY21" fmla="*/ 842433 h 5964766"/>
                  <a:gd name="connsiteX22" fmla="*/ 1363133 w 1940983"/>
                  <a:gd name="connsiteY22" fmla="*/ 842433 h 5964766"/>
                  <a:gd name="connsiteX23" fmla="*/ 1432983 w 1940983"/>
                  <a:gd name="connsiteY23" fmla="*/ 905933 h 5964766"/>
                  <a:gd name="connsiteX24" fmla="*/ 1464733 w 1940983"/>
                  <a:gd name="connsiteY24" fmla="*/ 988483 h 5964766"/>
                  <a:gd name="connsiteX25" fmla="*/ 1566333 w 1940983"/>
                  <a:gd name="connsiteY25" fmla="*/ 1045633 h 5964766"/>
                  <a:gd name="connsiteX26" fmla="*/ 1686983 w 1940983"/>
                  <a:gd name="connsiteY26" fmla="*/ 1102783 h 5964766"/>
                  <a:gd name="connsiteX27" fmla="*/ 1813983 w 1940983"/>
                  <a:gd name="connsiteY27" fmla="*/ 1274233 h 5964766"/>
                  <a:gd name="connsiteX28" fmla="*/ 1820333 w 1940983"/>
                  <a:gd name="connsiteY28" fmla="*/ 1369483 h 5964766"/>
                  <a:gd name="connsiteX29" fmla="*/ 1909233 w 1940983"/>
                  <a:gd name="connsiteY29" fmla="*/ 1477433 h 5964766"/>
                  <a:gd name="connsiteX30" fmla="*/ 1928283 w 1940983"/>
                  <a:gd name="connsiteY30" fmla="*/ 1547283 h 5964766"/>
                  <a:gd name="connsiteX31" fmla="*/ 1877483 w 1940983"/>
                  <a:gd name="connsiteY31" fmla="*/ 1579033 h 5964766"/>
                  <a:gd name="connsiteX32" fmla="*/ 1890183 w 1940983"/>
                  <a:gd name="connsiteY32" fmla="*/ 1680633 h 5964766"/>
                  <a:gd name="connsiteX33" fmla="*/ 1940983 w 1940983"/>
                  <a:gd name="connsiteY33" fmla="*/ 1744133 h 5964766"/>
                  <a:gd name="connsiteX34" fmla="*/ 1890183 w 1940983"/>
                  <a:gd name="connsiteY34" fmla="*/ 1794933 h 5964766"/>
                  <a:gd name="connsiteX35" fmla="*/ 1890183 w 1940983"/>
                  <a:gd name="connsiteY35" fmla="*/ 1966383 h 5964766"/>
                  <a:gd name="connsiteX36" fmla="*/ 1877483 w 1940983"/>
                  <a:gd name="connsiteY36" fmla="*/ 2042583 h 5964766"/>
                  <a:gd name="connsiteX37" fmla="*/ 1871133 w 1940983"/>
                  <a:gd name="connsiteY37" fmla="*/ 2302933 h 5964766"/>
                  <a:gd name="connsiteX38" fmla="*/ 1921933 w 1940983"/>
                  <a:gd name="connsiteY38" fmla="*/ 2385483 h 5964766"/>
                  <a:gd name="connsiteX39" fmla="*/ 1858433 w 1940983"/>
                  <a:gd name="connsiteY39" fmla="*/ 2461683 h 5964766"/>
                  <a:gd name="connsiteX40" fmla="*/ 1833033 w 1940983"/>
                  <a:gd name="connsiteY40" fmla="*/ 2601383 h 5964766"/>
                  <a:gd name="connsiteX41" fmla="*/ 1794933 w 1940983"/>
                  <a:gd name="connsiteY41" fmla="*/ 2683933 h 5964766"/>
                  <a:gd name="connsiteX42" fmla="*/ 1775883 w 1940983"/>
                  <a:gd name="connsiteY42" fmla="*/ 2931583 h 5964766"/>
                  <a:gd name="connsiteX43" fmla="*/ 1788583 w 1940983"/>
                  <a:gd name="connsiteY43" fmla="*/ 3058583 h 5964766"/>
                  <a:gd name="connsiteX44" fmla="*/ 1833033 w 1940983"/>
                  <a:gd name="connsiteY44" fmla="*/ 3160183 h 5964766"/>
                  <a:gd name="connsiteX45" fmla="*/ 1801283 w 1940983"/>
                  <a:gd name="connsiteY45" fmla="*/ 3318933 h 5964766"/>
                  <a:gd name="connsiteX46" fmla="*/ 1636183 w 1940983"/>
                  <a:gd name="connsiteY46" fmla="*/ 3426883 h 5964766"/>
                  <a:gd name="connsiteX47" fmla="*/ 1566333 w 1940983"/>
                  <a:gd name="connsiteY47" fmla="*/ 3395133 h 5964766"/>
                  <a:gd name="connsiteX48" fmla="*/ 1623483 w 1940983"/>
                  <a:gd name="connsiteY48" fmla="*/ 3318933 h 5964766"/>
                  <a:gd name="connsiteX49" fmla="*/ 1636183 w 1940983"/>
                  <a:gd name="connsiteY49" fmla="*/ 3217333 h 5964766"/>
                  <a:gd name="connsiteX50" fmla="*/ 1604433 w 1940983"/>
                  <a:gd name="connsiteY50" fmla="*/ 3191933 h 5964766"/>
                  <a:gd name="connsiteX51" fmla="*/ 1566333 w 1940983"/>
                  <a:gd name="connsiteY51" fmla="*/ 3147483 h 5964766"/>
                  <a:gd name="connsiteX52" fmla="*/ 1566333 w 1940983"/>
                  <a:gd name="connsiteY52" fmla="*/ 2531533 h 5964766"/>
                  <a:gd name="connsiteX53" fmla="*/ 1629833 w 1940983"/>
                  <a:gd name="connsiteY53" fmla="*/ 2188633 h 5964766"/>
                  <a:gd name="connsiteX54" fmla="*/ 1579033 w 1940983"/>
                  <a:gd name="connsiteY54" fmla="*/ 2023533 h 5964766"/>
                  <a:gd name="connsiteX55" fmla="*/ 1540933 w 1940983"/>
                  <a:gd name="connsiteY55" fmla="*/ 2106083 h 5964766"/>
                  <a:gd name="connsiteX56" fmla="*/ 1540933 w 1940983"/>
                  <a:gd name="connsiteY56" fmla="*/ 2302933 h 5964766"/>
                  <a:gd name="connsiteX57" fmla="*/ 1540933 w 1940983"/>
                  <a:gd name="connsiteY57" fmla="*/ 2461683 h 5964766"/>
                  <a:gd name="connsiteX58" fmla="*/ 1553633 w 1940983"/>
                  <a:gd name="connsiteY58" fmla="*/ 3255433 h 5964766"/>
                  <a:gd name="connsiteX59" fmla="*/ 1521883 w 1940983"/>
                  <a:gd name="connsiteY59" fmla="*/ 3604683 h 5964766"/>
                  <a:gd name="connsiteX60" fmla="*/ 1477433 w 1940983"/>
                  <a:gd name="connsiteY60" fmla="*/ 4030133 h 5964766"/>
                  <a:gd name="connsiteX61" fmla="*/ 1363133 w 1940983"/>
                  <a:gd name="connsiteY61" fmla="*/ 4728633 h 5964766"/>
                  <a:gd name="connsiteX62" fmla="*/ 1305983 w 1940983"/>
                  <a:gd name="connsiteY62" fmla="*/ 5046133 h 5964766"/>
                  <a:gd name="connsiteX63" fmla="*/ 1248833 w 1940983"/>
                  <a:gd name="connsiteY63" fmla="*/ 5262033 h 5964766"/>
                  <a:gd name="connsiteX64" fmla="*/ 1369483 w 1940983"/>
                  <a:gd name="connsiteY64" fmla="*/ 5395383 h 5964766"/>
                  <a:gd name="connsiteX65" fmla="*/ 1394883 w 1940983"/>
                  <a:gd name="connsiteY65" fmla="*/ 5560483 h 5964766"/>
                  <a:gd name="connsiteX66" fmla="*/ 1312333 w 1940983"/>
                  <a:gd name="connsiteY66" fmla="*/ 5585883 h 5964766"/>
                  <a:gd name="connsiteX67" fmla="*/ 1464733 w 1940983"/>
                  <a:gd name="connsiteY67" fmla="*/ 5700183 h 5964766"/>
                  <a:gd name="connsiteX68" fmla="*/ 1490133 w 1940983"/>
                  <a:gd name="connsiteY68" fmla="*/ 5776383 h 5964766"/>
                  <a:gd name="connsiteX69" fmla="*/ 1363133 w 1940983"/>
                  <a:gd name="connsiteY69" fmla="*/ 5865283 h 5964766"/>
                  <a:gd name="connsiteX70" fmla="*/ 1178983 w 1940983"/>
                  <a:gd name="connsiteY70" fmla="*/ 5839883 h 5964766"/>
                  <a:gd name="connsiteX71" fmla="*/ 1115483 w 1940983"/>
                  <a:gd name="connsiteY71" fmla="*/ 5731933 h 5964766"/>
                  <a:gd name="connsiteX72" fmla="*/ 969433 w 1940983"/>
                  <a:gd name="connsiteY72" fmla="*/ 5693833 h 5964766"/>
                  <a:gd name="connsiteX73" fmla="*/ 937683 w 1940983"/>
                  <a:gd name="connsiteY73" fmla="*/ 5611283 h 5964766"/>
                  <a:gd name="connsiteX74" fmla="*/ 912283 w 1940983"/>
                  <a:gd name="connsiteY74" fmla="*/ 5598583 h 5964766"/>
                  <a:gd name="connsiteX75" fmla="*/ 899583 w 1940983"/>
                  <a:gd name="connsiteY75" fmla="*/ 4500033 h 5964766"/>
                  <a:gd name="connsiteX76" fmla="*/ 982133 w 1940983"/>
                  <a:gd name="connsiteY76" fmla="*/ 3680883 h 5964766"/>
                  <a:gd name="connsiteX77" fmla="*/ 1032933 w 1940983"/>
                  <a:gd name="connsiteY77" fmla="*/ 3376083 h 5964766"/>
                  <a:gd name="connsiteX78" fmla="*/ 963083 w 1940983"/>
                  <a:gd name="connsiteY78" fmla="*/ 3490383 h 5964766"/>
                  <a:gd name="connsiteX79" fmla="*/ 848783 w 1940983"/>
                  <a:gd name="connsiteY79" fmla="*/ 3960283 h 5964766"/>
                  <a:gd name="connsiteX80" fmla="*/ 829733 w 1940983"/>
                  <a:gd name="connsiteY80" fmla="*/ 4334933 h 5964766"/>
                  <a:gd name="connsiteX81" fmla="*/ 861483 w 1940983"/>
                  <a:gd name="connsiteY81" fmla="*/ 4944533 h 5964766"/>
                  <a:gd name="connsiteX82" fmla="*/ 893233 w 1940983"/>
                  <a:gd name="connsiteY82" fmla="*/ 5649383 h 5964766"/>
                  <a:gd name="connsiteX83" fmla="*/ 715433 w 1940983"/>
                  <a:gd name="connsiteY83" fmla="*/ 5877983 h 5964766"/>
                  <a:gd name="connsiteX84" fmla="*/ 556683 w 1940983"/>
                  <a:gd name="connsiteY84" fmla="*/ 5960533 h 5964766"/>
                  <a:gd name="connsiteX85" fmla="*/ 391583 w 1940983"/>
                  <a:gd name="connsiteY85" fmla="*/ 5903383 h 5964766"/>
                  <a:gd name="connsiteX86" fmla="*/ 397933 w 1940983"/>
                  <a:gd name="connsiteY86" fmla="*/ 5738283 h 5964766"/>
                  <a:gd name="connsiteX87" fmla="*/ 378883 w 1940983"/>
                  <a:gd name="connsiteY87" fmla="*/ 5579533 h 5964766"/>
                  <a:gd name="connsiteX88" fmla="*/ 353483 w 1940983"/>
                  <a:gd name="connsiteY88" fmla="*/ 5236633 h 5964766"/>
                  <a:gd name="connsiteX89" fmla="*/ 385233 w 1940983"/>
                  <a:gd name="connsiteY89" fmla="*/ 5096933 h 5964766"/>
                  <a:gd name="connsiteX90" fmla="*/ 404283 w 1940983"/>
                  <a:gd name="connsiteY90" fmla="*/ 4639733 h 5964766"/>
                  <a:gd name="connsiteX91" fmla="*/ 436033 w 1940983"/>
                  <a:gd name="connsiteY91" fmla="*/ 4512733 h 5964766"/>
                  <a:gd name="connsiteX92" fmla="*/ 416983 w 1940983"/>
                  <a:gd name="connsiteY92" fmla="*/ 4347633 h 5964766"/>
                  <a:gd name="connsiteX93" fmla="*/ 397933 w 1940983"/>
                  <a:gd name="connsiteY93" fmla="*/ 4163483 h 5964766"/>
                  <a:gd name="connsiteX94" fmla="*/ 429683 w 1940983"/>
                  <a:gd name="connsiteY94" fmla="*/ 3534833 h 5964766"/>
                  <a:gd name="connsiteX95" fmla="*/ 423333 w 1940983"/>
                  <a:gd name="connsiteY95" fmla="*/ 3083983 h 5964766"/>
                  <a:gd name="connsiteX96" fmla="*/ 359833 w 1940983"/>
                  <a:gd name="connsiteY96" fmla="*/ 2810933 h 5964766"/>
                  <a:gd name="connsiteX97" fmla="*/ 397933 w 1940983"/>
                  <a:gd name="connsiteY97" fmla="*/ 2442633 h 5964766"/>
                  <a:gd name="connsiteX98" fmla="*/ 423333 w 1940983"/>
                  <a:gd name="connsiteY98" fmla="*/ 2137833 h 5964766"/>
                  <a:gd name="connsiteX99" fmla="*/ 391583 w 1940983"/>
                  <a:gd name="connsiteY99" fmla="*/ 2036233 h 5964766"/>
                  <a:gd name="connsiteX100" fmla="*/ 347133 w 1940983"/>
                  <a:gd name="connsiteY100" fmla="*/ 2169583 h 5964766"/>
                  <a:gd name="connsiteX101" fmla="*/ 366183 w 1940983"/>
                  <a:gd name="connsiteY101" fmla="*/ 2461683 h 5964766"/>
                  <a:gd name="connsiteX102" fmla="*/ 340783 w 1940983"/>
                  <a:gd name="connsiteY102" fmla="*/ 2842683 h 5964766"/>
                  <a:gd name="connsiteX103" fmla="*/ 321733 w 1940983"/>
                  <a:gd name="connsiteY103" fmla="*/ 2995083 h 5964766"/>
                  <a:gd name="connsiteX104" fmla="*/ 359833 w 1940983"/>
                  <a:gd name="connsiteY104" fmla="*/ 3039533 h 5964766"/>
                  <a:gd name="connsiteX105" fmla="*/ 359833 w 1940983"/>
                  <a:gd name="connsiteY105" fmla="*/ 3172883 h 5964766"/>
                  <a:gd name="connsiteX106" fmla="*/ 366183 w 1940983"/>
                  <a:gd name="connsiteY106" fmla="*/ 3299883 h 5964766"/>
                  <a:gd name="connsiteX107" fmla="*/ 328083 w 1940983"/>
                  <a:gd name="connsiteY107" fmla="*/ 3299883 h 5964766"/>
                  <a:gd name="connsiteX108" fmla="*/ 321733 w 1940983"/>
                  <a:gd name="connsiteY108" fmla="*/ 3185583 h 5964766"/>
                  <a:gd name="connsiteX109" fmla="*/ 296333 w 1940983"/>
                  <a:gd name="connsiteY109" fmla="*/ 3261783 h 5964766"/>
                  <a:gd name="connsiteX110" fmla="*/ 340783 w 1940983"/>
                  <a:gd name="connsiteY110" fmla="*/ 3357033 h 5964766"/>
                  <a:gd name="connsiteX111" fmla="*/ 353483 w 1940983"/>
                  <a:gd name="connsiteY111" fmla="*/ 3426883 h 5964766"/>
                  <a:gd name="connsiteX112" fmla="*/ 289983 w 1940983"/>
                  <a:gd name="connsiteY112" fmla="*/ 3420533 h 5964766"/>
                  <a:gd name="connsiteX113" fmla="*/ 207433 w 1940983"/>
                  <a:gd name="connsiteY113" fmla="*/ 3318933 h 5964766"/>
                  <a:gd name="connsiteX114" fmla="*/ 169333 w 1940983"/>
                  <a:gd name="connsiteY114" fmla="*/ 3274483 h 5964766"/>
                  <a:gd name="connsiteX115" fmla="*/ 156633 w 1940983"/>
                  <a:gd name="connsiteY115" fmla="*/ 3001433 h 5964766"/>
                  <a:gd name="connsiteX116" fmla="*/ 156633 w 1940983"/>
                  <a:gd name="connsiteY116" fmla="*/ 2779183 h 5964766"/>
                  <a:gd name="connsiteX117" fmla="*/ 105833 w 1940983"/>
                  <a:gd name="connsiteY117" fmla="*/ 2385483 h 5964766"/>
                  <a:gd name="connsiteX118" fmla="*/ 131233 w 1940983"/>
                  <a:gd name="connsiteY118" fmla="*/ 2137833 h 5964766"/>
                  <a:gd name="connsiteX119" fmla="*/ 124883 w 1940983"/>
                  <a:gd name="connsiteY119" fmla="*/ 2010833 h 5964766"/>
                  <a:gd name="connsiteX120" fmla="*/ 48683 w 1940983"/>
                  <a:gd name="connsiteY120" fmla="*/ 1902883 h 5964766"/>
                  <a:gd name="connsiteX121" fmla="*/ 226483 w 1940983"/>
                  <a:gd name="connsiteY121" fmla="*/ 1261533 h 5964766"/>
                  <a:gd name="connsiteX122" fmla="*/ 842433 w 1940983"/>
                  <a:gd name="connsiteY122" fmla="*/ 753533 h 5964766"/>
                  <a:gd name="connsiteX0" fmla="*/ 794808 w 1893358"/>
                  <a:gd name="connsiteY0" fmla="*/ 753533 h 5964766"/>
                  <a:gd name="connsiteX1" fmla="*/ 813858 w 1893358"/>
                  <a:gd name="connsiteY1" fmla="*/ 683683 h 5964766"/>
                  <a:gd name="connsiteX2" fmla="*/ 769408 w 1893358"/>
                  <a:gd name="connsiteY2" fmla="*/ 607483 h 5964766"/>
                  <a:gd name="connsiteX3" fmla="*/ 731308 w 1893358"/>
                  <a:gd name="connsiteY3" fmla="*/ 569383 h 5964766"/>
                  <a:gd name="connsiteX4" fmla="*/ 712258 w 1893358"/>
                  <a:gd name="connsiteY4" fmla="*/ 499533 h 5964766"/>
                  <a:gd name="connsiteX5" fmla="*/ 724958 w 1893358"/>
                  <a:gd name="connsiteY5" fmla="*/ 410633 h 5964766"/>
                  <a:gd name="connsiteX6" fmla="*/ 737658 w 1893358"/>
                  <a:gd name="connsiteY6" fmla="*/ 321733 h 5964766"/>
                  <a:gd name="connsiteX7" fmla="*/ 737658 w 1893358"/>
                  <a:gd name="connsiteY7" fmla="*/ 150283 h 5964766"/>
                  <a:gd name="connsiteX8" fmla="*/ 902758 w 1893358"/>
                  <a:gd name="connsiteY8" fmla="*/ 23283 h 5964766"/>
                  <a:gd name="connsiteX9" fmla="*/ 1067858 w 1893358"/>
                  <a:gd name="connsiteY9" fmla="*/ 10583 h 5964766"/>
                  <a:gd name="connsiteX10" fmla="*/ 1194858 w 1893358"/>
                  <a:gd name="connsiteY10" fmla="*/ 80433 h 5964766"/>
                  <a:gd name="connsiteX11" fmla="*/ 1258358 w 1893358"/>
                  <a:gd name="connsiteY11" fmla="*/ 194733 h 5964766"/>
                  <a:gd name="connsiteX12" fmla="*/ 1258358 w 1893358"/>
                  <a:gd name="connsiteY12" fmla="*/ 340783 h 5964766"/>
                  <a:gd name="connsiteX13" fmla="*/ 1264708 w 1893358"/>
                  <a:gd name="connsiteY13" fmla="*/ 416983 h 5964766"/>
                  <a:gd name="connsiteX14" fmla="*/ 1277408 w 1893358"/>
                  <a:gd name="connsiteY14" fmla="*/ 486833 h 5964766"/>
                  <a:gd name="connsiteX15" fmla="*/ 1245658 w 1893358"/>
                  <a:gd name="connsiteY15" fmla="*/ 493183 h 5964766"/>
                  <a:gd name="connsiteX16" fmla="*/ 1213908 w 1893358"/>
                  <a:gd name="connsiteY16" fmla="*/ 601133 h 5964766"/>
                  <a:gd name="connsiteX17" fmla="*/ 1175808 w 1893358"/>
                  <a:gd name="connsiteY17" fmla="*/ 639233 h 5964766"/>
                  <a:gd name="connsiteX18" fmla="*/ 1150408 w 1893358"/>
                  <a:gd name="connsiteY18" fmla="*/ 690033 h 5964766"/>
                  <a:gd name="connsiteX19" fmla="*/ 1156758 w 1893358"/>
                  <a:gd name="connsiteY19" fmla="*/ 759883 h 5964766"/>
                  <a:gd name="connsiteX20" fmla="*/ 1194858 w 1893358"/>
                  <a:gd name="connsiteY20" fmla="*/ 785283 h 5964766"/>
                  <a:gd name="connsiteX21" fmla="*/ 1213908 w 1893358"/>
                  <a:gd name="connsiteY21" fmla="*/ 842433 h 5964766"/>
                  <a:gd name="connsiteX22" fmla="*/ 1315508 w 1893358"/>
                  <a:gd name="connsiteY22" fmla="*/ 842433 h 5964766"/>
                  <a:gd name="connsiteX23" fmla="*/ 1385358 w 1893358"/>
                  <a:gd name="connsiteY23" fmla="*/ 905933 h 5964766"/>
                  <a:gd name="connsiteX24" fmla="*/ 1417108 w 1893358"/>
                  <a:gd name="connsiteY24" fmla="*/ 988483 h 5964766"/>
                  <a:gd name="connsiteX25" fmla="*/ 1518708 w 1893358"/>
                  <a:gd name="connsiteY25" fmla="*/ 1045633 h 5964766"/>
                  <a:gd name="connsiteX26" fmla="*/ 1639358 w 1893358"/>
                  <a:gd name="connsiteY26" fmla="*/ 1102783 h 5964766"/>
                  <a:gd name="connsiteX27" fmla="*/ 1766358 w 1893358"/>
                  <a:gd name="connsiteY27" fmla="*/ 1274233 h 5964766"/>
                  <a:gd name="connsiteX28" fmla="*/ 1772708 w 1893358"/>
                  <a:gd name="connsiteY28" fmla="*/ 1369483 h 5964766"/>
                  <a:gd name="connsiteX29" fmla="*/ 1861608 w 1893358"/>
                  <a:gd name="connsiteY29" fmla="*/ 1477433 h 5964766"/>
                  <a:gd name="connsiteX30" fmla="*/ 1880658 w 1893358"/>
                  <a:gd name="connsiteY30" fmla="*/ 1547283 h 5964766"/>
                  <a:gd name="connsiteX31" fmla="*/ 1829858 w 1893358"/>
                  <a:gd name="connsiteY31" fmla="*/ 1579033 h 5964766"/>
                  <a:gd name="connsiteX32" fmla="*/ 1842558 w 1893358"/>
                  <a:gd name="connsiteY32" fmla="*/ 1680633 h 5964766"/>
                  <a:gd name="connsiteX33" fmla="*/ 1893358 w 1893358"/>
                  <a:gd name="connsiteY33" fmla="*/ 1744133 h 5964766"/>
                  <a:gd name="connsiteX34" fmla="*/ 1842558 w 1893358"/>
                  <a:gd name="connsiteY34" fmla="*/ 1794933 h 5964766"/>
                  <a:gd name="connsiteX35" fmla="*/ 1842558 w 1893358"/>
                  <a:gd name="connsiteY35" fmla="*/ 1966383 h 5964766"/>
                  <a:gd name="connsiteX36" fmla="*/ 1829858 w 1893358"/>
                  <a:gd name="connsiteY36" fmla="*/ 2042583 h 5964766"/>
                  <a:gd name="connsiteX37" fmla="*/ 1823508 w 1893358"/>
                  <a:gd name="connsiteY37" fmla="*/ 2302933 h 5964766"/>
                  <a:gd name="connsiteX38" fmla="*/ 1874308 w 1893358"/>
                  <a:gd name="connsiteY38" fmla="*/ 2385483 h 5964766"/>
                  <a:gd name="connsiteX39" fmla="*/ 1810808 w 1893358"/>
                  <a:gd name="connsiteY39" fmla="*/ 2461683 h 5964766"/>
                  <a:gd name="connsiteX40" fmla="*/ 1785408 w 1893358"/>
                  <a:gd name="connsiteY40" fmla="*/ 2601383 h 5964766"/>
                  <a:gd name="connsiteX41" fmla="*/ 1747308 w 1893358"/>
                  <a:gd name="connsiteY41" fmla="*/ 2683933 h 5964766"/>
                  <a:gd name="connsiteX42" fmla="*/ 1728258 w 1893358"/>
                  <a:gd name="connsiteY42" fmla="*/ 2931583 h 5964766"/>
                  <a:gd name="connsiteX43" fmla="*/ 1740958 w 1893358"/>
                  <a:gd name="connsiteY43" fmla="*/ 3058583 h 5964766"/>
                  <a:gd name="connsiteX44" fmla="*/ 1785408 w 1893358"/>
                  <a:gd name="connsiteY44" fmla="*/ 3160183 h 5964766"/>
                  <a:gd name="connsiteX45" fmla="*/ 1753658 w 1893358"/>
                  <a:gd name="connsiteY45" fmla="*/ 3318933 h 5964766"/>
                  <a:gd name="connsiteX46" fmla="*/ 1588558 w 1893358"/>
                  <a:gd name="connsiteY46" fmla="*/ 3426883 h 5964766"/>
                  <a:gd name="connsiteX47" fmla="*/ 1518708 w 1893358"/>
                  <a:gd name="connsiteY47" fmla="*/ 3395133 h 5964766"/>
                  <a:gd name="connsiteX48" fmla="*/ 1575858 w 1893358"/>
                  <a:gd name="connsiteY48" fmla="*/ 3318933 h 5964766"/>
                  <a:gd name="connsiteX49" fmla="*/ 1588558 w 1893358"/>
                  <a:gd name="connsiteY49" fmla="*/ 3217333 h 5964766"/>
                  <a:gd name="connsiteX50" fmla="*/ 1556808 w 1893358"/>
                  <a:gd name="connsiteY50" fmla="*/ 3191933 h 5964766"/>
                  <a:gd name="connsiteX51" fmla="*/ 1518708 w 1893358"/>
                  <a:gd name="connsiteY51" fmla="*/ 3147483 h 5964766"/>
                  <a:gd name="connsiteX52" fmla="*/ 1518708 w 1893358"/>
                  <a:gd name="connsiteY52" fmla="*/ 2531533 h 5964766"/>
                  <a:gd name="connsiteX53" fmla="*/ 1582208 w 1893358"/>
                  <a:gd name="connsiteY53" fmla="*/ 2188633 h 5964766"/>
                  <a:gd name="connsiteX54" fmla="*/ 1531408 w 1893358"/>
                  <a:gd name="connsiteY54" fmla="*/ 2023533 h 5964766"/>
                  <a:gd name="connsiteX55" fmla="*/ 1493308 w 1893358"/>
                  <a:gd name="connsiteY55" fmla="*/ 2106083 h 5964766"/>
                  <a:gd name="connsiteX56" fmla="*/ 1493308 w 1893358"/>
                  <a:gd name="connsiteY56" fmla="*/ 2302933 h 5964766"/>
                  <a:gd name="connsiteX57" fmla="*/ 1493308 w 1893358"/>
                  <a:gd name="connsiteY57" fmla="*/ 2461683 h 5964766"/>
                  <a:gd name="connsiteX58" fmla="*/ 1506008 w 1893358"/>
                  <a:gd name="connsiteY58" fmla="*/ 3255433 h 5964766"/>
                  <a:gd name="connsiteX59" fmla="*/ 1474258 w 1893358"/>
                  <a:gd name="connsiteY59" fmla="*/ 3604683 h 5964766"/>
                  <a:gd name="connsiteX60" fmla="*/ 1429808 w 1893358"/>
                  <a:gd name="connsiteY60" fmla="*/ 4030133 h 5964766"/>
                  <a:gd name="connsiteX61" fmla="*/ 1315508 w 1893358"/>
                  <a:gd name="connsiteY61" fmla="*/ 4728633 h 5964766"/>
                  <a:gd name="connsiteX62" fmla="*/ 1258358 w 1893358"/>
                  <a:gd name="connsiteY62" fmla="*/ 5046133 h 5964766"/>
                  <a:gd name="connsiteX63" fmla="*/ 1201208 w 1893358"/>
                  <a:gd name="connsiteY63" fmla="*/ 5262033 h 5964766"/>
                  <a:gd name="connsiteX64" fmla="*/ 1321858 w 1893358"/>
                  <a:gd name="connsiteY64" fmla="*/ 5395383 h 5964766"/>
                  <a:gd name="connsiteX65" fmla="*/ 1347258 w 1893358"/>
                  <a:gd name="connsiteY65" fmla="*/ 5560483 h 5964766"/>
                  <a:gd name="connsiteX66" fmla="*/ 1264708 w 1893358"/>
                  <a:gd name="connsiteY66" fmla="*/ 5585883 h 5964766"/>
                  <a:gd name="connsiteX67" fmla="*/ 1417108 w 1893358"/>
                  <a:gd name="connsiteY67" fmla="*/ 5700183 h 5964766"/>
                  <a:gd name="connsiteX68" fmla="*/ 1442508 w 1893358"/>
                  <a:gd name="connsiteY68" fmla="*/ 5776383 h 5964766"/>
                  <a:gd name="connsiteX69" fmla="*/ 1315508 w 1893358"/>
                  <a:gd name="connsiteY69" fmla="*/ 5865283 h 5964766"/>
                  <a:gd name="connsiteX70" fmla="*/ 1131358 w 1893358"/>
                  <a:gd name="connsiteY70" fmla="*/ 5839883 h 5964766"/>
                  <a:gd name="connsiteX71" fmla="*/ 1067858 w 1893358"/>
                  <a:gd name="connsiteY71" fmla="*/ 5731933 h 5964766"/>
                  <a:gd name="connsiteX72" fmla="*/ 921808 w 1893358"/>
                  <a:gd name="connsiteY72" fmla="*/ 5693833 h 5964766"/>
                  <a:gd name="connsiteX73" fmla="*/ 890058 w 1893358"/>
                  <a:gd name="connsiteY73" fmla="*/ 5611283 h 5964766"/>
                  <a:gd name="connsiteX74" fmla="*/ 864658 w 1893358"/>
                  <a:gd name="connsiteY74" fmla="*/ 5598583 h 5964766"/>
                  <a:gd name="connsiteX75" fmla="*/ 851958 w 1893358"/>
                  <a:gd name="connsiteY75" fmla="*/ 4500033 h 5964766"/>
                  <a:gd name="connsiteX76" fmla="*/ 934508 w 1893358"/>
                  <a:gd name="connsiteY76" fmla="*/ 3680883 h 5964766"/>
                  <a:gd name="connsiteX77" fmla="*/ 985308 w 1893358"/>
                  <a:gd name="connsiteY77" fmla="*/ 3376083 h 5964766"/>
                  <a:gd name="connsiteX78" fmla="*/ 915458 w 1893358"/>
                  <a:gd name="connsiteY78" fmla="*/ 3490383 h 5964766"/>
                  <a:gd name="connsiteX79" fmla="*/ 801158 w 1893358"/>
                  <a:gd name="connsiteY79" fmla="*/ 3960283 h 5964766"/>
                  <a:gd name="connsiteX80" fmla="*/ 782108 w 1893358"/>
                  <a:gd name="connsiteY80" fmla="*/ 4334933 h 5964766"/>
                  <a:gd name="connsiteX81" fmla="*/ 813858 w 1893358"/>
                  <a:gd name="connsiteY81" fmla="*/ 4944533 h 5964766"/>
                  <a:gd name="connsiteX82" fmla="*/ 845608 w 1893358"/>
                  <a:gd name="connsiteY82" fmla="*/ 5649383 h 5964766"/>
                  <a:gd name="connsiteX83" fmla="*/ 667808 w 1893358"/>
                  <a:gd name="connsiteY83" fmla="*/ 5877983 h 5964766"/>
                  <a:gd name="connsiteX84" fmla="*/ 509058 w 1893358"/>
                  <a:gd name="connsiteY84" fmla="*/ 5960533 h 5964766"/>
                  <a:gd name="connsiteX85" fmla="*/ 343958 w 1893358"/>
                  <a:gd name="connsiteY85" fmla="*/ 5903383 h 5964766"/>
                  <a:gd name="connsiteX86" fmla="*/ 350308 w 1893358"/>
                  <a:gd name="connsiteY86" fmla="*/ 5738283 h 5964766"/>
                  <a:gd name="connsiteX87" fmla="*/ 331258 w 1893358"/>
                  <a:gd name="connsiteY87" fmla="*/ 5579533 h 5964766"/>
                  <a:gd name="connsiteX88" fmla="*/ 305858 w 1893358"/>
                  <a:gd name="connsiteY88" fmla="*/ 5236633 h 5964766"/>
                  <a:gd name="connsiteX89" fmla="*/ 337608 w 1893358"/>
                  <a:gd name="connsiteY89" fmla="*/ 5096933 h 5964766"/>
                  <a:gd name="connsiteX90" fmla="*/ 356658 w 1893358"/>
                  <a:gd name="connsiteY90" fmla="*/ 4639733 h 5964766"/>
                  <a:gd name="connsiteX91" fmla="*/ 388408 w 1893358"/>
                  <a:gd name="connsiteY91" fmla="*/ 4512733 h 5964766"/>
                  <a:gd name="connsiteX92" fmla="*/ 369358 w 1893358"/>
                  <a:gd name="connsiteY92" fmla="*/ 4347633 h 5964766"/>
                  <a:gd name="connsiteX93" fmla="*/ 350308 w 1893358"/>
                  <a:gd name="connsiteY93" fmla="*/ 4163483 h 5964766"/>
                  <a:gd name="connsiteX94" fmla="*/ 382058 w 1893358"/>
                  <a:gd name="connsiteY94" fmla="*/ 3534833 h 5964766"/>
                  <a:gd name="connsiteX95" fmla="*/ 375708 w 1893358"/>
                  <a:gd name="connsiteY95" fmla="*/ 3083983 h 5964766"/>
                  <a:gd name="connsiteX96" fmla="*/ 312208 w 1893358"/>
                  <a:gd name="connsiteY96" fmla="*/ 2810933 h 5964766"/>
                  <a:gd name="connsiteX97" fmla="*/ 350308 w 1893358"/>
                  <a:gd name="connsiteY97" fmla="*/ 2442633 h 5964766"/>
                  <a:gd name="connsiteX98" fmla="*/ 375708 w 1893358"/>
                  <a:gd name="connsiteY98" fmla="*/ 2137833 h 5964766"/>
                  <a:gd name="connsiteX99" fmla="*/ 343958 w 1893358"/>
                  <a:gd name="connsiteY99" fmla="*/ 2036233 h 5964766"/>
                  <a:gd name="connsiteX100" fmla="*/ 299508 w 1893358"/>
                  <a:gd name="connsiteY100" fmla="*/ 2169583 h 5964766"/>
                  <a:gd name="connsiteX101" fmla="*/ 318558 w 1893358"/>
                  <a:gd name="connsiteY101" fmla="*/ 2461683 h 5964766"/>
                  <a:gd name="connsiteX102" fmla="*/ 293158 w 1893358"/>
                  <a:gd name="connsiteY102" fmla="*/ 2842683 h 5964766"/>
                  <a:gd name="connsiteX103" fmla="*/ 274108 w 1893358"/>
                  <a:gd name="connsiteY103" fmla="*/ 2995083 h 5964766"/>
                  <a:gd name="connsiteX104" fmla="*/ 312208 w 1893358"/>
                  <a:gd name="connsiteY104" fmla="*/ 3039533 h 5964766"/>
                  <a:gd name="connsiteX105" fmla="*/ 312208 w 1893358"/>
                  <a:gd name="connsiteY105" fmla="*/ 3172883 h 5964766"/>
                  <a:gd name="connsiteX106" fmla="*/ 318558 w 1893358"/>
                  <a:gd name="connsiteY106" fmla="*/ 3299883 h 5964766"/>
                  <a:gd name="connsiteX107" fmla="*/ 280458 w 1893358"/>
                  <a:gd name="connsiteY107" fmla="*/ 3299883 h 5964766"/>
                  <a:gd name="connsiteX108" fmla="*/ 274108 w 1893358"/>
                  <a:gd name="connsiteY108" fmla="*/ 3185583 h 5964766"/>
                  <a:gd name="connsiteX109" fmla="*/ 248708 w 1893358"/>
                  <a:gd name="connsiteY109" fmla="*/ 3261783 h 5964766"/>
                  <a:gd name="connsiteX110" fmla="*/ 293158 w 1893358"/>
                  <a:gd name="connsiteY110" fmla="*/ 3357033 h 5964766"/>
                  <a:gd name="connsiteX111" fmla="*/ 305858 w 1893358"/>
                  <a:gd name="connsiteY111" fmla="*/ 3426883 h 5964766"/>
                  <a:gd name="connsiteX112" fmla="*/ 242358 w 1893358"/>
                  <a:gd name="connsiteY112" fmla="*/ 3420533 h 5964766"/>
                  <a:gd name="connsiteX113" fmla="*/ 159808 w 1893358"/>
                  <a:gd name="connsiteY113" fmla="*/ 3318933 h 5964766"/>
                  <a:gd name="connsiteX114" fmla="*/ 121708 w 1893358"/>
                  <a:gd name="connsiteY114" fmla="*/ 3274483 h 5964766"/>
                  <a:gd name="connsiteX115" fmla="*/ 109008 w 1893358"/>
                  <a:gd name="connsiteY115" fmla="*/ 3001433 h 5964766"/>
                  <a:gd name="connsiteX116" fmla="*/ 109008 w 1893358"/>
                  <a:gd name="connsiteY116" fmla="*/ 2779183 h 5964766"/>
                  <a:gd name="connsiteX117" fmla="*/ 58208 w 1893358"/>
                  <a:gd name="connsiteY117" fmla="*/ 2385483 h 5964766"/>
                  <a:gd name="connsiteX118" fmla="*/ 83608 w 1893358"/>
                  <a:gd name="connsiteY118" fmla="*/ 2137833 h 5964766"/>
                  <a:gd name="connsiteX119" fmla="*/ 77258 w 1893358"/>
                  <a:gd name="connsiteY119" fmla="*/ 2010833 h 5964766"/>
                  <a:gd name="connsiteX120" fmla="*/ 1058 w 1893358"/>
                  <a:gd name="connsiteY120" fmla="*/ 1902883 h 5964766"/>
                  <a:gd name="connsiteX121" fmla="*/ 1059 w 1893358"/>
                  <a:gd name="connsiteY121" fmla="*/ 1591733 h 5964766"/>
                  <a:gd name="connsiteX122" fmla="*/ 178858 w 1893358"/>
                  <a:gd name="connsiteY122" fmla="*/ 1261533 h 5964766"/>
                  <a:gd name="connsiteX123" fmla="*/ 794808 w 1893358"/>
                  <a:gd name="connsiteY123" fmla="*/ 753533 h 5964766"/>
                  <a:gd name="connsiteX0" fmla="*/ 794808 w 1893358"/>
                  <a:gd name="connsiteY0" fmla="*/ 753533 h 5964766"/>
                  <a:gd name="connsiteX1" fmla="*/ 813858 w 1893358"/>
                  <a:gd name="connsiteY1" fmla="*/ 683683 h 5964766"/>
                  <a:gd name="connsiteX2" fmla="*/ 769408 w 1893358"/>
                  <a:gd name="connsiteY2" fmla="*/ 607483 h 5964766"/>
                  <a:gd name="connsiteX3" fmla="*/ 731308 w 1893358"/>
                  <a:gd name="connsiteY3" fmla="*/ 569383 h 5964766"/>
                  <a:gd name="connsiteX4" fmla="*/ 712258 w 1893358"/>
                  <a:gd name="connsiteY4" fmla="*/ 499533 h 5964766"/>
                  <a:gd name="connsiteX5" fmla="*/ 724958 w 1893358"/>
                  <a:gd name="connsiteY5" fmla="*/ 410633 h 5964766"/>
                  <a:gd name="connsiteX6" fmla="*/ 737658 w 1893358"/>
                  <a:gd name="connsiteY6" fmla="*/ 321733 h 5964766"/>
                  <a:gd name="connsiteX7" fmla="*/ 737658 w 1893358"/>
                  <a:gd name="connsiteY7" fmla="*/ 150283 h 5964766"/>
                  <a:gd name="connsiteX8" fmla="*/ 902758 w 1893358"/>
                  <a:gd name="connsiteY8" fmla="*/ 23283 h 5964766"/>
                  <a:gd name="connsiteX9" fmla="*/ 1067858 w 1893358"/>
                  <a:gd name="connsiteY9" fmla="*/ 10583 h 5964766"/>
                  <a:gd name="connsiteX10" fmla="*/ 1194858 w 1893358"/>
                  <a:gd name="connsiteY10" fmla="*/ 80433 h 5964766"/>
                  <a:gd name="connsiteX11" fmla="*/ 1258358 w 1893358"/>
                  <a:gd name="connsiteY11" fmla="*/ 194733 h 5964766"/>
                  <a:gd name="connsiteX12" fmla="*/ 1258358 w 1893358"/>
                  <a:gd name="connsiteY12" fmla="*/ 340783 h 5964766"/>
                  <a:gd name="connsiteX13" fmla="*/ 1264708 w 1893358"/>
                  <a:gd name="connsiteY13" fmla="*/ 416983 h 5964766"/>
                  <a:gd name="connsiteX14" fmla="*/ 1277408 w 1893358"/>
                  <a:gd name="connsiteY14" fmla="*/ 486833 h 5964766"/>
                  <a:gd name="connsiteX15" fmla="*/ 1245658 w 1893358"/>
                  <a:gd name="connsiteY15" fmla="*/ 493183 h 5964766"/>
                  <a:gd name="connsiteX16" fmla="*/ 1213908 w 1893358"/>
                  <a:gd name="connsiteY16" fmla="*/ 601133 h 5964766"/>
                  <a:gd name="connsiteX17" fmla="*/ 1175808 w 1893358"/>
                  <a:gd name="connsiteY17" fmla="*/ 639233 h 5964766"/>
                  <a:gd name="connsiteX18" fmla="*/ 1150408 w 1893358"/>
                  <a:gd name="connsiteY18" fmla="*/ 690033 h 5964766"/>
                  <a:gd name="connsiteX19" fmla="*/ 1156758 w 1893358"/>
                  <a:gd name="connsiteY19" fmla="*/ 759883 h 5964766"/>
                  <a:gd name="connsiteX20" fmla="*/ 1194858 w 1893358"/>
                  <a:gd name="connsiteY20" fmla="*/ 785283 h 5964766"/>
                  <a:gd name="connsiteX21" fmla="*/ 1213908 w 1893358"/>
                  <a:gd name="connsiteY21" fmla="*/ 842433 h 5964766"/>
                  <a:gd name="connsiteX22" fmla="*/ 1315508 w 1893358"/>
                  <a:gd name="connsiteY22" fmla="*/ 842433 h 5964766"/>
                  <a:gd name="connsiteX23" fmla="*/ 1385358 w 1893358"/>
                  <a:gd name="connsiteY23" fmla="*/ 905933 h 5964766"/>
                  <a:gd name="connsiteX24" fmla="*/ 1417108 w 1893358"/>
                  <a:gd name="connsiteY24" fmla="*/ 988483 h 5964766"/>
                  <a:gd name="connsiteX25" fmla="*/ 1518708 w 1893358"/>
                  <a:gd name="connsiteY25" fmla="*/ 1045633 h 5964766"/>
                  <a:gd name="connsiteX26" fmla="*/ 1639358 w 1893358"/>
                  <a:gd name="connsiteY26" fmla="*/ 1102783 h 5964766"/>
                  <a:gd name="connsiteX27" fmla="*/ 1766358 w 1893358"/>
                  <a:gd name="connsiteY27" fmla="*/ 1274233 h 5964766"/>
                  <a:gd name="connsiteX28" fmla="*/ 1772708 w 1893358"/>
                  <a:gd name="connsiteY28" fmla="*/ 1369483 h 5964766"/>
                  <a:gd name="connsiteX29" fmla="*/ 1861608 w 1893358"/>
                  <a:gd name="connsiteY29" fmla="*/ 1477433 h 5964766"/>
                  <a:gd name="connsiteX30" fmla="*/ 1880658 w 1893358"/>
                  <a:gd name="connsiteY30" fmla="*/ 1547283 h 5964766"/>
                  <a:gd name="connsiteX31" fmla="*/ 1829858 w 1893358"/>
                  <a:gd name="connsiteY31" fmla="*/ 1579033 h 5964766"/>
                  <a:gd name="connsiteX32" fmla="*/ 1842558 w 1893358"/>
                  <a:gd name="connsiteY32" fmla="*/ 1680633 h 5964766"/>
                  <a:gd name="connsiteX33" fmla="*/ 1893358 w 1893358"/>
                  <a:gd name="connsiteY33" fmla="*/ 1744133 h 5964766"/>
                  <a:gd name="connsiteX34" fmla="*/ 1842558 w 1893358"/>
                  <a:gd name="connsiteY34" fmla="*/ 1794933 h 5964766"/>
                  <a:gd name="connsiteX35" fmla="*/ 1842558 w 1893358"/>
                  <a:gd name="connsiteY35" fmla="*/ 1966383 h 5964766"/>
                  <a:gd name="connsiteX36" fmla="*/ 1829858 w 1893358"/>
                  <a:gd name="connsiteY36" fmla="*/ 2042583 h 5964766"/>
                  <a:gd name="connsiteX37" fmla="*/ 1823508 w 1893358"/>
                  <a:gd name="connsiteY37" fmla="*/ 2302933 h 5964766"/>
                  <a:gd name="connsiteX38" fmla="*/ 1874308 w 1893358"/>
                  <a:gd name="connsiteY38" fmla="*/ 2385483 h 5964766"/>
                  <a:gd name="connsiteX39" fmla="*/ 1810808 w 1893358"/>
                  <a:gd name="connsiteY39" fmla="*/ 2461683 h 5964766"/>
                  <a:gd name="connsiteX40" fmla="*/ 1785408 w 1893358"/>
                  <a:gd name="connsiteY40" fmla="*/ 2601383 h 5964766"/>
                  <a:gd name="connsiteX41" fmla="*/ 1747308 w 1893358"/>
                  <a:gd name="connsiteY41" fmla="*/ 2683933 h 5964766"/>
                  <a:gd name="connsiteX42" fmla="*/ 1728258 w 1893358"/>
                  <a:gd name="connsiteY42" fmla="*/ 2931583 h 5964766"/>
                  <a:gd name="connsiteX43" fmla="*/ 1740958 w 1893358"/>
                  <a:gd name="connsiteY43" fmla="*/ 3058583 h 5964766"/>
                  <a:gd name="connsiteX44" fmla="*/ 1785408 w 1893358"/>
                  <a:gd name="connsiteY44" fmla="*/ 3160183 h 5964766"/>
                  <a:gd name="connsiteX45" fmla="*/ 1753658 w 1893358"/>
                  <a:gd name="connsiteY45" fmla="*/ 3318933 h 5964766"/>
                  <a:gd name="connsiteX46" fmla="*/ 1588558 w 1893358"/>
                  <a:gd name="connsiteY46" fmla="*/ 3426883 h 5964766"/>
                  <a:gd name="connsiteX47" fmla="*/ 1518708 w 1893358"/>
                  <a:gd name="connsiteY47" fmla="*/ 3395133 h 5964766"/>
                  <a:gd name="connsiteX48" fmla="*/ 1575858 w 1893358"/>
                  <a:gd name="connsiteY48" fmla="*/ 3318933 h 5964766"/>
                  <a:gd name="connsiteX49" fmla="*/ 1588558 w 1893358"/>
                  <a:gd name="connsiteY49" fmla="*/ 3217333 h 5964766"/>
                  <a:gd name="connsiteX50" fmla="*/ 1556808 w 1893358"/>
                  <a:gd name="connsiteY50" fmla="*/ 3191933 h 5964766"/>
                  <a:gd name="connsiteX51" fmla="*/ 1518708 w 1893358"/>
                  <a:gd name="connsiteY51" fmla="*/ 3147483 h 5964766"/>
                  <a:gd name="connsiteX52" fmla="*/ 1518708 w 1893358"/>
                  <a:gd name="connsiteY52" fmla="*/ 2531533 h 5964766"/>
                  <a:gd name="connsiteX53" fmla="*/ 1582208 w 1893358"/>
                  <a:gd name="connsiteY53" fmla="*/ 2188633 h 5964766"/>
                  <a:gd name="connsiteX54" fmla="*/ 1531408 w 1893358"/>
                  <a:gd name="connsiteY54" fmla="*/ 2023533 h 5964766"/>
                  <a:gd name="connsiteX55" fmla="*/ 1493308 w 1893358"/>
                  <a:gd name="connsiteY55" fmla="*/ 2106083 h 5964766"/>
                  <a:gd name="connsiteX56" fmla="*/ 1493308 w 1893358"/>
                  <a:gd name="connsiteY56" fmla="*/ 2302933 h 5964766"/>
                  <a:gd name="connsiteX57" fmla="*/ 1493308 w 1893358"/>
                  <a:gd name="connsiteY57" fmla="*/ 2461683 h 5964766"/>
                  <a:gd name="connsiteX58" fmla="*/ 1506008 w 1893358"/>
                  <a:gd name="connsiteY58" fmla="*/ 3255433 h 5964766"/>
                  <a:gd name="connsiteX59" fmla="*/ 1474258 w 1893358"/>
                  <a:gd name="connsiteY59" fmla="*/ 3604683 h 5964766"/>
                  <a:gd name="connsiteX60" fmla="*/ 1429808 w 1893358"/>
                  <a:gd name="connsiteY60" fmla="*/ 4030133 h 5964766"/>
                  <a:gd name="connsiteX61" fmla="*/ 1315508 w 1893358"/>
                  <a:gd name="connsiteY61" fmla="*/ 4728633 h 5964766"/>
                  <a:gd name="connsiteX62" fmla="*/ 1258358 w 1893358"/>
                  <a:gd name="connsiteY62" fmla="*/ 5046133 h 5964766"/>
                  <a:gd name="connsiteX63" fmla="*/ 1201208 w 1893358"/>
                  <a:gd name="connsiteY63" fmla="*/ 5262033 h 5964766"/>
                  <a:gd name="connsiteX64" fmla="*/ 1321858 w 1893358"/>
                  <a:gd name="connsiteY64" fmla="*/ 5395383 h 5964766"/>
                  <a:gd name="connsiteX65" fmla="*/ 1347258 w 1893358"/>
                  <a:gd name="connsiteY65" fmla="*/ 5560483 h 5964766"/>
                  <a:gd name="connsiteX66" fmla="*/ 1264708 w 1893358"/>
                  <a:gd name="connsiteY66" fmla="*/ 5585883 h 5964766"/>
                  <a:gd name="connsiteX67" fmla="*/ 1417108 w 1893358"/>
                  <a:gd name="connsiteY67" fmla="*/ 5700183 h 5964766"/>
                  <a:gd name="connsiteX68" fmla="*/ 1442508 w 1893358"/>
                  <a:gd name="connsiteY68" fmla="*/ 5776383 h 5964766"/>
                  <a:gd name="connsiteX69" fmla="*/ 1315508 w 1893358"/>
                  <a:gd name="connsiteY69" fmla="*/ 5865283 h 5964766"/>
                  <a:gd name="connsiteX70" fmla="*/ 1131358 w 1893358"/>
                  <a:gd name="connsiteY70" fmla="*/ 5839883 h 5964766"/>
                  <a:gd name="connsiteX71" fmla="*/ 1067858 w 1893358"/>
                  <a:gd name="connsiteY71" fmla="*/ 5731933 h 5964766"/>
                  <a:gd name="connsiteX72" fmla="*/ 921808 w 1893358"/>
                  <a:gd name="connsiteY72" fmla="*/ 5693833 h 5964766"/>
                  <a:gd name="connsiteX73" fmla="*/ 890058 w 1893358"/>
                  <a:gd name="connsiteY73" fmla="*/ 5611283 h 5964766"/>
                  <a:gd name="connsiteX74" fmla="*/ 864658 w 1893358"/>
                  <a:gd name="connsiteY74" fmla="*/ 5598583 h 5964766"/>
                  <a:gd name="connsiteX75" fmla="*/ 851958 w 1893358"/>
                  <a:gd name="connsiteY75" fmla="*/ 4500033 h 5964766"/>
                  <a:gd name="connsiteX76" fmla="*/ 934508 w 1893358"/>
                  <a:gd name="connsiteY76" fmla="*/ 3680883 h 5964766"/>
                  <a:gd name="connsiteX77" fmla="*/ 985308 w 1893358"/>
                  <a:gd name="connsiteY77" fmla="*/ 3376083 h 5964766"/>
                  <a:gd name="connsiteX78" fmla="*/ 915458 w 1893358"/>
                  <a:gd name="connsiteY78" fmla="*/ 3490383 h 5964766"/>
                  <a:gd name="connsiteX79" fmla="*/ 801158 w 1893358"/>
                  <a:gd name="connsiteY79" fmla="*/ 3960283 h 5964766"/>
                  <a:gd name="connsiteX80" fmla="*/ 782108 w 1893358"/>
                  <a:gd name="connsiteY80" fmla="*/ 4334933 h 5964766"/>
                  <a:gd name="connsiteX81" fmla="*/ 813858 w 1893358"/>
                  <a:gd name="connsiteY81" fmla="*/ 4944533 h 5964766"/>
                  <a:gd name="connsiteX82" fmla="*/ 845608 w 1893358"/>
                  <a:gd name="connsiteY82" fmla="*/ 5649383 h 5964766"/>
                  <a:gd name="connsiteX83" fmla="*/ 667808 w 1893358"/>
                  <a:gd name="connsiteY83" fmla="*/ 5877983 h 5964766"/>
                  <a:gd name="connsiteX84" fmla="*/ 509058 w 1893358"/>
                  <a:gd name="connsiteY84" fmla="*/ 5960533 h 5964766"/>
                  <a:gd name="connsiteX85" fmla="*/ 343958 w 1893358"/>
                  <a:gd name="connsiteY85" fmla="*/ 5903383 h 5964766"/>
                  <a:gd name="connsiteX86" fmla="*/ 350308 w 1893358"/>
                  <a:gd name="connsiteY86" fmla="*/ 5738283 h 5964766"/>
                  <a:gd name="connsiteX87" fmla="*/ 331258 w 1893358"/>
                  <a:gd name="connsiteY87" fmla="*/ 5579533 h 5964766"/>
                  <a:gd name="connsiteX88" fmla="*/ 305858 w 1893358"/>
                  <a:gd name="connsiteY88" fmla="*/ 5236633 h 5964766"/>
                  <a:gd name="connsiteX89" fmla="*/ 337608 w 1893358"/>
                  <a:gd name="connsiteY89" fmla="*/ 5096933 h 5964766"/>
                  <a:gd name="connsiteX90" fmla="*/ 356658 w 1893358"/>
                  <a:gd name="connsiteY90" fmla="*/ 4639733 h 5964766"/>
                  <a:gd name="connsiteX91" fmla="*/ 388408 w 1893358"/>
                  <a:gd name="connsiteY91" fmla="*/ 4512733 h 5964766"/>
                  <a:gd name="connsiteX92" fmla="*/ 369358 w 1893358"/>
                  <a:gd name="connsiteY92" fmla="*/ 4347633 h 5964766"/>
                  <a:gd name="connsiteX93" fmla="*/ 350308 w 1893358"/>
                  <a:gd name="connsiteY93" fmla="*/ 4163483 h 5964766"/>
                  <a:gd name="connsiteX94" fmla="*/ 382058 w 1893358"/>
                  <a:gd name="connsiteY94" fmla="*/ 3534833 h 5964766"/>
                  <a:gd name="connsiteX95" fmla="*/ 375708 w 1893358"/>
                  <a:gd name="connsiteY95" fmla="*/ 3083983 h 5964766"/>
                  <a:gd name="connsiteX96" fmla="*/ 312208 w 1893358"/>
                  <a:gd name="connsiteY96" fmla="*/ 2810933 h 5964766"/>
                  <a:gd name="connsiteX97" fmla="*/ 350308 w 1893358"/>
                  <a:gd name="connsiteY97" fmla="*/ 2442633 h 5964766"/>
                  <a:gd name="connsiteX98" fmla="*/ 375708 w 1893358"/>
                  <a:gd name="connsiteY98" fmla="*/ 2137833 h 5964766"/>
                  <a:gd name="connsiteX99" fmla="*/ 343958 w 1893358"/>
                  <a:gd name="connsiteY99" fmla="*/ 2036233 h 5964766"/>
                  <a:gd name="connsiteX100" fmla="*/ 299508 w 1893358"/>
                  <a:gd name="connsiteY100" fmla="*/ 2169583 h 5964766"/>
                  <a:gd name="connsiteX101" fmla="*/ 318558 w 1893358"/>
                  <a:gd name="connsiteY101" fmla="*/ 2461683 h 5964766"/>
                  <a:gd name="connsiteX102" fmla="*/ 293158 w 1893358"/>
                  <a:gd name="connsiteY102" fmla="*/ 2842683 h 5964766"/>
                  <a:gd name="connsiteX103" fmla="*/ 274108 w 1893358"/>
                  <a:gd name="connsiteY103" fmla="*/ 2995083 h 5964766"/>
                  <a:gd name="connsiteX104" fmla="*/ 312208 w 1893358"/>
                  <a:gd name="connsiteY104" fmla="*/ 3039533 h 5964766"/>
                  <a:gd name="connsiteX105" fmla="*/ 312208 w 1893358"/>
                  <a:gd name="connsiteY105" fmla="*/ 3172883 h 5964766"/>
                  <a:gd name="connsiteX106" fmla="*/ 318558 w 1893358"/>
                  <a:gd name="connsiteY106" fmla="*/ 3299883 h 5964766"/>
                  <a:gd name="connsiteX107" fmla="*/ 280458 w 1893358"/>
                  <a:gd name="connsiteY107" fmla="*/ 3299883 h 5964766"/>
                  <a:gd name="connsiteX108" fmla="*/ 274108 w 1893358"/>
                  <a:gd name="connsiteY108" fmla="*/ 3185583 h 5964766"/>
                  <a:gd name="connsiteX109" fmla="*/ 248708 w 1893358"/>
                  <a:gd name="connsiteY109" fmla="*/ 3261783 h 5964766"/>
                  <a:gd name="connsiteX110" fmla="*/ 293158 w 1893358"/>
                  <a:gd name="connsiteY110" fmla="*/ 3357033 h 5964766"/>
                  <a:gd name="connsiteX111" fmla="*/ 305858 w 1893358"/>
                  <a:gd name="connsiteY111" fmla="*/ 3426883 h 5964766"/>
                  <a:gd name="connsiteX112" fmla="*/ 242358 w 1893358"/>
                  <a:gd name="connsiteY112" fmla="*/ 3420533 h 5964766"/>
                  <a:gd name="connsiteX113" fmla="*/ 159808 w 1893358"/>
                  <a:gd name="connsiteY113" fmla="*/ 3318933 h 5964766"/>
                  <a:gd name="connsiteX114" fmla="*/ 121708 w 1893358"/>
                  <a:gd name="connsiteY114" fmla="*/ 3274483 h 5964766"/>
                  <a:gd name="connsiteX115" fmla="*/ 109008 w 1893358"/>
                  <a:gd name="connsiteY115" fmla="*/ 3001433 h 5964766"/>
                  <a:gd name="connsiteX116" fmla="*/ 109008 w 1893358"/>
                  <a:gd name="connsiteY116" fmla="*/ 2779183 h 5964766"/>
                  <a:gd name="connsiteX117" fmla="*/ 58208 w 1893358"/>
                  <a:gd name="connsiteY117" fmla="*/ 2385483 h 5964766"/>
                  <a:gd name="connsiteX118" fmla="*/ 83608 w 1893358"/>
                  <a:gd name="connsiteY118" fmla="*/ 2137833 h 5964766"/>
                  <a:gd name="connsiteX119" fmla="*/ 77258 w 1893358"/>
                  <a:gd name="connsiteY119" fmla="*/ 2010833 h 5964766"/>
                  <a:gd name="connsiteX120" fmla="*/ 1058 w 1893358"/>
                  <a:gd name="connsiteY120" fmla="*/ 1902883 h 5964766"/>
                  <a:gd name="connsiteX121" fmla="*/ 1059 w 1893358"/>
                  <a:gd name="connsiteY121" fmla="*/ 1591733 h 5964766"/>
                  <a:gd name="connsiteX122" fmla="*/ 178858 w 1893358"/>
                  <a:gd name="connsiteY122" fmla="*/ 1261533 h 5964766"/>
                  <a:gd name="connsiteX123" fmla="*/ 439208 w 1893358"/>
                  <a:gd name="connsiteY123" fmla="*/ 1051983 h 5964766"/>
                  <a:gd name="connsiteX124" fmla="*/ 794808 w 1893358"/>
                  <a:gd name="connsiteY124" fmla="*/ 753533 h 5964766"/>
                  <a:gd name="connsiteX0" fmla="*/ 794808 w 1893358"/>
                  <a:gd name="connsiteY0" fmla="*/ 753533 h 5964766"/>
                  <a:gd name="connsiteX1" fmla="*/ 813858 w 1893358"/>
                  <a:gd name="connsiteY1" fmla="*/ 683683 h 5964766"/>
                  <a:gd name="connsiteX2" fmla="*/ 769408 w 1893358"/>
                  <a:gd name="connsiteY2" fmla="*/ 607483 h 5964766"/>
                  <a:gd name="connsiteX3" fmla="*/ 731308 w 1893358"/>
                  <a:gd name="connsiteY3" fmla="*/ 569383 h 5964766"/>
                  <a:gd name="connsiteX4" fmla="*/ 712258 w 1893358"/>
                  <a:gd name="connsiteY4" fmla="*/ 499533 h 5964766"/>
                  <a:gd name="connsiteX5" fmla="*/ 724958 w 1893358"/>
                  <a:gd name="connsiteY5" fmla="*/ 410633 h 5964766"/>
                  <a:gd name="connsiteX6" fmla="*/ 737658 w 1893358"/>
                  <a:gd name="connsiteY6" fmla="*/ 321733 h 5964766"/>
                  <a:gd name="connsiteX7" fmla="*/ 737658 w 1893358"/>
                  <a:gd name="connsiteY7" fmla="*/ 150283 h 5964766"/>
                  <a:gd name="connsiteX8" fmla="*/ 902758 w 1893358"/>
                  <a:gd name="connsiteY8" fmla="*/ 23283 h 5964766"/>
                  <a:gd name="connsiteX9" fmla="*/ 1067858 w 1893358"/>
                  <a:gd name="connsiteY9" fmla="*/ 10583 h 5964766"/>
                  <a:gd name="connsiteX10" fmla="*/ 1194858 w 1893358"/>
                  <a:gd name="connsiteY10" fmla="*/ 80433 h 5964766"/>
                  <a:gd name="connsiteX11" fmla="*/ 1258358 w 1893358"/>
                  <a:gd name="connsiteY11" fmla="*/ 194733 h 5964766"/>
                  <a:gd name="connsiteX12" fmla="*/ 1258358 w 1893358"/>
                  <a:gd name="connsiteY12" fmla="*/ 340783 h 5964766"/>
                  <a:gd name="connsiteX13" fmla="*/ 1264708 w 1893358"/>
                  <a:gd name="connsiteY13" fmla="*/ 416983 h 5964766"/>
                  <a:gd name="connsiteX14" fmla="*/ 1277408 w 1893358"/>
                  <a:gd name="connsiteY14" fmla="*/ 486833 h 5964766"/>
                  <a:gd name="connsiteX15" fmla="*/ 1245658 w 1893358"/>
                  <a:gd name="connsiteY15" fmla="*/ 493183 h 5964766"/>
                  <a:gd name="connsiteX16" fmla="*/ 1213908 w 1893358"/>
                  <a:gd name="connsiteY16" fmla="*/ 601133 h 5964766"/>
                  <a:gd name="connsiteX17" fmla="*/ 1175808 w 1893358"/>
                  <a:gd name="connsiteY17" fmla="*/ 639233 h 5964766"/>
                  <a:gd name="connsiteX18" fmla="*/ 1150408 w 1893358"/>
                  <a:gd name="connsiteY18" fmla="*/ 690033 h 5964766"/>
                  <a:gd name="connsiteX19" fmla="*/ 1156758 w 1893358"/>
                  <a:gd name="connsiteY19" fmla="*/ 759883 h 5964766"/>
                  <a:gd name="connsiteX20" fmla="*/ 1194858 w 1893358"/>
                  <a:gd name="connsiteY20" fmla="*/ 785283 h 5964766"/>
                  <a:gd name="connsiteX21" fmla="*/ 1213908 w 1893358"/>
                  <a:gd name="connsiteY21" fmla="*/ 842433 h 5964766"/>
                  <a:gd name="connsiteX22" fmla="*/ 1315508 w 1893358"/>
                  <a:gd name="connsiteY22" fmla="*/ 842433 h 5964766"/>
                  <a:gd name="connsiteX23" fmla="*/ 1385358 w 1893358"/>
                  <a:gd name="connsiteY23" fmla="*/ 905933 h 5964766"/>
                  <a:gd name="connsiteX24" fmla="*/ 1417108 w 1893358"/>
                  <a:gd name="connsiteY24" fmla="*/ 988483 h 5964766"/>
                  <a:gd name="connsiteX25" fmla="*/ 1518708 w 1893358"/>
                  <a:gd name="connsiteY25" fmla="*/ 1045633 h 5964766"/>
                  <a:gd name="connsiteX26" fmla="*/ 1639358 w 1893358"/>
                  <a:gd name="connsiteY26" fmla="*/ 1102783 h 5964766"/>
                  <a:gd name="connsiteX27" fmla="*/ 1766358 w 1893358"/>
                  <a:gd name="connsiteY27" fmla="*/ 1274233 h 5964766"/>
                  <a:gd name="connsiteX28" fmla="*/ 1772708 w 1893358"/>
                  <a:gd name="connsiteY28" fmla="*/ 1369483 h 5964766"/>
                  <a:gd name="connsiteX29" fmla="*/ 1861608 w 1893358"/>
                  <a:gd name="connsiteY29" fmla="*/ 1477433 h 5964766"/>
                  <a:gd name="connsiteX30" fmla="*/ 1880658 w 1893358"/>
                  <a:gd name="connsiteY30" fmla="*/ 1547283 h 5964766"/>
                  <a:gd name="connsiteX31" fmla="*/ 1829858 w 1893358"/>
                  <a:gd name="connsiteY31" fmla="*/ 1579033 h 5964766"/>
                  <a:gd name="connsiteX32" fmla="*/ 1842558 w 1893358"/>
                  <a:gd name="connsiteY32" fmla="*/ 1680633 h 5964766"/>
                  <a:gd name="connsiteX33" fmla="*/ 1893358 w 1893358"/>
                  <a:gd name="connsiteY33" fmla="*/ 1744133 h 5964766"/>
                  <a:gd name="connsiteX34" fmla="*/ 1842558 w 1893358"/>
                  <a:gd name="connsiteY34" fmla="*/ 1794933 h 5964766"/>
                  <a:gd name="connsiteX35" fmla="*/ 1842558 w 1893358"/>
                  <a:gd name="connsiteY35" fmla="*/ 1966383 h 5964766"/>
                  <a:gd name="connsiteX36" fmla="*/ 1829858 w 1893358"/>
                  <a:gd name="connsiteY36" fmla="*/ 2042583 h 5964766"/>
                  <a:gd name="connsiteX37" fmla="*/ 1823508 w 1893358"/>
                  <a:gd name="connsiteY37" fmla="*/ 2302933 h 5964766"/>
                  <a:gd name="connsiteX38" fmla="*/ 1874308 w 1893358"/>
                  <a:gd name="connsiteY38" fmla="*/ 2385483 h 5964766"/>
                  <a:gd name="connsiteX39" fmla="*/ 1810808 w 1893358"/>
                  <a:gd name="connsiteY39" fmla="*/ 2461683 h 5964766"/>
                  <a:gd name="connsiteX40" fmla="*/ 1785408 w 1893358"/>
                  <a:gd name="connsiteY40" fmla="*/ 2601383 h 5964766"/>
                  <a:gd name="connsiteX41" fmla="*/ 1747308 w 1893358"/>
                  <a:gd name="connsiteY41" fmla="*/ 2683933 h 5964766"/>
                  <a:gd name="connsiteX42" fmla="*/ 1728258 w 1893358"/>
                  <a:gd name="connsiteY42" fmla="*/ 2931583 h 5964766"/>
                  <a:gd name="connsiteX43" fmla="*/ 1740958 w 1893358"/>
                  <a:gd name="connsiteY43" fmla="*/ 3058583 h 5964766"/>
                  <a:gd name="connsiteX44" fmla="*/ 1785408 w 1893358"/>
                  <a:gd name="connsiteY44" fmla="*/ 3160183 h 5964766"/>
                  <a:gd name="connsiteX45" fmla="*/ 1753658 w 1893358"/>
                  <a:gd name="connsiteY45" fmla="*/ 3318933 h 5964766"/>
                  <a:gd name="connsiteX46" fmla="*/ 1588558 w 1893358"/>
                  <a:gd name="connsiteY46" fmla="*/ 3426883 h 5964766"/>
                  <a:gd name="connsiteX47" fmla="*/ 1518708 w 1893358"/>
                  <a:gd name="connsiteY47" fmla="*/ 3395133 h 5964766"/>
                  <a:gd name="connsiteX48" fmla="*/ 1575858 w 1893358"/>
                  <a:gd name="connsiteY48" fmla="*/ 3318933 h 5964766"/>
                  <a:gd name="connsiteX49" fmla="*/ 1588558 w 1893358"/>
                  <a:gd name="connsiteY49" fmla="*/ 3217333 h 5964766"/>
                  <a:gd name="connsiteX50" fmla="*/ 1556808 w 1893358"/>
                  <a:gd name="connsiteY50" fmla="*/ 3191933 h 5964766"/>
                  <a:gd name="connsiteX51" fmla="*/ 1518708 w 1893358"/>
                  <a:gd name="connsiteY51" fmla="*/ 3147483 h 5964766"/>
                  <a:gd name="connsiteX52" fmla="*/ 1518708 w 1893358"/>
                  <a:gd name="connsiteY52" fmla="*/ 2531533 h 5964766"/>
                  <a:gd name="connsiteX53" fmla="*/ 1582208 w 1893358"/>
                  <a:gd name="connsiteY53" fmla="*/ 2188633 h 5964766"/>
                  <a:gd name="connsiteX54" fmla="*/ 1531408 w 1893358"/>
                  <a:gd name="connsiteY54" fmla="*/ 2023533 h 5964766"/>
                  <a:gd name="connsiteX55" fmla="*/ 1493308 w 1893358"/>
                  <a:gd name="connsiteY55" fmla="*/ 2106083 h 5964766"/>
                  <a:gd name="connsiteX56" fmla="*/ 1493308 w 1893358"/>
                  <a:gd name="connsiteY56" fmla="*/ 2302933 h 5964766"/>
                  <a:gd name="connsiteX57" fmla="*/ 1493308 w 1893358"/>
                  <a:gd name="connsiteY57" fmla="*/ 2461683 h 5964766"/>
                  <a:gd name="connsiteX58" fmla="*/ 1506008 w 1893358"/>
                  <a:gd name="connsiteY58" fmla="*/ 3255433 h 5964766"/>
                  <a:gd name="connsiteX59" fmla="*/ 1474258 w 1893358"/>
                  <a:gd name="connsiteY59" fmla="*/ 3604683 h 5964766"/>
                  <a:gd name="connsiteX60" fmla="*/ 1429808 w 1893358"/>
                  <a:gd name="connsiteY60" fmla="*/ 4030133 h 5964766"/>
                  <a:gd name="connsiteX61" fmla="*/ 1315508 w 1893358"/>
                  <a:gd name="connsiteY61" fmla="*/ 4728633 h 5964766"/>
                  <a:gd name="connsiteX62" fmla="*/ 1258358 w 1893358"/>
                  <a:gd name="connsiteY62" fmla="*/ 5046133 h 5964766"/>
                  <a:gd name="connsiteX63" fmla="*/ 1201208 w 1893358"/>
                  <a:gd name="connsiteY63" fmla="*/ 5262033 h 5964766"/>
                  <a:gd name="connsiteX64" fmla="*/ 1321858 w 1893358"/>
                  <a:gd name="connsiteY64" fmla="*/ 5395383 h 5964766"/>
                  <a:gd name="connsiteX65" fmla="*/ 1347258 w 1893358"/>
                  <a:gd name="connsiteY65" fmla="*/ 5560483 h 5964766"/>
                  <a:gd name="connsiteX66" fmla="*/ 1264708 w 1893358"/>
                  <a:gd name="connsiteY66" fmla="*/ 5585883 h 5964766"/>
                  <a:gd name="connsiteX67" fmla="*/ 1417108 w 1893358"/>
                  <a:gd name="connsiteY67" fmla="*/ 5700183 h 5964766"/>
                  <a:gd name="connsiteX68" fmla="*/ 1442508 w 1893358"/>
                  <a:gd name="connsiteY68" fmla="*/ 5776383 h 5964766"/>
                  <a:gd name="connsiteX69" fmla="*/ 1315508 w 1893358"/>
                  <a:gd name="connsiteY69" fmla="*/ 5865283 h 5964766"/>
                  <a:gd name="connsiteX70" fmla="*/ 1131358 w 1893358"/>
                  <a:gd name="connsiteY70" fmla="*/ 5839883 h 5964766"/>
                  <a:gd name="connsiteX71" fmla="*/ 1067858 w 1893358"/>
                  <a:gd name="connsiteY71" fmla="*/ 5731933 h 5964766"/>
                  <a:gd name="connsiteX72" fmla="*/ 921808 w 1893358"/>
                  <a:gd name="connsiteY72" fmla="*/ 5693833 h 5964766"/>
                  <a:gd name="connsiteX73" fmla="*/ 890058 w 1893358"/>
                  <a:gd name="connsiteY73" fmla="*/ 5611283 h 5964766"/>
                  <a:gd name="connsiteX74" fmla="*/ 864658 w 1893358"/>
                  <a:gd name="connsiteY74" fmla="*/ 5598583 h 5964766"/>
                  <a:gd name="connsiteX75" fmla="*/ 851958 w 1893358"/>
                  <a:gd name="connsiteY75" fmla="*/ 4500033 h 5964766"/>
                  <a:gd name="connsiteX76" fmla="*/ 934508 w 1893358"/>
                  <a:gd name="connsiteY76" fmla="*/ 3680883 h 5964766"/>
                  <a:gd name="connsiteX77" fmla="*/ 985308 w 1893358"/>
                  <a:gd name="connsiteY77" fmla="*/ 3376083 h 5964766"/>
                  <a:gd name="connsiteX78" fmla="*/ 915458 w 1893358"/>
                  <a:gd name="connsiteY78" fmla="*/ 3490383 h 5964766"/>
                  <a:gd name="connsiteX79" fmla="*/ 801158 w 1893358"/>
                  <a:gd name="connsiteY79" fmla="*/ 3960283 h 5964766"/>
                  <a:gd name="connsiteX80" fmla="*/ 782108 w 1893358"/>
                  <a:gd name="connsiteY80" fmla="*/ 4334933 h 5964766"/>
                  <a:gd name="connsiteX81" fmla="*/ 813858 w 1893358"/>
                  <a:gd name="connsiteY81" fmla="*/ 4944533 h 5964766"/>
                  <a:gd name="connsiteX82" fmla="*/ 845608 w 1893358"/>
                  <a:gd name="connsiteY82" fmla="*/ 5649383 h 5964766"/>
                  <a:gd name="connsiteX83" fmla="*/ 667808 w 1893358"/>
                  <a:gd name="connsiteY83" fmla="*/ 5877983 h 5964766"/>
                  <a:gd name="connsiteX84" fmla="*/ 509058 w 1893358"/>
                  <a:gd name="connsiteY84" fmla="*/ 5960533 h 5964766"/>
                  <a:gd name="connsiteX85" fmla="*/ 343958 w 1893358"/>
                  <a:gd name="connsiteY85" fmla="*/ 5903383 h 5964766"/>
                  <a:gd name="connsiteX86" fmla="*/ 350308 w 1893358"/>
                  <a:gd name="connsiteY86" fmla="*/ 5738283 h 5964766"/>
                  <a:gd name="connsiteX87" fmla="*/ 331258 w 1893358"/>
                  <a:gd name="connsiteY87" fmla="*/ 5579533 h 5964766"/>
                  <a:gd name="connsiteX88" fmla="*/ 305858 w 1893358"/>
                  <a:gd name="connsiteY88" fmla="*/ 5236633 h 5964766"/>
                  <a:gd name="connsiteX89" fmla="*/ 337608 w 1893358"/>
                  <a:gd name="connsiteY89" fmla="*/ 5096933 h 5964766"/>
                  <a:gd name="connsiteX90" fmla="*/ 356658 w 1893358"/>
                  <a:gd name="connsiteY90" fmla="*/ 4639733 h 5964766"/>
                  <a:gd name="connsiteX91" fmla="*/ 388408 w 1893358"/>
                  <a:gd name="connsiteY91" fmla="*/ 4512733 h 5964766"/>
                  <a:gd name="connsiteX92" fmla="*/ 369358 w 1893358"/>
                  <a:gd name="connsiteY92" fmla="*/ 4347633 h 5964766"/>
                  <a:gd name="connsiteX93" fmla="*/ 350308 w 1893358"/>
                  <a:gd name="connsiteY93" fmla="*/ 4163483 h 5964766"/>
                  <a:gd name="connsiteX94" fmla="*/ 382058 w 1893358"/>
                  <a:gd name="connsiteY94" fmla="*/ 3534833 h 5964766"/>
                  <a:gd name="connsiteX95" fmla="*/ 375708 w 1893358"/>
                  <a:gd name="connsiteY95" fmla="*/ 3083983 h 5964766"/>
                  <a:gd name="connsiteX96" fmla="*/ 312208 w 1893358"/>
                  <a:gd name="connsiteY96" fmla="*/ 2810933 h 5964766"/>
                  <a:gd name="connsiteX97" fmla="*/ 350308 w 1893358"/>
                  <a:gd name="connsiteY97" fmla="*/ 2442633 h 5964766"/>
                  <a:gd name="connsiteX98" fmla="*/ 375708 w 1893358"/>
                  <a:gd name="connsiteY98" fmla="*/ 2137833 h 5964766"/>
                  <a:gd name="connsiteX99" fmla="*/ 343958 w 1893358"/>
                  <a:gd name="connsiteY99" fmla="*/ 2036233 h 5964766"/>
                  <a:gd name="connsiteX100" fmla="*/ 299508 w 1893358"/>
                  <a:gd name="connsiteY100" fmla="*/ 2169583 h 5964766"/>
                  <a:gd name="connsiteX101" fmla="*/ 318558 w 1893358"/>
                  <a:gd name="connsiteY101" fmla="*/ 2461683 h 5964766"/>
                  <a:gd name="connsiteX102" fmla="*/ 293158 w 1893358"/>
                  <a:gd name="connsiteY102" fmla="*/ 2842683 h 5964766"/>
                  <a:gd name="connsiteX103" fmla="*/ 274108 w 1893358"/>
                  <a:gd name="connsiteY103" fmla="*/ 2995083 h 5964766"/>
                  <a:gd name="connsiteX104" fmla="*/ 312208 w 1893358"/>
                  <a:gd name="connsiteY104" fmla="*/ 3039533 h 5964766"/>
                  <a:gd name="connsiteX105" fmla="*/ 312208 w 1893358"/>
                  <a:gd name="connsiteY105" fmla="*/ 3172883 h 5964766"/>
                  <a:gd name="connsiteX106" fmla="*/ 318558 w 1893358"/>
                  <a:gd name="connsiteY106" fmla="*/ 3299883 h 5964766"/>
                  <a:gd name="connsiteX107" fmla="*/ 280458 w 1893358"/>
                  <a:gd name="connsiteY107" fmla="*/ 3299883 h 5964766"/>
                  <a:gd name="connsiteX108" fmla="*/ 274108 w 1893358"/>
                  <a:gd name="connsiteY108" fmla="*/ 3185583 h 5964766"/>
                  <a:gd name="connsiteX109" fmla="*/ 248708 w 1893358"/>
                  <a:gd name="connsiteY109" fmla="*/ 3261783 h 5964766"/>
                  <a:gd name="connsiteX110" fmla="*/ 293158 w 1893358"/>
                  <a:gd name="connsiteY110" fmla="*/ 3357033 h 5964766"/>
                  <a:gd name="connsiteX111" fmla="*/ 305858 w 1893358"/>
                  <a:gd name="connsiteY111" fmla="*/ 3426883 h 5964766"/>
                  <a:gd name="connsiteX112" fmla="*/ 242358 w 1893358"/>
                  <a:gd name="connsiteY112" fmla="*/ 3420533 h 5964766"/>
                  <a:gd name="connsiteX113" fmla="*/ 159808 w 1893358"/>
                  <a:gd name="connsiteY113" fmla="*/ 3318933 h 5964766"/>
                  <a:gd name="connsiteX114" fmla="*/ 121708 w 1893358"/>
                  <a:gd name="connsiteY114" fmla="*/ 3274483 h 5964766"/>
                  <a:gd name="connsiteX115" fmla="*/ 109008 w 1893358"/>
                  <a:gd name="connsiteY115" fmla="*/ 3001433 h 5964766"/>
                  <a:gd name="connsiteX116" fmla="*/ 109008 w 1893358"/>
                  <a:gd name="connsiteY116" fmla="*/ 2779183 h 5964766"/>
                  <a:gd name="connsiteX117" fmla="*/ 58208 w 1893358"/>
                  <a:gd name="connsiteY117" fmla="*/ 2385483 h 5964766"/>
                  <a:gd name="connsiteX118" fmla="*/ 83608 w 1893358"/>
                  <a:gd name="connsiteY118" fmla="*/ 2137833 h 5964766"/>
                  <a:gd name="connsiteX119" fmla="*/ 77258 w 1893358"/>
                  <a:gd name="connsiteY119" fmla="*/ 2010833 h 5964766"/>
                  <a:gd name="connsiteX120" fmla="*/ 1058 w 1893358"/>
                  <a:gd name="connsiteY120" fmla="*/ 1902883 h 5964766"/>
                  <a:gd name="connsiteX121" fmla="*/ 1059 w 1893358"/>
                  <a:gd name="connsiteY121" fmla="*/ 1591733 h 5964766"/>
                  <a:gd name="connsiteX122" fmla="*/ 178858 w 1893358"/>
                  <a:gd name="connsiteY122" fmla="*/ 1261533 h 5964766"/>
                  <a:gd name="connsiteX123" fmla="*/ 439208 w 1893358"/>
                  <a:gd name="connsiteY123" fmla="*/ 1051983 h 5964766"/>
                  <a:gd name="connsiteX124" fmla="*/ 667808 w 1893358"/>
                  <a:gd name="connsiteY124" fmla="*/ 861483 h 5964766"/>
                  <a:gd name="connsiteX125" fmla="*/ 794808 w 1893358"/>
                  <a:gd name="connsiteY125" fmla="*/ 753533 h 5964766"/>
                  <a:gd name="connsiteX0" fmla="*/ 824441 w 1922991"/>
                  <a:gd name="connsiteY0" fmla="*/ 753533 h 5964766"/>
                  <a:gd name="connsiteX1" fmla="*/ 843491 w 1922991"/>
                  <a:gd name="connsiteY1" fmla="*/ 683683 h 5964766"/>
                  <a:gd name="connsiteX2" fmla="*/ 799041 w 1922991"/>
                  <a:gd name="connsiteY2" fmla="*/ 607483 h 5964766"/>
                  <a:gd name="connsiteX3" fmla="*/ 760941 w 1922991"/>
                  <a:gd name="connsiteY3" fmla="*/ 569383 h 5964766"/>
                  <a:gd name="connsiteX4" fmla="*/ 741891 w 1922991"/>
                  <a:gd name="connsiteY4" fmla="*/ 499533 h 5964766"/>
                  <a:gd name="connsiteX5" fmla="*/ 754591 w 1922991"/>
                  <a:gd name="connsiteY5" fmla="*/ 410633 h 5964766"/>
                  <a:gd name="connsiteX6" fmla="*/ 767291 w 1922991"/>
                  <a:gd name="connsiteY6" fmla="*/ 321733 h 5964766"/>
                  <a:gd name="connsiteX7" fmla="*/ 767291 w 1922991"/>
                  <a:gd name="connsiteY7" fmla="*/ 150283 h 5964766"/>
                  <a:gd name="connsiteX8" fmla="*/ 932391 w 1922991"/>
                  <a:gd name="connsiteY8" fmla="*/ 23283 h 5964766"/>
                  <a:gd name="connsiteX9" fmla="*/ 1097491 w 1922991"/>
                  <a:gd name="connsiteY9" fmla="*/ 10583 h 5964766"/>
                  <a:gd name="connsiteX10" fmla="*/ 1224491 w 1922991"/>
                  <a:gd name="connsiteY10" fmla="*/ 80433 h 5964766"/>
                  <a:gd name="connsiteX11" fmla="*/ 1287991 w 1922991"/>
                  <a:gd name="connsiteY11" fmla="*/ 194733 h 5964766"/>
                  <a:gd name="connsiteX12" fmla="*/ 1287991 w 1922991"/>
                  <a:gd name="connsiteY12" fmla="*/ 340783 h 5964766"/>
                  <a:gd name="connsiteX13" fmla="*/ 1294341 w 1922991"/>
                  <a:gd name="connsiteY13" fmla="*/ 416983 h 5964766"/>
                  <a:gd name="connsiteX14" fmla="*/ 1307041 w 1922991"/>
                  <a:gd name="connsiteY14" fmla="*/ 486833 h 5964766"/>
                  <a:gd name="connsiteX15" fmla="*/ 1275291 w 1922991"/>
                  <a:gd name="connsiteY15" fmla="*/ 493183 h 5964766"/>
                  <a:gd name="connsiteX16" fmla="*/ 1243541 w 1922991"/>
                  <a:gd name="connsiteY16" fmla="*/ 601133 h 5964766"/>
                  <a:gd name="connsiteX17" fmla="*/ 1205441 w 1922991"/>
                  <a:gd name="connsiteY17" fmla="*/ 639233 h 5964766"/>
                  <a:gd name="connsiteX18" fmla="*/ 1180041 w 1922991"/>
                  <a:gd name="connsiteY18" fmla="*/ 690033 h 5964766"/>
                  <a:gd name="connsiteX19" fmla="*/ 1186391 w 1922991"/>
                  <a:gd name="connsiteY19" fmla="*/ 759883 h 5964766"/>
                  <a:gd name="connsiteX20" fmla="*/ 1224491 w 1922991"/>
                  <a:gd name="connsiteY20" fmla="*/ 785283 h 5964766"/>
                  <a:gd name="connsiteX21" fmla="*/ 1243541 w 1922991"/>
                  <a:gd name="connsiteY21" fmla="*/ 842433 h 5964766"/>
                  <a:gd name="connsiteX22" fmla="*/ 1345141 w 1922991"/>
                  <a:gd name="connsiteY22" fmla="*/ 842433 h 5964766"/>
                  <a:gd name="connsiteX23" fmla="*/ 1414991 w 1922991"/>
                  <a:gd name="connsiteY23" fmla="*/ 905933 h 5964766"/>
                  <a:gd name="connsiteX24" fmla="*/ 1446741 w 1922991"/>
                  <a:gd name="connsiteY24" fmla="*/ 988483 h 5964766"/>
                  <a:gd name="connsiteX25" fmla="*/ 1548341 w 1922991"/>
                  <a:gd name="connsiteY25" fmla="*/ 1045633 h 5964766"/>
                  <a:gd name="connsiteX26" fmla="*/ 1668991 w 1922991"/>
                  <a:gd name="connsiteY26" fmla="*/ 1102783 h 5964766"/>
                  <a:gd name="connsiteX27" fmla="*/ 1795991 w 1922991"/>
                  <a:gd name="connsiteY27" fmla="*/ 1274233 h 5964766"/>
                  <a:gd name="connsiteX28" fmla="*/ 1802341 w 1922991"/>
                  <a:gd name="connsiteY28" fmla="*/ 1369483 h 5964766"/>
                  <a:gd name="connsiteX29" fmla="*/ 1891241 w 1922991"/>
                  <a:gd name="connsiteY29" fmla="*/ 1477433 h 5964766"/>
                  <a:gd name="connsiteX30" fmla="*/ 1910291 w 1922991"/>
                  <a:gd name="connsiteY30" fmla="*/ 1547283 h 5964766"/>
                  <a:gd name="connsiteX31" fmla="*/ 1859491 w 1922991"/>
                  <a:gd name="connsiteY31" fmla="*/ 1579033 h 5964766"/>
                  <a:gd name="connsiteX32" fmla="*/ 1872191 w 1922991"/>
                  <a:gd name="connsiteY32" fmla="*/ 1680633 h 5964766"/>
                  <a:gd name="connsiteX33" fmla="*/ 1922991 w 1922991"/>
                  <a:gd name="connsiteY33" fmla="*/ 1744133 h 5964766"/>
                  <a:gd name="connsiteX34" fmla="*/ 1872191 w 1922991"/>
                  <a:gd name="connsiteY34" fmla="*/ 1794933 h 5964766"/>
                  <a:gd name="connsiteX35" fmla="*/ 1872191 w 1922991"/>
                  <a:gd name="connsiteY35" fmla="*/ 1966383 h 5964766"/>
                  <a:gd name="connsiteX36" fmla="*/ 1859491 w 1922991"/>
                  <a:gd name="connsiteY36" fmla="*/ 2042583 h 5964766"/>
                  <a:gd name="connsiteX37" fmla="*/ 1853141 w 1922991"/>
                  <a:gd name="connsiteY37" fmla="*/ 2302933 h 5964766"/>
                  <a:gd name="connsiteX38" fmla="*/ 1903941 w 1922991"/>
                  <a:gd name="connsiteY38" fmla="*/ 2385483 h 5964766"/>
                  <a:gd name="connsiteX39" fmla="*/ 1840441 w 1922991"/>
                  <a:gd name="connsiteY39" fmla="*/ 2461683 h 5964766"/>
                  <a:gd name="connsiteX40" fmla="*/ 1815041 w 1922991"/>
                  <a:gd name="connsiteY40" fmla="*/ 2601383 h 5964766"/>
                  <a:gd name="connsiteX41" fmla="*/ 1776941 w 1922991"/>
                  <a:gd name="connsiteY41" fmla="*/ 2683933 h 5964766"/>
                  <a:gd name="connsiteX42" fmla="*/ 1757891 w 1922991"/>
                  <a:gd name="connsiteY42" fmla="*/ 2931583 h 5964766"/>
                  <a:gd name="connsiteX43" fmla="*/ 1770591 w 1922991"/>
                  <a:gd name="connsiteY43" fmla="*/ 3058583 h 5964766"/>
                  <a:gd name="connsiteX44" fmla="*/ 1815041 w 1922991"/>
                  <a:gd name="connsiteY44" fmla="*/ 3160183 h 5964766"/>
                  <a:gd name="connsiteX45" fmla="*/ 1783291 w 1922991"/>
                  <a:gd name="connsiteY45" fmla="*/ 3318933 h 5964766"/>
                  <a:gd name="connsiteX46" fmla="*/ 1618191 w 1922991"/>
                  <a:gd name="connsiteY46" fmla="*/ 3426883 h 5964766"/>
                  <a:gd name="connsiteX47" fmla="*/ 1548341 w 1922991"/>
                  <a:gd name="connsiteY47" fmla="*/ 3395133 h 5964766"/>
                  <a:gd name="connsiteX48" fmla="*/ 1605491 w 1922991"/>
                  <a:gd name="connsiteY48" fmla="*/ 3318933 h 5964766"/>
                  <a:gd name="connsiteX49" fmla="*/ 1618191 w 1922991"/>
                  <a:gd name="connsiteY49" fmla="*/ 3217333 h 5964766"/>
                  <a:gd name="connsiteX50" fmla="*/ 1586441 w 1922991"/>
                  <a:gd name="connsiteY50" fmla="*/ 3191933 h 5964766"/>
                  <a:gd name="connsiteX51" fmla="*/ 1548341 w 1922991"/>
                  <a:gd name="connsiteY51" fmla="*/ 3147483 h 5964766"/>
                  <a:gd name="connsiteX52" fmla="*/ 1548341 w 1922991"/>
                  <a:gd name="connsiteY52" fmla="*/ 2531533 h 5964766"/>
                  <a:gd name="connsiteX53" fmla="*/ 1611841 w 1922991"/>
                  <a:gd name="connsiteY53" fmla="*/ 2188633 h 5964766"/>
                  <a:gd name="connsiteX54" fmla="*/ 1561041 w 1922991"/>
                  <a:gd name="connsiteY54" fmla="*/ 2023533 h 5964766"/>
                  <a:gd name="connsiteX55" fmla="*/ 1522941 w 1922991"/>
                  <a:gd name="connsiteY55" fmla="*/ 2106083 h 5964766"/>
                  <a:gd name="connsiteX56" fmla="*/ 1522941 w 1922991"/>
                  <a:gd name="connsiteY56" fmla="*/ 2302933 h 5964766"/>
                  <a:gd name="connsiteX57" fmla="*/ 1522941 w 1922991"/>
                  <a:gd name="connsiteY57" fmla="*/ 2461683 h 5964766"/>
                  <a:gd name="connsiteX58" fmla="*/ 1535641 w 1922991"/>
                  <a:gd name="connsiteY58" fmla="*/ 3255433 h 5964766"/>
                  <a:gd name="connsiteX59" fmla="*/ 1503891 w 1922991"/>
                  <a:gd name="connsiteY59" fmla="*/ 3604683 h 5964766"/>
                  <a:gd name="connsiteX60" fmla="*/ 1459441 w 1922991"/>
                  <a:gd name="connsiteY60" fmla="*/ 4030133 h 5964766"/>
                  <a:gd name="connsiteX61" fmla="*/ 1345141 w 1922991"/>
                  <a:gd name="connsiteY61" fmla="*/ 4728633 h 5964766"/>
                  <a:gd name="connsiteX62" fmla="*/ 1287991 w 1922991"/>
                  <a:gd name="connsiteY62" fmla="*/ 5046133 h 5964766"/>
                  <a:gd name="connsiteX63" fmla="*/ 1230841 w 1922991"/>
                  <a:gd name="connsiteY63" fmla="*/ 5262033 h 5964766"/>
                  <a:gd name="connsiteX64" fmla="*/ 1351491 w 1922991"/>
                  <a:gd name="connsiteY64" fmla="*/ 5395383 h 5964766"/>
                  <a:gd name="connsiteX65" fmla="*/ 1376891 w 1922991"/>
                  <a:gd name="connsiteY65" fmla="*/ 5560483 h 5964766"/>
                  <a:gd name="connsiteX66" fmla="*/ 1294341 w 1922991"/>
                  <a:gd name="connsiteY66" fmla="*/ 5585883 h 5964766"/>
                  <a:gd name="connsiteX67" fmla="*/ 1446741 w 1922991"/>
                  <a:gd name="connsiteY67" fmla="*/ 5700183 h 5964766"/>
                  <a:gd name="connsiteX68" fmla="*/ 1472141 w 1922991"/>
                  <a:gd name="connsiteY68" fmla="*/ 5776383 h 5964766"/>
                  <a:gd name="connsiteX69" fmla="*/ 1345141 w 1922991"/>
                  <a:gd name="connsiteY69" fmla="*/ 5865283 h 5964766"/>
                  <a:gd name="connsiteX70" fmla="*/ 1160991 w 1922991"/>
                  <a:gd name="connsiteY70" fmla="*/ 5839883 h 5964766"/>
                  <a:gd name="connsiteX71" fmla="*/ 1097491 w 1922991"/>
                  <a:gd name="connsiteY71" fmla="*/ 5731933 h 5964766"/>
                  <a:gd name="connsiteX72" fmla="*/ 951441 w 1922991"/>
                  <a:gd name="connsiteY72" fmla="*/ 5693833 h 5964766"/>
                  <a:gd name="connsiteX73" fmla="*/ 919691 w 1922991"/>
                  <a:gd name="connsiteY73" fmla="*/ 5611283 h 5964766"/>
                  <a:gd name="connsiteX74" fmla="*/ 894291 w 1922991"/>
                  <a:gd name="connsiteY74" fmla="*/ 5598583 h 5964766"/>
                  <a:gd name="connsiteX75" fmla="*/ 881591 w 1922991"/>
                  <a:gd name="connsiteY75" fmla="*/ 4500033 h 5964766"/>
                  <a:gd name="connsiteX76" fmla="*/ 964141 w 1922991"/>
                  <a:gd name="connsiteY76" fmla="*/ 3680883 h 5964766"/>
                  <a:gd name="connsiteX77" fmla="*/ 1014941 w 1922991"/>
                  <a:gd name="connsiteY77" fmla="*/ 3376083 h 5964766"/>
                  <a:gd name="connsiteX78" fmla="*/ 945091 w 1922991"/>
                  <a:gd name="connsiteY78" fmla="*/ 3490383 h 5964766"/>
                  <a:gd name="connsiteX79" fmla="*/ 830791 w 1922991"/>
                  <a:gd name="connsiteY79" fmla="*/ 3960283 h 5964766"/>
                  <a:gd name="connsiteX80" fmla="*/ 811741 w 1922991"/>
                  <a:gd name="connsiteY80" fmla="*/ 4334933 h 5964766"/>
                  <a:gd name="connsiteX81" fmla="*/ 843491 w 1922991"/>
                  <a:gd name="connsiteY81" fmla="*/ 4944533 h 5964766"/>
                  <a:gd name="connsiteX82" fmla="*/ 875241 w 1922991"/>
                  <a:gd name="connsiteY82" fmla="*/ 5649383 h 5964766"/>
                  <a:gd name="connsiteX83" fmla="*/ 697441 w 1922991"/>
                  <a:gd name="connsiteY83" fmla="*/ 5877983 h 5964766"/>
                  <a:gd name="connsiteX84" fmla="*/ 538691 w 1922991"/>
                  <a:gd name="connsiteY84" fmla="*/ 5960533 h 5964766"/>
                  <a:gd name="connsiteX85" fmla="*/ 373591 w 1922991"/>
                  <a:gd name="connsiteY85" fmla="*/ 5903383 h 5964766"/>
                  <a:gd name="connsiteX86" fmla="*/ 379941 w 1922991"/>
                  <a:gd name="connsiteY86" fmla="*/ 5738283 h 5964766"/>
                  <a:gd name="connsiteX87" fmla="*/ 360891 w 1922991"/>
                  <a:gd name="connsiteY87" fmla="*/ 5579533 h 5964766"/>
                  <a:gd name="connsiteX88" fmla="*/ 335491 w 1922991"/>
                  <a:gd name="connsiteY88" fmla="*/ 5236633 h 5964766"/>
                  <a:gd name="connsiteX89" fmla="*/ 367241 w 1922991"/>
                  <a:gd name="connsiteY89" fmla="*/ 5096933 h 5964766"/>
                  <a:gd name="connsiteX90" fmla="*/ 386291 w 1922991"/>
                  <a:gd name="connsiteY90" fmla="*/ 4639733 h 5964766"/>
                  <a:gd name="connsiteX91" fmla="*/ 418041 w 1922991"/>
                  <a:gd name="connsiteY91" fmla="*/ 4512733 h 5964766"/>
                  <a:gd name="connsiteX92" fmla="*/ 398991 w 1922991"/>
                  <a:gd name="connsiteY92" fmla="*/ 4347633 h 5964766"/>
                  <a:gd name="connsiteX93" fmla="*/ 379941 w 1922991"/>
                  <a:gd name="connsiteY93" fmla="*/ 4163483 h 5964766"/>
                  <a:gd name="connsiteX94" fmla="*/ 411691 w 1922991"/>
                  <a:gd name="connsiteY94" fmla="*/ 3534833 h 5964766"/>
                  <a:gd name="connsiteX95" fmla="*/ 405341 w 1922991"/>
                  <a:gd name="connsiteY95" fmla="*/ 3083983 h 5964766"/>
                  <a:gd name="connsiteX96" fmla="*/ 341841 w 1922991"/>
                  <a:gd name="connsiteY96" fmla="*/ 2810933 h 5964766"/>
                  <a:gd name="connsiteX97" fmla="*/ 379941 w 1922991"/>
                  <a:gd name="connsiteY97" fmla="*/ 2442633 h 5964766"/>
                  <a:gd name="connsiteX98" fmla="*/ 405341 w 1922991"/>
                  <a:gd name="connsiteY98" fmla="*/ 2137833 h 5964766"/>
                  <a:gd name="connsiteX99" fmla="*/ 373591 w 1922991"/>
                  <a:gd name="connsiteY99" fmla="*/ 2036233 h 5964766"/>
                  <a:gd name="connsiteX100" fmla="*/ 329141 w 1922991"/>
                  <a:gd name="connsiteY100" fmla="*/ 2169583 h 5964766"/>
                  <a:gd name="connsiteX101" fmla="*/ 348191 w 1922991"/>
                  <a:gd name="connsiteY101" fmla="*/ 2461683 h 5964766"/>
                  <a:gd name="connsiteX102" fmla="*/ 322791 w 1922991"/>
                  <a:gd name="connsiteY102" fmla="*/ 2842683 h 5964766"/>
                  <a:gd name="connsiteX103" fmla="*/ 303741 w 1922991"/>
                  <a:gd name="connsiteY103" fmla="*/ 2995083 h 5964766"/>
                  <a:gd name="connsiteX104" fmla="*/ 341841 w 1922991"/>
                  <a:gd name="connsiteY104" fmla="*/ 3039533 h 5964766"/>
                  <a:gd name="connsiteX105" fmla="*/ 341841 w 1922991"/>
                  <a:gd name="connsiteY105" fmla="*/ 3172883 h 5964766"/>
                  <a:gd name="connsiteX106" fmla="*/ 348191 w 1922991"/>
                  <a:gd name="connsiteY106" fmla="*/ 3299883 h 5964766"/>
                  <a:gd name="connsiteX107" fmla="*/ 310091 w 1922991"/>
                  <a:gd name="connsiteY107" fmla="*/ 3299883 h 5964766"/>
                  <a:gd name="connsiteX108" fmla="*/ 303741 w 1922991"/>
                  <a:gd name="connsiteY108" fmla="*/ 3185583 h 5964766"/>
                  <a:gd name="connsiteX109" fmla="*/ 278341 w 1922991"/>
                  <a:gd name="connsiteY109" fmla="*/ 3261783 h 5964766"/>
                  <a:gd name="connsiteX110" fmla="*/ 322791 w 1922991"/>
                  <a:gd name="connsiteY110" fmla="*/ 3357033 h 5964766"/>
                  <a:gd name="connsiteX111" fmla="*/ 335491 w 1922991"/>
                  <a:gd name="connsiteY111" fmla="*/ 3426883 h 5964766"/>
                  <a:gd name="connsiteX112" fmla="*/ 271991 w 1922991"/>
                  <a:gd name="connsiteY112" fmla="*/ 3420533 h 5964766"/>
                  <a:gd name="connsiteX113" fmla="*/ 189441 w 1922991"/>
                  <a:gd name="connsiteY113" fmla="*/ 3318933 h 5964766"/>
                  <a:gd name="connsiteX114" fmla="*/ 151341 w 1922991"/>
                  <a:gd name="connsiteY114" fmla="*/ 3274483 h 5964766"/>
                  <a:gd name="connsiteX115" fmla="*/ 138641 w 1922991"/>
                  <a:gd name="connsiteY115" fmla="*/ 3001433 h 5964766"/>
                  <a:gd name="connsiteX116" fmla="*/ 138641 w 1922991"/>
                  <a:gd name="connsiteY116" fmla="*/ 2779183 h 5964766"/>
                  <a:gd name="connsiteX117" fmla="*/ 87841 w 1922991"/>
                  <a:gd name="connsiteY117" fmla="*/ 2385483 h 5964766"/>
                  <a:gd name="connsiteX118" fmla="*/ 113241 w 1922991"/>
                  <a:gd name="connsiteY118" fmla="*/ 2137833 h 5964766"/>
                  <a:gd name="connsiteX119" fmla="*/ 106891 w 1922991"/>
                  <a:gd name="connsiteY119" fmla="*/ 2010833 h 5964766"/>
                  <a:gd name="connsiteX120" fmla="*/ 30691 w 1922991"/>
                  <a:gd name="connsiteY120" fmla="*/ 1902883 h 5964766"/>
                  <a:gd name="connsiteX121" fmla="*/ 24341 w 1922991"/>
                  <a:gd name="connsiteY121" fmla="*/ 1756833 h 5964766"/>
                  <a:gd name="connsiteX122" fmla="*/ 30692 w 1922991"/>
                  <a:gd name="connsiteY122" fmla="*/ 1591733 h 5964766"/>
                  <a:gd name="connsiteX123" fmla="*/ 208491 w 1922991"/>
                  <a:gd name="connsiteY123" fmla="*/ 1261533 h 5964766"/>
                  <a:gd name="connsiteX124" fmla="*/ 468841 w 1922991"/>
                  <a:gd name="connsiteY124" fmla="*/ 1051983 h 5964766"/>
                  <a:gd name="connsiteX125" fmla="*/ 697441 w 1922991"/>
                  <a:gd name="connsiteY125" fmla="*/ 861483 h 5964766"/>
                  <a:gd name="connsiteX126" fmla="*/ 824441 w 1922991"/>
                  <a:gd name="connsiteY126" fmla="*/ 753533 h 5964766"/>
                  <a:gd name="connsiteX0" fmla="*/ 814917 w 1913467"/>
                  <a:gd name="connsiteY0" fmla="*/ 753533 h 5964766"/>
                  <a:gd name="connsiteX1" fmla="*/ 833967 w 1913467"/>
                  <a:gd name="connsiteY1" fmla="*/ 683683 h 5964766"/>
                  <a:gd name="connsiteX2" fmla="*/ 789517 w 1913467"/>
                  <a:gd name="connsiteY2" fmla="*/ 607483 h 5964766"/>
                  <a:gd name="connsiteX3" fmla="*/ 751417 w 1913467"/>
                  <a:gd name="connsiteY3" fmla="*/ 569383 h 5964766"/>
                  <a:gd name="connsiteX4" fmla="*/ 732367 w 1913467"/>
                  <a:gd name="connsiteY4" fmla="*/ 499533 h 5964766"/>
                  <a:gd name="connsiteX5" fmla="*/ 745067 w 1913467"/>
                  <a:gd name="connsiteY5" fmla="*/ 410633 h 5964766"/>
                  <a:gd name="connsiteX6" fmla="*/ 757767 w 1913467"/>
                  <a:gd name="connsiteY6" fmla="*/ 321733 h 5964766"/>
                  <a:gd name="connsiteX7" fmla="*/ 757767 w 1913467"/>
                  <a:gd name="connsiteY7" fmla="*/ 150283 h 5964766"/>
                  <a:gd name="connsiteX8" fmla="*/ 922867 w 1913467"/>
                  <a:gd name="connsiteY8" fmla="*/ 23283 h 5964766"/>
                  <a:gd name="connsiteX9" fmla="*/ 1087967 w 1913467"/>
                  <a:gd name="connsiteY9" fmla="*/ 10583 h 5964766"/>
                  <a:gd name="connsiteX10" fmla="*/ 1214967 w 1913467"/>
                  <a:gd name="connsiteY10" fmla="*/ 80433 h 5964766"/>
                  <a:gd name="connsiteX11" fmla="*/ 1278467 w 1913467"/>
                  <a:gd name="connsiteY11" fmla="*/ 194733 h 5964766"/>
                  <a:gd name="connsiteX12" fmla="*/ 1278467 w 1913467"/>
                  <a:gd name="connsiteY12" fmla="*/ 340783 h 5964766"/>
                  <a:gd name="connsiteX13" fmla="*/ 1284817 w 1913467"/>
                  <a:gd name="connsiteY13" fmla="*/ 416983 h 5964766"/>
                  <a:gd name="connsiteX14" fmla="*/ 1297517 w 1913467"/>
                  <a:gd name="connsiteY14" fmla="*/ 486833 h 5964766"/>
                  <a:gd name="connsiteX15" fmla="*/ 1265767 w 1913467"/>
                  <a:gd name="connsiteY15" fmla="*/ 493183 h 5964766"/>
                  <a:gd name="connsiteX16" fmla="*/ 1234017 w 1913467"/>
                  <a:gd name="connsiteY16" fmla="*/ 601133 h 5964766"/>
                  <a:gd name="connsiteX17" fmla="*/ 1195917 w 1913467"/>
                  <a:gd name="connsiteY17" fmla="*/ 639233 h 5964766"/>
                  <a:gd name="connsiteX18" fmla="*/ 1170517 w 1913467"/>
                  <a:gd name="connsiteY18" fmla="*/ 690033 h 5964766"/>
                  <a:gd name="connsiteX19" fmla="*/ 1176867 w 1913467"/>
                  <a:gd name="connsiteY19" fmla="*/ 759883 h 5964766"/>
                  <a:gd name="connsiteX20" fmla="*/ 1214967 w 1913467"/>
                  <a:gd name="connsiteY20" fmla="*/ 785283 h 5964766"/>
                  <a:gd name="connsiteX21" fmla="*/ 1234017 w 1913467"/>
                  <a:gd name="connsiteY21" fmla="*/ 842433 h 5964766"/>
                  <a:gd name="connsiteX22" fmla="*/ 1335617 w 1913467"/>
                  <a:gd name="connsiteY22" fmla="*/ 842433 h 5964766"/>
                  <a:gd name="connsiteX23" fmla="*/ 1405467 w 1913467"/>
                  <a:gd name="connsiteY23" fmla="*/ 905933 h 5964766"/>
                  <a:gd name="connsiteX24" fmla="*/ 1437217 w 1913467"/>
                  <a:gd name="connsiteY24" fmla="*/ 988483 h 5964766"/>
                  <a:gd name="connsiteX25" fmla="*/ 1538817 w 1913467"/>
                  <a:gd name="connsiteY25" fmla="*/ 1045633 h 5964766"/>
                  <a:gd name="connsiteX26" fmla="*/ 1659467 w 1913467"/>
                  <a:gd name="connsiteY26" fmla="*/ 1102783 h 5964766"/>
                  <a:gd name="connsiteX27" fmla="*/ 1786467 w 1913467"/>
                  <a:gd name="connsiteY27" fmla="*/ 1274233 h 5964766"/>
                  <a:gd name="connsiteX28" fmla="*/ 1792817 w 1913467"/>
                  <a:gd name="connsiteY28" fmla="*/ 1369483 h 5964766"/>
                  <a:gd name="connsiteX29" fmla="*/ 1881717 w 1913467"/>
                  <a:gd name="connsiteY29" fmla="*/ 1477433 h 5964766"/>
                  <a:gd name="connsiteX30" fmla="*/ 1900767 w 1913467"/>
                  <a:gd name="connsiteY30" fmla="*/ 1547283 h 5964766"/>
                  <a:gd name="connsiteX31" fmla="*/ 1849967 w 1913467"/>
                  <a:gd name="connsiteY31" fmla="*/ 1579033 h 5964766"/>
                  <a:gd name="connsiteX32" fmla="*/ 1862667 w 1913467"/>
                  <a:gd name="connsiteY32" fmla="*/ 1680633 h 5964766"/>
                  <a:gd name="connsiteX33" fmla="*/ 1913467 w 1913467"/>
                  <a:gd name="connsiteY33" fmla="*/ 1744133 h 5964766"/>
                  <a:gd name="connsiteX34" fmla="*/ 1862667 w 1913467"/>
                  <a:gd name="connsiteY34" fmla="*/ 1794933 h 5964766"/>
                  <a:gd name="connsiteX35" fmla="*/ 1862667 w 1913467"/>
                  <a:gd name="connsiteY35" fmla="*/ 1966383 h 5964766"/>
                  <a:gd name="connsiteX36" fmla="*/ 1849967 w 1913467"/>
                  <a:gd name="connsiteY36" fmla="*/ 2042583 h 5964766"/>
                  <a:gd name="connsiteX37" fmla="*/ 1843617 w 1913467"/>
                  <a:gd name="connsiteY37" fmla="*/ 2302933 h 5964766"/>
                  <a:gd name="connsiteX38" fmla="*/ 1894417 w 1913467"/>
                  <a:gd name="connsiteY38" fmla="*/ 2385483 h 5964766"/>
                  <a:gd name="connsiteX39" fmla="*/ 1830917 w 1913467"/>
                  <a:gd name="connsiteY39" fmla="*/ 2461683 h 5964766"/>
                  <a:gd name="connsiteX40" fmla="*/ 1805517 w 1913467"/>
                  <a:gd name="connsiteY40" fmla="*/ 2601383 h 5964766"/>
                  <a:gd name="connsiteX41" fmla="*/ 1767417 w 1913467"/>
                  <a:gd name="connsiteY41" fmla="*/ 2683933 h 5964766"/>
                  <a:gd name="connsiteX42" fmla="*/ 1748367 w 1913467"/>
                  <a:gd name="connsiteY42" fmla="*/ 2931583 h 5964766"/>
                  <a:gd name="connsiteX43" fmla="*/ 1761067 w 1913467"/>
                  <a:gd name="connsiteY43" fmla="*/ 3058583 h 5964766"/>
                  <a:gd name="connsiteX44" fmla="*/ 1805517 w 1913467"/>
                  <a:gd name="connsiteY44" fmla="*/ 3160183 h 5964766"/>
                  <a:gd name="connsiteX45" fmla="*/ 1773767 w 1913467"/>
                  <a:gd name="connsiteY45" fmla="*/ 3318933 h 5964766"/>
                  <a:gd name="connsiteX46" fmla="*/ 1608667 w 1913467"/>
                  <a:gd name="connsiteY46" fmla="*/ 3426883 h 5964766"/>
                  <a:gd name="connsiteX47" fmla="*/ 1538817 w 1913467"/>
                  <a:gd name="connsiteY47" fmla="*/ 3395133 h 5964766"/>
                  <a:gd name="connsiteX48" fmla="*/ 1595967 w 1913467"/>
                  <a:gd name="connsiteY48" fmla="*/ 3318933 h 5964766"/>
                  <a:gd name="connsiteX49" fmla="*/ 1608667 w 1913467"/>
                  <a:gd name="connsiteY49" fmla="*/ 3217333 h 5964766"/>
                  <a:gd name="connsiteX50" fmla="*/ 1576917 w 1913467"/>
                  <a:gd name="connsiteY50" fmla="*/ 3191933 h 5964766"/>
                  <a:gd name="connsiteX51" fmla="*/ 1538817 w 1913467"/>
                  <a:gd name="connsiteY51" fmla="*/ 3147483 h 5964766"/>
                  <a:gd name="connsiteX52" fmla="*/ 1538817 w 1913467"/>
                  <a:gd name="connsiteY52" fmla="*/ 2531533 h 5964766"/>
                  <a:gd name="connsiteX53" fmla="*/ 1602317 w 1913467"/>
                  <a:gd name="connsiteY53" fmla="*/ 2188633 h 5964766"/>
                  <a:gd name="connsiteX54" fmla="*/ 1551517 w 1913467"/>
                  <a:gd name="connsiteY54" fmla="*/ 2023533 h 5964766"/>
                  <a:gd name="connsiteX55" fmla="*/ 1513417 w 1913467"/>
                  <a:gd name="connsiteY55" fmla="*/ 2106083 h 5964766"/>
                  <a:gd name="connsiteX56" fmla="*/ 1513417 w 1913467"/>
                  <a:gd name="connsiteY56" fmla="*/ 2302933 h 5964766"/>
                  <a:gd name="connsiteX57" fmla="*/ 1513417 w 1913467"/>
                  <a:gd name="connsiteY57" fmla="*/ 2461683 h 5964766"/>
                  <a:gd name="connsiteX58" fmla="*/ 1526117 w 1913467"/>
                  <a:gd name="connsiteY58" fmla="*/ 3255433 h 5964766"/>
                  <a:gd name="connsiteX59" fmla="*/ 1494367 w 1913467"/>
                  <a:gd name="connsiteY59" fmla="*/ 3604683 h 5964766"/>
                  <a:gd name="connsiteX60" fmla="*/ 1449917 w 1913467"/>
                  <a:gd name="connsiteY60" fmla="*/ 4030133 h 5964766"/>
                  <a:gd name="connsiteX61" fmla="*/ 1335617 w 1913467"/>
                  <a:gd name="connsiteY61" fmla="*/ 4728633 h 5964766"/>
                  <a:gd name="connsiteX62" fmla="*/ 1278467 w 1913467"/>
                  <a:gd name="connsiteY62" fmla="*/ 5046133 h 5964766"/>
                  <a:gd name="connsiteX63" fmla="*/ 1221317 w 1913467"/>
                  <a:gd name="connsiteY63" fmla="*/ 5262033 h 5964766"/>
                  <a:gd name="connsiteX64" fmla="*/ 1341967 w 1913467"/>
                  <a:gd name="connsiteY64" fmla="*/ 5395383 h 5964766"/>
                  <a:gd name="connsiteX65" fmla="*/ 1367367 w 1913467"/>
                  <a:gd name="connsiteY65" fmla="*/ 5560483 h 5964766"/>
                  <a:gd name="connsiteX66" fmla="*/ 1284817 w 1913467"/>
                  <a:gd name="connsiteY66" fmla="*/ 5585883 h 5964766"/>
                  <a:gd name="connsiteX67" fmla="*/ 1437217 w 1913467"/>
                  <a:gd name="connsiteY67" fmla="*/ 5700183 h 5964766"/>
                  <a:gd name="connsiteX68" fmla="*/ 1462617 w 1913467"/>
                  <a:gd name="connsiteY68" fmla="*/ 5776383 h 5964766"/>
                  <a:gd name="connsiteX69" fmla="*/ 1335617 w 1913467"/>
                  <a:gd name="connsiteY69" fmla="*/ 5865283 h 5964766"/>
                  <a:gd name="connsiteX70" fmla="*/ 1151467 w 1913467"/>
                  <a:gd name="connsiteY70" fmla="*/ 5839883 h 5964766"/>
                  <a:gd name="connsiteX71" fmla="*/ 1087967 w 1913467"/>
                  <a:gd name="connsiteY71" fmla="*/ 5731933 h 5964766"/>
                  <a:gd name="connsiteX72" fmla="*/ 941917 w 1913467"/>
                  <a:gd name="connsiteY72" fmla="*/ 5693833 h 5964766"/>
                  <a:gd name="connsiteX73" fmla="*/ 910167 w 1913467"/>
                  <a:gd name="connsiteY73" fmla="*/ 5611283 h 5964766"/>
                  <a:gd name="connsiteX74" fmla="*/ 884767 w 1913467"/>
                  <a:gd name="connsiteY74" fmla="*/ 5598583 h 5964766"/>
                  <a:gd name="connsiteX75" fmla="*/ 872067 w 1913467"/>
                  <a:gd name="connsiteY75" fmla="*/ 4500033 h 5964766"/>
                  <a:gd name="connsiteX76" fmla="*/ 954617 w 1913467"/>
                  <a:gd name="connsiteY76" fmla="*/ 3680883 h 5964766"/>
                  <a:gd name="connsiteX77" fmla="*/ 1005417 w 1913467"/>
                  <a:gd name="connsiteY77" fmla="*/ 3376083 h 5964766"/>
                  <a:gd name="connsiteX78" fmla="*/ 935567 w 1913467"/>
                  <a:gd name="connsiteY78" fmla="*/ 3490383 h 5964766"/>
                  <a:gd name="connsiteX79" fmla="*/ 821267 w 1913467"/>
                  <a:gd name="connsiteY79" fmla="*/ 3960283 h 5964766"/>
                  <a:gd name="connsiteX80" fmla="*/ 802217 w 1913467"/>
                  <a:gd name="connsiteY80" fmla="*/ 4334933 h 5964766"/>
                  <a:gd name="connsiteX81" fmla="*/ 833967 w 1913467"/>
                  <a:gd name="connsiteY81" fmla="*/ 4944533 h 5964766"/>
                  <a:gd name="connsiteX82" fmla="*/ 865717 w 1913467"/>
                  <a:gd name="connsiteY82" fmla="*/ 5649383 h 5964766"/>
                  <a:gd name="connsiteX83" fmla="*/ 687917 w 1913467"/>
                  <a:gd name="connsiteY83" fmla="*/ 5877983 h 5964766"/>
                  <a:gd name="connsiteX84" fmla="*/ 529167 w 1913467"/>
                  <a:gd name="connsiteY84" fmla="*/ 5960533 h 5964766"/>
                  <a:gd name="connsiteX85" fmla="*/ 364067 w 1913467"/>
                  <a:gd name="connsiteY85" fmla="*/ 5903383 h 5964766"/>
                  <a:gd name="connsiteX86" fmla="*/ 370417 w 1913467"/>
                  <a:gd name="connsiteY86" fmla="*/ 5738283 h 5964766"/>
                  <a:gd name="connsiteX87" fmla="*/ 351367 w 1913467"/>
                  <a:gd name="connsiteY87" fmla="*/ 5579533 h 5964766"/>
                  <a:gd name="connsiteX88" fmla="*/ 325967 w 1913467"/>
                  <a:gd name="connsiteY88" fmla="*/ 5236633 h 5964766"/>
                  <a:gd name="connsiteX89" fmla="*/ 357717 w 1913467"/>
                  <a:gd name="connsiteY89" fmla="*/ 5096933 h 5964766"/>
                  <a:gd name="connsiteX90" fmla="*/ 376767 w 1913467"/>
                  <a:gd name="connsiteY90" fmla="*/ 4639733 h 5964766"/>
                  <a:gd name="connsiteX91" fmla="*/ 408517 w 1913467"/>
                  <a:gd name="connsiteY91" fmla="*/ 4512733 h 5964766"/>
                  <a:gd name="connsiteX92" fmla="*/ 389467 w 1913467"/>
                  <a:gd name="connsiteY92" fmla="*/ 4347633 h 5964766"/>
                  <a:gd name="connsiteX93" fmla="*/ 370417 w 1913467"/>
                  <a:gd name="connsiteY93" fmla="*/ 4163483 h 5964766"/>
                  <a:gd name="connsiteX94" fmla="*/ 402167 w 1913467"/>
                  <a:gd name="connsiteY94" fmla="*/ 3534833 h 5964766"/>
                  <a:gd name="connsiteX95" fmla="*/ 395817 w 1913467"/>
                  <a:gd name="connsiteY95" fmla="*/ 3083983 h 5964766"/>
                  <a:gd name="connsiteX96" fmla="*/ 332317 w 1913467"/>
                  <a:gd name="connsiteY96" fmla="*/ 2810933 h 5964766"/>
                  <a:gd name="connsiteX97" fmla="*/ 370417 w 1913467"/>
                  <a:gd name="connsiteY97" fmla="*/ 2442633 h 5964766"/>
                  <a:gd name="connsiteX98" fmla="*/ 395817 w 1913467"/>
                  <a:gd name="connsiteY98" fmla="*/ 2137833 h 5964766"/>
                  <a:gd name="connsiteX99" fmla="*/ 364067 w 1913467"/>
                  <a:gd name="connsiteY99" fmla="*/ 2036233 h 5964766"/>
                  <a:gd name="connsiteX100" fmla="*/ 319617 w 1913467"/>
                  <a:gd name="connsiteY100" fmla="*/ 2169583 h 5964766"/>
                  <a:gd name="connsiteX101" fmla="*/ 338667 w 1913467"/>
                  <a:gd name="connsiteY101" fmla="*/ 2461683 h 5964766"/>
                  <a:gd name="connsiteX102" fmla="*/ 313267 w 1913467"/>
                  <a:gd name="connsiteY102" fmla="*/ 2842683 h 5964766"/>
                  <a:gd name="connsiteX103" fmla="*/ 294217 w 1913467"/>
                  <a:gd name="connsiteY103" fmla="*/ 2995083 h 5964766"/>
                  <a:gd name="connsiteX104" fmla="*/ 332317 w 1913467"/>
                  <a:gd name="connsiteY104" fmla="*/ 3039533 h 5964766"/>
                  <a:gd name="connsiteX105" fmla="*/ 332317 w 1913467"/>
                  <a:gd name="connsiteY105" fmla="*/ 3172883 h 5964766"/>
                  <a:gd name="connsiteX106" fmla="*/ 338667 w 1913467"/>
                  <a:gd name="connsiteY106" fmla="*/ 3299883 h 5964766"/>
                  <a:gd name="connsiteX107" fmla="*/ 300567 w 1913467"/>
                  <a:gd name="connsiteY107" fmla="*/ 3299883 h 5964766"/>
                  <a:gd name="connsiteX108" fmla="*/ 294217 w 1913467"/>
                  <a:gd name="connsiteY108" fmla="*/ 3185583 h 5964766"/>
                  <a:gd name="connsiteX109" fmla="*/ 268817 w 1913467"/>
                  <a:gd name="connsiteY109" fmla="*/ 3261783 h 5964766"/>
                  <a:gd name="connsiteX110" fmla="*/ 313267 w 1913467"/>
                  <a:gd name="connsiteY110" fmla="*/ 3357033 h 5964766"/>
                  <a:gd name="connsiteX111" fmla="*/ 325967 w 1913467"/>
                  <a:gd name="connsiteY111" fmla="*/ 3426883 h 5964766"/>
                  <a:gd name="connsiteX112" fmla="*/ 262467 w 1913467"/>
                  <a:gd name="connsiteY112" fmla="*/ 3420533 h 5964766"/>
                  <a:gd name="connsiteX113" fmla="*/ 179917 w 1913467"/>
                  <a:gd name="connsiteY113" fmla="*/ 3318933 h 5964766"/>
                  <a:gd name="connsiteX114" fmla="*/ 141817 w 1913467"/>
                  <a:gd name="connsiteY114" fmla="*/ 3274483 h 5964766"/>
                  <a:gd name="connsiteX115" fmla="*/ 129117 w 1913467"/>
                  <a:gd name="connsiteY115" fmla="*/ 3001433 h 5964766"/>
                  <a:gd name="connsiteX116" fmla="*/ 129117 w 1913467"/>
                  <a:gd name="connsiteY116" fmla="*/ 2779183 h 5964766"/>
                  <a:gd name="connsiteX117" fmla="*/ 78317 w 1913467"/>
                  <a:gd name="connsiteY117" fmla="*/ 2385483 h 5964766"/>
                  <a:gd name="connsiteX118" fmla="*/ 103717 w 1913467"/>
                  <a:gd name="connsiteY118" fmla="*/ 2137833 h 5964766"/>
                  <a:gd name="connsiteX119" fmla="*/ 97367 w 1913467"/>
                  <a:gd name="connsiteY119" fmla="*/ 2010833 h 5964766"/>
                  <a:gd name="connsiteX120" fmla="*/ 21167 w 1913467"/>
                  <a:gd name="connsiteY120" fmla="*/ 1902883 h 5964766"/>
                  <a:gd name="connsiteX121" fmla="*/ 14817 w 1913467"/>
                  <a:gd name="connsiteY121" fmla="*/ 1756833 h 5964766"/>
                  <a:gd name="connsiteX122" fmla="*/ 110068 w 1913467"/>
                  <a:gd name="connsiteY122" fmla="*/ 1591733 h 5964766"/>
                  <a:gd name="connsiteX123" fmla="*/ 198967 w 1913467"/>
                  <a:gd name="connsiteY123" fmla="*/ 1261533 h 5964766"/>
                  <a:gd name="connsiteX124" fmla="*/ 459317 w 1913467"/>
                  <a:gd name="connsiteY124" fmla="*/ 1051983 h 5964766"/>
                  <a:gd name="connsiteX125" fmla="*/ 687917 w 1913467"/>
                  <a:gd name="connsiteY125" fmla="*/ 861483 h 5964766"/>
                  <a:gd name="connsiteX126" fmla="*/ 814917 w 1913467"/>
                  <a:gd name="connsiteY126" fmla="*/ 753533 h 5964766"/>
                  <a:gd name="connsiteX0" fmla="*/ 814917 w 1913467"/>
                  <a:gd name="connsiteY0" fmla="*/ 753533 h 5964766"/>
                  <a:gd name="connsiteX1" fmla="*/ 833967 w 1913467"/>
                  <a:gd name="connsiteY1" fmla="*/ 683683 h 5964766"/>
                  <a:gd name="connsiteX2" fmla="*/ 789517 w 1913467"/>
                  <a:gd name="connsiteY2" fmla="*/ 607483 h 5964766"/>
                  <a:gd name="connsiteX3" fmla="*/ 751417 w 1913467"/>
                  <a:gd name="connsiteY3" fmla="*/ 569383 h 5964766"/>
                  <a:gd name="connsiteX4" fmla="*/ 732367 w 1913467"/>
                  <a:gd name="connsiteY4" fmla="*/ 499533 h 5964766"/>
                  <a:gd name="connsiteX5" fmla="*/ 745067 w 1913467"/>
                  <a:gd name="connsiteY5" fmla="*/ 410633 h 5964766"/>
                  <a:gd name="connsiteX6" fmla="*/ 757767 w 1913467"/>
                  <a:gd name="connsiteY6" fmla="*/ 321733 h 5964766"/>
                  <a:gd name="connsiteX7" fmla="*/ 757767 w 1913467"/>
                  <a:gd name="connsiteY7" fmla="*/ 150283 h 5964766"/>
                  <a:gd name="connsiteX8" fmla="*/ 922867 w 1913467"/>
                  <a:gd name="connsiteY8" fmla="*/ 23283 h 5964766"/>
                  <a:gd name="connsiteX9" fmla="*/ 1087967 w 1913467"/>
                  <a:gd name="connsiteY9" fmla="*/ 10583 h 5964766"/>
                  <a:gd name="connsiteX10" fmla="*/ 1214967 w 1913467"/>
                  <a:gd name="connsiteY10" fmla="*/ 80433 h 5964766"/>
                  <a:gd name="connsiteX11" fmla="*/ 1278467 w 1913467"/>
                  <a:gd name="connsiteY11" fmla="*/ 194733 h 5964766"/>
                  <a:gd name="connsiteX12" fmla="*/ 1278467 w 1913467"/>
                  <a:gd name="connsiteY12" fmla="*/ 340783 h 5964766"/>
                  <a:gd name="connsiteX13" fmla="*/ 1284817 w 1913467"/>
                  <a:gd name="connsiteY13" fmla="*/ 416983 h 5964766"/>
                  <a:gd name="connsiteX14" fmla="*/ 1297517 w 1913467"/>
                  <a:gd name="connsiteY14" fmla="*/ 486833 h 5964766"/>
                  <a:gd name="connsiteX15" fmla="*/ 1265767 w 1913467"/>
                  <a:gd name="connsiteY15" fmla="*/ 493183 h 5964766"/>
                  <a:gd name="connsiteX16" fmla="*/ 1234017 w 1913467"/>
                  <a:gd name="connsiteY16" fmla="*/ 601133 h 5964766"/>
                  <a:gd name="connsiteX17" fmla="*/ 1195917 w 1913467"/>
                  <a:gd name="connsiteY17" fmla="*/ 639233 h 5964766"/>
                  <a:gd name="connsiteX18" fmla="*/ 1170517 w 1913467"/>
                  <a:gd name="connsiteY18" fmla="*/ 690033 h 5964766"/>
                  <a:gd name="connsiteX19" fmla="*/ 1176867 w 1913467"/>
                  <a:gd name="connsiteY19" fmla="*/ 759883 h 5964766"/>
                  <a:gd name="connsiteX20" fmla="*/ 1214967 w 1913467"/>
                  <a:gd name="connsiteY20" fmla="*/ 785283 h 5964766"/>
                  <a:gd name="connsiteX21" fmla="*/ 1234017 w 1913467"/>
                  <a:gd name="connsiteY21" fmla="*/ 842433 h 5964766"/>
                  <a:gd name="connsiteX22" fmla="*/ 1335617 w 1913467"/>
                  <a:gd name="connsiteY22" fmla="*/ 842433 h 5964766"/>
                  <a:gd name="connsiteX23" fmla="*/ 1405467 w 1913467"/>
                  <a:gd name="connsiteY23" fmla="*/ 905933 h 5964766"/>
                  <a:gd name="connsiteX24" fmla="*/ 1437217 w 1913467"/>
                  <a:gd name="connsiteY24" fmla="*/ 988483 h 5964766"/>
                  <a:gd name="connsiteX25" fmla="*/ 1538817 w 1913467"/>
                  <a:gd name="connsiteY25" fmla="*/ 1045633 h 5964766"/>
                  <a:gd name="connsiteX26" fmla="*/ 1659467 w 1913467"/>
                  <a:gd name="connsiteY26" fmla="*/ 1102783 h 5964766"/>
                  <a:gd name="connsiteX27" fmla="*/ 1786467 w 1913467"/>
                  <a:gd name="connsiteY27" fmla="*/ 1274233 h 5964766"/>
                  <a:gd name="connsiteX28" fmla="*/ 1792817 w 1913467"/>
                  <a:gd name="connsiteY28" fmla="*/ 1369483 h 5964766"/>
                  <a:gd name="connsiteX29" fmla="*/ 1881717 w 1913467"/>
                  <a:gd name="connsiteY29" fmla="*/ 1477433 h 5964766"/>
                  <a:gd name="connsiteX30" fmla="*/ 1900767 w 1913467"/>
                  <a:gd name="connsiteY30" fmla="*/ 1547283 h 5964766"/>
                  <a:gd name="connsiteX31" fmla="*/ 1849967 w 1913467"/>
                  <a:gd name="connsiteY31" fmla="*/ 1579033 h 5964766"/>
                  <a:gd name="connsiteX32" fmla="*/ 1862667 w 1913467"/>
                  <a:gd name="connsiteY32" fmla="*/ 1680633 h 5964766"/>
                  <a:gd name="connsiteX33" fmla="*/ 1913467 w 1913467"/>
                  <a:gd name="connsiteY33" fmla="*/ 1744133 h 5964766"/>
                  <a:gd name="connsiteX34" fmla="*/ 1862667 w 1913467"/>
                  <a:gd name="connsiteY34" fmla="*/ 1794933 h 5964766"/>
                  <a:gd name="connsiteX35" fmla="*/ 1862667 w 1913467"/>
                  <a:gd name="connsiteY35" fmla="*/ 1966383 h 5964766"/>
                  <a:gd name="connsiteX36" fmla="*/ 1849967 w 1913467"/>
                  <a:gd name="connsiteY36" fmla="*/ 2042583 h 5964766"/>
                  <a:gd name="connsiteX37" fmla="*/ 1843617 w 1913467"/>
                  <a:gd name="connsiteY37" fmla="*/ 2302933 h 5964766"/>
                  <a:gd name="connsiteX38" fmla="*/ 1894417 w 1913467"/>
                  <a:gd name="connsiteY38" fmla="*/ 2385483 h 5964766"/>
                  <a:gd name="connsiteX39" fmla="*/ 1830917 w 1913467"/>
                  <a:gd name="connsiteY39" fmla="*/ 2461683 h 5964766"/>
                  <a:gd name="connsiteX40" fmla="*/ 1805517 w 1913467"/>
                  <a:gd name="connsiteY40" fmla="*/ 2601383 h 5964766"/>
                  <a:gd name="connsiteX41" fmla="*/ 1767417 w 1913467"/>
                  <a:gd name="connsiteY41" fmla="*/ 2683933 h 5964766"/>
                  <a:gd name="connsiteX42" fmla="*/ 1748367 w 1913467"/>
                  <a:gd name="connsiteY42" fmla="*/ 2931583 h 5964766"/>
                  <a:gd name="connsiteX43" fmla="*/ 1761067 w 1913467"/>
                  <a:gd name="connsiteY43" fmla="*/ 3058583 h 5964766"/>
                  <a:gd name="connsiteX44" fmla="*/ 1805517 w 1913467"/>
                  <a:gd name="connsiteY44" fmla="*/ 3160183 h 5964766"/>
                  <a:gd name="connsiteX45" fmla="*/ 1773767 w 1913467"/>
                  <a:gd name="connsiteY45" fmla="*/ 3318933 h 5964766"/>
                  <a:gd name="connsiteX46" fmla="*/ 1608667 w 1913467"/>
                  <a:gd name="connsiteY46" fmla="*/ 3426883 h 5964766"/>
                  <a:gd name="connsiteX47" fmla="*/ 1538817 w 1913467"/>
                  <a:gd name="connsiteY47" fmla="*/ 3395133 h 5964766"/>
                  <a:gd name="connsiteX48" fmla="*/ 1595967 w 1913467"/>
                  <a:gd name="connsiteY48" fmla="*/ 3318933 h 5964766"/>
                  <a:gd name="connsiteX49" fmla="*/ 1608667 w 1913467"/>
                  <a:gd name="connsiteY49" fmla="*/ 3217333 h 5964766"/>
                  <a:gd name="connsiteX50" fmla="*/ 1576917 w 1913467"/>
                  <a:gd name="connsiteY50" fmla="*/ 3191933 h 5964766"/>
                  <a:gd name="connsiteX51" fmla="*/ 1538817 w 1913467"/>
                  <a:gd name="connsiteY51" fmla="*/ 3147483 h 5964766"/>
                  <a:gd name="connsiteX52" fmla="*/ 1538817 w 1913467"/>
                  <a:gd name="connsiteY52" fmla="*/ 2531533 h 5964766"/>
                  <a:gd name="connsiteX53" fmla="*/ 1602317 w 1913467"/>
                  <a:gd name="connsiteY53" fmla="*/ 2188633 h 5964766"/>
                  <a:gd name="connsiteX54" fmla="*/ 1551517 w 1913467"/>
                  <a:gd name="connsiteY54" fmla="*/ 2023533 h 5964766"/>
                  <a:gd name="connsiteX55" fmla="*/ 1513417 w 1913467"/>
                  <a:gd name="connsiteY55" fmla="*/ 2106083 h 5964766"/>
                  <a:gd name="connsiteX56" fmla="*/ 1513417 w 1913467"/>
                  <a:gd name="connsiteY56" fmla="*/ 2302933 h 5964766"/>
                  <a:gd name="connsiteX57" fmla="*/ 1513417 w 1913467"/>
                  <a:gd name="connsiteY57" fmla="*/ 2461683 h 5964766"/>
                  <a:gd name="connsiteX58" fmla="*/ 1526117 w 1913467"/>
                  <a:gd name="connsiteY58" fmla="*/ 3255433 h 5964766"/>
                  <a:gd name="connsiteX59" fmla="*/ 1494367 w 1913467"/>
                  <a:gd name="connsiteY59" fmla="*/ 3604683 h 5964766"/>
                  <a:gd name="connsiteX60" fmla="*/ 1449917 w 1913467"/>
                  <a:gd name="connsiteY60" fmla="*/ 4030133 h 5964766"/>
                  <a:gd name="connsiteX61" fmla="*/ 1335617 w 1913467"/>
                  <a:gd name="connsiteY61" fmla="*/ 4728633 h 5964766"/>
                  <a:gd name="connsiteX62" fmla="*/ 1278467 w 1913467"/>
                  <a:gd name="connsiteY62" fmla="*/ 5046133 h 5964766"/>
                  <a:gd name="connsiteX63" fmla="*/ 1221317 w 1913467"/>
                  <a:gd name="connsiteY63" fmla="*/ 5262033 h 5964766"/>
                  <a:gd name="connsiteX64" fmla="*/ 1341967 w 1913467"/>
                  <a:gd name="connsiteY64" fmla="*/ 5395383 h 5964766"/>
                  <a:gd name="connsiteX65" fmla="*/ 1367367 w 1913467"/>
                  <a:gd name="connsiteY65" fmla="*/ 5560483 h 5964766"/>
                  <a:gd name="connsiteX66" fmla="*/ 1284817 w 1913467"/>
                  <a:gd name="connsiteY66" fmla="*/ 5585883 h 5964766"/>
                  <a:gd name="connsiteX67" fmla="*/ 1437217 w 1913467"/>
                  <a:gd name="connsiteY67" fmla="*/ 5700183 h 5964766"/>
                  <a:gd name="connsiteX68" fmla="*/ 1462617 w 1913467"/>
                  <a:gd name="connsiteY68" fmla="*/ 5776383 h 5964766"/>
                  <a:gd name="connsiteX69" fmla="*/ 1335617 w 1913467"/>
                  <a:gd name="connsiteY69" fmla="*/ 5865283 h 5964766"/>
                  <a:gd name="connsiteX70" fmla="*/ 1151467 w 1913467"/>
                  <a:gd name="connsiteY70" fmla="*/ 5839883 h 5964766"/>
                  <a:gd name="connsiteX71" fmla="*/ 1087967 w 1913467"/>
                  <a:gd name="connsiteY71" fmla="*/ 5731933 h 5964766"/>
                  <a:gd name="connsiteX72" fmla="*/ 941917 w 1913467"/>
                  <a:gd name="connsiteY72" fmla="*/ 5693833 h 5964766"/>
                  <a:gd name="connsiteX73" fmla="*/ 910167 w 1913467"/>
                  <a:gd name="connsiteY73" fmla="*/ 5611283 h 5964766"/>
                  <a:gd name="connsiteX74" fmla="*/ 884767 w 1913467"/>
                  <a:gd name="connsiteY74" fmla="*/ 5598583 h 5964766"/>
                  <a:gd name="connsiteX75" fmla="*/ 872067 w 1913467"/>
                  <a:gd name="connsiteY75" fmla="*/ 4500033 h 5964766"/>
                  <a:gd name="connsiteX76" fmla="*/ 954617 w 1913467"/>
                  <a:gd name="connsiteY76" fmla="*/ 3680883 h 5964766"/>
                  <a:gd name="connsiteX77" fmla="*/ 1005417 w 1913467"/>
                  <a:gd name="connsiteY77" fmla="*/ 3376083 h 5964766"/>
                  <a:gd name="connsiteX78" fmla="*/ 935567 w 1913467"/>
                  <a:gd name="connsiteY78" fmla="*/ 3490383 h 5964766"/>
                  <a:gd name="connsiteX79" fmla="*/ 821267 w 1913467"/>
                  <a:gd name="connsiteY79" fmla="*/ 3960283 h 5964766"/>
                  <a:gd name="connsiteX80" fmla="*/ 802217 w 1913467"/>
                  <a:gd name="connsiteY80" fmla="*/ 4334933 h 5964766"/>
                  <a:gd name="connsiteX81" fmla="*/ 833967 w 1913467"/>
                  <a:gd name="connsiteY81" fmla="*/ 4944533 h 5964766"/>
                  <a:gd name="connsiteX82" fmla="*/ 865717 w 1913467"/>
                  <a:gd name="connsiteY82" fmla="*/ 5649383 h 5964766"/>
                  <a:gd name="connsiteX83" fmla="*/ 687917 w 1913467"/>
                  <a:gd name="connsiteY83" fmla="*/ 5877983 h 5964766"/>
                  <a:gd name="connsiteX84" fmla="*/ 529167 w 1913467"/>
                  <a:gd name="connsiteY84" fmla="*/ 5960533 h 5964766"/>
                  <a:gd name="connsiteX85" fmla="*/ 364067 w 1913467"/>
                  <a:gd name="connsiteY85" fmla="*/ 5903383 h 5964766"/>
                  <a:gd name="connsiteX86" fmla="*/ 370417 w 1913467"/>
                  <a:gd name="connsiteY86" fmla="*/ 5738283 h 5964766"/>
                  <a:gd name="connsiteX87" fmla="*/ 351367 w 1913467"/>
                  <a:gd name="connsiteY87" fmla="*/ 5579533 h 5964766"/>
                  <a:gd name="connsiteX88" fmla="*/ 325967 w 1913467"/>
                  <a:gd name="connsiteY88" fmla="*/ 5236633 h 5964766"/>
                  <a:gd name="connsiteX89" fmla="*/ 357717 w 1913467"/>
                  <a:gd name="connsiteY89" fmla="*/ 5096933 h 5964766"/>
                  <a:gd name="connsiteX90" fmla="*/ 376767 w 1913467"/>
                  <a:gd name="connsiteY90" fmla="*/ 4639733 h 5964766"/>
                  <a:gd name="connsiteX91" fmla="*/ 408517 w 1913467"/>
                  <a:gd name="connsiteY91" fmla="*/ 4512733 h 5964766"/>
                  <a:gd name="connsiteX92" fmla="*/ 389467 w 1913467"/>
                  <a:gd name="connsiteY92" fmla="*/ 4347633 h 5964766"/>
                  <a:gd name="connsiteX93" fmla="*/ 370417 w 1913467"/>
                  <a:gd name="connsiteY93" fmla="*/ 4163483 h 5964766"/>
                  <a:gd name="connsiteX94" fmla="*/ 402167 w 1913467"/>
                  <a:gd name="connsiteY94" fmla="*/ 3534833 h 5964766"/>
                  <a:gd name="connsiteX95" fmla="*/ 395817 w 1913467"/>
                  <a:gd name="connsiteY95" fmla="*/ 3083983 h 5964766"/>
                  <a:gd name="connsiteX96" fmla="*/ 332317 w 1913467"/>
                  <a:gd name="connsiteY96" fmla="*/ 2810933 h 5964766"/>
                  <a:gd name="connsiteX97" fmla="*/ 370417 w 1913467"/>
                  <a:gd name="connsiteY97" fmla="*/ 2442633 h 5964766"/>
                  <a:gd name="connsiteX98" fmla="*/ 395817 w 1913467"/>
                  <a:gd name="connsiteY98" fmla="*/ 2137833 h 5964766"/>
                  <a:gd name="connsiteX99" fmla="*/ 364067 w 1913467"/>
                  <a:gd name="connsiteY99" fmla="*/ 2036233 h 5964766"/>
                  <a:gd name="connsiteX100" fmla="*/ 319617 w 1913467"/>
                  <a:gd name="connsiteY100" fmla="*/ 2169583 h 5964766"/>
                  <a:gd name="connsiteX101" fmla="*/ 338667 w 1913467"/>
                  <a:gd name="connsiteY101" fmla="*/ 2461683 h 5964766"/>
                  <a:gd name="connsiteX102" fmla="*/ 313267 w 1913467"/>
                  <a:gd name="connsiteY102" fmla="*/ 2842683 h 5964766"/>
                  <a:gd name="connsiteX103" fmla="*/ 294217 w 1913467"/>
                  <a:gd name="connsiteY103" fmla="*/ 2995083 h 5964766"/>
                  <a:gd name="connsiteX104" fmla="*/ 332317 w 1913467"/>
                  <a:gd name="connsiteY104" fmla="*/ 3039533 h 5964766"/>
                  <a:gd name="connsiteX105" fmla="*/ 332317 w 1913467"/>
                  <a:gd name="connsiteY105" fmla="*/ 3172883 h 5964766"/>
                  <a:gd name="connsiteX106" fmla="*/ 338667 w 1913467"/>
                  <a:gd name="connsiteY106" fmla="*/ 3299883 h 5964766"/>
                  <a:gd name="connsiteX107" fmla="*/ 300567 w 1913467"/>
                  <a:gd name="connsiteY107" fmla="*/ 3299883 h 5964766"/>
                  <a:gd name="connsiteX108" fmla="*/ 294217 w 1913467"/>
                  <a:gd name="connsiteY108" fmla="*/ 3185583 h 5964766"/>
                  <a:gd name="connsiteX109" fmla="*/ 268817 w 1913467"/>
                  <a:gd name="connsiteY109" fmla="*/ 3261783 h 5964766"/>
                  <a:gd name="connsiteX110" fmla="*/ 313267 w 1913467"/>
                  <a:gd name="connsiteY110" fmla="*/ 3357033 h 5964766"/>
                  <a:gd name="connsiteX111" fmla="*/ 325967 w 1913467"/>
                  <a:gd name="connsiteY111" fmla="*/ 3426883 h 5964766"/>
                  <a:gd name="connsiteX112" fmla="*/ 262467 w 1913467"/>
                  <a:gd name="connsiteY112" fmla="*/ 3420533 h 5964766"/>
                  <a:gd name="connsiteX113" fmla="*/ 179917 w 1913467"/>
                  <a:gd name="connsiteY113" fmla="*/ 3318933 h 5964766"/>
                  <a:gd name="connsiteX114" fmla="*/ 141817 w 1913467"/>
                  <a:gd name="connsiteY114" fmla="*/ 3274483 h 5964766"/>
                  <a:gd name="connsiteX115" fmla="*/ 129117 w 1913467"/>
                  <a:gd name="connsiteY115" fmla="*/ 3001433 h 5964766"/>
                  <a:gd name="connsiteX116" fmla="*/ 129117 w 1913467"/>
                  <a:gd name="connsiteY116" fmla="*/ 2779183 h 5964766"/>
                  <a:gd name="connsiteX117" fmla="*/ 78317 w 1913467"/>
                  <a:gd name="connsiteY117" fmla="*/ 2385483 h 5964766"/>
                  <a:gd name="connsiteX118" fmla="*/ 103717 w 1913467"/>
                  <a:gd name="connsiteY118" fmla="*/ 2137833 h 5964766"/>
                  <a:gd name="connsiteX119" fmla="*/ 97367 w 1913467"/>
                  <a:gd name="connsiteY119" fmla="*/ 2010833 h 5964766"/>
                  <a:gd name="connsiteX120" fmla="*/ 21167 w 1913467"/>
                  <a:gd name="connsiteY120" fmla="*/ 1902883 h 5964766"/>
                  <a:gd name="connsiteX121" fmla="*/ 14817 w 1913467"/>
                  <a:gd name="connsiteY121" fmla="*/ 1756833 h 5964766"/>
                  <a:gd name="connsiteX122" fmla="*/ 110068 w 1913467"/>
                  <a:gd name="connsiteY122" fmla="*/ 1591733 h 5964766"/>
                  <a:gd name="connsiteX123" fmla="*/ 198967 w 1913467"/>
                  <a:gd name="connsiteY123" fmla="*/ 1261533 h 5964766"/>
                  <a:gd name="connsiteX124" fmla="*/ 459317 w 1913467"/>
                  <a:gd name="connsiteY124" fmla="*/ 1051983 h 5964766"/>
                  <a:gd name="connsiteX125" fmla="*/ 687917 w 1913467"/>
                  <a:gd name="connsiteY125" fmla="*/ 861483 h 5964766"/>
                  <a:gd name="connsiteX126" fmla="*/ 814917 w 1913467"/>
                  <a:gd name="connsiteY126" fmla="*/ 753533 h 5964766"/>
                  <a:gd name="connsiteX0" fmla="*/ 814917 w 1913467"/>
                  <a:gd name="connsiteY0" fmla="*/ 753533 h 5964766"/>
                  <a:gd name="connsiteX1" fmla="*/ 833967 w 1913467"/>
                  <a:gd name="connsiteY1" fmla="*/ 683683 h 5964766"/>
                  <a:gd name="connsiteX2" fmla="*/ 789517 w 1913467"/>
                  <a:gd name="connsiteY2" fmla="*/ 607483 h 5964766"/>
                  <a:gd name="connsiteX3" fmla="*/ 751417 w 1913467"/>
                  <a:gd name="connsiteY3" fmla="*/ 569383 h 5964766"/>
                  <a:gd name="connsiteX4" fmla="*/ 732367 w 1913467"/>
                  <a:gd name="connsiteY4" fmla="*/ 499533 h 5964766"/>
                  <a:gd name="connsiteX5" fmla="*/ 745067 w 1913467"/>
                  <a:gd name="connsiteY5" fmla="*/ 410633 h 5964766"/>
                  <a:gd name="connsiteX6" fmla="*/ 757767 w 1913467"/>
                  <a:gd name="connsiteY6" fmla="*/ 321733 h 5964766"/>
                  <a:gd name="connsiteX7" fmla="*/ 757767 w 1913467"/>
                  <a:gd name="connsiteY7" fmla="*/ 150283 h 5964766"/>
                  <a:gd name="connsiteX8" fmla="*/ 922867 w 1913467"/>
                  <a:gd name="connsiteY8" fmla="*/ 23283 h 5964766"/>
                  <a:gd name="connsiteX9" fmla="*/ 1087967 w 1913467"/>
                  <a:gd name="connsiteY9" fmla="*/ 10583 h 5964766"/>
                  <a:gd name="connsiteX10" fmla="*/ 1214967 w 1913467"/>
                  <a:gd name="connsiteY10" fmla="*/ 80433 h 5964766"/>
                  <a:gd name="connsiteX11" fmla="*/ 1278467 w 1913467"/>
                  <a:gd name="connsiteY11" fmla="*/ 194733 h 5964766"/>
                  <a:gd name="connsiteX12" fmla="*/ 1278467 w 1913467"/>
                  <a:gd name="connsiteY12" fmla="*/ 340783 h 5964766"/>
                  <a:gd name="connsiteX13" fmla="*/ 1284817 w 1913467"/>
                  <a:gd name="connsiteY13" fmla="*/ 416983 h 5964766"/>
                  <a:gd name="connsiteX14" fmla="*/ 1297517 w 1913467"/>
                  <a:gd name="connsiteY14" fmla="*/ 486833 h 5964766"/>
                  <a:gd name="connsiteX15" fmla="*/ 1265767 w 1913467"/>
                  <a:gd name="connsiteY15" fmla="*/ 493183 h 5964766"/>
                  <a:gd name="connsiteX16" fmla="*/ 1234017 w 1913467"/>
                  <a:gd name="connsiteY16" fmla="*/ 601133 h 5964766"/>
                  <a:gd name="connsiteX17" fmla="*/ 1195917 w 1913467"/>
                  <a:gd name="connsiteY17" fmla="*/ 639233 h 5964766"/>
                  <a:gd name="connsiteX18" fmla="*/ 1170517 w 1913467"/>
                  <a:gd name="connsiteY18" fmla="*/ 690033 h 5964766"/>
                  <a:gd name="connsiteX19" fmla="*/ 1176867 w 1913467"/>
                  <a:gd name="connsiteY19" fmla="*/ 759883 h 5964766"/>
                  <a:gd name="connsiteX20" fmla="*/ 1214967 w 1913467"/>
                  <a:gd name="connsiteY20" fmla="*/ 785283 h 5964766"/>
                  <a:gd name="connsiteX21" fmla="*/ 1234017 w 1913467"/>
                  <a:gd name="connsiteY21" fmla="*/ 842433 h 5964766"/>
                  <a:gd name="connsiteX22" fmla="*/ 1335617 w 1913467"/>
                  <a:gd name="connsiteY22" fmla="*/ 842433 h 5964766"/>
                  <a:gd name="connsiteX23" fmla="*/ 1405467 w 1913467"/>
                  <a:gd name="connsiteY23" fmla="*/ 905933 h 5964766"/>
                  <a:gd name="connsiteX24" fmla="*/ 1437217 w 1913467"/>
                  <a:gd name="connsiteY24" fmla="*/ 988483 h 5964766"/>
                  <a:gd name="connsiteX25" fmla="*/ 1538817 w 1913467"/>
                  <a:gd name="connsiteY25" fmla="*/ 1045633 h 5964766"/>
                  <a:gd name="connsiteX26" fmla="*/ 1659467 w 1913467"/>
                  <a:gd name="connsiteY26" fmla="*/ 1102783 h 5964766"/>
                  <a:gd name="connsiteX27" fmla="*/ 1786467 w 1913467"/>
                  <a:gd name="connsiteY27" fmla="*/ 1274233 h 5964766"/>
                  <a:gd name="connsiteX28" fmla="*/ 1792817 w 1913467"/>
                  <a:gd name="connsiteY28" fmla="*/ 1369483 h 5964766"/>
                  <a:gd name="connsiteX29" fmla="*/ 1881717 w 1913467"/>
                  <a:gd name="connsiteY29" fmla="*/ 1477433 h 5964766"/>
                  <a:gd name="connsiteX30" fmla="*/ 1900767 w 1913467"/>
                  <a:gd name="connsiteY30" fmla="*/ 1547283 h 5964766"/>
                  <a:gd name="connsiteX31" fmla="*/ 1849967 w 1913467"/>
                  <a:gd name="connsiteY31" fmla="*/ 1579033 h 5964766"/>
                  <a:gd name="connsiteX32" fmla="*/ 1862667 w 1913467"/>
                  <a:gd name="connsiteY32" fmla="*/ 1680633 h 5964766"/>
                  <a:gd name="connsiteX33" fmla="*/ 1913467 w 1913467"/>
                  <a:gd name="connsiteY33" fmla="*/ 1744133 h 5964766"/>
                  <a:gd name="connsiteX34" fmla="*/ 1862667 w 1913467"/>
                  <a:gd name="connsiteY34" fmla="*/ 1794933 h 5964766"/>
                  <a:gd name="connsiteX35" fmla="*/ 1862667 w 1913467"/>
                  <a:gd name="connsiteY35" fmla="*/ 1966383 h 5964766"/>
                  <a:gd name="connsiteX36" fmla="*/ 1849967 w 1913467"/>
                  <a:gd name="connsiteY36" fmla="*/ 2042583 h 5964766"/>
                  <a:gd name="connsiteX37" fmla="*/ 1843617 w 1913467"/>
                  <a:gd name="connsiteY37" fmla="*/ 2302933 h 5964766"/>
                  <a:gd name="connsiteX38" fmla="*/ 1894417 w 1913467"/>
                  <a:gd name="connsiteY38" fmla="*/ 2385483 h 5964766"/>
                  <a:gd name="connsiteX39" fmla="*/ 1830917 w 1913467"/>
                  <a:gd name="connsiteY39" fmla="*/ 2461683 h 5964766"/>
                  <a:gd name="connsiteX40" fmla="*/ 1805517 w 1913467"/>
                  <a:gd name="connsiteY40" fmla="*/ 2601383 h 5964766"/>
                  <a:gd name="connsiteX41" fmla="*/ 1767417 w 1913467"/>
                  <a:gd name="connsiteY41" fmla="*/ 2683933 h 5964766"/>
                  <a:gd name="connsiteX42" fmla="*/ 1748367 w 1913467"/>
                  <a:gd name="connsiteY42" fmla="*/ 2931583 h 5964766"/>
                  <a:gd name="connsiteX43" fmla="*/ 1761067 w 1913467"/>
                  <a:gd name="connsiteY43" fmla="*/ 3058583 h 5964766"/>
                  <a:gd name="connsiteX44" fmla="*/ 1805517 w 1913467"/>
                  <a:gd name="connsiteY44" fmla="*/ 3160183 h 5964766"/>
                  <a:gd name="connsiteX45" fmla="*/ 1773767 w 1913467"/>
                  <a:gd name="connsiteY45" fmla="*/ 3318933 h 5964766"/>
                  <a:gd name="connsiteX46" fmla="*/ 1608667 w 1913467"/>
                  <a:gd name="connsiteY46" fmla="*/ 3426883 h 5964766"/>
                  <a:gd name="connsiteX47" fmla="*/ 1538817 w 1913467"/>
                  <a:gd name="connsiteY47" fmla="*/ 3395133 h 5964766"/>
                  <a:gd name="connsiteX48" fmla="*/ 1595967 w 1913467"/>
                  <a:gd name="connsiteY48" fmla="*/ 3318933 h 5964766"/>
                  <a:gd name="connsiteX49" fmla="*/ 1608667 w 1913467"/>
                  <a:gd name="connsiteY49" fmla="*/ 3217333 h 5964766"/>
                  <a:gd name="connsiteX50" fmla="*/ 1576917 w 1913467"/>
                  <a:gd name="connsiteY50" fmla="*/ 3191933 h 5964766"/>
                  <a:gd name="connsiteX51" fmla="*/ 1538817 w 1913467"/>
                  <a:gd name="connsiteY51" fmla="*/ 3147483 h 5964766"/>
                  <a:gd name="connsiteX52" fmla="*/ 1538817 w 1913467"/>
                  <a:gd name="connsiteY52" fmla="*/ 2531533 h 5964766"/>
                  <a:gd name="connsiteX53" fmla="*/ 1602317 w 1913467"/>
                  <a:gd name="connsiteY53" fmla="*/ 2188633 h 5964766"/>
                  <a:gd name="connsiteX54" fmla="*/ 1551517 w 1913467"/>
                  <a:gd name="connsiteY54" fmla="*/ 2023533 h 5964766"/>
                  <a:gd name="connsiteX55" fmla="*/ 1513417 w 1913467"/>
                  <a:gd name="connsiteY55" fmla="*/ 2106083 h 5964766"/>
                  <a:gd name="connsiteX56" fmla="*/ 1513417 w 1913467"/>
                  <a:gd name="connsiteY56" fmla="*/ 2302933 h 5964766"/>
                  <a:gd name="connsiteX57" fmla="*/ 1513417 w 1913467"/>
                  <a:gd name="connsiteY57" fmla="*/ 2461683 h 5964766"/>
                  <a:gd name="connsiteX58" fmla="*/ 1526117 w 1913467"/>
                  <a:gd name="connsiteY58" fmla="*/ 3255433 h 5964766"/>
                  <a:gd name="connsiteX59" fmla="*/ 1494367 w 1913467"/>
                  <a:gd name="connsiteY59" fmla="*/ 3604683 h 5964766"/>
                  <a:gd name="connsiteX60" fmla="*/ 1449917 w 1913467"/>
                  <a:gd name="connsiteY60" fmla="*/ 4030133 h 5964766"/>
                  <a:gd name="connsiteX61" fmla="*/ 1335617 w 1913467"/>
                  <a:gd name="connsiteY61" fmla="*/ 4728633 h 5964766"/>
                  <a:gd name="connsiteX62" fmla="*/ 1278467 w 1913467"/>
                  <a:gd name="connsiteY62" fmla="*/ 5046133 h 5964766"/>
                  <a:gd name="connsiteX63" fmla="*/ 1221317 w 1913467"/>
                  <a:gd name="connsiteY63" fmla="*/ 5262033 h 5964766"/>
                  <a:gd name="connsiteX64" fmla="*/ 1341967 w 1913467"/>
                  <a:gd name="connsiteY64" fmla="*/ 5395383 h 5964766"/>
                  <a:gd name="connsiteX65" fmla="*/ 1367367 w 1913467"/>
                  <a:gd name="connsiteY65" fmla="*/ 5560483 h 5964766"/>
                  <a:gd name="connsiteX66" fmla="*/ 1284817 w 1913467"/>
                  <a:gd name="connsiteY66" fmla="*/ 5585883 h 5964766"/>
                  <a:gd name="connsiteX67" fmla="*/ 1437217 w 1913467"/>
                  <a:gd name="connsiteY67" fmla="*/ 5700183 h 5964766"/>
                  <a:gd name="connsiteX68" fmla="*/ 1462617 w 1913467"/>
                  <a:gd name="connsiteY68" fmla="*/ 5776383 h 5964766"/>
                  <a:gd name="connsiteX69" fmla="*/ 1335617 w 1913467"/>
                  <a:gd name="connsiteY69" fmla="*/ 5865283 h 5964766"/>
                  <a:gd name="connsiteX70" fmla="*/ 1151467 w 1913467"/>
                  <a:gd name="connsiteY70" fmla="*/ 5839883 h 5964766"/>
                  <a:gd name="connsiteX71" fmla="*/ 1087967 w 1913467"/>
                  <a:gd name="connsiteY71" fmla="*/ 5731933 h 5964766"/>
                  <a:gd name="connsiteX72" fmla="*/ 941917 w 1913467"/>
                  <a:gd name="connsiteY72" fmla="*/ 5693833 h 5964766"/>
                  <a:gd name="connsiteX73" fmla="*/ 910167 w 1913467"/>
                  <a:gd name="connsiteY73" fmla="*/ 5611283 h 5964766"/>
                  <a:gd name="connsiteX74" fmla="*/ 884767 w 1913467"/>
                  <a:gd name="connsiteY74" fmla="*/ 5598583 h 5964766"/>
                  <a:gd name="connsiteX75" fmla="*/ 872067 w 1913467"/>
                  <a:gd name="connsiteY75" fmla="*/ 4500033 h 5964766"/>
                  <a:gd name="connsiteX76" fmla="*/ 954617 w 1913467"/>
                  <a:gd name="connsiteY76" fmla="*/ 3680883 h 5964766"/>
                  <a:gd name="connsiteX77" fmla="*/ 1005417 w 1913467"/>
                  <a:gd name="connsiteY77" fmla="*/ 3376083 h 5964766"/>
                  <a:gd name="connsiteX78" fmla="*/ 935567 w 1913467"/>
                  <a:gd name="connsiteY78" fmla="*/ 3490383 h 5964766"/>
                  <a:gd name="connsiteX79" fmla="*/ 821267 w 1913467"/>
                  <a:gd name="connsiteY79" fmla="*/ 3960283 h 5964766"/>
                  <a:gd name="connsiteX80" fmla="*/ 802217 w 1913467"/>
                  <a:gd name="connsiteY80" fmla="*/ 4334933 h 5964766"/>
                  <a:gd name="connsiteX81" fmla="*/ 833967 w 1913467"/>
                  <a:gd name="connsiteY81" fmla="*/ 4944533 h 5964766"/>
                  <a:gd name="connsiteX82" fmla="*/ 865717 w 1913467"/>
                  <a:gd name="connsiteY82" fmla="*/ 5649383 h 5964766"/>
                  <a:gd name="connsiteX83" fmla="*/ 687917 w 1913467"/>
                  <a:gd name="connsiteY83" fmla="*/ 5877983 h 5964766"/>
                  <a:gd name="connsiteX84" fmla="*/ 529167 w 1913467"/>
                  <a:gd name="connsiteY84" fmla="*/ 5960533 h 5964766"/>
                  <a:gd name="connsiteX85" fmla="*/ 364067 w 1913467"/>
                  <a:gd name="connsiteY85" fmla="*/ 5903383 h 5964766"/>
                  <a:gd name="connsiteX86" fmla="*/ 370417 w 1913467"/>
                  <a:gd name="connsiteY86" fmla="*/ 5738283 h 5964766"/>
                  <a:gd name="connsiteX87" fmla="*/ 351367 w 1913467"/>
                  <a:gd name="connsiteY87" fmla="*/ 5579533 h 5964766"/>
                  <a:gd name="connsiteX88" fmla="*/ 325967 w 1913467"/>
                  <a:gd name="connsiteY88" fmla="*/ 5236633 h 5964766"/>
                  <a:gd name="connsiteX89" fmla="*/ 357717 w 1913467"/>
                  <a:gd name="connsiteY89" fmla="*/ 5096933 h 5964766"/>
                  <a:gd name="connsiteX90" fmla="*/ 376767 w 1913467"/>
                  <a:gd name="connsiteY90" fmla="*/ 4639733 h 5964766"/>
                  <a:gd name="connsiteX91" fmla="*/ 408517 w 1913467"/>
                  <a:gd name="connsiteY91" fmla="*/ 4512733 h 5964766"/>
                  <a:gd name="connsiteX92" fmla="*/ 389467 w 1913467"/>
                  <a:gd name="connsiteY92" fmla="*/ 4347633 h 5964766"/>
                  <a:gd name="connsiteX93" fmla="*/ 370417 w 1913467"/>
                  <a:gd name="connsiteY93" fmla="*/ 4163483 h 5964766"/>
                  <a:gd name="connsiteX94" fmla="*/ 402167 w 1913467"/>
                  <a:gd name="connsiteY94" fmla="*/ 3534833 h 5964766"/>
                  <a:gd name="connsiteX95" fmla="*/ 395817 w 1913467"/>
                  <a:gd name="connsiteY95" fmla="*/ 3083983 h 5964766"/>
                  <a:gd name="connsiteX96" fmla="*/ 332317 w 1913467"/>
                  <a:gd name="connsiteY96" fmla="*/ 2810933 h 5964766"/>
                  <a:gd name="connsiteX97" fmla="*/ 370417 w 1913467"/>
                  <a:gd name="connsiteY97" fmla="*/ 2442633 h 5964766"/>
                  <a:gd name="connsiteX98" fmla="*/ 395817 w 1913467"/>
                  <a:gd name="connsiteY98" fmla="*/ 2137833 h 5964766"/>
                  <a:gd name="connsiteX99" fmla="*/ 364067 w 1913467"/>
                  <a:gd name="connsiteY99" fmla="*/ 2036233 h 5964766"/>
                  <a:gd name="connsiteX100" fmla="*/ 319617 w 1913467"/>
                  <a:gd name="connsiteY100" fmla="*/ 2169583 h 5964766"/>
                  <a:gd name="connsiteX101" fmla="*/ 338667 w 1913467"/>
                  <a:gd name="connsiteY101" fmla="*/ 2461683 h 5964766"/>
                  <a:gd name="connsiteX102" fmla="*/ 313267 w 1913467"/>
                  <a:gd name="connsiteY102" fmla="*/ 2842683 h 5964766"/>
                  <a:gd name="connsiteX103" fmla="*/ 294217 w 1913467"/>
                  <a:gd name="connsiteY103" fmla="*/ 2995083 h 5964766"/>
                  <a:gd name="connsiteX104" fmla="*/ 332317 w 1913467"/>
                  <a:gd name="connsiteY104" fmla="*/ 3039533 h 5964766"/>
                  <a:gd name="connsiteX105" fmla="*/ 332317 w 1913467"/>
                  <a:gd name="connsiteY105" fmla="*/ 3172883 h 5964766"/>
                  <a:gd name="connsiteX106" fmla="*/ 338667 w 1913467"/>
                  <a:gd name="connsiteY106" fmla="*/ 3299883 h 5964766"/>
                  <a:gd name="connsiteX107" fmla="*/ 300567 w 1913467"/>
                  <a:gd name="connsiteY107" fmla="*/ 3299883 h 5964766"/>
                  <a:gd name="connsiteX108" fmla="*/ 294217 w 1913467"/>
                  <a:gd name="connsiteY108" fmla="*/ 3185583 h 5964766"/>
                  <a:gd name="connsiteX109" fmla="*/ 268817 w 1913467"/>
                  <a:gd name="connsiteY109" fmla="*/ 3261783 h 5964766"/>
                  <a:gd name="connsiteX110" fmla="*/ 313267 w 1913467"/>
                  <a:gd name="connsiteY110" fmla="*/ 3357033 h 5964766"/>
                  <a:gd name="connsiteX111" fmla="*/ 325967 w 1913467"/>
                  <a:gd name="connsiteY111" fmla="*/ 3426883 h 5964766"/>
                  <a:gd name="connsiteX112" fmla="*/ 262467 w 1913467"/>
                  <a:gd name="connsiteY112" fmla="*/ 3420533 h 5964766"/>
                  <a:gd name="connsiteX113" fmla="*/ 179917 w 1913467"/>
                  <a:gd name="connsiteY113" fmla="*/ 3318933 h 5964766"/>
                  <a:gd name="connsiteX114" fmla="*/ 141817 w 1913467"/>
                  <a:gd name="connsiteY114" fmla="*/ 3274483 h 5964766"/>
                  <a:gd name="connsiteX115" fmla="*/ 129117 w 1913467"/>
                  <a:gd name="connsiteY115" fmla="*/ 3001433 h 5964766"/>
                  <a:gd name="connsiteX116" fmla="*/ 129117 w 1913467"/>
                  <a:gd name="connsiteY116" fmla="*/ 2779183 h 5964766"/>
                  <a:gd name="connsiteX117" fmla="*/ 78317 w 1913467"/>
                  <a:gd name="connsiteY117" fmla="*/ 2385483 h 5964766"/>
                  <a:gd name="connsiteX118" fmla="*/ 103717 w 1913467"/>
                  <a:gd name="connsiteY118" fmla="*/ 2137833 h 5964766"/>
                  <a:gd name="connsiteX119" fmla="*/ 97367 w 1913467"/>
                  <a:gd name="connsiteY119" fmla="*/ 2010833 h 5964766"/>
                  <a:gd name="connsiteX120" fmla="*/ 21167 w 1913467"/>
                  <a:gd name="connsiteY120" fmla="*/ 1902883 h 5964766"/>
                  <a:gd name="connsiteX121" fmla="*/ 14817 w 1913467"/>
                  <a:gd name="connsiteY121" fmla="*/ 1756833 h 5964766"/>
                  <a:gd name="connsiteX122" fmla="*/ 110068 w 1913467"/>
                  <a:gd name="connsiteY122" fmla="*/ 1591733 h 5964766"/>
                  <a:gd name="connsiteX123" fmla="*/ 198967 w 1913467"/>
                  <a:gd name="connsiteY123" fmla="*/ 1261533 h 5964766"/>
                  <a:gd name="connsiteX124" fmla="*/ 459317 w 1913467"/>
                  <a:gd name="connsiteY124" fmla="*/ 1051983 h 5964766"/>
                  <a:gd name="connsiteX125" fmla="*/ 687917 w 1913467"/>
                  <a:gd name="connsiteY125" fmla="*/ 861483 h 5964766"/>
                  <a:gd name="connsiteX126" fmla="*/ 814917 w 1913467"/>
                  <a:gd name="connsiteY126" fmla="*/ 753533 h 5964766"/>
                  <a:gd name="connsiteX0" fmla="*/ 814917 w 1913467"/>
                  <a:gd name="connsiteY0" fmla="*/ 753533 h 5964766"/>
                  <a:gd name="connsiteX1" fmla="*/ 833967 w 1913467"/>
                  <a:gd name="connsiteY1" fmla="*/ 683683 h 5964766"/>
                  <a:gd name="connsiteX2" fmla="*/ 789517 w 1913467"/>
                  <a:gd name="connsiteY2" fmla="*/ 607483 h 5964766"/>
                  <a:gd name="connsiteX3" fmla="*/ 751417 w 1913467"/>
                  <a:gd name="connsiteY3" fmla="*/ 569383 h 5964766"/>
                  <a:gd name="connsiteX4" fmla="*/ 732367 w 1913467"/>
                  <a:gd name="connsiteY4" fmla="*/ 499533 h 5964766"/>
                  <a:gd name="connsiteX5" fmla="*/ 745067 w 1913467"/>
                  <a:gd name="connsiteY5" fmla="*/ 410633 h 5964766"/>
                  <a:gd name="connsiteX6" fmla="*/ 757767 w 1913467"/>
                  <a:gd name="connsiteY6" fmla="*/ 321733 h 5964766"/>
                  <a:gd name="connsiteX7" fmla="*/ 757767 w 1913467"/>
                  <a:gd name="connsiteY7" fmla="*/ 150283 h 5964766"/>
                  <a:gd name="connsiteX8" fmla="*/ 922867 w 1913467"/>
                  <a:gd name="connsiteY8" fmla="*/ 23283 h 5964766"/>
                  <a:gd name="connsiteX9" fmla="*/ 1087967 w 1913467"/>
                  <a:gd name="connsiteY9" fmla="*/ 10583 h 5964766"/>
                  <a:gd name="connsiteX10" fmla="*/ 1214967 w 1913467"/>
                  <a:gd name="connsiteY10" fmla="*/ 80433 h 5964766"/>
                  <a:gd name="connsiteX11" fmla="*/ 1278467 w 1913467"/>
                  <a:gd name="connsiteY11" fmla="*/ 194733 h 5964766"/>
                  <a:gd name="connsiteX12" fmla="*/ 1278467 w 1913467"/>
                  <a:gd name="connsiteY12" fmla="*/ 340783 h 5964766"/>
                  <a:gd name="connsiteX13" fmla="*/ 1284817 w 1913467"/>
                  <a:gd name="connsiteY13" fmla="*/ 416983 h 5964766"/>
                  <a:gd name="connsiteX14" fmla="*/ 1297517 w 1913467"/>
                  <a:gd name="connsiteY14" fmla="*/ 486833 h 5964766"/>
                  <a:gd name="connsiteX15" fmla="*/ 1265767 w 1913467"/>
                  <a:gd name="connsiteY15" fmla="*/ 493183 h 5964766"/>
                  <a:gd name="connsiteX16" fmla="*/ 1234017 w 1913467"/>
                  <a:gd name="connsiteY16" fmla="*/ 601133 h 5964766"/>
                  <a:gd name="connsiteX17" fmla="*/ 1195917 w 1913467"/>
                  <a:gd name="connsiteY17" fmla="*/ 639233 h 5964766"/>
                  <a:gd name="connsiteX18" fmla="*/ 1170517 w 1913467"/>
                  <a:gd name="connsiteY18" fmla="*/ 690033 h 5964766"/>
                  <a:gd name="connsiteX19" fmla="*/ 1176867 w 1913467"/>
                  <a:gd name="connsiteY19" fmla="*/ 759883 h 5964766"/>
                  <a:gd name="connsiteX20" fmla="*/ 1214967 w 1913467"/>
                  <a:gd name="connsiteY20" fmla="*/ 785283 h 5964766"/>
                  <a:gd name="connsiteX21" fmla="*/ 1234017 w 1913467"/>
                  <a:gd name="connsiteY21" fmla="*/ 842433 h 5964766"/>
                  <a:gd name="connsiteX22" fmla="*/ 1335617 w 1913467"/>
                  <a:gd name="connsiteY22" fmla="*/ 842433 h 5964766"/>
                  <a:gd name="connsiteX23" fmla="*/ 1405467 w 1913467"/>
                  <a:gd name="connsiteY23" fmla="*/ 905933 h 5964766"/>
                  <a:gd name="connsiteX24" fmla="*/ 1437217 w 1913467"/>
                  <a:gd name="connsiteY24" fmla="*/ 988483 h 5964766"/>
                  <a:gd name="connsiteX25" fmla="*/ 1538817 w 1913467"/>
                  <a:gd name="connsiteY25" fmla="*/ 1045633 h 5964766"/>
                  <a:gd name="connsiteX26" fmla="*/ 1659467 w 1913467"/>
                  <a:gd name="connsiteY26" fmla="*/ 1102783 h 5964766"/>
                  <a:gd name="connsiteX27" fmla="*/ 1786467 w 1913467"/>
                  <a:gd name="connsiteY27" fmla="*/ 1274233 h 5964766"/>
                  <a:gd name="connsiteX28" fmla="*/ 1792817 w 1913467"/>
                  <a:gd name="connsiteY28" fmla="*/ 1369483 h 5964766"/>
                  <a:gd name="connsiteX29" fmla="*/ 1881717 w 1913467"/>
                  <a:gd name="connsiteY29" fmla="*/ 1477433 h 5964766"/>
                  <a:gd name="connsiteX30" fmla="*/ 1900767 w 1913467"/>
                  <a:gd name="connsiteY30" fmla="*/ 1547283 h 5964766"/>
                  <a:gd name="connsiteX31" fmla="*/ 1849967 w 1913467"/>
                  <a:gd name="connsiteY31" fmla="*/ 1579033 h 5964766"/>
                  <a:gd name="connsiteX32" fmla="*/ 1862667 w 1913467"/>
                  <a:gd name="connsiteY32" fmla="*/ 1680633 h 5964766"/>
                  <a:gd name="connsiteX33" fmla="*/ 1913467 w 1913467"/>
                  <a:gd name="connsiteY33" fmla="*/ 1744133 h 5964766"/>
                  <a:gd name="connsiteX34" fmla="*/ 1862667 w 1913467"/>
                  <a:gd name="connsiteY34" fmla="*/ 1794933 h 5964766"/>
                  <a:gd name="connsiteX35" fmla="*/ 1862667 w 1913467"/>
                  <a:gd name="connsiteY35" fmla="*/ 1966383 h 5964766"/>
                  <a:gd name="connsiteX36" fmla="*/ 1849967 w 1913467"/>
                  <a:gd name="connsiteY36" fmla="*/ 2042583 h 5964766"/>
                  <a:gd name="connsiteX37" fmla="*/ 1843617 w 1913467"/>
                  <a:gd name="connsiteY37" fmla="*/ 2302933 h 5964766"/>
                  <a:gd name="connsiteX38" fmla="*/ 1894417 w 1913467"/>
                  <a:gd name="connsiteY38" fmla="*/ 2385483 h 5964766"/>
                  <a:gd name="connsiteX39" fmla="*/ 1830917 w 1913467"/>
                  <a:gd name="connsiteY39" fmla="*/ 2461683 h 5964766"/>
                  <a:gd name="connsiteX40" fmla="*/ 1805517 w 1913467"/>
                  <a:gd name="connsiteY40" fmla="*/ 2601383 h 5964766"/>
                  <a:gd name="connsiteX41" fmla="*/ 1767417 w 1913467"/>
                  <a:gd name="connsiteY41" fmla="*/ 2683933 h 5964766"/>
                  <a:gd name="connsiteX42" fmla="*/ 1748367 w 1913467"/>
                  <a:gd name="connsiteY42" fmla="*/ 2931583 h 5964766"/>
                  <a:gd name="connsiteX43" fmla="*/ 1761067 w 1913467"/>
                  <a:gd name="connsiteY43" fmla="*/ 3058583 h 5964766"/>
                  <a:gd name="connsiteX44" fmla="*/ 1805517 w 1913467"/>
                  <a:gd name="connsiteY44" fmla="*/ 3160183 h 5964766"/>
                  <a:gd name="connsiteX45" fmla="*/ 1773767 w 1913467"/>
                  <a:gd name="connsiteY45" fmla="*/ 3318933 h 5964766"/>
                  <a:gd name="connsiteX46" fmla="*/ 1608667 w 1913467"/>
                  <a:gd name="connsiteY46" fmla="*/ 3426883 h 5964766"/>
                  <a:gd name="connsiteX47" fmla="*/ 1538817 w 1913467"/>
                  <a:gd name="connsiteY47" fmla="*/ 3395133 h 5964766"/>
                  <a:gd name="connsiteX48" fmla="*/ 1595967 w 1913467"/>
                  <a:gd name="connsiteY48" fmla="*/ 3318933 h 5964766"/>
                  <a:gd name="connsiteX49" fmla="*/ 1608667 w 1913467"/>
                  <a:gd name="connsiteY49" fmla="*/ 3217333 h 5964766"/>
                  <a:gd name="connsiteX50" fmla="*/ 1576917 w 1913467"/>
                  <a:gd name="connsiteY50" fmla="*/ 3191933 h 5964766"/>
                  <a:gd name="connsiteX51" fmla="*/ 1538817 w 1913467"/>
                  <a:gd name="connsiteY51" fmla="*/ 3147483 h 5964766"/>
                  <a:gd name="connsiteX52" fmla="*/ 1538817 w 1913467"/>
                  <a:gd name="connsiteY52" fmla="*/ 2531533 h 5964766"/>
                  <a:gd name="connsiteX53" fmla="*/ 1602317 w 1913467"/>
                  <a:gd name="connsiteY53" fmla="*/ 2188633 h 5964766"/>
                  <a:gd name="connsiteX54" fmla="*/ 1551517 w 1913467"/>
                  <a:gd name="connsiteY54" fmla="*/ 2023533 h 5964766"/>
                  <a:gd name="connsiteX55" fmla="*/ 1513417 w 1913467"/>
                  <a:gd name="connsiteY55" fmla="*/ 2106083 h 5964766"/>
                  <a:gd name="connsiteX56" fmla="*/ 1513417 w 1913467"/>
                  <a:gd name="connsiteY56" fmla="*/ 2302933 h 5964766"/>
                  <a:gd name="connsiteX57" fmla="*/ 1513417 w 1913467"/>
                  <a:gd name="connsiteY57" fmla="*/ 2461683 h 5964766"/>
                  <a:gd name="connsiteX58" fmla="*/ 1526117 w 1913467"/>
                  <a:gd name="connsiteY58" fmla="*/ 3255433 h 5964766"/>
                  <a:gd name="connsiteX59" fmla="*/ 1494367 w 1913467"/>
                  <a:gd name="connsiteY59" fmla="*/ 3604683 h 5964766"/>
                  <a:gd name="connsiteX60" fmla="*/ 1449917 w 1913467"/>
                  <a:gd name="connsiteY60" fmla="*/ 4030133 h 5964766"/>
                  <a:gd name="connsiteX61" fmla="*/ 1335617 w 1913467"/>
                  <a:gd name="connsiteY61" fmla="*/ 4728633 h 5964766"/>
                  <a:gd name="connsiteX62" fmla="*/ 1278467 w 1913467"/>
                  <a:gd name="connsiteY62" fmla="*/ 5046133 h 5964766"/>
                  <a:gd name="connsiteX63" fmla="*/ 1221317 w 1913467"/>
                  <a:gd name="connsiteY63" fmla="*/ 5262033 h 5964766"/>
                  <a:gd name="connsiteX64" fmla="*/ 1341967 w 1913467"/>
                  <a:gd name="connsiteY64" fmla="*/ 5395383 h 5964766"/>
                  <a:gd name="connsiteX65" fmla="*/ 1367367 w 1913467"/>
                  <a:gd name="connsiteY65" fmla="*/ 5560483 h 5964766"/>
                  <a:gd name="connsiteX66" fmla="*/ 1284817 w 1913467"/>
                  <a:gd name="connsiteY66" fmla="*/ 5585883 h 5964766"/>
                  <a:gd name="connsiteX67" fmla="*/ 1437217 w 1913467"/>
                  <a:gd name="connsiteY67" fmla="*/ 5700183 h 5964766"/>
                  <a:gd name="connsiteX68" fmla="*/ 1462617 w 1913467"/>
                  <a:gd name="connsiteY68" fmla="*/ 5776383 h 5964766"/>
                  <a:gd name="connsiteX69" fmla="*/ 1335617 w 1913467"/>
                  <a:gd name="connsiteY69" fmla="*/ 5865283 h 5964766"/>
                  <a:gd name="connsiteX70" fmla="*/ 1151467 w 1913467"/>
                  <a:gd name="connsiteY70" fmla="*/ 5839883 h 5964766"/>
                  <a:gd name="connsiteX71" fmla="*/ 1087967 w 1913467"/>
                  <a:gd name="connsiteY71" fmla="*/ 5731933 h 5964766"/>
                  <a:gd name="connsiteX72" fmla="*/ 941917 w 1913467"/>
                  <a:gd name="connsiteY72" fmla="*/ 5693833 h 5964766"/>
                  <a:gd name="connsiteX73" fmla="*/ 910167 w 1913467"/>
                  <a:gd name="connsiteY73" fmla="*/ 5611283 h 5964766"/>
                  <a:gd name="connsiteX74" fmla="*/ 884767 w 1913467"/>
                  <a:gd name="connsiteY74" fmla="*/ 5598583 h 5964766"/>
                  <a:gd name="connsiteX75" fmla="*/ 872067 w 1913467"/>
                  <a:gd name="connsiteY75" fmla="*/ 4500033 h 5964766"/>
                  <a:gd name="connsiteX76" fmla="*/ 954617 w 1913467"/>
                  <a:gd name="connsiteY76" fmla="*/ 3680883 h 5964766"/>
                  <a:gd name="connsiteX77" fmla="*/ 1005417 w 1913467"/>
                  <a:gd name="connsiteY77" fmla="*/ 3376083 h 5964766"/>
                  <a:gd name="connsiteX78" fmla="*/ 935567 w 1913467"/>
                  <a:gd name="connsiteY78" fmla="*/ 3490383 h 5964766"/>
                  <a:gd name="connsiteX79" fmla="*/ 821267 w 1913467"/>
                  <a:gd name="connsiteY79" fmla="*/ 3960283 h 5964766"/>
                  <a:gd name="connsiteX80" fmla="*/ 802217 w 1913467"/>
                  <a:gd name="connsiteY80" fmla="*/ 4334933 h 5964766"/>
                  <a:gd name="connsiteX81" fmla="*/ 833967 w 1913467"/>
                  <a:gd name="connsiteY81" fmla="*/ 4944533 h 5964766"/>
                  <a:gd name="connsiteX82" fmla="*/ 865717 w 1913467"/>
                  <a:gd name="connsiteY82" fmla="*/ 5649383 h 5964766"/>
                  <a:gd name="connsiteX83" fmla="*/ 687917 w 1913467"/>
                  <a:gd name="connsiteY83" fmla="*/ 5877983 h 5964766"/>
                  <a:gd name="connsiteX84" fmla="*/ 529167 w 1913467"/>
                  <a:gd name="connsiteY84" fmla="*/ 5960533 h 5964766"/>
                  <a:gd name="connsiteX85" fmla="*/ 364067 w 1913467"/>
                  <a:gd name="connsiteY85" fmla="*/ 5903383 h 5964766"/>
                  <a:gd name="connsiteX86" fmla="*/ 370417 w 1913467"/>
                  <a:gd name="connsiteY86" fmla="*/ 5738283 h 5964766"/>
                  <a:gd name="connsiteX87" fmla="*/ 351367 w 1913467"/>
                  <a:gd name="connsiteY87" fmla="*/ 5579533 h 5964766"/>
                  <a:gd name="connsiteX88" fmla="*/ 325967 w 1913467"/>
                  <a:gd name="connsiteY88" fmla="*/ 5236633 h 5964766"/>
                  <a:gd name="connsiteX89" fmla="*/ 357717 w 1913467"/>
                  <a:gd name="connsiteY89" fmla="*/ 5096933 h 5964766"/>
                  <a:gd name="connsiteX90" fmla="*/ 376767 w 1913467"/>
                  <a:gd name="connsiteY90" fmla="*/ 4639733 h 5964766"/>
                  <a:gd name="connsiteX91" fmla="*/ 408517 w 1913467"/>
                  <a:gd name="connsiteY91" fmla="*/ 4512733 h 5964766"/>
                  <a:gd name="connsiteX92" fmla="*/ 389467 w 1913467"/>
                  <a:gd name="connsiteY92" fmla="*/ 4347633 h 5964766"/>
                  <a:gd name="connsiteX93" fmla="*/ 370417 w 1913467"/>
                  <a:gd name="connsiteY93" fmla="*/ 4163483 h 5964766"/>
                  <a:gd name="connsiteX94" fmla="*/ 402167 w 1913467"/>
                  <a:gd name="connsiteY94" fmla="*/ 3534833 h 5964766"/>
                  <a:gd name="connsiteX95" fmla="*/ 395817 w 1913467"/>
                  <a:gd name="connsiteY95" fmla="*/ 3083983 h 5964766"/>
                  <a:gd name="connsiteX96" fmla="*/ 332317 w 1913467"/>
                  <a:gd name="connsiteY96" fmla="*/ 2810933 h 5964766"/>
                  <a:gd name="connsiteX97" fmla="*/ 370417 w 1913467"/>
                  <a:gd name="connsiteY97" fmla="*/ 2442633 h 5964766"/>
                  <a:gd name="connsiteX98" fmla="*/ 395817 w 1913467"/>
                  <a:gd name="connsiteY98" fmla="*/ 2137833 h 5964766"/>
                  <a:gd name="connsiteX99" fmla="*/ 364067 w 1913467"/>
                  <a:gd name="connsiteY99" fmla="*/ 2036233 h 5964766"/>
                  <a:gd name="connsiteX100" fmla="*/ 319617 w 1913467"/>
                  <a:gd name="connsiteY100" fmla="*/ 2169583 h 5964766"/>
                  <a:gd name="connsiteX101" fmla="*/ 338667 w 1913467"/>
                  <a:gd name="connsiteY101" fmla="*/ 2461683 h 5964766"/>
                  <a:gd name="connsiteX102" fmla="*/ 313267 w 1913467"/>
                  <a:gd name="connsiteY102" fmla="*/ 2842683 h 5964766"/>
                  <a:gd name="connsiteX103" fmla="*/ 294217 w 1913467"/>
                  <a:gd name="connsiteY103" fmla="*/ 2995083 h 5964766"/>
                  <a:gd name="connsiteX104" fmla="*/ 332317 w 1913467"/>
                  <a:gd name="connsiteY104" fmla="*/ 3039533 h 5964766"/>
                  <a:gd name="connsiteX105" fmla="*/ 332317 w 1913467"/>
                  <a:gd name="connsiteY105" fmla="*/ 3172883 h 5964766"/>
                  <a:gd name="connsiteX106" fmla="*/ 338667 w 1913467"/>
                  <a:gd name="connsiteY106" fmla="*/ 3299883 h 5964766"/>
                  <a:gd name="connsiteX107" fmla="*/ 300567 w 1913467"/>
                  <a:gd name="connsiteY107" fmla="*/ 3299883 h 5964766"/>
                  <a:gd name="connsiteX108" fmla="*/ 294217 w 1913467"/>
                  <a:gd name="connsiteY108" fmla="*/ 3185583 h 5964766"/>
                  <a:gd name="connsiteX109" fmla="*/ 268817 w 1913467"/>
                  <a:gd name="connsiteY109" fmla="*/ 3261783 h 5964766"/>
                  <a:gd name="connsiteX110" fmla="*/ 313267 w 1913467"/>
                  <a:gd name="connsiteY110" fmla="*/ 3357033 h 5964766"/>
                  <a:gd name="connsiteX111" fmla="*/ 325967 w 1913467"/>
                  <a:gd name="connsiteY111" fmla="*/ 3426883 h 5964766"/>
                  <a:gd name="connsiteX112" fmla="*/ 262467 w 1913467"/>
                  <a:gd name="connsiteY112" fmla="*/ 3420533 h 5964766"/>
                  <a:gd name="connsiteX113" fmla="*/ 179917 w 1913467"/>
                  <a:gd name="connsiteY113" fmla="*/ 3318933 h 5964766"/>
                  <a:gd name="connsiteX114" fmla="*/ 141817 w 1913467"/>
                  <a:gd name="connsiteY114" fmla="*/ 3274483 h 5964766"/>
                  <a:gd name="connsiteX115" fmla="*/ 129117 w 1913467"/>
                  <a:gd name="connsiteY115" fmla="*/ 3001433 h 5964766"/>
                  <a:gd name="connsiteX116" fmla="*/ 129117 w 1913467"/>
                  <a:gd name="connsiteY116" fmla="*/ 2779183 h 5964766"/>
                  <a:gd name="connsiteX117" fmla="*/ 78317 w 1913467"/>
                  <a:gd name="connsiteY117" fmla="*/ 2385483 h 5964766"/>
                  <a:gd name="connsiteX118" fmla="*/ 103717 w 1913467"/>
                  <a:gd name="connsiteY118" fmla="*/ 2137833 h 5964766"/>
                  <a:gd name="connsiteX119" fmla="*/ 97367 w 1913467"/>
                  <a:gd name="connsiteY119" fmla="*/ 2010833 h 5964766"/>
                  <a:gd name="connsiteX120" fmla="*/ 21167 w 1913467"/>
                  <a:gd name="connsiteY120" fmla="*/ 1902883 h 5964766"/>
                  <a:gd name="connsiteX121" fmla="*/ 14817 w 1913467"/>
                  <a:gd name="connsiteY121" fmla="*/ 1756833 h 5964766"/>
                  <a:gd name="connsiteX122" fmla="*/ 110068 w 1913467"/>
                  <a:gd name="connsiteY122" fmla="*/ 1591733 h 5964766"/>
                  <a:gd name="connsiteX123" fmla="*/ 198967 w 1913467"/>
                  <a:gd name="connsiteY123" fmla="*/ 1261533 h 5964766"/>
                  <a:gd name="connsiteX124" fmla="*/ 459317 w 1913467"/>
                  <a:gd name="connsiteY124" fmla="*/ 1051983 h 5964766"/>
                  <a:gd name="connsiteX125" fmla="*/ 687917 w 1913467"/>
                  <a:gd name="connsiteY125" fmla="*/ 861483 h 5964766"/>
                  <a:gd name="connsiteX126" fmla="*/ 814917 w 1913467"/>
                  <a:gd name="connsiteY126" fmla="*/ 753533 h 5964766"/>
                  <a:gd name="connsiteX0" fmla="*/ 795867 w 1894417"/>
                  <a:gd name="connsiteY0" fmla="*/ 753533 h 5964766"/>
                  <a:gd name="connsiteX1" fmla="*/ 814917 w 1894417"/>
                  <a:gd name="connsiteY1" fmla="*/ 683683 h 5964766"/>
                  <a:gd name="connsiteX2" fmla="*/ 770467 w 1894417"/>
                  <a:gd name="connsiteY2" fmla="*/ 607483 h 5964766"/>
                  <a:gd name="connsiteX3" fmla="*/ 732367 w 1894417"/>
                  <a:gd name="connsiteY3" fmla="*/ 569383 h 5964766"/>
                  <a:gd name="connsiteX4" fmla="*/ 713317 w 1894417"/>
                  <a:gd name="connsiteY4" fmla="*/ 499533 h 5964766"/>
                  <a:gd name="connsiteX5" fmla="*/ 726017 w 1894417"/>
                  <a:gd name="connsiteY5" fmla="*/ 410633 h 5964766"/>
                  <a:gd name="connsiteX6" fmla="*/ 738717 w 1894417"/>
                  <a:gd name="connsiteY6" fmla="*/ 321733 h 5964766"/>
                  <a:gd name="connsiteX7" fmla="*/ 738717 w 1894417"/>
                  <a:gd name="connsiteY7" fmla="*/ 150283 h 5964766"/>
                  <a:gd name="connsiteX8" fmla="*/ 903817 w 1894417"/>
                  <a:gd name="connsiteY8" fmla="*/ 23283 h 5964766"/>
                  <a:gd name="connsiteX9" fmla="*/ 1068917 w 1894417"/>
                  <a:gd name="connsiteY9" fmla="*/ 10583 h 5964766"/>
                  <a:gd name="connsiteX10" fmla="*/ 1195917 w 1894417"/>
                  <a:gd name="connsiteY10" fmla="*/ 80433 h 5964766"/>
                  <a:gd name="connsiteX11" fmla="*/ 1259417 w 1894417"/>
                  <a:gd name="connsiteY11" fmla="*/ 194733 h 5964766"/>
                  <a:gd name="connsiteX12" fmla="*/ 1259417 w 1894417"/>
                  <a:gd name="connsiteY12" fmla="*/ 340783 h 5964766"/>
                  <a:gd name="connsiteX13" fmla="*/ 1265767 w 1894417"/>
                  <a:gd name="connsiteY13" fmla="*/ 416983 h 5964766"/>
                  <a:gd name="connsiteX14" fmla="*/ 1278467 w 1894417"/>
                  <a:gd name="connsiteY14" fmla="*/ 486833 h 5964766"/>
                  <a:gd name="connsiteX15" fmla="*/ 1246717 w 1894417"/>
                  <a:gd name="connsiteY15" fmla="*/ 493183 h 5964766"/>
                  <a:gd name="connsiteX16" fmla="*/ 1214967 w 1894417"/>
                  <a:gd name="connsiteY16" fmla="*/ 601133 h 5964766"/>
                  <a:gd name="connsiteX17" fmla="*/ 1176867 w 1894417"/>
                  <a:gd name="connsiteY17" fmla="*/ 639233 h 5964766"/>
                  <a:gd name="connsiteX18" fmla="*/ 1151467 w 1894417"/>
                  <a:gd name="connsiteY18" fmla="*/ 690033 h 5964766"/>
                  <a:gd name="connsiteX19" fmla="*/ 1157817 w 1894417"/>
                  <a:gd name="connsiteY19" fmla="*/ 759883 h 5964766"/>
                  <a:gd name="connsiteX20" fmla="*/ 1195917 w 1894417"/>
                  <a:gd name="connsiteY20" fmla="*/ 785283 h 5964766"/>
                  <a:gd name="connsiteX21" fmla="*/ 1214967 w 1894417"/>
                  <a:gd name="connsiteY21" fmla="*/ 842433 h 5964766"/>
                  <a:gd name="connsiteX22" fmla="*/ 1316567 w 1894417"/>
                  <a:gd name="connsiteY22" fmla="*/ 842433 h 5964766"/>
                  <a:gd name="connsiteX23" fmla="*/ 1386417 w 1894417"/>
                  <a:gd name="connsiteY23" fmla="*/ 905933 h 5964766"/>
                  <a:gd name="connsiteX24" fmla="*/ 1418167 w 1894417"/>
                  <a:gd name="connsiteY24" fmla="*/ 988483 h 5964766"/>
                  <a:gd name="connsiteX25" fmla="*/ 1519767 w 1894417"/>
                  <a:gd name="connsiteY25" fmla="*/ 1045633 h 5964766"/>
                  <a:gd name="connsiteX26" fmla="*/ 1640417 w 1894417"/>
                  <a:gd name="connsiteY26" fmla="*/ 1102783 h 5964766"/>
                  <a:gd name="connsiteX27" fmla="*/ 1767417 w 1894417"/>
                  <a:gd name="connsiteY27" fmla="*/ 1274233 h 5964766"/>
                  <a:gd name="connsiteX28" fmla="*/ 1773767 w 1894417"/>
                  <a:gd name="connsiteY28" fmla="*/ 1369483 h 5964766"/>
                  <a:gd name="connsiteX29" fmla="*/ 1862667 w 1894417"/>
                  <a:gd name="connsiteY29" fmla="*/ 1477433 h 5964766"/>
                  <a:gd name="connsiteX30" fmla="*/ 1881717 w 1894417"/>
                  <a:gd name="connsiteY30" fmla="*/ 1547283 h 5964766"/>
                  <a:gd name="connsiteX31" fmla="*/ 1830917 w 1894417"/>
                  <a:gd name="connsiteY31" fmla="*/ 1579033 h 5964766"/>
                  <a:gd name="connsiteX32" fmla="*/ 1843617 w 1894417"/>
                  <a:gd name="connsiteY32" fmla="*/ 1680633 h 5964766"/>
                  <a:gd name="connsiteX33" fmla="*/ 1894417 w 1894417"/>
                  <a:gd name="connsiteY33" fmla="*/ 1744133 h 5964766"/>
                  <a:gd name="connsiteX34" fmla="*/ 1843617 w 1894417"/>
                  <a:gd name="connsiteY34" fmla="*/ 1794933 h 5964766"/>
                  <a:gd name="connsiteX35" fmla="*/ 1843617 w 1894417"/>
                  <a:gd name="connsiteY35" fmla="*/ 1966383 h 5964766"/>
                  <a:gd name="connsiteX36" fmla="*/ 1830917 w 1894417"/>
                  <a:gd name="connsiteY36" fmla="*/ 2042583 h 5964766"/>
                  <a:gd name="connsiteX37" fmla="*/ 1824567 w 1894417"/>
                  <a:gd name="connsiteY37" fmla="*/ 2302933 h 5964766"/>
                  <a:gd name="connsiteX38" fmla="*/ 1875367 w 1894417"/>
                  <a:gd name="connsiteY38" fmla="*/ 2385483 h 5964766"/>
                  <a:gd name="connsiteX39" fmla="*/ 1811867 w 1894417"/>
                  <a:gd name="connsiteY39" fmla="*/ 2461683 h 5964766"/>
                  <a:gd name="connsiteX40" fmla="*/ 1786467 w 1894417"/>
                  <a:gd name="connsiteY40" fmla="*/ 2601383 h 5964766"/>
                  <a:gd name="connsiteX41" fmla="*/ 1748367 w 1894417"/>
                  <a:gd name="connsiteY41" fmla="*/ 2683933 h 5964766"/>
                  <a:gd name="connsiteX42" fmla="*/ 1729317 w 1894417"/>
                  <a:gd name="connsiteY42" fmla="*/ 2931583 h 5964766"/>
                  <a:gd name="connsiteX43" fmla="*/ 1742017 w 1894417"/>
                  <a:gd name="connsiteY43" fmla="*/ 3058583 h 5964766"/>
                  <a:gd name="connsiteX44" fmla="*/ 1786467 w 1894417"/>
                  <a:gd name="connsiteY44" fmla="*/ 3160183 h 5964766"/>
                  <a:gd name="connsiteX45" fmla="*/ 1754717 w 1894417"/>
                  <a:gd name="connsiteY45" fmla="*/ 3318933 h 5964766"/>
                  <a:gd name="connsiteX46" fmla="*/ 1589617 w 1894417"/>
                  <a:gd name="connsiteY46" fmla="*/ 3426883 h 5964766"/>
                  <a:gd name="connsiteX47" fmla="*/ 1519767 w 1894417"/>
                  <a:gd name="connsiteY47" fmla="*/ 3395133 h 5964766"/>
                  <a:gd name="connsiteX48" fmla="*/ 1576917 w 1894417"/>
                  <a:gd name="connsiteY48" fmla="*/ 3318933 h 5964766"/>
                  <a:gd name="connsiteX49" fmla="*/ 1589617 w 1894417"/>
                  <a:gd name="connsiteY49" fmla="*/ 3217333 h 5964766"/>
                  <a:gd name="connsiteX50" fmla="*/ 1557867 w 1894417"/>
                  <a:gd name="connsiteY50" fmla="*/ 3191933 h 5964766"/>
                  <a:gd name="connsiteX51" fmla="*/ 1519767 w 1894417"/>
                  <a:gd name="connsiteY51" fmla="*/ 3147483 h 5964766"/>
                  <a:gd name="connsiteX52" fmla="*/ 1519767 w 1894417"/>
                  <a:gd name="connsiteY52" fmla="*/ 2531533 h 5964766"/>
                  <a:gd name="connsiteX53" fmla="*/ 1583267 w 1894417"/>
                  <a:gd name="connsiteY53" fmla="*/ 2188633 h 5964766"/>
                  <a:gd name="connsiteX54" fmla="*/ 1532467 w 1894417"/>
                  <a:gd name="connsiteY54" fmla="*/ 2023533 h 5964766"/>
                  <a:gd name="connsiteX55" fmla="*/ 1494367 w 1894417"/>
                  <a:gd name="connsiteY55" fmla="*/ 2106083 h 5964766"/>
                  <a:gd name="connsiteX56" fmla="*/ 1494367 w 1894417"/>
                  <a:gd name="connsiteY56" fmla="*/ 2302933 h 5964766"/>
                  <a:gd name="connsiteX57" fmla="*/ 1494367 w 1894417"/>
                  <a:gd name="connsiteY57" fmla="*/ 2461683 h 5964766"/>
                  <a:gd name="connsiteX58" fmla="*/ 1507067 w 1894417"/>
                  <a:gd name="connsiteY58" fmla="*/ 3255433 h 5964766"/>
                  <a:gd name="connsiteX59" fmla="*/ 1475317 w 1894417"/>
                  <a:gd name="connsiteY59" fmla="*/ 3604683 h 5964766"/>
                  <a:gd name="connsiteX60" fmla="*/ 1430867 w 1894417"/>
                  <a:gd name="connsiteY60" fmla="*/ 4030133 h 5964766"/>
                  <a:gd name="connsiteX61" fmla="*/ 1316567 w 1894417"/>
                  <a:gd name="connsiteY61" fmla="*/ 4728633 h 5964766"/>
                  <a:gd name="connsiteX62" fmla="*/ 1259417 w 1894417"/>
                  <a:gd name="connsiteY62" fmla="*/ 5046133 h 5964766"/>
                  <a:gd name="connsiteX63" fmla="*/ 1202267 w 1894417"/>
                  <a:gd name="connsiteY63" fmla="*/ 5262033 h 5964766"/>
                  <a:gd name="connsiteX64" fmla="*/ 1322917 w 1894417"/>
                  <a:gd name="connsiteY64" fmla="*/ 5395383 h 5964766"/>
                  <a:gd name="connsiteX65" fmla="*/ 1348317 w 1894417"/>
                  <a:gd name="connsiteY65" fmla="*/ 5560483 h 5964766"/>
                  <a:gd name="connsiteX66" fmla="*/ 1265767 w 1894417"/>
                  <a:gd name="connsiteY66" fmla="*/ 5585883 h 5964766"/>
                  <a:gd name="connsiteX67" fmla="*/ 1418167 w 1894417"/>
                  <a:gd name="connsiteY67" fmla="*/ 5700183 h 5964766"/>
                  <a:gd name="connsiteX68" fmla="*/ 1443567 w 1894417"/>
                  <a:gd name="connsiteY68" fmla="*/ 5776383 h 5964766"/>
                  <a:gd name="connsiteX69" fmla="*/ 1316567 w 1894417"/>
                  <a:gd name="connsiteY69" fmla="*/ 5865283 h 5964766"/>
                  <a:gd name="connsiteX70" fmla="*/ 1132417 w 1894417"/>
                  <a:gd name="connsiteY70" fmla="*/ 5839883 h 5964766"/>
                  <a:gd name="connsiteX71" fmla="*/ 1068917 w 1894417"/>
                  <a:gd name="connsiteY71" fmla="*/ 5731933 h 5964766"/>
                  <a:gd name="connsiteX72" fmla="*/ 922867 w 1894417"/>
                  <a:gd name="connsiteY72" fmla="*/ 5693833 h 5964766"/>
                  <a:gd name="connsiteX73" fmla="*/ 891117 w 1894417"/>
                  <a:gd name="connsiteY73" fmla="*/ 5611283 h 5964766"/>
                  <a:gd name="connsiteX74" fmla="*/ 865717 w 1894417"/>
                  <a:gd name="connsiteY74" fmla="*/ 5598583 h 5964766"/>
                  <a:gd name="connsiteX75" fmla="*/ 853017 w 1894417"/>
                  <a:gd name="connsiteY75" fmla="*/ 4500033 h 5964766"/>
                  <a:gd name="connsiteX76" fmla="*/ 935567 w 1894417"/>
                  <a:gd name="connsiteY76" fmla="*/ 3680883 h 5964766"/>
                  <a:gd name="connsiteX77" fmla="*/ 986367 w 1894417"/>
                  <a:gd name="connsiteY77" fmla="*/ 3376083 h 5964766"/>
                  <a:gd name="connsiteX78" fmla="*/ 916517 w 1894417"/>
                  <a:gd name="connsiteY78" fmla="*/ 3490383 h 5964766"/>
                  <a:gd name="connsiteX79" fmla="*/ 802217 w 1894417"/>
                  <a:gd name="connsiteY79" fmla="*/ 3960283 h 5964766"/>
                  <a:gd name="connsiteX80" fmla="*/ 783167 w 1894417"/>
                  <a:gd name="connsiteY80" fmla="*/ 4334933 h 5964766"/>
                  <a:gd name="connsiteX81" fmla="*/ 814917 w 1894417"/>
                  <a:gd name="connsiteY81" fmla="*/ 4944533 h 5964766"/>
                  <a:gd name="connsiteX82" fmla="*/ 846667 w 1894417"/>
                  <a:gd name="connsiteY82" fmla="*/ 5649383 h 5964766"/>
                  <a:gd name="connsiteX83" fmla="*/ 668867 w 1894417"/>
                  <a:gd name="connsiteY83" fmla="*/ 5877983 h 5964766"/>
                  <a:gd name="connsiteX84" fmla="*/ 510117 w 1894417"/>
                  <a:gd name="connsiteY84" fmla="*/ 5960533 h 5964766"/>
                  <a:gd name="connsiteX85" fmla="*/ 345017 w 1894417"/>
                  <a:gd name="connsiteY85" fmla="*/ 5903383 h 5964766"/>
                  <a:gd name="connsiteX86" fmla="*/ 351367 w 1894417"/>
                  <a:gd name="connsiteY86" fmla="*/ 5738283 h 5964766"/>
                  <a:gd name="connsiteX87" fmla="*/ 332317 w 1894417"/>
                  <a:gd name="connsiteY87" fmla="*/ 5579533 h 5964766"/>
                  <a:gd name="connsiteX88" fmla="*/ 306917 w 1894417"/>
                  <a:gd name="connsiteY88" fmla="*/ 5236633 h 5964766"/>
                  <a:gd name="connsiteX89" fmla="*/ 338667 w 1894417"/>
                  <a:gd name="connsiteY89" fmla="*/ 5096933 h 5964766"/>
                  <a:gd name="connsiteX90" fmla="*/ 357717 w 1894417"/>
                  <a:gd name="connsiteY90" fmla="*/ 4639733 h 5964766"/>
                  <a:gd name="connsiteX91" fmla="*/ 389467 w 1894417"/>
                  <a:gd name="connsiteY91" fmla="*/ 4512733 h 5964766"/>
                  <a:gd name="connsiteX92" fmla="*/ 370417 w 1894417"/>
                  <a:gd name="connsiteY92" fmla="*/ 4347633 h 5964766"/>
                  <a:gd name="connsiteX93" fmla="*/ 351367 w 1894417"/>
                  <a:gd name="connsiteY93" fmla="*/ 4163483 h 5964766"/>
                  <a:gd name="connsiteX94" fmla="*/ 383117 w 1894417"/>
                  <a:gd name="connsiteY94" fmla="*/ 3534833 h 5964766"/>
                  <a:gd name="connsiteX95" fmla="*/ 376767 w 1894417"/>
                  <a:gd name="connsiteY95" fmla="*/ 3083983 h 5964766"/>
                  <a:gd name="connsiteX96" fmla="*/ 313267 w 1894417"/>
                  <a:gd name="connsiteY96" fmla="*/ 2810933 h 5964766"/>
                  <a:gd name="connsiteX97" fmla="*/ 351367 w 1894417"/>
                  <a:gd name="connsiteY97" fmla="*/ 2442633 h 5964766"/>
                  <a:gd name="connsiteX98" fmla="*/ 376767 w 1894417"/>
                  <a:gd name="connsiteY98" fmla="*/ 2137833 h 5964766"/>
                  <a:gd name="connsiteX99" fmla="*/ 345017 w 1894417"/>
                  <a:gd name="connsiteY99" fmla="*/ 2036233 h 5964766"/>
                  <a:gd name="connsiteX100" fmla="*/ 300567 w 1894417"/>
                  <a:gd name="connsiteY100" fmla="*/ 2169583 h 5964766"/>
                  <a:gd name="connsiteX101" fmla="*/ 319617 w 1894417"/>
                  <a:gd name="connsiteY101" fmla="*/ 2461683 h 5964766"/>
                  <a:gd name="connsiteX102" fmla="*/ 294217 w 1894417"/>
                  <a:gd name="connsiteY102" fmla="*/ 2842683 h 5964766"/>
                  <a:gd name="connsiteX103" fmla="*/ 275167 w 1894417"/>
                  <a:gd name="connsiteY103" fmla="*/ 2995083 h 5964766"/>
                  <a:gd name="connsiteX104" fmla="*/ 313267 w 1894417"/>
                  <a:gd name="connsiteY104" fmla="*/ 3039533 h 5964766"/>
                  <a:gd name="connsiteX105" fmla="*/ 313267 w 1894417"/>
                  <a:gd name="connsiteY105" fmla="*/ 3172883 h 5964766"/>
                  <a:gd name="connsiteX106" fmla="*/ 319617 w 1894417"/>
                  <a:gd name="connsiteY106" fmla="*/ 3299883 h 5964766"/>
                  <a:gd name="connsiteX107" fmla="*/ 281517 w 1894417"/>
                  <a:gd name="connsiteY107" fmla="*/ 3299883 h 5964766"/>
                  <a:gd name="connsiteX108" fmla="*/ 275167 w 1894417"/>
                  <a:gd name="connsiteY108" fmla="*/ 3185583 h 5964766"/>
                  <a:gd name="connsiteX109" fmla="*/ 249767 w 1894417"/>
                  <a:gd name="connsiteY109" fmla="*/ 3261783 h 5964766"/>
                  <a:gd name="connsiteX110" fmla="*/ 294217 w 1894417"/>
                  <a:gd name="connsiteY110" fmla="*/ 3357033 h 5964766"/>
                  <a:gd name="connsiteX111" fmla="*/ 306917 w 1894417"/>
                  <a:gd name="connsiteY111" fmla="*/ 3426883 h 5964766"/>
                  <a:gd name="connsiteX112" fmla="*/ 243417 w 1894417"/>
                  <a:gd name="connsiteY112" fmla="*/ 3420533 h 5964766"/>
                  <a:gd name="connsiteX113" fmla="*/ 160867 w 1894417"/>
                  <a:gd name="connsiteY113" fmla="*/ 3318933 h 5964766"/>
                  <a:gd name="connsiteX114" fmla="*/ 122767 w 1894417"/>
                  <a:gd name="connsiteY114" fmla="*/ 3274483 h 5964766"/>
                  <a:gd name="connsiteX115" fmla="*/ 110067 w 1894417"/>
                  <a:gd name="connsiteY115" fmla="*/ 3001433 h 5964766"/>
                  <a:gd name="connsiteX116" fmla="*/ 110067 w 1894417"/>
                  <a:gd name="connsiteY116" fmla="*/ 2779183 h 5964766"/>
                  <a:gd name="connsiteX117" fmla="*/ 59267 w 1894417"/>
                  <a:gd name="connsiteY117" fmla="*/ 2385483 h 5964766"/>
                  <a:gd name="connsiteX118" fmla="*/ 84667 w 1894417"/>
                  <a:gd name="connsiteY118" fmla="*/ 2137833 h 5964766"/>
                  <a:gd name="connsiteX119" fmla="*/ 78317 w 1894417"/>
                  <a:gd name="connsiteY119" fmla="*/ 2010833 h 5964766"/>
                  <a:gd name="connsiteX120" fmla="*/ 2117 w 1894417"/>
                  <a:gd name="connsiteY120" fmla="*/ 1902883 h 5964766"/>
                  <a:gd name="connsiteX121" fmla="*/ 91017 w 1894417"/>
                  <a:gd name="connsiteY121" fmla="*/ 1756833 h 5964766"/>
                  <a:gd name="connsiteX122" fmla="*/ 91018 w 1894417"/>
                  <a:gd name="connsiteY122" fmla="*/ 1591733 h 5964766"/>
                  <a:gd name="connsiteX123" fmla="*/ 179917 w 1894417"/>
                  <a:gd name="connsiteY123" fmla="*/ 1261533 h 5964766"/>
                  <a:gd name="connsiteX124" fmla="*/ 440267 w 1894417"/>
                  <a:gd name="connsiteY124" fmla="*/ 1051983 h 5964766"/>
                  <a:gd name="connsiteX125" fmla="*/ 668867 w 1894417"/>
                  <a:gd name="connsiteY125" fmla="*/ 861483 h 5964766"/>
                  <a:gd name="connsiteX126" fmla="*/ 795867 w 1894417"/>
                  <a:gd name="connsiteY126" fmla="*/ 753533 h 5964766"/>
                  <a:gd name="connsiteX0" fmla="*/ 795867 w 1894417"/>
                  <a:gd name="connsiteY0" fmla="*/ 753533 h 5964766"/>
                  <a:gd name="connsiteX1" fmla="*/ 814917 w 1894417"/>
                  <a:gd name="connsiteY1" fmla="*/ 683683 h 5964766"/>
                  <a:gd name="connsiteX2" fmla="*/ 770467 w 1894417"/>
                  <a:gd name="connsiteY2" fmla="*/ 607483 h 5964766"/>
                  <a:gd name="connsiteX3" fmla="*/ 732367 w 1894417"/>
                  <a:gd name="connsiteY3" fmla="*/ 569383 h 5964766"/>
                  <a:gd name="connsiteX4" fmla="*/ 713317 w 1894417"/>
                  <a:gd name="connsiteY4" fmla="*/ 499533 h 5964766"/>
                  <a:gd name="connsiteX5" fmla="*/ 726017 w 1894417"/>
                  <a:gd name="connsiteY5" fmla="*/ 410633 h 5964766"/>
                  <a:gd name="connsiteX6" fmla="*/ 738717 w 1894417"/>
                  <a:gd name="connsiteY6" fmla="*/ 321733 h 5964766"/>
                  <a:gd name="connsiteX7" fmla="*/ 738717 w 1894417"/>
                  <a:gd name="connsiteY7" fmla="*/ 150283 h 5964766"/>
                  <a:gd name="connsiteX8" fmla="*/ 903817 w 1894417"/>
                  <a:gd name="connsiteY8" fmla="*/ 23283 h 5964766"/>
                  <a:gd name="connsiteX9" fmla="*/ 1068917 w 1894417"/>
                  <a:gd name="connsiteY9" fmla="*/ 10583 h 5964766"/>
                  <a:gd name="connsiteX10" fmla="*/ 1195917 w 1894417"/>
                  <a:gd name="connsiteY10" fmla="*/ 80433 h 5964766"/>
                  <a:gd name="connsiteX11" fmla="*/ 1259417 w 1894417"/>
                  <a:gd name="connsiteY11" fmla="*/ 194733 h 5964766"/>
                  <a:gd name="connsiteX12" fmla="*/ 1259417 w 1894417"/>
                  <a:gd name="connsiteY12" fmla="*/ 340783 h 5964766"/>
                  <a:gd name="connsiteX13" fmla="*/ 1265767 w 1894417"/>
                  <a:gd name="connsiteY13" fmla="*/ 416983 h 5964766"/>
                  <a:gd name="connsiteX14" fmla="*/ 1278467 w 1894417"/>
                  <a:gd name="connsiteY14" fmla="*/ 486833 h 5964766"/>
                  <a:gd name="connsiteX15" fmla="*/ 1246717 w 1894417"/>
                  <a:gd name="connsiteY15" fmla="*/ 493183 h 5964766"/>
                  <a:gd name="connsiteX16" fmla="*/ 1214967 w 1894417"/>
                  <a:gd name="connsiteY16" fmla="*/ 601133 h 5964766"/>
                  <a:gd name="connsiteX17" fmla="*/ 1176867 w 1894417"/>
                  <a:gd name="connsiteY17" fmla="*/ 639233 h 5964766"/>
                  <a:gd name="connsiteX18" fmla="*/ 1151467 w 1894417"/>
                  <a:gd name="connsiteY18" fmla="*/ 690033 h 5964766"/>
                  <a:gd name="connsiteX19" fmla="*/ 1157817 w 1894417"/>
                  <a:gd name="connsiteY19" fmla="*/ 759883 h 5964766"/>
                  <a:gd name="connsiteX20" fmla="*/ 1195917 w 1894417"/>
                  <a:gd name="connsiteY20" fmla="*/ 785283 h 5964766"/>
                  <a:gd name="connsiteX21" fmla="*/ 1214967 w 1894417"/>
                  <a:gd name="connsiteY21" fmla="*/ 842433 h 5964766"/>
                  <a:gd name="connsiteX22" fmla="*/ 1316567 w 1894417"/>
                  <a:gd name="connsiteY22" fmla="*/ 842433 h 5964766"/>
                  <a:gd name="connsiteX23" fmla="*/ 1386417 w 1894417"/>
                  <a:gd name="connsiteY23" fmla="*/ 905933 h 5964766"/>
                  <a:gd name="connsiteX24" fmla="*/ 1418167 w 1894417"/>
                  <a:gd name="connsiteY24" fmla="*/ 988483 h 5964766"/>
                  <a:gd name="connsiteX25" fmla="*/ 1519767 w 1894417"/>
                  <a:gd name="connsiteY25" fmla="*/ 1045633 h 5964766"/>
                  <a:gd name="connsiteX26" fmla="*/ 1640417 w 1894417"/>
                  <a:gd name="connsiteY26" fmla="*/ 1102783 h 5964766"/>
                  <a:gd name="connsiteX27" fmla="*/ 1767417 w 1894417"/>
                  <a:gd name="connsiteY27" fmla="*/ 1274233 h 5964766"/>
                  <a:gd name="connsiteX28" fmla="*/ 1773767 w 1894417"/>
                  <a:gd name="connsiteY28" fmla="*/ 1369483 h 5964766"/>
                  <a:gd name="connsiteX29" fmla="*/ 1862667 w 1894417"/>
                  <a:gd name="connsiteY29" fmla="*/ 1477433 h 5964766"/>
                  <a:gd name="connsiteX30" fmla="*/ 1881717 w 1894417"/>
                  <a:gd name="connsiteY30" fmla="*/ 1547283 h 5964766"/>
                  <a:gd name="connsiteX31" fmla="*/ 1830917 w 1894417"/>
                  <a:gd name="connsiteY31" fmla="*/ 1579033 h 5964766"/>
                  <a:gd name="connsiteX32" fmla="*/ 1843617 w 1894417"/>
                  <a:gd name="connsiteY32" fmla="*/ 1680633 h 5964766"/>
                  <a:gd name="connsiteX33" fmla="*/ 1894417 w 1894417"/>
                  <a:gd name="connsiteY33" fmla="*/ 1744133 h 5964766"/>
                  <a:gd name="connsiteX34" fmla="*/ 1843617 w 1894417"/>
                  <a:gd name="connsiteY34" fmla="*/ 1794933 h 5964766"/>
                  <a:gd name="connsiteX35" fmla="*/ 1843617 w 1894417"/>
                  <a:gd name="connsiteY35" fmla="*/ 1966383 h 5964766"/>
                  <a:gd name="connsiteX36" fmla="*/ 1830917 w 1894417"/>
                  <a:gd name="connsiteY36" fmla="*/ 2042583 h 5964766"/>
                  <a:gd name="connsiteX37" fmla="*/ 1824567 w 1894417"/>
                  <a:gd name="connsiteY37" fmla="*/ 2302933 h 5964766"/>
                  <a:gd name="connsiteX38" fmla="*/ 1875367 w 1894417"/>
                  <a:gd name="connsiteY38" fmla="*/ 2385483 h 5964766"/>
                  <a:gd name="connsiteX39" fmla="*/ 1811867 w 1894417"/>
                  <a:gd name="connsiteY39" fmla="*/ 2461683 h 5964766"/>
                  <a:gd name="connsiteX40" fmla="*/ 1786467 w 1894417"/>
                  <a:gd name="connsiteY40" fmla="*/ 2601383 h 5964766"/>
                  <a:gd name="connsiteX41" fmla="*/ 1748367 w 1894417"/>
                  <a:gd name="connsiteY41" fmla="*/ 2683933 h 5964766"/>
                  <a:gd name="connsiteX42" fmla="*/ 1729317 w 1894417"/>
                  <a:gd name="connsiteY42" fmla="*/ 2931583 h 5964766"/>
                  <a:gd name="connsiteX43" fmla="*/ 1742017 w 1894417"/>
                  <a:gd name="connsiteY43" fmla="*/ 3058583 h 5964766"/>
                  <a:gd name="connsiteX44" fmla="*/ 1786467 w 1894417"/>
                  <a:gd name="connsiteY44" fmla="*/ 3160183 h 5964766"/>
                  <a:gd name="connsiteX45" fmla="*/ 1754717 w 1894417"/>
                  <a:gd name="connsiteY45" fmla="*/ 3318933 h 5964766"/>
                  <a:gd name="connsiteX46" fmla="*/ 1589617 w 1894417"/>
                  <a:gd name="connsiteY46" fmla="*/ 3426883 h 5964766"/>
                  <a:gd name="connsiteX47" fmla="*/ 1519767 w 1894417"/>
                  <a:gd name="connsiteY47" fmla="*/ 3395133 h 5964766"/>
                  <a:gd name="connsiteX48" fmla="*/ 1576917 w 1894417"/>
                  <a:gd name="connsiteY48" fmla="*/ 3318933 h 5964766"/>
                  <a:gd name="connsiteX49" fmla="*/ 1589617 w 1894417"/>
                  <a:gd name="connsiteY49" fmla="*/ 3217333 h 5964766"/>
                  <a:gd name="connsiteX50" fmla="*/ 1557867 w 1894417"/>
                  <a:gd name="connsiteY50" fmla="*/ 3191933 h 5964766"/>
                  <a:gd name="connsiteX51" fmla="*/ 1519767 w 1894417"/>
                  <a:gd name="connsiteY51" fmla="*/ 3147483 h 5964766"/>
                  <a:gd name="connsiteX52" fmla="*/ 1519767 w 1894417"/>
                  <a:gd name="connsiteY52" fmla="*/ 2531533 h 5964766"/>
                  <a:gd name="connsiteX53" fmla="*/ 1583267 w 1894417"/>
                  <a:gd name="connsiteY53" fmla="*/ 2188633 h 5964766"/>
                  <a:gd name="connsiteX54" fmla="*/ 1532467 w 1894417"/>
                  <a:gd name="connsiteY54" fmla="*/ 2023533 h 5964766"/>
                  <a:gd name="connsiteX55" fmla="*/ 1494367 w 1894417"/>
                  <a:gd name="connsiteY55" fmla="*/ 2106083 h 5964766"/>
                  <a:gd name="connsiteX56" fmla="*/ 1494367 w 1894417"/>
                  <a:gd name="connsiteY56" fmla="*/ 2302933 h 5964766"/>
                  <a:gd name="connsiteX57" fmla="*/ 1494367 w 1894417"/>
                  <a:gd name="connsiteY57" fmla="*/ 2461683 h 5964766"/>
                  <a:gd name="connsiteX58" fmla="*/ 1507067 w 1894417"/>
                  <a:gd name="connsiteY58" fmla="*/ 3255433 h 5964766"/>
                  <a:gd name="connsiteX59" fmla="*/ 1475317 w 1894417"/>
                  <a:gd name="connsiteY59" fmla="*/ 3604683 h 5964766"/>
                  <a:gd name="connsiteX60" fmla="*/ 1430867 w 1894417"/>
                  <a:gd name="connsiteY60" fmla="*/ 4030133 h 5964766"/>
                  <a:gd name="connsiteX61" fmla="*/ 1316567 w 1894417"/>
                  <a:gd name="connsiteY61" fmla="*/ 4728633 h 5964766"/>
                  <a:gd name="connsiteX62" fmla="*/ 1259417 w 1894417"/>
                  <a:gd name="connsiteY62" fmla="*/ 5046133 h 5964766"/>
                  <a:gd name="connsiteX63" fmla="*/ 1202267 w 1894417"/>
                  <a:gd name="connsiteY63" fmla="*/ 5262033 h 5964766"/>
                  <a:gd name="connsiteX64" fmla="*/ 1322917 w 1894417"/>
                  <a:gd name="connsiteY64" fmla="*/ 5395383 h 5964766"/>
                  <a:gd name="connsiteX65" fmla="*/ 1348317 w 1894417"/>
                  <a:gd name="connsiteY65" fmla="*/ 5560483 h 5964766"/>
                  <a:gd name="connsiteX66" fmla="*/ 1265767 w 1894417"/>
                  <a:gd name="connsiteY66" fmla="*/ 5585883 h 5964766"/>
                  <a:gd name="connsiteX67" fmla="*/ 1418167 w 1894417"/>
                  <a:gd name="connsiteY67" fmla="*/ 5700183 h 5964766"/>
                  <a:gd name="connsiteX68" fmla="*/ 1443567 w 1894417"/>
                  <a:gd name="connsiteY68" fmla="*/ 5776383 h 5964766"/>
                  <a:gd name="connsiteX69" fmla="*/ 1316567 w 1894417"/>
                  <a:gd name="connsiteY69" fmla="*/ 5865283 h 5964766"/>
                  <a:gd name="connsiteX70" fmla="*/ 1132417 w 1894417"/>
                  <a:gd name="connsiteY70" fmla="*/ 5839883 h 5964766"/>
                  <a:gd name="connsiteX71" fmla="*/ 1068917 w 1894417"/>
                  <a:gd name="connsiteY71" fmla="*/ 5731933 h 5964766"/>
                  <a:gd name="connsiteX72" fmla="*/ 922867 w 1894417"/>
                  <a:gd name="connsiteY72" fmla="*/ 5693833 h 5964766"/>
                  <a:gd name="connsiteX73" fmla="*/ 891117 w 1894417"/>
                  <a:gd name="connsiteY73" fmla="*/ 5611283 h 5964766"/>
                  <a:gd name="connsiteX74" fmla="*/ 865717 w 1894417"/>
                  <a:gd name="connsiteY74" fmla="*/ 5598583 h 5964766"/>
                  <a:gd name="connsiteX75" fmla="*/ 853017 w 1894417"/>
                  <a:gd name="connsiteY75" fmla="*/ 4500033 h 5964766"/>
                  <a:gd name="connsiteX76" fmla="*/ 935567 w 1894417"/>
                  <a:gd name="connsiteY76" fmla="*/ 3680883 h 5964766"/>
                  <a:gd name="connsiteX77" fmla="*/ 986367 w 1894417"/>
                  <a:gd name="connsiteY77" fmla="*/ 3376083 h 5964766"/>
                  <a:gd name="connsiteX78" fmla="*/ 916517 w 1894417"/>
                  <a:gd name="connsiteY78" fmla="*/ 3490383 h 5964766"/>
                  <a:gd name="connsiteX79" fmla="*/ 802217 w 1894417"/>
                  <a:gd name="connsiteY79" fmla="*/ 3960283 h 5964766"/>
                  <a:gd name="connsiteX80" fmla="*/ 783167 w 1894417"/>
                  <a:gd name="connsiteY80" fmla="*/ 4334933 h 5964766"/>
                  <a:gd name="connsiteX81" fmla="*/ 814917 w 1894417"/>
                  <a:gd name="connsiteY81" fmla="*/ 4944533 h 5964766"/>
                  <a:gd name="connsiteX82" fmla="*/ 846667 w 1894417"/>
                  <a:gd name="connsiteY82" fmla="*/ 5649383 h 5964766"/>
                  <a:gd name="connsiteX83" fmla="*/ 668867 w 1894417"/>
                  <a:gd name="connsiteY83" fmla="*/ 5877983 h 5964766"/>
                  <a:gd name="connsiteX84" fmla="*/ 510117 w 1894417"/>
                  <a:gd name="connsiteY84" fmla="*/ 5960533 h 5964766"/>
                  <a:gd name="connsiteX85" fmla="*/ 345017 w 1894417"/>
                  <a:gd name="connsiteY85" fmla="*/ 5903383 h 5964766"/>
                  <a:gd name="connsiteX86" fmla="*/ 351367 w 1894417"/>
                  <a:gd name="connsiteY86" fmla="*/ 5738283 h 5964766"/>
                  <a:gd name="connsiteX87" fmla="*/ 332317 w 1894417"/>
                  <a:gd name="connsiteY87" fmla="*/ 5579533 h 5964766"/>
                  <a:gd name="connsiteX88" fmla="*/ 306917 w 1894417"/>
                  <a:gd name="connsiteY88" fmla="*/ 5236633 h 5964766"/>
                  <a:gd name="connsiteX89" fmla="*/ 338667 w 1894417"/>
                  <a:gd name="connsiteY89" fmla="*/ 5096933 h 5964766"/>
                  <a:gd name="connsiteX90" fmla="*/ 357717 w 1894417"/>
                  <a:gd name="connsiteY90" fmla="*/ 4639733 h 5964766"/>
                  <a:gd name="connsiteX91" fmla="*/ 389467 w 1894417"/>
                  <a:gd name="connsiteY91" fmla="*/ 4512733 h 5964766"/>
                  <a:gd name="connsiteX92" fmla="*/ 370417 w 1894417"/>
                  <a:gd name="connsiteY92" fmla="*/ 4347633 h 5964766"/>
                  <a:gd name="connsiteX93" fmla="*/ 351367 w 1894417"/>
                  <a:gd name="connsiteY93" fmla="*/ 4163483 h 5964766"/>
                  <a:gd name="connsiteX94" fmla="*/ 383117 w 1894417"/>
                  <a:gd name="connsiteY94" fmla="*/ 3534833 h 5964766"/>
                  <a:gd name="connsiteX95" fmla="*/ 376767 w 1894417"/>
                  <a:gd name="connsiteY95" fmla="*/ 3083983 h 5964766"/>
                  <a:gd name="connsiteX96" fmla="*/ 313267 w 1894417"/>
                  <a:gd name="connsiteY96" fmla="*/ 2810933 h 5964766"/>
                  <a:gd name="connsiteX97" fmla="*/ 351367 w 1894417"/>
                  <a:gd name="connsiteY97" fmla="*/ 2442633 h 5964766"/>
                  <a:gd name="connsiteX98" fmla="*/ 376767 w 1894417"/>
                  <a:gd name="connsiteY98" fmla="*/ 2137833 h 5964766"/>
                  <a:gd name="connsiteX99" fmla="*/ 345017 w 1894417"/>
                  <a:gd name="connsiteY99" fmla="*/ 2036233 h 5964766"/>
                  <a:gd name="connsiteX100" fmla="*/ 300567 w 1894417"/>
                  <a:gd name="connsiteY100" fmla="*/ 2169583 h 5964766"/>
                  <a:gd name="connsiteX101" fmla="*/ 319617 w 1894417"/>
                  <a:gd name="connsiteY101" fmla="*/ 2461683 h 5964766"/>
                  <a:gd name="connsiteX102" fmla="*/ 294217 w 1894417"/>
                  <a:gd name="connsiteY102" fmla="*/ 2842683 h 5964766"/>
                  <a:gd name="connsiteX103" fmla="*/ 275167 w 1894417"/>
                  <a:gd name="connsiteY103" fmla="*/ 2995083 h 5964766"/>
                  <a:gd name="connsiteX104" fmla="*/ 313267 w 1894417"/>
                  <a:gd name="connsiteY104" fmla="*/ 3039533 h 5964766"/>
                  <a:gd name="connsiteX105" fmla="*/ 313267 w 1894417"/>
                  <a:gd name="connsiteY105" fmla="*/ 3172883 h 5964766"/>
                  <a:gd name="connsiteX106" fmla="*/ 319617 w 1894417"/>
                  <a:gd name="connsiteY106" fmla="*/ 3299883 h 5964766"/>
                  <a:gd name="connsiteX107" fmla="*/ 281517 w 1894417"/>
                  <a:gd name="connsiteY107" fmla="*/ 3299883 h 5964766"/>
                  <a:gd name="connsiteX108" fmla="*/ 275167 w 1894417"/>
                  <a:gd name="connsiteY108" fmla="*/ 3185583 h 5964766"/>
                  <a:gd name="connsiteX109" fmla="*/ 249767 w 1894417"/>
                  <a:gd name="connsiteY109" fmla="*/ 3261783 h 5964766"/>
                  <a:gd name="connsiteX110" fmla="*/ 294217 w 1894417"/>
                  <a:gd name="connsiteY110" fmla="*/ 3357033 h 5964766"/>
                  <a:gd name="connsiteX111" fmla="*/ 306917 w 1894417"/>
                  <a:gd name="connsiteY111" fmla="*/ 3426883 h 5964766"/>
                  <a:gd name="connsiteX112" fmla="*/ 243417 w 1894417"/>
                  <a:gd name="connsiteY112" fmla="*/ 3420533 h 5964766"/>
                  <a:gd name="connsiteX113" fmla="*/ 160867 w 1894417"/>
                  <a:gd name="connsiteY113" fmla="*/ 3318933 h 5964766"/>
                  <a:gd name="connsiteX114" fmla="*/ 122767 w 1894417"/>
                  <a:gd name="connsiteY114" fmla="*/ 3274483 h 5964766"/>
                  <a:gd name="connsiteX115" fmla="*/ 110067 w 1894417"/>
                  <a:gd name="connsiteY115" fmla="*/ 3001433 h 5964766"/>
                  <a:gd name="connsiteX116" fmla="*/ 110067 w 1894417"/>
                  <a:gd name="connsiteY116" fmla="*/ 2779183 h 5964766"/>
                  <a:gd name="connsiteX117" fmla="*/ 59267 w 1894417"/>
                  <a:gd name="connsiteY117" fmla="*/ 2385483 h 5964766"/>
                  <a:gd name="connsiteX118" fmla="*/ 84667 w 1894417"/>
                  <a:gd name="connsiteY118" fmla="*/ 2137833 h 5964766"/>
                  <a:gd name="connsiteX119" fmla="*/ 78317 w 1894417"/>
                  <a:gd name="connsiteY119" fmla="*/ 2010833 h 5964766"/>
                  <a:gd name="connsiteX120" fmla="*/ 2117 w 1894417"/>
                  <a:gd name="connsiteY120" fmla="*/ 1902883 h 5964766"/>
                  <a:gd name="connsiteX121" fmla="*/ 91017 w 1894417"/>
                  <a:gd name="connsiteY121" fmla="*/ 1756833 h 5964766"/>
                  <a:gd name="connsiteX122" fmla="*/ 91018 w 1894417"/>
                  <a:gd name="connsiteY122" fmla="*/ 1591733 h 5964766"/>
                  <a:gd name="connsiteX123" fmla="*/ 179917 w 1894417"/>
                  <a:gd name="connsiteY123" fmla="*/ 1261533 h 5964766"/>
                  <a:gd name="connsiteX124" fmla="*/ 440267 w 1894417"/>
                  <a:gd name="connsiteY124" fmla="*/ 1051983 h 5964766"/>
                  <a:gd name="connsiteX125" fmla="*/ 668867 w 1894417"/>
                  <a:gd name="connsiteY125" fmla="*/ 861483 h 5964766"/>
                  <a:gd name="connsiteX126" fmla="*/ 795867 w 1894417"/>
                  <a:gd name="connsiteY126" fmla="*/ 753533 h 5964766"/>
                  <a:gd name="connsiteX0" fmla="*/ 795867 w 1894417"/>
                  <a:gd name="connsiteY0" fmla="*/ 753533 h 5964766"/>
                  <a:gd name="connsiteX1" fmla="*/ 814917 w 1894417"/>
                  <a:gd name="connsiteY1" fmla="*/ 683683 h 5964766"/>
                  <a:gd name="connsiteX2" fmla="*/ 770467 w 1894417"/>
                  <a:gd name="connsiteY2" fmla="*/ 607483 h 5964766"/>
                  <a:gd name="connsiteX3" fmla="*/ 732367 w 1894417"/>
                  <a:gd name="connsiteY3" fmla="*/ 569383 h 5964766"/>
                  <a:gd name="connsiteX4" fmla="*/ 713317 w 1894417"/>
                  <a:gd name="connsiteY4" fmla="*/ 499533 h 5964766"/>
                  <a:gd name="connsiteX5" fmla="*/ 726017 w 1894417"/>
                  <a:gd name="connsiteY5" fmla="*/ 410633 h 5964766"/>
                  <a:gd name="connsiteX6" fmla="*/ 738717 w 1894417"/>
                  <a:gd name="connsiteY6" fmla="*/ 321733 h 5964766"/>
                  <a:gd name="connsiteX7" fmla="*/ 738717 w 1894417"/>
                  <a:gd name="connsiteY7" fmla="*/ 150283 h 5964766"/>
                  <a:gd name="connsiteX8" fmla="*/ 903817 w 1894417"/>
                  <a:gd name="connsiteY8" fmla="*/ 23283 h 5964766"/>
                  <a:gd name="connsiteX9" fmla="*/ 1068917 w 1894417"/>
                  <a:gd name="connsiteY9" fmla="*/ 10583 h 5964766"/>
                  <a:gd name="connsiteX10" fmla="*/ 1195917 w 1894417"/>
                  <a:gd name="connsiteY10" fmla="*/ 80433 h 5964766"/>
                  <a:gd name="connsiteX11" fmla="*/ 1259417 w 1894417"/>
                  <a:gd name="connsiteY11" fmla="*/ 194733 h 5964766"/>
                  <a:gd name="connsiteX12" fmla="*/ 1259417 w 1894417"/>
                  <a:gd name="connsiteY12" fmla="*/ 340783 h 5964766"/>
                  <a:gd name="connsiteX13" fmla="*/ 1265767 w 1894417"/>
                  <a:gd name="connsiteY13" fmla="*/ 416983 h 5964766"/>
                  <a:gd name="connsiteX14" fmla="*/ 1278467 w 1894417"/>
                  <a:gd name="connsiteY14" fmla="*/ 486833 h 5964766"/>
                  <a:gd name="connsiteX15" fmla="*/ 1246717 w 1894417"/>
                  <a:gd name="connsiteY15" fmla="*/ 493183 h 5964766"/>
                  <a:gd name="connsiteX16" fmla="*/ 1214967 w 1894417"/>
                  <a:gd name="connsiteY16" fmla="*/ 601133 h 5964766"/>
                  <a:gd name="connsiteX17" fmla="*/ 1176867 w 1894417"/>
                  <a:gd name="connsiteY17" fmla="*/ 639233 h 5964766"/>
                  <a:gd name="connsiteX18" fmla="*/ 1151467 w 1894417"/>
                  <a:gd name="connsiteY18" fmla="*/ 690033 h 5964766"/>
                  <a:gd name="connsiteX19" fmla="*/ 1157817 w 1894417"/>
                  <a:gd name="connsiteY19" fmla="*/ 759883 h 5964766"/>
                  <a:gd name="connsiteX20" fmla="*/ 1195917 w 1894417"/>
                  <a:gd name="connsiteY20" fmla="*/ 785283 h 5964766"/>
                  <a:gd name="connsiteX21" fmla="*/ 1214967 w 1894417"/>
                  <a:gd name="connsiteY21" fmla="*/ 842433 h 5964766"/>
                  <a:gd name="connsiteX22" fmla="*/ 1316567 w 1894417"/>
                  <a:gd name="connsiteY22" fmla="*/ 842433 h 5964766"/>
                  <a:gd name="connsiteX23" fmla="*/ 1386417 w 1894417"/>
                  <a:gd name="connsiteY23" fmla="*/ 905933 h 5964766"/>
                  <a:gd name="connsiteX24" fmla="*/ 1418167 w 1894417"/>
                  <a:gd name="connsiteY24" fmla="*/ 988483 h 5964766"/>
                  <a:gd name="connsiteX25" fmla="*/ 1519767 w 1894417"/>
                  <a:gd name="connsiteY25" fmla="*/ 1045633 h 5964766"/>
                  <a:gd name="connsiteX26" fmla="*/ 1640417 w 1894417"/>
                  <a:gd name="connsiteY26" fmla="*/ 1102783 h 5964766"/>
                  <a:gd name="connsiteX27" fmla="*/ 1767417 w 1894417"/>
                  <a:gd name="connsiteY27" fmla="*/ 1274233 h 5964766"/>
                  <a:gd name="connsiteX28" fmla="*/ 1773767 w 1894417"/>
                  <a:gd name="connsiteY28" fmla="*/ 1369483 h 5964766"/>
                  <a:gd name="connsiteX29" fmla="*/ 1862667 w 1894417"/>
                  <a:gd name="connsiteY29" fmla="*/ 1477433 h 5964766"/>
                  <a:gd name="connsiteX30" fmla="*/ 1881717 w 1894417"/>
                  <a:gd name="connsiteY30" fmla="*/ 1547283 h 5964766"/>
                  <a:gd name="connsiteX31" fmla="*/ 1830917 w 1894417"/>
                  <a:gd name="connsiteY31" fmla="*/ 1579033 h 5964766"/>
                  <a:gd name="connsiteX32" fmla="*/ 1843617 w 1894417"/>
                  <a:gd name="connsiteY32" fmla="*/ 1680633 h 5964766"/>
                  <a:gd name="connsiteX33" fmla="*/ 1894417 w 1894417"/>
                  <a:gd name="connsiteY33" fmla="*/ 1744133 h 5964766"/>
                  <a:gd name="connsiteX34" fmla="*/ 1843617 w 1894417"/>
                  <a:gd name="connsiteY34" fmla="*/ 1794933 h 5964766"/>
                  <a:gd name="connsiteX35" fmla="*/ 1843617 w 1894417"/>
                  <a:gd name="connsiteY35" fmla="*/ 1966383 h 5964766"/>
                  <a:gd name="connsiteX36" fmla="*/ 1830917 w 1894417"/>
                  <a:gd name="connsiteY36" fmla="*/ 2042583 h 5964766"/>
                  <a:gd name="connsiteX37" fmla="*/ 1824567 w 1894417"/>
                  <a:gd name="connsiteY37" fmla="*/ 2302933 h 5964766"/>
                  <a:gd name="connsiteX38" fmla="*/ 1875367 w 1894417"/>
                  <a:gd name="connsiteY38" fmla="*/ 2385483 h 5964766"/>
                  <a:gd name="connsiteX39" fmla="*/ 1811867 w 1894417"/>
                  <a:gd name="connsiteY39" fmla="*/ 2461683 h 5964766"/>
                  <a:gd name="connsiteX40" fmla="*/ 1786467 w 1894417"/>
                  <a:gd name="connsiteY40" fmla="*/ 2601383 h 5964766"/>
                  <a:gd name="connsiteX41" fmla="*/ 1748367 w 1894417"/>
                  <a:gd name="connsiteY41" fmla="*/ 2683933 h 5964766"/>
                  <a:gd name="connsiteX42" fmla="*/ 1729317 w 1894417"/>
                  <a:gd name="connsiteY42" fmla="*/ 2931583 h 5964766"/>
                  <a:gd name="connsiteX43" fmla="*/ 1742017 w 1894417"/>
                  <a:gd name="connsiteY43" fmla="*/ 3058583 h 5964766"/>
                  <a:gd name="connsiteX44" fmla="*/ 1786467 w 1894417"/>
                  <a:gd name="connsiteY44" fmla="*/ 3160183 h 5964766"/>
                  <a:gd name="connsiteX45" fmla="*/ 1754717 w 1894417"/>
                  <a:gd name="connsiteY45" fmla="*/ 3318933 h 5964766"/>
                  <a:gd name="connsiteX46" fmla="*/ 1589617 w 1894417"/>
                  <a:gd name="connsiteY46" fmla="*/ 3426883 h 5964766"/>
                  <a:gd name="connsiteX47" fmla="*/ 1519767 w 1894417"/>
                  <a:gd name="connsiteY47" fmla="*/ 3395133 h 5964766"/>
                  <a:gd name="connsiteX48" fmla="*/ 1576917 w 1894417"/>
                  <a:gd name="connsiteY48" fmla="*/ 3318933 h 5964766"/>
                  <a:gd name="connsiteX49" fmla="*/ 1589617 w 1894417"/>
                  <a:gd name="connsiteY49" fmla="*/ 3217333 h 5964766"/>
                  <a:gd name="connsiteX50" fmla="*/ 1557867 w 1894417"/>
                  <a:gd name="connsiteY50" fmla="*/ 3191933 h 5964766"/>
                  <a:gd name="connsiteX51" fmla="*/ 1519767 w 1894417"/>
                  <a:gd name="connsiteY51" fmla="*/ 3147483 h 5964766"/>
                  <a:gd name="connsiteX52" fmla="*/ 1519767 w 1894417"/>
                  <a:gd name="connsiteY52" fmla="*/ 2531533 h 5964766"/>
                  <a:gd name="connsiteX53" fmla="*/ 1583267 w 1894417"/>
                  <a:gd name="connsiteY53" fmla="*/ 2188633 h 5964766"/>
                  <a:gd name="connsiteX54" fmla="*/ 1532467 w 1894417"/>
                  <a:gd name="connsiteY54" fmla="*/ 2023533 h 5964766"/>
                  <a:gd name="connsiteX55" fmla="*/ 1494367 w 1894417"/>
                  <a:gd name="connsiteY55" fmla="*/ 2106083 h 5964766"/>
                  <a:gd name="connsiteX56" fmla="*/ 1494367 w 1894417"/>
                  <a:gd name="connsiteY56" fmla="*/ 2302933 h 5964766"/>
                  <a:gd name="connsiteX57" fmla="*/ 1494367 w 1894417"/>
                  <a:gd name="connsiteY57" fmla="*/ 2461683 h 5964766"/>
                  <a:gd name="connsiteX58" fmla="*/ 1507067 w 1894417"/>
                  <a:gd name="connsiteY58" fmla="*/ 3255433 h 5964766"/>
                  <a:gd name="connsiteX59" fmla="*/ 1475317 w 1894417"/>
                  <a:gd name="connsiteY59" fmla="*/ 3604683 h 5964766"/>
                  <a:gd name="connsiteX60" fmla="*/ 1430867 w 1894417"/>
                  <a:gd name="connsiteY60" fmla="*/ 4030133 h 5964766"/>
                  <a:gd name="connsiteX61" fmla="*/ 1316567 w 1894417"/>
                  <a:gd name="connsiteY61" fmla="*/ 4728633 h 5964766"/>
                  <a:gd name="connsiteX62" fmla="*/ 1259417 w 1894417"/>
                  <a:gd name="connsiteY62" fmla="*/ 5046133 h 5964766"/>
                  <a:gd name="connsiteX63" fmla="*/ 1202267 w 1894417"/>
                  <a:gd name="connsiteY63" fmla="*/ 5262033 h 5964766"/>
                  <a:gd name="connsiteX64" fmla="*/ 1322917 w 1894417"/>
                  <a:gd name="connsiteY64" fmla="*/ 5395383 h 5964766"/>
                  <a:gd name="connsiteX65" fmla="*/ 1348317 w 1894417"/>
                  <a:gd name="connsiteY65" fmla="*/ 5560483 h 5964766"/>
                  <a:gd name="connsiteX66" fmla="*/ 1265767 w 1894417"/>
                  <a:gd name="connsiteY66" fmla="*/ 5585883 h 5964766"/>
                  <a:gd name="connsiteX67" fmla="*/ 1418167 w 1894417"/>
                  <a:gd name="connsiteY67" fmla="*/ 5700183 h 5964766"/>
                  <a:gd name="connsiteX68" fmla="*/ 1443567 w 1894417"/>
                  <a:gd name="connsiteY68" fmla="*/ 5776383 h 5964766"/>
                  <a:gd name="connsiteX69" fmla="*/ 1316567 w 1894417"/>
                  <a:gd name="connsiteY69" fmla="*/ 5865283 h 5964766"/>
                  <a:gd name="connsiteX70" fmla="*/ 1132417 w 1894417"/>
                  <a:gd name="connsiteY70" fmla="*/ 5839883 h 5964766"/>
                  <a:gd name="connsiteX71" fmla="*/ 1068917 w 1894417"/>
                  <a:gd name="connsiteY71" fmla="*/ 5731933 h 5964766"/>
                  <a:gd name="connsiteX72" fmla="*/ 922867 w 1894417"/>
                  <a:gd name="connsiteY72" fmla="*/ 5693833 h 5964766"/>
                  <a:gd name="connsiteX73" fmla="*/ 891117 w 1894417"/>
                  <a:gd name="connsiteY73" fmla="*/ 5611283 h 5964766"/>
                  <a:gd name="connsiteX74" fmla="*/ 865717 w 1894417"/>
                  <a:gd name="connsiteY74" fmla="*/ 5598583 h 5964766"/>
                  <a:gd name="connsiteX75" fmla="*/ 853017 w 1894417"/>
                  <a:gd name="connsiteY75" fmla="*/ 4500033 h 5964766"/>
                  <a:gd name="connsiteX76" fmla="*/ 935567 w 1894417"/>
                  <a:gd name="connsiteY76" fmla="*/ 3680883 h 5964766"/>
                  <a:gd name="connsiteX77" fmla="*/ 986367 w 1894417"/>
                  <a:gd name="connsiteY77" fmla="*/ 3376083 h 5964766"/>
                  <a:gd name="connsiteX78" fmla="*/ 916517 w 1894417"/>
                  <a:gd name="connsiteY78" fmla="*/ 3490383 h 5964766"/>
                  <a:gd name="connsiteX79" fmla="*/ 802217 w 1894417"/>
                  <a:gd name="connsiteY79" fmla="*/ 3960283 h 5964766"/>
                  <a:gd name="connsiteX80" fmla="*/ 783167 w 1894417"/>
                  <a:gd name="connsiteY80" fmla="*/ 4334933 h 5964766"/>
                  <a:gd name="connsiteX81" fmla="*/ 814917 w 1894417"/>
                  <a:gd name="connsiteY81" fmla="*/ 4944533 h 5964766"/>
                  <a:gd name="connsiteX82" fmla="*/ 846667 w 1894417"/>
                  <a:gd name="connsiteY82" fmla="*/ 5649383 h 5964766"/>
                  <a:gd name="connsiteX83" fmla="*/ 668867 w 1894417"/>
                  <a:gd name="connsiteY83" fmla="*/ 5877983 h 5964766"/>
                  <a:gd name="connsiteX84" fmla="*/ 510117 w 1894417"/>
                  <a:gd name="connsiteY84" fmla="*/ 5960533 h 5964766"/>
                  <a:gd name="connsiteX85" fmla="*/ 345017 w 1894417"/>
                  <a:gd name="connsiteY85" fmla="*/ 5903383 h 5964766"/>
                  <a:gd name="connsiteX86" fmla="*/ 351367 w 1894417"/>
                  <a:gd name="connsiteY86" fmla="*/ 5738283 h 5964766"/>
                  <a:gd name="connsiteX87" fmla="*/ 332317 w 1894417"/>
                  <a:gd name="connsiteY87" fmla="*/ 5579533 h 5964766"/>
                  <a:gd name="connsiteX88" fmla="*/ 306917 w 1894417"/>
                  <a:gd name="connsiteY88" fmla="*/ 5236633 h 5964766"/>
                  <a:gd name="connsiteX89" fmla="*/ 338667 w 1894417"/>
                  <a:gd name="connsiteY89" fmla="*/ 5096933 h 5964766"/>
                  <a:gd name="connsiteX90" fmla="*/ 357717 w 1894417"/>
                  <a:gd name="connsiteY90" fmla="*/ 4639733 h 5964766"/>
                  <a:gd name="connsiteX91" fmla="*/ 389467 w 1894417"/>
                  <a:gd name="connsiteY91" fmla="*/ 4512733 h 5964766"/>
                  <a:gd name="connsiteX92" fmla="*/ 370417 w 1894417"/>
                  <a:gd name="connsiteY92" fmla="*/ 4347633 h 5964766"/>
                  <a:gd name="connsiteX93" fmla="*/ 351367 w 1894417"/>
                  <a:gd name="connsiteY93" fmla="*/ 4163483 h 5964766"/>
                  <a:gd name="connsiteX94" fmla="*/ 383117 w 1894417"/>
                  <a:gd name="connsiteY94" fmla="*/ 3534833 h 5964766"/>
                  <a:gd name="connsiteX95" fmla="*/ 376767 w 1894417"/>
                  <a:gd name="connsiteY95" fmla="*/ 3083983 h 5964766"/>
                  <a:gd name="connsiteX96" fmla="*/ 313267 w 1894417"/>
                  <a:gd name="connsiteY96" fmla="*/ 2810933 h 5964766"/>
                  <a:gd name="connsiteX97" fmla="*/ 351367 w 1894417"/>
                  <a:gd name="connsiteY97" fmla="*/ 2442633 h 5964766"/>
                  <a:gd name="connsiteX98" fmla="*/ 376767 w 1894417"/>
                  <a:gd name="connsiteY98" fmla="*/ 2137833 h 5964766"/>
                  <a:gd name="connsiteX99" fmla="*/ 345017 w 1894417"/>
                  <a:gd name="connsiteY99" fmla="*/ 2036233 h 5964766"/>
                  <a:gd name="connsiteX100" fmla="*/ 300567 w 1894417"/>
                  <a:gd name="connsiteY100" fmla="*/ 2169583 h 5964766"/>
                  <a:gd name="connsiteX101" fmla="*/ 319617 w 1894417"/>
                  <a:gd name="connsiteY101" fmla="*/ 2461683 h 5964766"/>
                  <a:gd name="connsiteX102" fmla="*/ 294217 w 1894417"/>
                  <a:gd name="connsiteY102" fmla="*/ 2842683 h 5964766"/>
                  <a:gd name="connsiteX103" fmla="*/ 275167 w 1894417"/>
                  <a:gd name="connsiteY103" fmla="*/ 2995083 h 5964766"/>
                  <a:gd name="connsiteX104" fmla="*/ 313267 w 1894417"/>
                  <a:gd name="connsiteY104" fmla="*/ 3039533 h 5964766"/>
                  <a:gd name="connsiteX105" fmla="*/ 313267 w 1894417"/>
                  <a:gd name="connsiteY105" fmla="*/ 3172883 h 5964766"/>
                  <a:gd name="connsiteX106" fmla="*/ 319617 w 1894417"/>
                  <a:gd name="connsiteY106" fmla="*/ 3299883 h 5964766"/>
                  <a:gd name="connsiteX107" fmla="*/ 281517 w 1894417"/>
                  <a:gd name="connsiteY107" fmla="*/ 3299883 h 5964766"/>
                  <a:gd name="connsiteX108" fmla="*/ 275167 w 1894417"/>
                  <a:gd name="connsiteY108" fmla="*/ 3185583 h 5964766"/>
                  <a:gd name="connsiteX109" fmla="*/ 249767 w 1894417"/>
                  <a:gd name="connsiteY109" fmla="*/ 3261783 h 5964766"/>
                  <a:gd name="connsiteX110" fmla="*/ 294217 w 1894417"/>
                  <a:gd name="connsiteY110" fmla="*/ 3357033 h 5964766"/>
                  <a:gd name="connsiteX111" fmla="*/ 306917 w 1894417"/>
                  <a:gd name="connsiteY111" fmla="*/ 3426883 h 5964766"/>
                  <a:gd name="connsiteX112" fmla="*/ 243417 w 1894417"/>
                  <a:gd name="connsiteY112" fmla="*/ 3420533 h 5964766"/>
                  <a:gd name="connsiteX113" fmla="*/ 160867 w 1894417"/>
                  <a:gd name="connsiteY113" fmla="*/ 3318933 h 5964766"/>
                  <a:gd name="connsiteX114" fmla="*/ 122767 w 1894417"/>
                  <a:gd name="connsiteY114" fmla="*/ 3274483 h 5964766"/>
                  <a:gd name="connsiteX115" fmla="*/ 110067 w 1894417"/>
                  <a:gd name="connsiteY115" fmla="*/ 3001433 h 5964766"/>
                  <a:gd name="connsiteX116" fmla="*/ 110067 w 1894417"/>
                  <a:gd name="connsiteY116" fmla="*/ 2779183 h 5964766"/>
                  <a:gd name="connsiteX117" fmla="*/ 59267 w 1894417"/>
                  <a:gd name="connsiteY117" fmla="*/ 2385483 h 5964766"/>
                  <a:gd name="connsiteX118" fmla="*/ 84667 w 1894417"/>
                  <a:gd name="connsiteY118" fmla="*/ 2137833 h 5964766"/>
                  <a:gd name="connsiteX119" fmla="*/ 78317 w 1894417"/>
                  <a:gd name="connsiteY119" fmla="*/ 2010833 h 5964766"/>
                  <a:gd name="connsiteX120" fmla="*/ 2117 w 1894417"/>
                  <a:gd name="connsiteY120" fmla="*/ 1902883 h 5964766"/>
                  <a:gd name="connsiteX121" fmla="*/ 91017 w 1894417"/>
                  <a:gd name="connsiteY121" fmla="*/ 1756833 h 5964766"/>
                  <a:gd name="connsiteX122" fmla="*/ 91018 w 1894417"/>
                  <a:gd name="connsiteY122" fmla="*/ 1591733 h 5964766"/>
                  <a:gd name="connsiteX123" fmla="*/ 179917 w 1894417"/>
                  <a:gd name="connsiteY123" fmla="*/ 1261533 h 5964766"/>
                  <a:gd name="connsiteX124" fmla="*/ 440267 w 1894417"/>
                  <a:gd name="connsiteY124" fmla="*/ 1051983 h 5964766"/>
                  <a:gd name="connsiteX125" fmla="*/ 668867 w 1894417"/>
                  <a:gd name="connsiteY125" fmla="*/ 861483 h 5964766"/>
                  <a:gd name="connsiteX126" fmla="*/ 795867 w 1894417"/>
                  <a:gd name="connsiteY126" fmla="*/ 753533 h 59647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13317 w 1894417"/>
                  <a:gd name="connsiteY4" fmla="*/ 499533 h 5977466"/>
                  <a:gd name="connsiteX5" fmla="*/ 726017 w 1894417"/>
                  <a:gd name="connsiteY5" fmla="*/ 410633 h 5977466"/>
                  <a:gd name="connsiteX6" fmla="*/ 738717 w 1894417"/>
                  <a:gd name="connsiteY6" fmla="*/ 321733 h 5977466"/>
                  <a:gd name="connsiteX7" fmla="*/ 738717 w 1894417"/>
                  <a:gd name="connsiteY7" fmla="*/ 150283 h 5977466"/>
                  <a:gd name="connsiteX8" fmla="*/ 903817 w 1894417"/>
                  <a:gd name="connsiteY8" fmla="*/ 23283 h 5977466"/>
                  <a:gd name="connsiteX9" fmla="*/ 1068917 w 1894417"/>
                  <a:gd name="connsiteY9" fmla="*/ 10583 h 5977466"/>
                  <a:gd name="connsiteX10" fmla="*/ 1195917 w 1894417"/>
                  <a:gd name="connsiteY10" fmla="*/ 80433 h 5977466"/>
                  <a:gd name="connsiteX11" fmla="*/ 1259417 w 1894417"/>
                  <a:gd name="connsiteY11" fmla="*/ 194733 h 5977466"/>
                  <a:gd name="connsiteX12" fmla="*/ 1259417 w 1894417"/>
                  <a:gd name="connsiteY12" fmla="*/ 340783 h 5977466"/>
                  <a:gd name="connsiteX13" fmla="*/ 1265767 w 1894417"/>
                  <a:gd name="connsiteY13" fmla="*/ 416983 h 5977466"/>
                  <a:gd name="connsiteX14" fmla="*/ 1278467 w 1894417"/>
                  <a:gd name="connsiteY14" fmla="*/ 486833 h 5977466"/>
                  <a:gd name="connsiteX15" fmla="*/ 1246717 w 1894417"/>
                  <a:gd name="connsiteY15" fmla="*/ 493183 h 5977466"/>
                  <a:gd name="connsiteX16" fmla="*/ 1214967 w 1894417"/>
                  <a:gd name="connsiteY16" fmla="*/ 601133 h 5977466"/>
                  <a:gd name="connsiteX17" fmla="*/ 1176867 w 1894417"/>
                  <a:gd name="connsiteY17" fmla="*/ 639233 h 5977466"/>
                  <a:gd name="connsiteX18" fmla="*/ 1151467 w 1894417"/>
                  <a:gd name="connsiteY18" fmla="*/ 690033 h 5977466"/>
                  <a:gd name="connsiteX19" fmla="*/ 1157817 w 1894417"/>
                  <a:gd name="connsiteY19" fmla="*/ 759883 h 5977466"/>
                  <a:gd name="connsiteX20" fmla="*/ 1195917 w 1894417"/>
                  <a:gd name="connsiteY20" fmla="*/ 785283 h 5977466"/>
                  <a:gd name="connsiteX21" fmla="*/ 1214967 w 1894417"/>
                  <a:gd name="connsiteY21" fmla="*/ 842433 h 5977466"/>
                  <a:gd name="connsiteX22" fmla="*/ 1316567 w 1894417"/>
                  <a:gd name="connsiteY22" fmla="*/ 842433 h 5977466"/>
                  <a:gd name="connsiteX23" fmla="*/ 1386417 w 1894417"/>
                  <a:gd name="connsiteY23" fmla="*/ 905933 h 5977466"/>
                  <a:gd name="connsiteX24" fmla="*/ 1418167 w 1894417"/>
                  <a:gd name="connsiteY24" fmla="*/ 988483 h 5977466"/>
                  <a:gd name="connsiteX25" fmla="*/ 1519767 w 1894417"/>
                  <a:gd name="connsiteY25" fmla="*/ 1045633 h 5977466"/>
                  <a:gd name="connsiteX26" fmla="*/ 1640417 w 1894417"/>
                  <a:gd name="connsiteY26" fmla="*/ 1102783 h 5977466"/>
                  <a:gd name="connsiteX27" fmla="*/ 1767417 w 1894417"/>
                  <a:gd name="connsiteY27" fmla="*/ 1274233 h 5977466"/>
                  <a:gd name="connsiteX28" fmla="*/ 1773767 w 1894417"/>
                  <a:gd name="connsiteY28" fmla="*/ 1369483 h 5977466"/>
                  <a:gd name="connsiteX29" fmla="*/ 1862667 w 1894417"/>
                  <a:gd name="connsiteY29" fmla="*/ 1477433 h 5977466"/>
                  <a:gd name="connsiteX30" fmla="*/ 1881717 w 1894417"/>
                  <a:gd name="connsiteY30" fmla="*/ 1547283 h 5977466"/>
                  <a:gd name="connsiteX31" fmla="*/ 1830917 w 1894417"/>
                  <a:gd name="connsiteY31" fmla="*/ 1579033 h 5977466"/>
                  <a:gd name="connsiteX32" fmla="*/ 1843617 w 1894417"/>
                  <a:gd name="connsiteY32" fmla="*/ 1680633 h 5977466"/>
                  <a:gd name="connsiteX33" fmla="*/ 1894417 w 1894417"/>
                  <a:gd name="connsiteY33" fmla="*/ 1744133 h 5977466"/>
                  <a:gd name="connsiteX34" fmla="*/ 1843617 w 1894417"/>
                  <a:gd name="connsiteY34" fmla="*/ 1794933 h 5977466"/>
                  <a:gd name="connsiteX35" fmla="*/ 1843617 w 1894417"/>
                  <a:gd name="connsiteY35" fmla="*/ 1966383 h 5977466"/>
                  <a:gd name="connsiteX36" fmla="*/ 1830917 w 1894417"/>
                  <a:gd name="connsiteY36" fmla="*/ 2042583 h 5977466"/>
                  <a:gd name="connsiteX37" fmla="*/ 1824567 w 1894417"/>
                  <a:gd name="connsiteY37" fmla="*/ 2302933 h 5977466"/>
                  <a:gd name="connsiteX38" fmla="*/ 1875367 w 1894417"/>
                  <a:gd name="connsiteY38" fmla="*/ 2385483 h 5977466"/>
                  <a:gd name="connsiteX39" fmla="*/ 1811867 w 1894417"/>
                  <a:gd name="connsiteY39" fmla="*/ 2461683 h 5977466"/>
                  <a:gd name="connsiteX40" fmla="*/ 1786467 w 1894417"/>
                  <a:gd name="connsiteY40" fmla="*/ 2601383 h 5977466"/>
                  <a:gd name="connsiteX41" fmla="*/ 1748367 w 1894417"/>
                  <a:gd name="connsiteY41" fmla="*/ 2683933 h 5977466"/>
                  <a:gd name="connsiteX42" fmla="*/ 1729317 w 1894417"/>
                  <a:gd name="connsiteY42" fmla="*/ 2931583 h 5977466"/>
                  <a:gd name="connsiteX43" fmla="*/ 1742017 w 1894417"/>
                  <a:gd name="connsiteY43" fmla="*/ 3058583 h 5977466"/>
                  <a:gd name="connsiteX44" fmla="*/ 1786467 w 1894417"/>
                  <a:gd name="connsiteY44" fmla="*/ 3160183 h 5977466"/>
                  <a:gd name="connsiteX45" fmla="*/ 1754717 w 1894417"/>
                  <a:gd name="connsiteY45" fmla="*/ 3318933 h 5977466"/>
                  <a:gd name="connsiteX46" fmla="*/ 1589617 w 1894417"/>
                  <a:gd name="connsiteY46" fmla="*/ 3426883 h 5977466"/>
                  <a:gd name="connsiteX47" fmla="*/ 1519767 w 1894417"/>
                  <a:gd name="connsiteY47" fmla="*/ 3395133 h 5977466"/>
                  <a:gd name="connsiteX48" fmla="*/ 1576917 w 1894417"/>
                  <a:gd name="connsiteY48" fmla="*/ 3318933 h 5977466"/>
                  <a:gd name="connsiteX49" fmla="*/ 1589617 w 1894417"/>
                  <a:gd name="connsiteY49" fmla="*/ 3217333 h 5977466"/>
                  <a:gd name="connsiteX50" fmla="*/ 1557867 w 1894417"/>
                  <a:gd name="connsiteY50" fmla="*/ 3191933 h 5977466"/>
                  <a:gd name="connsiteX51" fmla="*/ 1519767 w 1894417"/>
                  <a:gd name="connsiteY51" fmla="*/ 3147483 h 5977466"/>
                  <a:gd name="connsiteX52" fmla="*/ 1519767 w 1894417"/>
                  <a:gd name="connsiteY52" fmla="*/ 2531533 h 5977466"/>
                  <a:gd name="connsiteX53" fmla="*/ 1583267 w 1894417"/>
                  <a:gd name="connsiteY53" fmla="*/ 2188633 h 5977466"/>
                  <a:gd name="connsiteX54" fmla="*/ 1532467 w 1894417"/>
                  <a:gd name="connsiteY54" fmla="*/ 2023533 h 5977466"/>
                  <a:gd name="connsiteX55" fmla="*/ 1494367 w 1894417"/>
                  <a:gd name="connsiteY55" fmla="*/ 2106083 h 5977466"/>
                  <a:gd name="connsiteX56" fmla="*/ 1494367 w 1894417"/>
                  <a:gd name="connsiteY56" fmla="*/ 2302933 h 5977466"/>
                  <a:gd name="connsiteX57" fmla="*/ 1494367 w 1894417"/>
                  <a:gd name="connsiteY57" fmla="*/ 2461683 h 5977466"/>
                  <a:gd name="connsiteX58" fmla="*/ 1507067 w 1894417"/>
                  <a:gd name="connsiteY58" fmla="*/ 3255433 h 5977466"/>
                  <a:gd name="connsiteX59" fmla="*/ 1475317 w 1894417"/>
                  <a:gd name="connsiteY59" fmla="*/ 3604683 h 5977466"/>
                  <a:gd name="connsiteX60" fmla="*/ 1430867 w 1894417"/>
                  <a:gd name="connsiteY60" fmla="*/ 4030133 h 5977466"/>
                  <a:gd name="connsiteX61" fmla="*/ 1316567 w 1894417"/>
                  <a:gd name="connsiteY61" fmla="*/ 4728633 h 5977466"/>
                  <a:gd name="connsiteX62" fmla="*/ 1259417 w 1894417"/>
                  <a:gd name="connsiteY62" fmla="*/ 5046133 h 5977466"/>
                  <a:gd name="connsiteX63" fmla="*/ 1202267 w 1894417"/>
                  <a:gd name="connsiteY63" fmla="*/ 5262033 h 5977466"/>
                  <a:gd name="connsiteX64" fmla="*/ 1322917 w 1894417"/>
                  <a:gd name="connsiteY64" fmla="*/ 5395383 h 5977466"/>
                  <a:gd name="connsiteX65" fmla="*/ 1348317 w 1894417"/>
                  <a:gd name="connsiteY65" fmla="*/ 5560483 h 5977466"/>
                  <a:gd name="connsiteX66" fmla="*/ 1265767 w 1894417"/>
                  <a:gd name="connsiteY66" fmla="*/ 5585883 h 5977466"/>
                  <a:gd name="connsiteX67" fmla="*/ 1418167 w 1894417"/>
                  <a:gd name="connsiteY67" fmla="*/ 5700183 h 5977466"/>
                  <a:gd name="connsiteX68" fmla="*/ 1443567 w 1894417"/>
                  <a:gd name="connsiteY68" fmla="*/ 5776383 h 5977466"/>
                  <a:gd name="connsiteX69" fmla="*/ 1316567 w 1894417"/>
                  <a:gd name="connsiteY69" fmla="*/ 5865283 h 5977466"/>
                  <a:gd name="connsiteX70" fmla="*/ 1132417 w 1894417"/>
                  <a:gd name="connsiteY70" fmla="*/ 5839883 h 5977466"/>
                  <a:gd name="connsiteX71" fmla="*/ 1068917 w 1894417"/>
                  <a:gd name="connsiteY71" fmla="*/ 5731933 h 5977466"/>
                  <a:gd name="connsiteX72" fmla="*/ 922867 w 1894417"/>
                  <a:gd name="connsiteY72" fmla="*/ 5693833 h 5977466"/>
                  <a:gd name="connsiteX73" fmla="*/ 891117 w 1894417"/>
                  <a:gd name="connsiteY73" fmla="*/ 5611283 h 5977466"/>
                  <a:gd name="connsiteX74" fmla="*/ 865717 w 1894417"/>
                  <a:gd name="connsiteY74" fmla="*/ 5598583 h 5977466"/>
                  <a:gd name="connsiteX75" fmla="*/ 853017 w 1894417"/>
                  <a:gd name="connsiteY75" fmla="*/ 4500033 h 5977466"/>
                  <a:gd name="connsiteX76" fmla="*/ 935567 w 1894417"/>
                  <a:gd name="connsiteY76" fmla="*/ 3680883 h 5977466"/>
                  <a:gd name="connsiteX77" fmla="*/ 986367 w 1894417"/>
                  <a:gd name="connsiteY77" fmla="*/ 3376083 h 5977466"/>
                  <a:gd name="connsiteX78" fmla="*/ 916517 w 1894417"/>
                  <a:gd name="connsiteY78" fmla="*/ 3490383 h 5977466"/>
                  <a:gd name="connsiteX79" fmla="*/ 802217 w 1894417"/>
                  <a:gd name="connsiteY79" fmla="*/ 3960283 h 5977466"/>
                  <a:gd name="connsiteX80" fmla="*/ 783167 w 1894417"/>
                  <a:gd name="connsiteY80" fmla="*/ 4334933 h 5977466"/>
                  <a:gd name="connsiteX81" fmla="*/ 814917 w 1894417"/>
                  <a:gd name="connsiteY81" fmla="*/ 4944533 h 5977466"/>
                  <a:gd name="connsiteX82" fmla="*/ 846667 w 1894417"/>
                  <a:gd name="connsiteY82" fmla="*/ 5649383 h 5977466"/>
                  <a:gd name="connsiteX83" fmla="*/ 668867 w 1894417"/>
                  <a:gd name="connsiteY83" fmla="*/ 5801783 h 5977466"/>
                  <a:gd name="connsiteX84" fmla="*/ 510117 w 1894417"/>
                  <a:gd name="connsiteY84" fmla="*/ 5960533 h 5977466"/>
                  <a:gd name="connsiteX85" fmla="*/ 345017 w 1894417"/>
                  <a:gd name="connsiteY85" fmla="*/ 5903383 h 5977466"/>
                  <a:gd name="connsiteX86" fmla="*/ 351367 w 1894417"/>
                  <a:gd name="connsiteY86" fmla="*/ 5738283 h 5977466"/>
                  <a:gd name="connsiteX87" fmla="*/ 332317 w 1894417"/>
                  <a:gd name="connsiteY87" fmla="*/ 5579533 h 5977466"/>
                  <a:gd name="connsiteX88" fmla="*/ 306917 w 1894417"/>
                  <a:gd name="connsiteY88" fmla="*/ 5236633 h 5977466"/>
                  <a:gd name="connsiteX89" fmla="*/ 338667 w 1894417"/>
                  <a:gd name="connsiteY89" fmla="*/ 5096933 h 5977466"/>
                  <a:gd name="connsiteX90" fmla="*/ 357717 w 1894417"/>
                  <a:gd name="connsiteY90" fmla="*/ 4639733 h 5977466"/>
                  <a:gd name="connsiteX91" fmla="*/ 389467 w 1894417"/>
                  <a:gd name="connsiteY91" fmla="*/ 4512733 h 5977466"/>
                  <a:gd name="connsiteX92" fmla="*/ 370417 w 1894417"/>
                  <a:gd name="connsiteY92" fmla="*/ 4347633 h 5977466"/>
                  <a:gd name="connsiteX93" fmla="*/ 351367 w 1894417"/>
                  <a:gd name="connsiteY93" fmla="*/ 4163483 h 5977466"/>
                  <a:gd name="connsiteX94" fmla="*/ 383117 w 1894417"/>
                  <a:gd name="connsiteY94" fmla="*/ 3534833 h 5977466"/>
                  <a:gd name="connsiteX95" fmla="*/ 376767 w 1894417"/>
                  <a:gd name="connsiteY95" fmla="*/ 3083983 h 5977466"/>
                  <a:gd name="connsiteX96" fmla="*/ 313267 w 1894417"/>
                  <a:gd name="connsiteY96" fmla="*/ 2810933 h 5977466"/>
                  <a:gd name="connsiteX97" fmla="*/ 351367 w 1894417"/>
                  <a:gd name="connsiteY97" fmla="*/ 2442633 h 5977466"/>
                  <a:gd name="connsiteX98" fmla="*/ 376767 w 1894417"/>
                  <a:gd name="connsiteY98" fmla="*/ 2137833 h 5977466"/>
                  <a:gd name="connsiteX99" fmla="*/ 345017 w 1894417"/>
                  <a:gd name="connsiteY99" fmla="*/ 2036233 h 5977466"/>
                  <a:gd name="connsiteX100" fmla="*/ 300567 w 1894417"/>
                  <a:gd name="connsiteY100" fmla="*/ 2169583 h 5977466"/>
                  <a:gd name="connsiteX101" fmla="*/ 319617 w 1894417"/>
                  <a:gd name="connsiteY101" fmla="*/ 2461683 h 5977466"/>
                  <a:gd name="connsiteX102" fmla="*/ 294217 w 1894417"/>
                  <a:gd name="connsiteY102" fmla="*/ 2842683 h 5977466"/>
                  <a:gd name="connsiteX103" fmla="*/ 275167 w 1894417"/>
                  <a:gd name="connsiteY103" fmla="*/ 2995083 h 5977466"/>
                  <a:gd name="connsiteX104" fmla="*/ 313267 w 1894417"/>
                  <a:gd name="connsiteY104" fmla="*/ 3039533 h 5977466"/>
                  <a:gd name="connsiteX105" fmla="*/ 313267 w 1894417"/>
                  <a:gd name="connsiteY105" fmla="*/ 3172883 h 5977466"/>
                  <a:gd name="connsiteX106" fmla="*/ 319617 w 1894417"/>
                  <a:gd name="connsiteY106" fmla="*/ 3299883 h 5977466"/>
                  <a:gd name="connsiteX107" fmla="*/ 281517 w 1894417"/>
                  <a:gd name="connsiteY107" fmla="*/ 3299883 h 5977466"/>
                  <a:gd name="connsiteX108" fmla="*/ 275167 w 1894417"/>
                  <a:gd name="connsiteY108" fmla="*/ 3185583 h 5977466"/>
                  <a:gd name="connsiteX109" fmla="*/ 249767 w 1894417"/>
                  <a:gd name="connsiteY109" fmla="*/ 3261783 h 5977466"/>
                  <a:gd name="connsiteX110" fmla="*/ 294217 w 1894417"/>
                  <a:gd name="connsiteY110" fmla="*/ 3357033 h 5977466"/>
                  <a:gd name="connsiteX111" fmla="*/ 306917 w 1894417"/>
                  <a:gd name="connsiteY111" fmla="*/ 3426883 h 5977466"/>
                  <a:gd name="connsiteX112" fmla="*/ 243417 w 1894417"/>
                  <a:gd name="connsiteY112" fmla="*/ 3420533 h 5977466"/>
                  <a:gd name="connsiteX113" fmla="*/ 160867 w 1894417"/>
                  <a:gd name="connsiteY113" fmla="*/ 3318933 h 5977466"/>
                  <a:gd name="connsiteX114" fmla="*/ 122767 w 1894417"/>
                  <a:gd name="connsiteY114" fmla="*/ 3274483 h 5977466"/>
                  <a:gd name="connsiteX115" fmla="*/ 110067 w 1894417"/>
                  <a:gd name="connsiteY115" fmla="*/ 3001433 h 5977466"/>
                  <a:gd name="connsiteX116" fmla="*/ 110067 w 1894417"/>
                  <a:gd name="connsiteY116" fmla="*/ 2779183 h 5977466"/>
                  <a:gd name="connsiteX117" fmla="*/ 59267 w 1894417"/>
                  <a:gd name="connsiteY117" fmla="*/ 2385483 h 5977466"/>
                  <a:gd name="connsiteX118" fmla="*/ 84667 w 1894417"/>
                  <a:gd name="connsiteY118" fmla="*/ 2137833 h 5977466"/>
                  <a:gd name="connsiteX119" fmla="*/ 78317 w 1894417"/>
                  <a:gd name="connsiteY119" fmla="*/ 2010833 h 5977466"/>
                  <a:gd name="connsiteX120" fmla="*/ 2117 w 1894417"/>
                  <a:gd name="connsiteY120" fmla="*/ 1902883 h 5977466"/>
                  <a:gd name="connsiteX121" fmla="*/ 91017 w 1894417"/>
                  <a:gd name="connsiteY121" fmla="*/ 1756833 h 5977466"/>
                  <a:gd name="connsiteX122" fmla="*/ 91018 w 1894417"/>
                  <a:gd name="connsiteY122" fmla="*/ 1591733 h 5977466"/>
                  <a:gd name="connsiteX123" fmla="*/ 179917 w 1894417"/>
                  <a:gd name="connsiteY123" fmla="*/ 1261533 h 5977466"/>
                  <a:gd name="connsiteX124" fmla="*/ 440267 w 1894417"/>
                  <a:gd name="connsiteY124" fmla="*/ 1051983 h 5977466"/>
                  <a:gd name="connsiteX125" fmla="*/ 668867 w 1894417"/>
                  <a:gd name="connsiteY125" fmla="*/ 861483 h 5977466"/>
                  <a:gd name="connsiteX126" fmla="*/ 795867 w 1894417"/>
                  <a:gd name="connsiteY126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13317 w 1894417"/>
                  <a:gd name="connsiteY4" fmla="*/ 499533 h 5977466"/>
                  <a:gd name="connsiteX5" fmla="*/ 726017 w 1894417"/>
                  <a:gd name="connsiteY5" fmla="*/ 410633 h 5977466"/>
                  <a:gd name="connsiteX6" fmla="*/ 738717 w 1894417"/>
                  <a:gd name="connsiteY6" fmla="*/ 321733 h 5977466"/>
                  <a:gd name="connsiteX7" fmla="*/ 738717 w 1894417"/>
                  <a:gd name="connsiteY7" fmla="*/ 150283 h 5977466"/>
                  <a:gd name="connsiteX8" fmla="*/ 903817 w 1894417"/>
                  <a:gd name="connsiteY8" fmla="*/ 23283 h 5977466"/>
                  <a:gd name="connsiteX9" fmla="*/ 1068917 w 1894417"/>
                  <a:gd name="connsiteY9" fmla="*/ 10583 h 5977466"/>
                  <a:gd name="connsiteX10" fmla="*/ 1195917 w 1894417"/>
                  <a:gd name="connsiteY10" fmla="*/ 80433 h 5977466"/>
                  <a:gd name="connsiteX11" fmla="*/ 1259417 w 1894417"/>
                  <a:gd name="connsiteY11" fmla="*/ 194733 h 5977466"/>
                  <a:gd name="connsiteX12" fmla="*/ 1259417 w 1894417"/>
                  <a:gd name="connsiteY12" fmla="*/ 340783 h 5977466"/>
                  <a:gd name="connsiteX13" fmla="*/ 1265767 w 1894417"/>
                  <a:gd name="connsiteY13" fmla="*/ 416983 h 5977466"/>
                  <a:gd name="connsiteX14" fmla="*/ 1278467 w 1894417"/>
                  <a:gd name="connsiteY14" fmla="*/ 486833 h 5977466"/>
                  <a:gd name="connsiteX15" fmla="*/ 1246717 w 1894417"/>
                  <a:gd name="connsiteY15" fmla="*/ 493183 h 5977466"/>
                  <a:gd name="connsiteX16" fmla="*/ 1214967 w 1894417"/>
                  <a:gd name="connsiteY16" fmla="*/ 601133 h 5977466"/>
                  <a:gd name="connsiteX17" fmla="*/ 1176867 w 1894417"/>
                  <a:gd name="connsiteY17" fmla="*/ 639233 h 5977466"/>
                  <a:gd name="connsiteX18" fmla="*/ 1151467 w 1894417"/>
                  <a:gd name="connsiteY18" fmla="*/ 690033 h 5977466"/>
                  <a:gd name="connsiteX19" fmla="*/ 1157817 w 1894417"/>
                  <a:gd name="connsiteY19" fmla="*/ 759883 h 5977466"/>
                  <a:gd name="connsiteX20" fmla="*/ 1195917 w 1894417"/>
                  <a:gd name="connsiteY20" fmla="*/ 785283 h 5977466"/>
                  <a:gd name="connsiteX21" fmla="*/ 1214967 w 1894417"/>
                  <a:gd name="connsiteY21" fmla="*/ 842433 h 5977466"/>
                  <a:gd name="connsiteX22" fmla="*/ 1316567 w 1894417"/>
                  <a:gd name="connsiteY22" fmla="*/ 842433 h 5977466"/>
                  <a:gd name="connsiteX23" fmla="*/ 1386417 w 1894417"/>
                  <a:gd name="connsiteY23" fmla="*/ 905933 h 5977466"/>
                  <a:gd name="connsiteX24" fmla="*/ 1418167 w 1894417"/>
                  <a:gd name="connsiteY24" fmla="*/ 988483 h 5977466"/>
                  <a:gd name="connsiteX25" fmla="*/ 1519767 w 1894417"/>
                  <a:gd name="connsiteY25" fmla="*/ 1045633 h 5977466"/>
                  <a:gd name="connsiteX26" fmla="*/ 1640417 w 1894417"/>
                  <a:gd name="connsiteY26" fmla="*/ 1102783 h 5977466"/>
                  <a:gd name="connsiteX27" fmla="*/ 1767417 w 1894417"/>
                  <a:gd name="connsiteY27" fmla="*/ 1274233 h 5977466"/>
                  <a:gd name="connsiteX28" fmla="*/ 1773767 w 1894417"/>
                  <a:gd name="connsiteY28" fmla="*/ 1369483 h 5977466"/>
                  <a:gd name="connsiteX29" fmla="*/ 1862667 w 1894417"/>
                  <a:gd name="connsiteY29" fmla="*/ 1477433 h 5977466"/>
                  <a:gd name="connsiteX30" fmla="*/ 1881717 w 1894417"/>
                  <a:gd name="connsiteY30" fmla="*/ 1547283 h 5977466"/>
                  <a:gd name="connsiteX31" fmla="*/ 1830917 w 1894417"/>
                  <a:gd name="connsiteY31" fmla="*/ 1579033 h 5977466"/>
                  <a:gd name="connsiteX32" fmla="*/ 1843617 w 1894417"/>
                  <a:gd name="connsiteY32" fmla="*/ 1680633 h 5977466"/>
                  <a:gd name="connsiteX33" fmla="*/ 1894417 w 1894417"/>
                  <a:gd name="connsiteY33" fmla="*/ 1744133 h 5977466"/>
                  <a:gd name="connsiteX34" fmla="*/ 1843617 w 1894417"/>
                  <a:gd name="connsiteY34" fmla="*/ 1794933 h 5977466"/>
                  <a:gd name="connsiteX35" fmla="*/ 1843617 w 1894417"/>
                  <a:gd name="connsiteY35" fmla="*/ 1966383 h 5977466"/>
                  <a:gd name="connsiteX36" fmla="*/ 1830917 w 1894417"/>
                  <a:gd name="connsiteY36" fmla="*/ 2042583 h 5977466"/>
                  <a:gd name="connsiteX37" fmla="*/ 1824567 w 1894417"/>
                  <a:gd name="connsiteY37" fmla="*/ 2302933 h 5977466"/>
                  <a:gd name="connsiteX38" fmla="*/ 1875367 w 1894417"/>
                  <a:gd name="connsiteY38" fmla="*/ 2385483 h 5977466"/>
                  <a:gd name="connsiteX39" fmla="*/ 1811867 w 1894417"/>
                  <a:gd name="connsiteY39" fmla="*/ 2461683 h 5977466"/>
                  <a:gd name="connsiteX40" fmla="*/ 1786467 w 1894417"/>
                  <a:gd name="connsiteY40" fmla="*/ 2601383 h 5977466"/>
                  <a:gd name="connsiteX41" fmla="*/ 1748367 w 1894417"/>
                  <a:gd name="connsiteY41" fmla="*/ 2683933 h 5977466"/>
                  <a:gd name="connsiteX42" fmla="*/ 1729317 w 1894417"/>
                  <a:gd name="connsiteY42" fmla="*/ 2931583 h 5977466"/>
                  <a:gd name="connsiteX43" fmla="*/ 1742017 w 1894417"/>
                  <a:gd name="connsiteY43" fmla="*/ 3058583 h 5977466"/>
                  <a:gd name="connsiteX44" fmla="*/ 1786467 w 1894417"/>
                  <a:gd name="connsiteY44" fmla="*/ 3160183 h 5977466"/>
                  <a:gd name="connsiteX45" fmla="*/ 1754717 w 1894417"/>
                  <a:gd name="connsiteY45" fmla="*/ 3318933 h 5977466"/>
                  <a:gd name="connsiteX46" fmla="*/ 1589617 w 1894417"/>
                  <a:gd name="connsiteY46" fmla="*/ 3426883 h 5977466"/>
                  <a:gd name="connsiteX47" fmla="*/ 1519767 w 1894417"/>
                  <a:gd name="connsiteY47" fmla="*/ 3395133 h 5977466"/>
                  <a:gd name="connsiteX48" fmla="*/ 1576917 w 1894417"/>
                  <a:gd name="connsiteY48" fmla="*/ 3318933 h 5977466"/>
                  <a:gd name="connsiteX49" fmla="*/ 1589617 w 1894417"/>
                  <a:gd name="connsiteY49" fmla="*/ 3217333 h 5977466"/>
                  <a:gd name="connsiteX50" fmla="*/ 1557867 w 1894417"/>
                  <a:gd name="connsiteY50" fmla="*/ 3191933 h 5977466"/>
                  <a:gd name="connsiteX51" fmla="*/ 1519767 w 1894417"/>
                  <a:gd name="connsiteY51" fmla="*/ 3147483 h 5977466"/>
                  <a:gd name="connsiteX52" fmla="*/ 1519767 w 1894417"/>
                  <a:gd name="connsiteY52" fmla="*/ 2531533 h 5977466"/>
                  <a:gd name="connsiteX53" fmla="*/ 1583267 w 1894417"/>
                  <a:gd name="connsiteY53" fmla="*/ 2188633 h 5977466"/>
                  <a:gd name="connsiteX54" fmla="*/ 1532467 w 1894417"/>
                  <a:gd name="connsiteY54" fmla="*/ 2023533 h 5977466"/>
                  <a:gd name="connsiteX55" fmla="*/ 1494367 w 1894417"/>
                  <a:gd name="connsiteY55" fmla="*/ 2106083 h 5977466"/>
                  <a:gd name="connsiteX56" fmla="*/ 1494367 w 1894417"/>
                  <a:gd name="connsiteY56" fmla="*/ 2302933 h 5977466"/>
                  <a:gd name="connsiteX57" fmla="*/ 1494367 w 1894417"/>
                  <a:gd name="connsiteY57" fmla="*/ 2461683 h 5977466"/>
                  <a:gd name="connsiteX58" fmla="*/ 1507067 w 1894417"/>
                  <a:gd name="connsiteY58" fmla="*/ 3255433 h 5977466"/>
                  <a:gd name="connsiteX59" fmla="*/ 1475317 w 1894417"/>
                  <a:gd name="connsiteY59" fmla="*/ 3604683 h 5977466"/>
                  <a:gd name="connsiteX60" fmla="*/ 1430867 w 1894417"/>
                  <a:gd name="connsiteY60" fmla="*/ 4030133 h 5977466"/>
                  <a:gd name="connsiteX61" fmla="*/ 1316567 w 1894417"/>
                  <a:gd name="connsiteY61" fmla="*/ 4728633 h 5977466"/>
                  <a:gd name="connsiteX62" fmla="*/ 1259417 w 1894417"/>
                  <a:gd name="connsiteY62" fmla="*/ 5046133 h 5977466"/>
                  <a:gd name="connsiteX63" fmla="*/ 1202267 w 1894417"/>
                  <a:gd name="connsiteY63" fmla="*/ 5262033 h 5977466"/>
                  <a:gd name="connsiteX64" fmla="*/ 1322917 w 1894417"/>
                  <a:gd name="connsiteY64" fmla="*/ 5395383 h 5977466"/>
                  <a:gd name="connsiteX65" fmla="*/ 1348317 w 1894417"/>
                  <a:gd name="connsiteY65" fmla="*/ 5560483 h 5977466"/>
                  <a:gd name="connsiteX66" fmla="*/ 1265767 w 1894417"/>
                  <a:gd name="connsiteY66" fmla="*/ 5585883 h 5977466"/>
                  <a:gd name="connsiteX67" fmla="*/ 1418167 w 1894417"/>
                  <a:gd name="connsiteY67" fmla="*/ 5700183 h 5977466"/>
                  <a:gd name="connsiteX68" fmla="*/ 1443567 w 1894417"/>
                  <a:gd name="connsiteY68" fmla="*/ 5776383 h 5977466"/>
                  <a:gd name="connsiteX69" fmla="*/ 1316567 w 1894417"/>
                  <a:gd name="connsiteY69" fmla="*/ 5865283 h 5977466"/>
                  <a:gd name="connsiteX70" fmla="*/ 1132417 w 1894417"/>
                  <a:gd name="connsiteY70" fmla="*/ 5839883 h 5977466"/>
                  <a:gd name="connsiteX71" fmla="*/ 1068917 w 1894417"/>
                  <a:gd name="connsiteY71" fmla="*/ 5731933 h 5977466"/>
                  <a:gd name="connsiteX72" fmla="*/ 922867 w 1894417"/>
                  <a:gd name="connsiteY72" fmla="*/ 5693833 h 5977466"/>
                  <a:gd name="connsiteX73" fmla="*/ 891117 w 1894417"/>
                  <a:gd name="connsiteY73" fmla="*/ 5611283 h 5977466"/>
                  <a:gd name="connsiteX74" fmla="*/ 865717 w 1894417"/>
                  <a:gd name="connsiteY74" fmla="*/ 5598583 h 5977466"/>
                  <a:gd name="connsiteX75" fmla="*/ 853017 w 1894417"/>
                  <a:gd name="connsiteY75" fmla="*/ 4500033 h 5977466"/>
                  <a:gd name="connsiteX76" fmla="*/ 935567 w 1894417"/>
                  <a:gd name="connsiteY76" fmla="*/ 3680883 h 5977466"/>
                  <a:gd name="connsiteX77" fmla="*/ 986367 w 1894417"/>
                  <a:gd name="connsiteY77" fmla="*/ 3376083 h 5977466"/>
                  <a:gd name="connsiteX78" fmla="*/ 916517 w 1894417"/>
                  <a:gd name="connsiteY78" fmla="*/ 3490383 h 5977466"/>
                  <a:gd name="connsiteX79" fmla="*/ 802217 w 1894417"/>
                  <a:gd name="connsiteY79" fmla="*/ 3960283 h 5977466"/>
                  <a:gd name="connsiteX80" fmla="*/ 783167 w 1894417"/>
                  <a:gd name="connsiteY80" fmla="*/ 4334933 h 5977466"/>
                  <a:gd name="connsiteX81" fmla="*/ 814917 w 1894417"/>
                  <a:gd name="connsiteY81" fmla="*/ 4944533 h 5977466"/>
                  <a:gd name="connsiteX82" fmla="*/ 846667 w 1894417"/>
                  <a:gd name="connsiteY82" fmla="*/ 5585883 h 5977466"/>
                  <a:gd name="connsiteX83" fmla="*/ 668867 w 1894417"/>
                  <a:gd name="connsiteY83" fmla="*/ 5801783 h 5977466"/>
                  <a:gd name="connsiteX84" fmla="*/ 510117 w 1894417"/>
                  <a:gd name="connsiteY84" fmla="*/ 5960533 h 5977466"/>
                  <a:gd name="connsiteX85" fmla="*/ 345017 w 1894417"/>
                  <a:gd name="connsiteY85" fmla="*/ 5903383 h 5977466"/>
                  <a:gd name="connsiteX86" fmla="*/ 351367 w 1894417"/>
                  <a:gd name="connsiteY86" fmla="*/ 5738283 h 5977466"/>
                  <a:gd name="connsiteX87" fmla="*/ 332317 w 1894417"/>
                  <a:gd name="connsiteY87" fmla="*/ 5579533 h 5977466"/>
                  <a:gd name="connsiteX88" fmla="*/ 306917 w 1894417"/>
                  <a:gd name="connsiteY88" fmla="*/ 5236633 h 5977466"/>
                  <a:gd name="connsiteX89" fmla="*/ 338667 w 1894417"/>
                  <a:gd name="connsiteY89" fmla="*/ 5096933 h 5977466"/>
                  <a:gd name="connsiteX90" fmla="*/ 357717 w 1894417"/>
                  <a:gd name="connsiteY90" fmla="*/ 4639733 h 5977466"/>
                  <a:gd name="connsiteX91" fmla="*/ 389467 w 1894417"/>
                  <a:gd name="connsiteY91" fmla="*/ 4512733 h 5977466"/>
                  <a:gd name="connsiteX92" fmla="*/ 370417 w 1894417"/>
                  <a:gd name="connsiteY92" fmla="*/ 4347633 h 5977466"/>
                  <a:gd name="connsiteX93" fmla="*/ 351367 w 1894417"/>
                  <a:gd name="connsiteY93" fmla="*/ 4163483 h 5977466"/>
                  <a:gd name="connsiteX94" fmla="*/ 383117 w 1894417"/>
                  <a:gd name="connsiteY94" fmla="*/ 3534833 h 5977466"/>
                  <a:gd name="connsiteX95" fmla="*/ 376767 w 1894417"/>
                  <a:gd name="connsiteY95" fmla="*/ 3083983 h 5977466"/>
                  <a:gd name="connsiteX96" fmla="*/ 313267 w 1894417"/>
                  <a:gd name="connsiteY96" fmla="*/ 2810933 h 5977466"/>
                  <a:gd name="connsiteX97" fmla="*/ 351367 w 1894417"/>
                  <a:gd name="connsiteY97" fmla="*/ 2442633 h 5977466"/>
                  <a:gd name="connsiteX98" fmla="*/ 376767 w 1894417"/>
                  <a:gd name="connsiteY98" fmla="*/ 2137833 h 5977466"/>
                  <a:gd name="connsiteX99" fmla="*/ 345017 w 1894417"/>
                  <a:gd name="connsiteY99" fmla="*/ 2036233 h 5977466"/>
                  <a:gd name="connsiteX100" fmla="*/ 300567 w 1894417"/>
                  <a:gd name="connsiteY100" fmla="*/ 2169583 h 5977466"/>
                  <a:gd name="connsiteX101" fmla="*/ 319617 w 1894417"/>
                  <a:gd name="connsiteY101" fmla="*/ 2461683 h 5977466"/>
                  <a:gd name="connsiteX102" fmla="*/ 294217 w 1894417"/>
                  <a:gd name="connsiteY102" fmla="*/ 2842683 h 5977466"/>
                  <a:gd name="connsiteX103" fmla="*/ 275167 w 1894417"/>
                  <a:gd name="connsiteY103" fmla="*/ 2995083 h 5977466"/>
                  <a:gd name="connsiteX104" fmla="*/ 313267 w 1894417"/>
                  <a:gd name="connsiteY104" fmla="*/ 3039533 h 5977466"/>
                  <a:gd name="connsiteX105" fmla="*/ 313267 w 1894417"/>
                  <a:gd name="connsiteY105" fmla="*/ 3172883 h 5977466"/>
                  <a:gd name="connsiteX106" fmla="*/ 319617 w 1894417"/>
                  <a:gd name="connsiteY106" fmla="*/ 3299883 h 5977466"/>
                  <a:gd name="connsiteX107" fmla="*/ 281517 w 1894417"/>
                  <a:gd name="connsiteY107" fmla="*/ 3299883 h 5977466"/>
                  <a:gd name="connsiteX108" fmla="*/ 275167 w 1894417"/>
                  <a:gd name="connsiteY108" fmla="*/ 3185583 h 5977466"/>
                  <a:gd name="connsiteX109" fmla="*/ 249767 w 1894417"/>
                  <a:gd name="connsiteY109" fmla="*/ 3261783 h 5977466"/>
                  <a:gd name="connsiteX110" fmla="*/ 294217 w 1894417"/>
                  <a:gd name="connsiteY110" fmla="*/ 3357033 h 5977466"/>
                  <a:gd name="connsiteX111" fmla="*/ 306917 w 1894417"/>
                  <a:gd name="connsiteY111" fmla="*/ 3426883 h 5977466"/>
                  <a:gd name="connsiteX112" fmla="*/ 243417 w 1894417"/>
                  <a:gd name="connsiteY112" fmla="*/ 3420533 h 5977466"/>
                  <a:gd name="connsiteX113" fmla="*/ 160867 w 1894417"/>
                  <a:gd name="connsiteY113" fmla="*/ 3318933 h 5977466"/>
                  <a:gd name="connsiteX114" fmla="*/ 122767 w 1894417"/>
                  <a:gd name="connsiteY114" fmla="*/ 3274483 h 5977466"/>
                  <a:gd name="connsiteX115" fmla="*/ 110067 w 1894417"/>
                  <a:gd name="connsiteY115" fmla="*/ 3001433 h 5977466"/>
                  <a:gd name="connsiteX116" fmla="*/ 110067 w 1894417"/>
                  <a:gd name="connsiteY116" fmla="*/ 2779183 h 5977466"/>
                  <a:gd name="connsiteX117" fmla="*/ 59267 w 1894417"/>
                  <a:gd name="connsiteY117" fmla="*/ 2385483 h 5977466"/>
                  <a:gd name="connsiteX118" fmla="*/ 84667 w 1894417"/>
                  <a:gd name="connsiteY118" fmla="*/ 2137833 h 5977466"/>
                  <a:gd name="connsiteX119" fmla="*/ 78317 w 1894417"/>
                  <a:gd name="connsiteY119" fmla="*/ 2010833 h 5977466"/>
                  <a:gd name="connsiteX120" fmla="*/ 2117 w 1894417"/>
                  <a:gd name="connsiteY120" fmla="*/ 1902883 h 5977466"/>
                  <a:gd name="connsiteX121" fmla="*/ 91017 w 1894417"/>
                  <a:gd name="connsiteY121" fmla="*/ 1756833 h 5977466"/>
                  <a:gd name="connsiteX122" fmla="*/ 91018 w 1894417"/>
                  <a:gd name="connsiteY122" fmla="*/ 1591733 h 5977466"/>
                  <a:gd name="connsiteX123" fmla="*/ 179917 w 1894417"/>
                  <a:gd name="connsiteY123" fmla="*/ 1261533 h 5977466"/>
                  <a:gd name="connsiteX124" fmla="*/ 440267 w 1894417"/>
                  <a:gd name="connsiteY124" fmla="*/ 1051983 h 5977466"/>
                  <a:gd name="connsiteX125" fmla="*/ 668867 w 1894417"/>
                  <a:gd name="connsiteY125" fmla="*/ 861483 h 5977466"/>
                  <a:gd name="connsiteX126" fmla="*/ 795867 w 1894417"/>
                  <a:gd name="connsiteY126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13317 w 1894417"/>
                  <a:gd name="connsiteY4" fmla="*/ 499533 h 5977466"/>
                  <a:gd name="connsiteX5" fmla="*/ 726017 w 1894417"/>
                  <a:gd name="connsiteY5" fmla="*/ 410633 h 5977466"/>
                  <a:gd name="connsiteX6" fmla="*/ 738717 w 1894417"/>
                  <a:gd name="connsiteY6" fmla="*/ 321733 h 5977466"/>
                  <a:gd name="connsiteX7" fmla="*/ 738717 w 1894417"/>
                  <a:gd name="connsiteY7" fmla="*/ 150283 h 5977466"/>
                  <a:gd name="connsiteX8" fmla="*/ 903817 w 1894417"/>
                  <a:gd name="connsiteY8" fmla="*/ 23283 h 5977466"/>
                  <a:gd name="connsiteX9" fmla="*/ 1068917 w 1894417"/>
                  <a:gd name="connsiteY9" fmla="*/ 10583 h 5977466"/>
                  <a:gd name="connsiteX10" fmla="*/ 1195917 w 1894417"/>
                  <a:gd name="connsiteY10" fmla="*/ 80433 h 5977466"/>
                  <a:gd name="connsiteX11" fmla="*/ 1259417 w 1894417"/>
                  <a:gd name="connsiteY11" fmla="*/ 194733 h 5977466"/>
                  <a:gd name="connsiteX12" fmla="*/ 1259417 w 1894417"/>
                  <a:gd name="connsiteY12" fmla="*/ 340783 h 5977466"/>
                  <a:gd name="connsiteX13" fmla="*/ 1265767 w 1894417"/>
                  <a:gd name="connsiteY13" fmla="*/ 416983 h 5977466"/>
                  <a:gd name="connsiteX14" fmla="*/ 1278467 w 1894417"/>
                  <a:gd name="connsiteY14" fmla="*/ 486833 h 5977466"/>
                  <a:gd name="connsiteX15" fmla="*/ 1246717 w 1894417"/>
                  <a:gd name="connsiteY15" fmla="*/ 493183 h 5977466"/>
                  <a:gd name="connsiteX16" fmla="*/ 1214967 w 1894417"/>
                  <a:gd name="connsiteY16" fmla="*/ 601133 h 5977466"/>
                  <a:gd name="connsiteX17" fmla="*/ 1176867 w 1894417"/>
                  <a:gd name="connsiteY17" fmla="*/ 639233 h 5977466"/>
                  <a:gd name="connsiteX18" fmla="*/ 1151467 w 1894417"/>
                  <a:gd name="connsiteY18" fmla="*/ 690033 h 5977466"/>
                  <a:gd name="connsiteX19" fmla="*/ 1157817 w 1894417"/>
                  <a:gd name="connsiteY19" fmla="*/ 759883 h 5977466"/>
                  <a:gd name="connsiteX20" fmla="*/ 1195917 w 1894417"/>
                  <a:gd name="connsiteY20" fmla="*/ 785283 h 5977466"/>
                  <a:gd name="connsiteX21" fmla="*/ 1214967 w 1894417"/>
                  <a:gd name="connsiteY21" fmla="*/ 842433 h 5977466"/>
                  <a:gd name="connsiteX22" fmla="*/ 1316567 w 1894417"/>
                  <a:gd name="connsiteY22" fmla="*/ 842433 h 5977466"/>
                  <a:gd name="connsiteX23" fmla="*/ 1386417 w 1894417"/>
                  <a:gd name="connsiteY23" fmla="*/ 905933 h 5977466"/>
                  <a:gd name="connsiteX24" fmla="*/ 1418167 w 1894417"/>
                  <a:gd name="connsiteY24" fmla="*/ 988483 h 5977466"/>
                  <a:gd name="connsiteX25" fmla="*/ 1519767 w 1894417"/>
                  <a:gd name="connsiteY25" fmla="*/ 1045633 h 5977466"/>
                  <a:gd name="connsiteX26" fmla="*/ 1640417 w 1894417"/>
                  <a:gd name="connsiteY26" fmla="*/ 1102783 h 5977466"/>
                  <a:gd name="connsiteX27" fmla="*/ 1767417 w 1894417"/>
                  <a:gd name="connsiteY27" fmla="*/ 1274233 h 5977466"/>
                  <a:gd name="connsiteX28" fmla="*/ 1773767 w 1894417"/>
                  <a:gd name="connsiteY28" fmla="*/ 1369483 h 5977466"/>
                  <a:gd name="connsiteX29" fmla="*/ 1862667 w 1894417"/>
                  <a:gd name="connsiteY29" fmla="*/ 1477433 h 5977466"/>
                  <a:gd name="connsiteX30" fmla="*/ 1881717 w 1894417"/>
                  <a:gd name="connsiteY30" fmla="*/ 1547283 h 5977466"/>
                  <a:gd name="connsiteX31" fmla="*/ 1830917 w 1894417"/>
                  <a:gd name="connsiteY31" fmla="*/ 1579033 h 5977466"/>
                  <a:gd name="connsiteX32" fmla="*/ 1843617 w 1894417"/>
                  <a:gd name="connsiteY32" fmla="*/ 1680633 h 5977466"/>
                  <a:gd name="connsiteX33" fmla="*/ 1894417 w 1894417"/>
                  <a:gd name="connsiteY33" fmla="*/ 1744133 h 5977466"/>
                  <a:gd name="connsiteX34" fmla="*/ 1843617 w 1894417"/>
                  <a:gd name="connsiteY34" fmla="*/ 1794933 h 5977466"/>
                  <a:gd name="connsiteX35" fmla="*/ 1843617 w 1894417"/>
                  <a:gd name="connsiteY35" fmla="*/ 1966383 h 5977466"/>
                  <a:gd name="connsiteX36" fmla="*/ 1830917 w 1894417"/>
                  <a:gd name="connsiteY36" fmla="*/ 2042583 h 5977466"/>
                  <a:gd name="connsiteX37" fmla="*/ 1824567 w 1894417"/>
                  <a:gd name="connsiteY37" fmla="*/ 2302933 h 5977466"/>
                  <a:gd name="connsiteX38" fmla="*/ 1875367 w 1894417"/>
                  <a:gd name="connsiteY38" fmla="*/ 2385483 h 5977466"/>
                  <a:gd name="connsiteX39" fmla="*/ 1811867 w 1894417"/>
                  <a:gd name="connsiteY39" fmla="*/ 2461683 h 5977466"/>
                  <a:gd name="connsiteX40" fmla="*/ 1786467 w 1894417"/>
                  <a:gd name="connsiteY40" fmla="*/ 2601383 h 5977466"/>
                  <a:gd name="connsiteX41" fmla="*/ 1748367 w 1894417"/>
                  <a:gd name="connsiteY41" fmla="*/ 2683933 h 5977466"/>
                  <a:gd name="connsiteX42" fmla="*/ 1729317 w 1894417"/>
                  <a:gd name="connsiteY42" fmla="*/ 2931583 h 5977466"/>
                  <a:gd name="connsiteX43" fmla="*/ 1742017 w 1894417"/>
                  <a:gd name="connsiteY43" fmla="*/ 3058583 h 5977466"/>
                  <a:gd name="connsiteX44" fmla="*/ 1786467 w 1894417"/>
                  <a:gd name="connsiteY44" fmla="*/ 3160183 h 5977466"/>
                  <a:gd name="connsiteX45" fmla="*/ 1754717 w 1894417"/>
                  <a:gd name="connsiteY45" fmla="*/ 3318933 h 5977466"/>
                  <a:gd name="connsiteX46" fmla="*/ 1589617 w 1894417"/>
                  <a:gd name="connsiteY46" fmla="*/ 3426883 h 5977466"/>
                  <a:gd name="connsiteX47" fmla="*/ 1519767 w 1894417"/>
                  <a:gd name="connsiteY47" fmla="*/ 3395133 h 5977466"/>
                  <a:gd name="connsiteX48" fmla="*/ 1576917 w 1894417"/>
                  <a:gd name="connsiteY48" fmla="*/ 3318933 h 5977466"/>
                  <a:gd name="connsiteX49" fmla="*/ 1589617 w 1894417"/>
                  <a:gd name="connsiteY49" fmla="*/ 3217333 h 5977466"/>
                  <a:gd name="connsiteX50" fmla="*/ 1557867 w 1894417"/>
                  <a:gd name="connsiteY50" fmla="*/ 3191933 h 5977466"/>
                  <a:gd name="connsiteX51" fmla="*/ 1519767 w 1894417"/>
                  <a:gd name="connsiteY51" fmla="*/ 3147483 h 5977466"/>
                  <a:gd name="connsiteX52" fmla="*/ 1519767 w 1894417"/>
                  <a:gd name="connsiteY52" fmla="*/ 2531533 h 5977466"/>
                  <a:gd name="connsiteX53" fmla="*/ 1583267 w 1894417"/>
                  <a:gd name="connsiteY53" fmla="*/ 2188633 h 5977466"/>
                  <a:gd name="connsiteX54" fmla="*/ 1532467 w 1894417"/>
                  <a:gd name="connsiteY54" fmla="*/ 2023533 h 5977466"/>
                  <a:gd name="connsiteX55" fmla="*/ 1494367 w 1894417"/>
                  <a:gd name="connsiteY55" fmla="*/ 2106083 h 5977466"/>
                  <a:gd name="connsiteX56" fmla="*/ 1494367 w 1894417"/>
                  <a:gd name="connsiteY56" fmla="*/ 2302933 h 5977466"/>
                  <a:gd name="connsiteX57" fmla="*/ 1494367 w 1894417"/>
                  <a:gd name="connsiteY57" fmla="*/ 2461683 h 5977466"/>
                  <a:gd name="connsiteX58" fmla="*/ 1507067 w 1894417"/>
                  <a:gd name="connsiteY58" fmla="*/ 3255433 h 5977466"/>
                  <a:gd name="connsiteX59" fmla="*/ 1475317 w 1894417"/>
                  <a:gd name="connsiteY59" fmla="*/ 3604683 h 5977466"/>
                  <a:gd name="connsiteX60" fmla="*/ 1430867 w 1894417"/>
                  <a:gd name="connsiteY60" fmla="*/ 4030133 h 5977466"/>
                  <a:gd name="connsiteX61" fmla="*/ 1316567 w 1894417"/>
                  <a:gd name="connsiteY61" fmla="*/ 4728633 h 5977466"/>
                  <a:gd name="connsiteX62" fmla="*/ 1259417 w 1894417"/>
                  <a:gd name="connsiteY62" fmla="*/ 5046133 h 5977466"/>
                  <a:gd name="connsiteX63" fmla="*/ 1202267 w 1894417"/>
                  <a:gd name="connsiteY63" fmla="*/ 5262033 h 5977466"/>
                  <a:gd name="connsiteX64" fmla="*/ 1322917 w 1894417"/>
                  <a:gd name="connsiteY64" fmla="*/ 5395383 h 5977466"/>
                  <a:gd name="connsiteX65" fmla="*/ 1348317 w 1894417"/>
                  <a:gd name="connsiteY65" fmla="*/ 5560483 h 5977466"/>
                  <a:gd name="connsiteX66" fmla="*/ 1265767 w 1894417"/>
                  <a:gd name="connsiteY66" fmla="*/ 5585883 h 5977466"/>
                  <a:gd name="connsiteX67" fmla="*/ 1418167 w 1894417"/>
                  <a:gd name="connsiteY67" fmla="*/ 5700183 h 5977466"/>
                  <a:gd name="connsiteX68" fmla="*/ 1443567 w 1894417"/>
                  <a:gd name="connsiteY68" fmla="*/ 5776383 h 5977466"/>
                  <a:gd name="connsiteX69" fmla="*/ 1316567 w 1894417"/>
                  <a:gd name="connsiteY69" fmla="*/ 5865283 h 5977466"/>
                  <a:gd name="connsiteX70" fmla="*/ 1132417 w 1894417"/>
                  <a:gd name="connsiteY70" fmla="*/ 5839883 h 5977466"/>
                  <a:gd name="connsiteX71" fmla="*/ 1068917 w 1894417"/>
                  <a:gd name="connsiteY71" fmla="*/ 5731933 h 5977466"/>
                  <a:gd name="connsiteX72" fmla="*/ 922867 w 1894417"/>
                  <a:gd name="connsiteY72" fmla="*/ 5693833 h 5977466"/>
                  <a:gd name="connsiteX73" fmla="*/ 891117 w 1894417"/>
                  <a:gd name="connsiteY73" fmla="*/ 5611283 h 5977466"/>
                  <a:gd name="connsiteX74" fmla="*/ 865717 w 1894417"/>
                  <a:gd name="connsiteY74" fmla="*/ 5598583 h 5977466"/>
                  <a:gd name="connsiteX75" fmla="*/ 853017 w 1894417"/>
                  <a:gd name="connsiteY75" fmla="*/ 4500033 h 5977466"/>
                  <a:gd name="connsiteX76" fmla="*/ 935567 w 1894417"/>
                  <a:gd name="connsiteY76" fmla="*/ 3680883 h 5977466"/>
                  <a:gd name="connsiteX77" fmla="*/ 986367 w 1894417"/>
                  <a:gd name="connsiteY77" fmla="*/ 3376083 h 5977466"/>
                  <a:gd name="connsiteX78" fmla="*/ 916517 w 1894417"/>
                  <a:gd name="connsiteY78" fmla="*/ 3490383 h 5977466"/>
                  <a:gd name="connsiteX79" fmla="*/ 802217 w 1894417"/>
                  <a:gd name="connsiteY79" fmla="*/ 3960283 h 5977466"/>
                  <a:gd name="connsiteX80" fmla="*/ 783167 w 1894417"/>
                  <a:gd name="connsiteY80" fmla="*/ 4334933 h 5977466"/>
                  <a:gd name="connsiteX81" fmla="*/ 814917 w 1894417"/>
                  <a:gd name="connsiteY81" fmla="*/ 4944533 h 5977466"/>
                  <a:gd name="connsiteX82" fmla="*/ 846667 w 1894417"/>
                  <a:gd name="connsiteY82" fmla="*/ 5585883 h 5977466"/>
                  <a:gd name="connsiteX83" fmla="*/ 668867 w 1894417"/>
                  <a:gd name="connsiteY83" fmla="*/ 5801783 h 5977466"/>
                  <a:gd name="connsiteX84" fmla="*/ 510117 w 1894417"/>
                  <a:gd name="connsiteY84" fmla="*/ 5960533 h 5977466"/>
                  <a:gd name="connsiteX85" fmla="*/ 345017 w 1894417"/>
                  <a:gd name="connsiteY85" fmla="*/ 5903383 h 5977466"/>
                  <a:gd name="connsiteX86" fmla="*/ 351367 w 1894417"/>
                  <a:gd name="connsiteY86" fmla="*/ 5738283 h 5977466"/>
                  <a:gd name="connsiteX87" fmla="*/ 332317 w 1894417"/>
                  <a:gd name="connsiteY87" fmla="*/ 5579533 h 5977466"/>
                  <a:gd name="connsiteX88" fmla="*/ 306917 w 1894417"/>
                  <a:gd name="connsiteY88" fmla="*/ 5236633 h 5977466"/>
                  <a:gd name="connsiteX89" fmla="*/ 338667 w 1894417"/>
                  <a:gd name="connsiteY89" fmla="*/ 5096933 h 5977466"/>
                  <a:gd name="connsiteX90" fmla="*/ 357717 w 1894417"/>
                  <a:gd name="connsiteY90" fmla="*/ 4639733 h 5977466"/>
                  <a:gd name="connsiteX91" fmla="*/ 389467 w 1894417"/>
                  <a:gd name="connsiteY91" fmla="*/ 4512733 h 5977466"/>
                  <a:gd name="connsiteX92" fmla="*/ 370417 w 1894417"/>
                  <a:gd name="connsiteY92" fmla="*/ 4347633 h 5977466"/>
                  <a:gd name="connsiteX93" fmla="*/ 351367 w 1894417"/>
                  <a:gd name="connsiteY93" fmla="*/ 4163483 h 5977466"/>
                  <a:gd name="connsiteX94" fmla="*/ 383117 w 1894417"/>
                  <a:gd name="connsiteY94" fmla="*/ 3534833 h 5977466"/>
                  <a:gd name="connsiteX95" fmla="*/ 376767 w 1894417"/>
                  <a:gd name="connsiteY95" fmla="*/ 3083983 h 5977466"/>
                  <a:gd name="connsiteX96" fmla="*/ 313267 w 1894417"/>
                  <a:gd name="connsiteY96" fmla="*/ 2810933 h 5977466"/>
                  <a:gd name="connsiteX97" fmla="*/ 351367 w 1894417"/>
                  <a:gd name="connsiteY97" fmla="*/ 2442633 h 5977466"/>
                  <a:gd name="connsiteX98" fmla="*/ 376767 w 1894417"/>
                  <a:gd name="connsiteY98" fmla="*/ 2137833 h 5977466"/>
                  <a:gd name="connsiteX99" fmla="*/ 345017 w 1894417"/>
                  <a:gd name="connsiteY99" fmla="*/ 2036233 h 5977466"/>
                  <a:gd name="connsiteX100" fmla="*/ 300567 w 1894417"/>
                  <a:gd name="connsiteY100" fmla="*/ 2169583 h 5977466"/>
                  <a:gd name="connsiteX101" fmla="*/ 319617 w 1894417"/>
                  <a:gd name="connsiteY101" fmla="*/ 2461683 h 5977466"/>
                  <a:gd name="connsiteX102" fmla="*/ 294217 w 1894417"/>
                  <a:gd name="connsiteY102" fmla="*/ 2842683 h 5977466"/>
                  <a:gd name="connsiteX103" fmla="*/ 275167 w 1894417"/>
                  <a:gd name="connsiteY103" fmla="*/ 2995083 h 5977466"/>
                  <a:gd name="connsiteX104" fmla="*/ 313267 w 1894417"/>
                  <a:gd name="connsiteY104" fmla="*/ 3039533 h 5977466"/>
                  <a:gd name="connsiteX105" fmla="*/ 313267 w 1894417"/>
                  <a:gd name="connsiteY105" fmla="*/ 3172883 h 5977466"/>
                  <a:gd name="connsiteX106" fmla="*/ 319617 w 1894417"/>
                  <a:gd name="connsiteY106" fmla="*/ 3299883 h 5977466"/>
                  <a:gd name="connsiteX107" fmla="*/ 281517 w 1894417"/>
                  <a:gd name="connsiteY107" fmla="*/ 3299883 h 5977466"/>
                  <a:gd name="connsiteX108" fmla="*/ 275167 w 1894417"/>
                  <a:gd name="connsiteY108" fmla="*/ 3185583 h 5977466"/>
                  <a:gd name="connsiteX109" fmla="*/ 249767 w 1894417"/>
                  <a:gd name="connsiteY109" fmla="*/ 3261783 h 5977466"/>
                  <a:gd name="connsiteX110" fmla="*/ 294217 w 1894417"/>
                  <a:gd name="connsiteY110" fmla="*/ 3357033 h 5977466"/>
                  <a:gd name="connsiteX111" fmla="*/ 306917 w 1894417"/>
                  <a:gd name="connsiteY111" fmla="*/ 3426883 h 5977466"/>
                  <a:gd name="connsiteX112" fmla="*/ 243417 w 1894417"/>
                  <a:gd name="connsiteY112" fmla="*/ 3420533 h 5977466"/>
                  <a:gd name="connsiteX113" fmla="*/ 160867 w 1894417"/>
                  <a:gd name="connsiteY113" fmla="*/ 3318933 h 5977466"/>
                  <a:gd name="connsiteX114" fmla="*/ 122767 w 1894417"/>
                  <a:gd name="connsiteY114" fmla="*/ 3274483 h 5977466"/>
                  <a:gd name="connsiteX115" fmla="*/ 110067 w 1894417"/>
                  <a:gd name="connsiteY115" fmla="*/ 3001433 h 5977466"/>
                  <a:gd name="connsiteX116" fmla="*/ 110067 w 1894417"/>
                  <a:gd name="connsiteY116" fmla="*/ 2779183 h 5977466"/>
                  <a:gd name="connsiteX117" fmla="*/ 59267 w 1894417"/>
                  <a:gd name="connsiteY117" fmla="*/ 2385483 h 5977466"/>
                  <a:gd name="connsiteX118" fmla="*/ 84667 w 1894417"/>
                  <a:gd name="connsiteY118" fmla="*/ 2137833 h 5977466"/>
                  <a:gd name="connsiteX119" fmla="*/ 78317 w 1894417"/>
                  <a:gd name="connsiteY119" fmla="*/ 2010833 h 5977466"/>
                  <a:gd name="connsiteX120" fmla="*/ 2117 w 1894417"/>
                  <a:gd name="connsiteY120" fmla="*/ 1902883 h 5977466"/>
                  <a:gd name="connsiteX121" fmla="*/ 91017 w 1894417"/>
                  <a:gd name="connsiteY121" fmla="*/ 1756833 h 5977466"/>
                  <a:gd name="connsiteX122" fmla="*/ 91018 w 1894417"/>
                  <a:gd name="connsiteY122" fmla="*/ 1591733 h 5977466"/>
                  <a:gd name="connsiteX123" fmla="*/ 179917 w 1894417"/>
                  <a:gd name="connsiteY123" fmla="*/ 1261533 h 5977466"/>
                  <a:gd name="connsiteX124" fmla="*/ 440267 w 1894417"/>
                  <a:gd name="connsiteY124" fmla="*/ 1051983 h 5977466"/>
                  <a:gd name="connsiteX125" fmla="*/ 668867 w 1894417"/>
                  <a:gd name="connsiteY125" fmla="*/ 861483 h 5977466"/>
                  <a:gd name="connsiteX126" fmla="*/ 795867 w 1894417"/>
                  <a:gd name="connsiteY126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13317 w 1894417"/>
                  <a:gd name="connsiteY4" fmla="*/ 499533 h 5977466"/>
                  <a:gd name="connsiteX5" fmla="*/ 726017 w 1894417"/>
                  <a:gd name="connsiteY5" fmla="*/ 410633 h 5977466"/>
                  <a:gd name="connsiteX6" fmla="*/ 738717 w 1894417"/>
                  <a:gd name="connsiteY6" fmla="*/ 321733 h 5977466"/>
                  <a:gd name="connsiteX7" fmla="*/ 738717 w 1894417"/>
                  <a:gd name="connsiteY7" fmla="*/ 150283 h 5977466"/>
                  <a:gd name="connsiteX8" fmla="*/ 903817 w 1894417"/>
                  <a:gd name="connsiteY8" fmla="*/ 23283 h 5977466"/>
                  <a:gd name="connsiteX9" fmla="*/ 1068917 w 1894417"/>
                  <a:gd name="connsiteY9" fmla="*/ 10583 h 5977466"/>
                  <a:gd name="connsiteX10" fmla="*/ 1195917 w 1894417"/>
                  <a:gd name="connsiteY10" fmla="*/ 80433 h 5977466"/>
                  <a:gd name="connsiteX11" fmla="*/ 1259417 w 1894417"/>
                  <a:gd name="connsiteY11" fmla="*/ 194733 h 5977466"/>
                  <a:gd name="connsiteX12" fmla="*/ 1259417 w 1894417"/>
                  <a:gd name="connsiteY12" fmla="*/ 340783 h 5977466"/>
                  <a:gd name="connsiteX13" fmla="*/ 1265767 w 1894417"/>
                  <a:gd name="connsiteY13" fmla="*/ 416983 h 5977466"/>
                  <a:gd name="connsiteX14" fmla="*/ 1278467 w 1894417"/>
                  <a:gd name="connsiteY14" fmla="*/ 486833 h 5977466"/>
                  <a:gd name="connsiteX15" fmla="*/ 1246717 w 1894417"/>
                  <a:gd name="connsiteY15" fmla="*/ 493183 h 5977466"/>
                  <a:gd name="connsiteX16" fmla="*/ 1214967 w 1894417"/>
                  <a:gd name="connsiteY16" fmla="*/ 601133 h 5977466"/>
                  <a:gd name="connsiteX17" fmla="*/ 1176867 w 1894417"/>
                  <a:gd name="connsiteY17" fmla="*/ 639233 h 5977466"/>
                  <a:gd name="connsiteX18" fmla="*/ 1151467 w 1894417"/>
                  <a:gd name="connsiteY18" fmla="*/ 690033 h 5977466"/>
                  <a:gd name="connsiteX19" fmla="*/ 1157817 w 1894417"/>
                  <a:gd name="connsiteY19" fmla="*/ 759883 h 5977466"/>
                  <a:gd name="connsiteX20" fmla="*/ 1195917 w 1894417"/>
                  <a:gd name="connsiteY20" fmla="*/ 785283 h 5977466"/>
                  <a:gd name="connsiteX21" fmla="*/ 1214967 w 1894417"/>
                  <a:gd name="connsiteY21" fmla="*/ 842433 h 5977466"/>
                  <a:gd name="connsiteX22" fmla="*/ 1316567 w 1894417"/>
                  <a:gd name="connsiteY22" fmla="*/ 842433 h 5977466"/>
                  <a:gd name="connsiteX23" fmla="*/ 1386417 w 1894417"/>
                  <a:gd name="connsiteY23" fmla="*/ 905933 h 5977466"/>
                  <a:gd name="connsiteX24" fmla="*/ 1418167 w 1894417"/>
                  <a:gd name="connsiteY24" fmla="*/ 988483 h 5977466"/>
                  <a:gd name="connsiteX25" fmla="*/ 1519767 w 1894417"/>
                  <a:gd name="connsiteY25" fmla="*/ 1045633 h 5977466"/>
                  <a:gd name="connsiteX26" fmla="*/ 1640417 w 1894417"/>
                  <a:gd name="connsiteY26" fmla="*/ 1102783 h 5977466"/>
                  <a:gd name="connsiteX27" fmla="*/ 1767417 w 1894417"/>
                  <a:gd name="connsiteY27" fmla="*/ 1274233 h 5977466"/>
                  <a:gd name="connsiteX28" fmla="*/ 1773767 w 1894417"/>
                  <a:gd name="connsiteY28" fmla="*/ 1369483 h 5977466"/>
                  <a:gd name="connsiteX29" fmla="*/ 1862667 w 1894417"/>
                  <a:gd name="connsiteY29" fmla="*/ 1477433 h 5977466"/>
                  <a:gd name="connsiteX30" fmla="*/ 1881717 w 1894417"/>
                  <a:gd name="connsiteY30" fmla="*/ 1547283 h 5977466"/>
                  <a:gd name="connsiteX31" fmla="*/ 1830917 w 1894417"/>
                  <a:gd name="connsiteY31" fmla="*/ 1579033 h 5977466"/>
                  <a:gd name="connsiteX32" fmla="*/ 1843617 w 1894417"/>
                  <a:gd name="connsiteY32" fmla="*/ 1680633 h 5977466"/>
                  <a:gd name="connsiteX33" fmla="*/ 1894417 w 1894417"/>
                  <a:gd name="connsiteY33" fmla="*/ 1744133 h 5977466"/>
                  <a:gd name="connsiteX34" fmla="*/ 1843617 w 1894417"/>
                  <a:gd name="connsiteY34" fmla="*/ 1794933 h 5977466"/>
                  <a:gd name="connsiteX35" fmla="*/ 1843617 w 1894417"/>
                  <a:gd name="connsiteY35" fmla="*/ 1966383 h 5977466"/>
                  <a:gd name="connsiteX36" fmla="*/ 1830917 w 1894417"/>
                  <a:gd name="connsiteY36" fmla="*/ 2042583 h 5977466"/>
                  <a:gd name="connsiteX37" fmla="*/ 1824567 w 1894417"/>
                  <a:gd name="connsiteY37" fmla="*/ 2302933 h 5977466"/>
                  <a:gd name="connsiteX38" fmla="*/ 1875367 w 1894417"/>
                  <a:gd name="connsiteY38" fmla="*/ 2385483 h 5977466"/>
                  <a:gd name="connsiteX39" fmla="*/ 1811867 w 1894417"/>
                  <a:gd name="connsiteY39" fmla="*/ 2461683 h 5977466"/>
                  <a:gd name="connsiteX40" fmla="*/ 1786467 w 1894417"/>
                  <a:gd name="connsiteY40" fmla="*/ 2601383 h 5977466"/>
                  <a:gd name="connsiteX41" fmla="*/ 1748367 w 1894417"/>
                  <a:gd name="connsiteY41" fmla="*/ 2683933 h 5977466"/>
                  <a:gd name="connsiteX42" fmla="*/ 1729317 w 1894417"/>
                  <a:gd name="connsiteY42" fmla="*/ 2931583 h 5977466"/>
                  <a:gd name="connsiteX43" fmla="*/ 1742017 w 1894417"/>
                  <a:gd name="connsiteY43" fmla="*/ 3058583 h 5977466"/>
                  <a:gd name="connsiteX44" fmla="*/ 1786467 w 1894417"/>
                  <a:gd name="connsiteY44" fmla="*/ 3160183 h 5977466"/>
                  <a:gd name="connsiteX45" fmla="*/ 1754717 w 1894417"/>
                  <a:gd name="connsiteY45" fmla="*/ 3318933 h 5977466"/>
                  <a:gd name="connsiteX46" fmla="*/ 1589617 w 1894417"/>
                  <a:gd name="connsiteY46" fmla="*/ 3426883 h 5977466"/>
                  <a:gd name="connsiteX47" fmla="*/ 1519767 w 1894417"/>
                  <a:gd name="connsiteY47" fmla="*/ 3395133 h 5977466"/>
                  <a:gd name="connsiteX48" fmla="*/ 1576917 w 1894417"/>
                  <a:gd name="connsiteY48" fmla="*/ 3318933 h 5977466"/>
                  <a:gd name="connsiteX49" fmla="*/ 1589617 w 1894417"/>
                  <a:gd name="connsiteY49" fmla="*/ 3217333 h 5977466"/>
                  <a:gd name="connsiteX50" fmla="*/ 1557867 w 1894417"/>
                  <a:gd name="connsiteY50" fmla="*/ 3191933 h 5977466"/>
                  <a:gd name="connsiteX51" fmla="*/ 1519767 w 1894417"/>
                  <a:gd name="connsiteY51" fmla="*/ 3147483 h 5977466"/>
                  <a:gd name="connsiteX52" fmla="*/ 1519767 w 1894417"/>
                  <a:gd name="connsiteY52" fmla="*/ 2531533 h 5977466"/>
                  <a:gd name="connsiteX53" fmla="*/ 1583267 w 1894417"/>
                  <a:gd name="connsiteY53" fmla="*/ 2188633 h 5977466"/>
                  <a:gd name="connsiteX54" fmla="*/ 1532467 w 1894417"/>
                  <a:gd name="connsiteY54" fmla="*/ 2023533 h 5977466"/>
                  <a:gd name="connsiteX55" fmla="*/ 1494367 w 1894417"/>
                  <a:gd name="connsiteY55" fmla="*/ 2106083 h 5977466"/>
                  <a:gd name="connsiteX56" fmla="*/ 1494367 w 1894417"/>
                  <a:gd name="connsiteY56" fmla="*/ 2302933 h 5977466"/>
                  <a:gd name="connsiteX57" fmla="*/ 1494367 w 1894417"/>
                  <a:gd name="connsiteY57" fmla="*/ 2461683 h 5977466"/>
                  <a:gd name="connsiteX58" fmla="*/ 1507067 w 1894417"/>
                  <a:gd name="connsiteY58" fmla="*/ 3255433 h 5977466"/>
                  <a:gd name="connsiteX59" fmla="*/ 1475317 w 1894417"/>
                  <a:gd name="connsiteY59" fmla="*/ 3604683 h 5977466"/>
                  <a:gd name="connsiteX60" fmla="*/ 1430867 w 1894417"/>
                  <a:gd name="connsiteY60" fmla="*/ 4030133 h 5977466"/>
                  <a:gd name="connsiteX61" fmla="*/ 1316567 w 1894417"/>
                  <a:gd name="connsiteY61" fmla="*/ 4728633 h 5977466"/>
                  <a:gd name="connsiteX62" fmla="*/ 1259417 w 1894417"/>
                  <a:gd name="connsiteY62" fmla="*/ 5046133 h 5977466"/>
                  <a:gd name="connsiteX63" fmla="*/ 1202267 w 1894417"/>
                  <a:gd name="connsiteY63" fmla="*/ 5262033 h 5977466"/>
                  <a:gd name="connsiteX64" fmla="*/ 1322917 w 1894417"/>
                  <a:gd name="connsiteY64" fmla="*/ 5395383 h 5977466"/>
                  <a:gd name="connsiteX65" fmla="*/ 1348317 w 1894417"/>
                  <a:gd name="connsiteY65" fmla="*/ 5560483 h 5977466"/>
                  <a:gd name="connsiteX66" fmla="*/ 1265767 w 1894417"/>
                  <a:gd name="connsiteY66" fmla="*/ 5585883 h 5977466"/>
                  <a:gd name="connsiteX67" fmla="*/ 1418167 w 1894417"/>
                  <a:gd name="connsiteY67" fmla="*/ 5700183 h 5977466"/>
                  <a:gd name="connsiteX68" fmla="*/ 1443567 w 1894417"/>
                  <a:gd name="connsiteY68" fmla="*/ 5776383 h 5977466"/>
                  <a:gd name="connsiteX69" fmla="*/ 1316567 w 1894417"/>
                  <a:gd name="connsiteY69" fmla="*/ 5865283 h 5977466"/>
                  <a:gd name="connsiteX70" fmla="*/ 1132417 w 1894417"/>
                  <a:gd name="connsiteY70" fmla="*/ 5839883 h 5977466"/>
                  <a:gd name="connsiteX71" fmla="*/ 1068917 w 1894417"/>
                  <a:gd name="connsiteY71" fmla="*/ 5731933 h 5977466"/>
                  <a:gd name="connsiteX72" fmla="*/ 922867 w 1894417"/>
                  <a:gd name="connsiteY72" fmla="*/ 5693833 h 5977466"/>
                  <a:gd name="connsiteX73" fmla="*/ 891117 w 1894417"/>
                  <a:gd name="connsiteY73" fmla="*/ 5611283 h 5977466"/>
                  <a:gd name="connsiteX74" fmla="*/ 865717 w 1894417"/>
                  <a:gd name="connsiteY74" fmla="*/ 5598583 h 5977466"/>
                  <a:gd name="connsiteX75" fmla="*/ 853017 w 1894417"/>
                  <a:gd name="connsiteY75" fmla="*/ 4500033 h 5977466"/>
                  <a:gd name="connsiteX76" fmla="*/ 935567 w 1894417"/>
                  <a:gd name="connsiteY76" fmla="*/ 3680883 h 5977466"/>
                  <a:gd name="connsiteX77" fmla="*/ 986367 w 1894417"/>
                  <a:gd name="connsiteY77" fmla="*/ 3376083 h 5977466"/>
                  <a:gd name="connsiteX78" fmla="*/ 916517 w 1894417"/>
                  <a:gd name="connsiteY78" fmla="*/ 3490383 h 5977466"/>
                  <a:gd name="connsiteX79" fmla="*/ 802217 w 1894417"/>
                  <a:gd name="connsiteY79" fmla="*/ 3960283 h 5977466"/>
                  <a:gd name="connsiteX80" fmla="*/ 783167 w 1894417"/>
                  <a:gd name="connsiteY80" fmla="*/ 4334933 h 5977466"/>
                  <a:gd name="connsiteX81" fmla="*/ 814917 w 1894417"/>
                  <a:gd name="connsiteY81" fmla="*/ 4944533 h 5977466"/>
                  <a:gd name="connsiteX82" fmla="*/ 846667 w 1894417"/>
                  <a:gd name="connsiteY82" fmla="*/ 5585883 h 5977466"/>
                  <a:gd name="connsiteX83" fmla="*/ 668867 w 1894417"/>
                  <a:gd name="connsiteY83" fmla="*/ 5801783 h 5977466"/>
                  <a:gd name="connsiteX84" fmla="*/ 510117 w 1894417"/>
                  <a:gd name="connsiteY84" fmla="*/ 5960533 h 5977466"/>
                  <a:gd name="connsiteX85" fmla="*/ 345017 w 1894417"/>
                  <a:gd name="connsiteY85" fmla="*/ 5903383 h 5977466"/>
                  <a:gd name="connsiteX86" fmla="*/ 351367 w 1894417"/>
                  <a:gd name="connsiteY86" fmla="*/ 5738283 h 5977466"/>
                  <a:gd name="connsiteX87" fmla="*/ 332317 w 1894417"/>
                  <a:gd name="connsiteY87" fmla="*/ 5579533 h 5977466"/>
                  <a:gd name="connsiteX88" fmla="*/ 306917 w 1894417"/>
                  <a:gd name="connsiteY88" fmla="*/ 5236633 h 5977466"/>
                  <a:gd name="connsiteX89" fmla="*/ 338667 w 1894417"/>
                  <a:gd name="connsiteY89" fmla="*/ 5096933 h 5977466"/>
                  <a:gd name="connsiteX90" fmla="*/ 357717 w 1894417"/>
                  <a:gd name="connsiteY90" fmla="*/ 4639733 h 5977466"/>
                  <a:gd name="connsiteX91" fmla="*/ 389467 w 1894417"/>
                  <a:gd name="connsiteY91" fmla="*/ 4512733 h 5977466"/>
                  <a:gd name="connsiteX92" fmla="*/ 370417 w 1894417"/>
                  <a:gd name="connsiteY92" fmla="*/ 4347633 h 5977466"/>
                  <a:gd name="connsiteX93" fmla="*/ 351367 w 1894417"/>
                  <a:gd name="connsiteY93" fmla="*/ 4163483 h 5977466"/>
                  <a:gd name="connsiteX94" fmla="*/ 383117 w 1894417"/>
                  <a:gd name="connsiteY94" fmla="*/ 3534833 h 5977466"/>
                  <a:gd name="connsiteX95" fmla="*/ 376767 w 1894417"/>
                  <a:gd name="connsiteY95" fmla="*/ 3083983 h 5977466"/>
                  <a:gd name="connsiteX96" fmla="*/ 313267 w 1894417"/>
                  <a:gd name="connsiteY96" fmla="*/ 2810933 h 5977466"/>
                  <a:gd name="connsiteX97" fmla="*/ 351367 w 1894417"/>
                  <a:gd name="connsiteY97" fmla="*/ 2442633 h 5977466"/>
                  <a:gd name="connsiteX98" fmla="*/ 376767 w 1894417"/>
                  <a:gd name="connsiteY98" fmla="*/ 2137833 h 5977466"/>
                  <a:gd name="connsiteX99" fmla="*/ 345017 w 1894417"/>
                  <a:gd name="connsiteY99" fmla="*/ 2036233 h 5977466"/>
                  <a:gd name="connsiteX100" fmla="*/ 300567 w 1894417"/>
                  <a:gd name="connsiteY100" fmla="*/ 2169583 h 5977466"/>
                  <a:gd name="connsiteX101" fmla="*/ 319617 w 1894417"/>
                  <a:gd name="connsiteY101" fmla="*/ 2461683 h 5977466"/>
                  <a:gd name="connsiteX102" fmla="*/ 294217 w 1894417"/>
                  <a:gd name="connsiteY102" fmla="*/ 2842683 h 5977466"/>
                  <a:gd name="connsiteX103" fmla="*/ 275167 w 1894417"/>
                  <a:gd name="connsiteY103" fmla="*/ 2995083 h 5977466"/>
                  <a:gd name="connsiteX104" fmla="*/ 313267 w 1894417"/>
                  <a:gd name="connsiteY104" fmla="*/ 3039533 h 5977466"/>
                  <a:gd name="connsiteX105" fmla="*/ 313267 w 1894417"/>
                  <a:gd name="connsiteY105" fmla="*/ 3172883 h 5977466"/>
                  <a:gd name="connsiteX106" fmla="*/ 319617 w 1894417"/>
                  <a:gd name="connsiteY106" fmla="*/ 3299883 h 5977466"/>
                  <a:gd name="connsiteX107" fmla="*/ 281517 w 1894417"/>
                  <a:gd name="connsiteY107" fmla="*/ 3299883 h 5977466"/>
                  <a:gd name="connsiteX108" fmla="*/ 275167 w 1894417"/>
                  <a:gd name="connsiteY108" fmla="*/ 3185583 h 5977466"/>
                  <a:gd name="connsiteX109" fmla="*/ 249767 w 1894417"/>
                  <a:gd name="connsiteY109" fmla="*/ 3261783 h 5977466"/>
                  <a:gd name="connsiteX110" fmla="*/ 294217 w 1894417"/>
                  <a:gd name="connsiteY110" fmla="*/ 3357033 h 5977466"/>
                  <a:gd name="connsiteX111" fmla="*/ 306917 w 1894417"/>
                  <a:gd name="connsiteY111" fmla="*/ 3426883 h 5977466"/>
                  <a:gd name="connsiteX112" fmla="*/ 243417 w 1894417"/>
                  <a:gd name="connsiteY112" fmla="*/ 3420533 h 5977466"/>
                  <a:gd name="connsiteX113" fmla="*/ 160867 w 1894417"/>
                  <a:gd name="connsiteY113" fmla="*/ 3318933 h 5977466"/>
                  <a:gd name="connsiteX114" fmla="*/ 122767 w 1894417"/>
                  <a:gd name="connsiteY114" fmla="*/ 3274483 h 5977466"/>
                  <a:gd name="connsiteX115" fmla="*/ 110067 w 1894417"/>
                  <a:gd name="connsiteY115" fmla="*/ 3001433 h 5977466"/>
                  <a:gd name="connsiteX116" fmla="*/ 110067 w 1894417"/>
                  <a:gd name="connsiteY116" fmla="*/ 2779183 h 5977466"/>
                  <a:gd name="connsiteX117" fmla="*/ 59267 w 1894417"/>
                  <a:gd name="connsiteY117" fmla="*/ 2385483 h 5977466"/>
                  <a:gd name="connsiteX118" fmla="*/ 84667 w 1894417"/>
                  <a:gd name="connsiteY118" fmla="*/ 2137833 h 5977466"/>
                  <a:gd name="connsiteX119" fmla="*/ 78317 w 1894417"/>
                  <a:gd name="connsiteY119" fmla="*/ 2010833 h 5977466"/>
                  <a:gd name="connsiteX120" fmla="*/ 2117 w 1894417"/>
                  <a:gd name="connsiteY120" fmla="*/ 1902883 h 5977466"/>
                  <a:gd name="connsiteX121" fmla="*/ 91017 w 1894417"/>
                  <a:gd name="connsiteY121" fmla="*/ 1756833 h 5977466"/>
                  <a:gd name="connsiteX122" fmla="*/ 91018 w 1894417"/>
                  <a:gd name="connsiteY122" fmla="*/ 1591733 h 5977466"/>
                  <a:gd name="connsiteX123" fmla="*/ 179917 w 1894417"/>
                  <a:gd name="connsiteY123" fmla="*/ 1261533 h 5977466"/>
                  <a:gd name="connsiteX124" fmla="*/ 440267 w 1894417"/>
                  <a:gd name="connsiteY124" fmla="*/ 1051983 h 5977466"/>
                  <a:gd name="connsiteX125" fmla="*/ 668867 w 1894417"/>
                  <a:gd name="connsiteY125" fmla="*/ 861483 h 5977466"/>
                  <a:gd name="connsiteX126" fmla="*/ 795867 w 1894417"/>
                  <a:gd name="connsiteY126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13317 w 1894417"/>
                  <a:gd name="connsiteY4" fmla="*/ 499533 h 5977466"/>
                  <a:gd name="connsiteX5" fmla="*/ 726017 w 1894417"/>
                  <a:gd name="connsiteY5" fmla="*/ 410633 h 5977466"/>
                  <a:gd name="connsiteX6" fmla="*/ 738717 w 1894417"/>
                  <a:gd name="connsiteY6" fmla="*/ 321733 h 5977466"/>
                  <a:gd name="connsiteX7" fmla="*/ 738717 w 1894417"/>
                  <a:gd name="connsiteY7" fmla="*/ 150283 h 5977466"/>
                  <a:gd name="connsiteX8" fmla="*/ 903817 w 1894417"/>
                  <a:gd name="connsiteY8" fmla="*/ 23283 h 5977466"/>
                  <a:gd name="connsiteX9" fmla="*/ 1068917 w 1894417"/>
                  <a:gd name="connsiteY9" fmla="*/ 10583 h 5977466"/>
                  <a:gd name="connsiteX10" fmla="*/ 1195917 w 1894417"/>
                  <a:gd name="connsiteY10" fmla="*/ 80433 h 5977466"/>
                  <a:gd name="connsiteX11" fmla="*/ 1259417 w 1894417"/>
                  <a:gd name="connsiteY11" fmla="*/ 194733 h 5977466"/>
                  <a:gd name="connsiteX12" fmla="*/ 1259417 w 1894417"/>
                  <a:gd name="connsiteY12" fmla="*/ 340783 h 5977466"/>
                  <a:gd name="connsiteX13" fmla="*/ 1265767 w 1894417"/>
                  <a:gd name="connsiteY13" fmla="*/ 416983 h 5977466"/>
                  <a:gd name="connsiteX14" fmla="*/ 1278467 w 1894417"/>
                  <a:gd name="connsiteY14" fmla="*/ 486833 h 5977466"/>
                  <a:gd name="connsiteX15" fmla="*/ 1246717 w 1894417"/>
                  <a:gd name="connsiteY15" fmla="*/ 493183 h 5977466"/>
                  <a:gd name="connsiteX16" fmla="*/ 1214967 w 1894417"/>
                  <a:gd name="connsiteY16" fmla="*/ 601133 h 5977466"/>
                  <a:gd name="connsiteX17" fmla="*/ 1176867 w 1894417"/>
                  <a:gd name="connsiteY17" fmla="*/ 639233 h 5977466"/>
                  <a:gd name="connsiteX18" fmla="*/ 1151467 w 1894417"/>
                  <a:gd name="connsiteY18" fmla="*/ 690033 h 5977466"/>
                  <a:gd name="connsiteX19" fmla="*/ 1157817 w 1894417"/>
                  <a:gd name="connsiteY19" fmla="*/ 759883 h 5977466"/>
                  <a:gd name="connsiteX20" fmla="*/ 1195917 w 1894417"/>
                  <a:gd name="connsiteY20" fmla="*/ 785283 h 5977466"/>
                  <a:gd name="connsiteX21" fmla="*/ 1214967 w 1894417"/>
                  <a:gd name="connsiteY21" fmla="*/ 842433 h 5977466"/>
                  <a:gd name="connsiteX22" fmla="*/ 1316567 w 1894417"/>
                  <a:gd name="connsiteY22" fmla="*/ 842433 h 5977466"/>
                  <a:gd name="connsiteX23" fmla="*/ 1386417 w 1894417"/>
                  <a:gd name="connsiteY23" fmla="*/ 905933 h 5977466"/>
                  <a:gd name="connsiteX24" fmla="*/ 1418167 w 1894417"/>
                  <a:gd name="connsiteY24" fmla="*/ 988483 h 5977466"/>
                  <a:gd name="connsiteX25" fmla="*/ 1519767 w 1894417"/>
                  <a:gd name="connsiteY25" fmla="*/ 1045633 h 5977466"/>
                  <a:gd name="connsiteX26" fmla="*/ 1640417 w 1894417"/>
                  <a:gd name="connsiteY26" fmla="*/ 1102783 h 5977466"/>
                  <a:gd name="connsiteX27" fmla="*/ 1767417 w 1894417"/>
                  <a:gd name="connsiteY27" fmla="*/ 1274233 h 5977466"/>
                  <a:gd name="connsiteX28" fmla="*/ 1773767 w 1894417"/>
                  <a:gd name="connsiteY28" fmla="*/ 1369483 h 5977466"/>
                  <a:gd name="connsiteX29" fmla="*/ 1862667 w 1894417"/>
                  <a:gd name="connsiteY29" fmla="*/ 1477433 h 5977466"/>
                  <a:gd name="connsiteX30" fmla="*/ 1881717 w 1894417"/>
                  <a:gd name="connsiteY30" fmla="*/ 1547283 h 5977466"/>
                  <a:gd name="connsiteX31" fmla="*/ 1830917 w 1894417"/>
                  <a:gd name="connsiteY31" fmla="*/ 1579033 h 5977466"/>
                  <a:gd name="connsiteX32" fmla="*/ 1843617 w 1894417"/>
                  <a:gd name="connsiteY32" fmla="*/ 1680633 h 5977466"/>
                  <a:gd name="connsiteX33" fmla="*/ 1894417 w 1894417"/>
                  <a:gd name="connsiteY33" fmla="*/ 1744133 h 5977466"/>
                  <a:gd name="connsiteX34" fmla="*/ 1843617 w 1894417"/>
                  <a:gd name="connsiteY34" fmla="*/ 1794933 h 5977466"/>
                  <a:gd name="connsiteX35" fmla="*/ 1843617 w 1894417"/>
                  <a:gd name="connsiteY35" fmla="*/ 1966383 h 5977466"/>
                  <a:gd name="connsiteX36" fmla="*/ 1830917 w 1894417"/>
                  <a:gd name="connsiteY36" fmla="*/ 2042583 h 5977466"/>
                  <a:gd name="connsiteX37" fmla="*/ 1824567 w 1894417"/>
                  <a:gd name="connsiteY37" fmla="*/ 2302933 h 5977466"/>
                  <a:gd name="connsiteX38" fmla="*/ 1875367 w 1894417"/>
                  <a:gd name="connsiteY38" fmla="*/ 2385483 h 5977466"/>
                  <a:gd name="connsiteX39" fmla="*/ 1811867 w 1894417"/>
                  <a:gd name="connsiteY39" fmla="*/ 2461683 h 5977466"/>
                  <a:gd name="connsiteX40" fmla="*/ 1786467 w 1894417"/>
                  <a:gd name="connsiteY40" fmla="*/ 2601383 h 5977466"/>
                  <a:gd name="connsiteX41" fmla="*/ 1748367 w 1894417"/>
                  <a:gd name="connsiteY41" fmla="*/ 2683933 h 5977466"/>
                  <a:gd name="connsiteX42" fmla="*/ 1729317 w 1894417"/>
                  <a:gd name="connsiteY42" fmla="*/ 2931583 h 5977466"/>
                  <a:gd name="connsiteX43" fmla="*/ 1742017 w 1894417"/>
                  <a:gd name="connsiteY43" fmla="*/ 3058583 h 5977466"/>
                  <a:gd name="connsiteX44" fmla="*/ 1786467 w 1894417"/>
                  <a:gd name="connsiteY44" fmla="*/ 3160183 h 5977466"/>
                  <a:gd name="connsiteX45" fmla="*/ 1754717 w 1894417"/>
                  <a:gd name="connsiteY45" fmla="*/ 3318933 h 5977466"/>
                  <a:gd name="connsiteX46" fmla="*/ 1589617 w 1894417"/>
                  <a:gd name="connsiteY46" fmla="*/ 3426883 h 5977466"/>
                  <a:gd name="connsiteX47" fmla="*/ 1519767 w 1894417"/>
                  <a:gd name="connsiteY47" fmla="*/ 3395133 h 5977466"/>
                  <a:gd name="connsiteX48" fmla="*/ 1576917 w 1894417"/>
                  <a:gd name="connsiteY48" fmla="*/ 3318933 h 5977466"/>
                  <a:gd name="connsiteX49" fmla="*/ 1589617 w 1894417"/>
                  <a:gd name="connsiteY49" fmla="*/ 3217333 h 5977466"/>
                  <a:gd name="connsiteX50" fmla="*/ 1557867 w 1894417"/>
                  <a:gd name="connsiteY50" fmla="*/ 3191933 h 5977466"/>
                  <a:gd name="connsiteX51" fmla="*/ 1519767 w 1894417"/>
                  <a:gd name="connsiteY51" fmla="*/ 3147483 h 5977466"/>
                  <a:gd name="connsiteX52" fmla="*/ 1519767 w 1894417"/>
                  <a:gd name="connsiteY52" fmla="*/ 2531533 h 5977466"/>
                  <a:gd name="connsiteX53" fmla="*/ 1583267 w 1894417"/>
                  <a:gd name="connsiteY53" fmla="*/ 2188633 h 5977466"/>
                  <a:gd name="connsiteX54" fmla="*/ 1532467 w 1894417"/>
                  <a:gd name="connsiteY54" fmla="*/ 2023533 h 5977466"/>
                  <a:gd name="connsiteX55" fmla="*/ 1494367 w 1894417"/>
                  <a:gd name="connsiteY55" fmla="*/ 2106083 h 5977466"/>
                  <a:gd name="connsiteX56" fmla="*/ 1494367 w 1894417"/>
                  <a:gd name="connsiteY56" fmla="*/ 2302933 h 5977466"/>
                  <a:gd name="connsiteX57" fmla="*/ 1494367 w 1894417"/>
                  <a:gd name="connsiteY57" fmla="*/ 2461683 h 5977466"/>
                  <a:gd name="connsiteX58" fmla="*/ 1507067 w 1894417"/>
                  <a:gd name="connsiteY58" fmla="*/ 3255433 h 5977466"/>
                  <a:gd name="connsiteX59" fmla="*/ 1475317 w 1894417"/>
                  <a:gd name="connsiteY59" fmla="*/ 3604683 h 5977466"/>
                  <a:gd name="connsiteX60" fmla="*/ 1430867 w 1894417"/>
                  <a:gd name="connsiteY60" fmla="*/ 4030133 h 5977466"/>
                  <a:gd name="connsiteX61" fmla="*/ 1316567 w 1894417"/>
                  <a:gd name="connsiteY61" fmla="*/ 4728633 h 5977466"/>
                  <a:gd name="connsiteX62" fmla="*/ 1259417 w 1894417"/>
                  <a:gd name="connsiteY62" fmla="*/ 5046133 h 5977466"/>
                  <a:gd name="connsiteX63" fmla="*/ 1202267 w 1894417"/>
                  <a:gd name="connsiteY63" fmla="*/ 5262033 h 5977466"/>
                  <a:gd name="connsiteX64" fmla="*/ 1322917 w 1894417"/>
                  <a:gd name="connsiteY64" fmla="*/ 5395383 h 5977466"/>
                  <a:gd name="connsiteX65" fmla="*/ 1348317 w 1894417"/>
                  <a:gd name="connsiteY65" fmla="*/ 5560483 h 5977466"/>
                  <a:gd name="connsiteX66" fmla="*/ 1265767 w 1894417"/>
                  <a:gd name="connsiteY66" fmla="*/ 5585883 h 5977466"/>
                  <a:gd name="connsiteX67" fmla="*/ 1418167 w 1894417"/>
                  <a:gd name="connsiteY67" fmla="*/ 5700183 h 5977466"/>
                  <a:gd name="connsiteX68" fmla="*/ 1443567 w 1894417"/>
                  <a:gd name="connsiteY68" fmla="*/ 5776383 h 5977466"/>
                  <a:gd name="connsiteX69" fmla="*/ 1316567 w 1894417"/>
                  <a:gd name="connsiteY69" fmla="*/ 5865283 h 5977466"/>
                  <a:gd name="connsiteX70" fmla="*/ 1132417 w 1894417"/>
                  <a:gd name="connsiteY70" fmla="*/ 5839883 h 5977466"/>
                  <a:gd name="connsiteX71" fmla="*/ 1068917 w 1894417"/>
                  <a:gd name="connsiteY71" fmla="*/ 5731933 h 5977466"/>
                  <a:gd name="connsiteX72" fmla="*/ 922867 w 1894417"/>
                  <a:gd name="connsiteY72" fmla="*/ 5693833 h 5977466"/>
                  <a:gd name="connsiteX73" fmla="*/ 891117 w 1894417"/>
                  <a:gd name="connsiteY73" fmla="*/ 5611283 h 5977466"/>
                  <a:gd name="connsiteX74" fmla="*/ 865717 w 1894417"/>
                  <a:gd name="connsiteY74" fmla="*/ 5598583 h 5977466"/>
                  <a:gd name="connsiteX75" fmla="*/ 853017 w 1894417"/>
                  <a:gd name="connsiteY75" fmla="*/ 4500033 h 5977466"/>
                  <a:gd name="connsiteX76" fmla="*/ 935567 w 1894417"/>
                  <a:gd name="connsiteY76" fmla="*/ 3680883 h 5977466"/>
                  <a:gd name="connsiteX77" fmla="*/ 986367 w 1894417"/>
                  <a:gd name="connsiteY77" fmla="*/ 3376083 h 5977466"/>
                  <a:gd name="connsiteX78" fmla="*/ 916517 w 1894417"/>
                  <a:gd name="connsiteY78" fmla="*/ 3490383 h 5977466"/>
                  <a:gd name="connsiteX79" fmla="*/ 802217 w 1894417"/>
                  <a:gd name="connsiteY79" fmla="*/ 3960283 h 5977466"/>
                  <a:gd name="connsiteX80" fmla="*/ 783167 w 1894417"/>
                  <a:gd name="connsiteY80" fmla="*/ 4334933 h 5977466"/>
                  <a:gd name="connsiteX81" fmla="*/ 814917 w 1894417"/>
                  <a:gd name="connsiteY81" fmla="*/ 4944533 h 5977466"/>
                  <a:gd name="connsiteX82" fmla="*/ 846667 w 1894417"/>
                  <a:gd name="connsiteY82" fmla="*/ 5585883 h 5977466"/>
                  <a:gd name="connsiteX83" fmla="*/ 668867 w 1894417"/>
                  <a:gd name="connsiteY83" fmla="*/ 5801783 h 5977466"/>
                  <a:gd name="connsiteX84" fmla="*/ 510117 w 1894417"/>
                  <a:gd name="connsiteY84" fmla="*/ 5960533 h 5977466"/>
                  <a:gd name="connsiteX85" fmla="*/ 345017 w 1894417"/>
                  <a:gd name="connsiteY85" fmla="*/ 5903383 h 5977466"/>
                  <a:gd name="connsiteX86" fmla="*/ 351367 w 1894417"/>
                  <a:gd name="connsiteY86" fmla="*/ 5738283 h 5977466"/>
                  <a:gd name="connsiteX87" fmla="*/ 332317 w 1894417"/>
                  <a:gd name="connsiteY87" fmla="*/ 5579533 h 5977466"/>
                  <a:gd name="connsiteX88" fmla="*/ 306917 w 1894417"/>
                  <a:gd name="connsiteY88" fmla="*/ 5236633 h 5977466"/>
                  <a:gd name="connsiteX89" fmla="*/ 338667 w 1894417"/>
                  <a:gd name="connsiteY89" fmla="*/ 5096933 h 5977466"/>
                  <a:gd name="connsiteX90" fmla="*/ 357717 w 1894417"/>
                  <a:gd name="connsiteY90" fmla="*/ 4639733 h 5977466"/>
                  <a:gd name="connsiteX91" fmla="*/ 389467 w 1894417"/>
                  <a:gd name="connsiteY91" fmla="*/ 4512733 h 5977466"/>
                  <a:gd name="connsiteX92" fmla="*/ 370417 w 1894417"/>
                  <a:gd name="connsiteY92" fmla="*/ 4347633 h 5977466"/>
                  <a:gd name="connsiteX93" fmla="*/ 351367 w 1894417"/>
                  <a:gd name="connsiteY93" fmla="*/ 4163483 h 5977466"/>
                  <a:gd name="connsiteX94" fmla="*/ 383117 w 1894417"/>
                  <a:gd name="connsiteY94" fmla="*/ 3534833 h 5977466"/>
                  <a:gd name="connsiteX95" fmla="*/ 376767 w 1894417"/>
                  <a:gd name="connsiteY95" fmla="*/ 3083983 h 5977466"/>
                  <a:gd name="connsiteX96" fmla="*/ 313267 w 1894417"/>
                  <a:gd name="connsiteY96" fmla="*/ 2810933 h 5977466"/>
                  <a:gd name="connsiteX97" fmla="*/ 351367 w 1894417"/>
                  <a:gd name="connsiteY97" fmla="*/ 2442633 h 5977466"/>
                  <a:gd name="connsiteX98" fmla="*/ 376767 w 1894417"/>
                  <a:gd name="connsiteY98" fmla="*/ 2137833 h 5977466"/>
                  <a:gd name="connsiteX99" fmla="*/ 345017 w 1894417"/>
                  <a:gd name="connsiteY99" fmla="*/ 2036233 h 5977466"/>
                  <a:gd name="connsiteX100" fmla="*/ 300567 w 1894417"/>
                  <a:gd name="connsiteY100" fmla="*/ 2169583 h 5977466"/>
                  <a:gd name="connsiteX101" fmla="*/ 319617 w 1894417"/>
                  <a:gd name="connsiteY101" fmla="*/ 2461683 h 5977466"/>
                  <a:gd name="connsiteX102" fmla="*/ 294217 w 1894417"/>
                  <a:gd name="connsiteY102" fmla="*/ 2842683 h 5977466"/>
                  <a:gd name="connsiteX103" fmla="*/ 275167 w 1894417"/>
                  <a:gd name="connsiteY103" fmla="*/ 2995083 h 5977466"/>
                  <a:gd name="connsiteX104" fmla="*/ 313267 w 1894417"/>
                  <a:gd name="connsiteY104" fmla="*/ 3039533 h 5977466"/>
                  <a:gd name="connsiteX105" fmla="*/ 313267 w 1894417"/>
                  <a:gd name="connsiteY105" fmla="*/ 3172883 h 5977466"/>
                  <a:gd name="connsiteX106" fmla="*/ 319617 w 1894417"/>
                  <a:gd name="connsiteY106" fmla="*/ 3299883 h 5977466"/>
                  <a:gd name="connsiteX107" fmla="*/ 281517 w 1894417"/>
                  <a:gd name="connsiteY107" fmla="*/ 3299883 h 5977466"/>
                  <a:gd name="connsiteX108" fmla="*/ 275167 w 1894417"/>
                  <a:gd name="connsiteY108" fmla="*/ 3185583 h 5977466"/>
                  <a:gd name="connsiteX109" fmla="*/ 249767 w 1894417"/>
                  <a:gd name="connsiteY109" fmla="*/ 3261783 h 5977466"/>
                  <a:gd name="connsiteX110" fmla="*/ 294217 w 1894417"/>
                  <a:gd name="connsiteY110" fmla="*/ 3357033 h 5977466"/>
                  <a:gd name="connsiteX111" fmla="*/ 306917 w 1894417"/>
                  <a:gd name="connsiteY111" fmla="*/ 3426883 h 5977466"/>
                  <a:gd name="connsiteX112" fmla="*/ 243417 w 1894417"/>
                  <a:gd name="connsiteY112" fmla="*/ 3420533 h 5977466"/>
                  <a:gd name="connsiteX113" fmla="*/ 160867 w 1894417"/>
                  <a:gd name="connsiteY113" fmla="*/ 3318933 h 5977466"/>
                  <a:gd name="connsiteX114" fmla="*/ 122767 w 1894417"/>
                  <a:gd name="connsiteY114" fmla="*/ 3274483 h 5977466"/>
                  <a:gd name="connsiteX115" fmla="*/ 110067 w 1894417"/>
                  <a:gd name="connsiteY115" fmla="*/ 3001433 h 5977466"/>
                  <a:gd name="connsiteX116" fmla="*/ 110067 w 1894417"/>
                  <a:gd name="connsiteY116" fmla="*/ 2779183 h 5977466"/>
                  <a:gd name="connsiteX117" fmla="*/ 59267 w 1894417"/>
                  <a:gd name="connsiteY117" fmla="*/ 2385483 h 5977466"/>
                  <a:gd name="connsiteX118" fmla="*/ 84667 w 1894417"/>
                  <a:gd name="connsiteY118" fmla="*/ 2137833 h 5977466"/>
                  <a:gd name="connsiteX119" fmla="*/ 78317 w 1894417"/>
                  <a:gd name="connsiteY119" fmla="*/ 2010833 h 5977466"/>
                  <a:gd name="connsiteX120" fmla="*/ 2117 w 1894417"/>
                  <a:gd name="connsiteY120" fmla="*/ 1902883 h 5977466"/>
                  <a:gd name="connsiteX121" fmla="*/ 91017 w 1894417"/>
                  <a:gd name="connsiteY121" fmla="*/ 1756833 h 5977466"/>
                  <a:gd name="connsiteX122" fmla="*/ 91018 w 1894417"/>
                  <a:gd name="connsiteY122" fmla="*/ 1591733 h 5977466"/>
                  <a:gd name="connsiteX123" fmla="*/ 179917 w 1894417"/>
                  <a:gd name="connsiteY123" fmla="*/ 1261533 h 5977466"/>
                  <a:gd name="connsiteX124" fmla="*/ 440267 w 1894417"/>
                  <a:gd name="connsiteY124" fmla="*/ 1051983 h 5977466"/>
                  <a:gd name="connsiteX125" fmla="*/ 668867 w 1894417"/>
                  <a:gd name="connsiteY125" fmla="*/ 861483 h 5977466"/>
                  <a:gd name="connsiteX126" fmla="*/ 795867 w 1894417"/>
                  <a:gd name="connsiteY126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693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78467 w 1894417"/>
                  <a:gd name="connsiteY13" fmla="*/ 486833 h 5977466"/>
                  <a:gd name="connsiteX14" fmla="*/ 1246717 w 1894417"/>
                  <a:gd name="connsiteY14" fmla="*/ 493183 h 5977466"/>
                  <a:gd name="connsiteX15" fmla="*/ 1214967 w 1894417"/>
                  <a:gd name="connsiteY15" fmla="*/ 601133 h 5977466"/>
                  <a:gd name="connsiteX16" fmla="*/ 1176867 w 1894417"/>
                  <a:gd name="connsiteY16" fmla="*/ 639233 h 5977466"/>
                  <a:gd name="connsiteX17" fmla="*/ 1151467 w 1894417"/>
                  <a:gd name="connsiteY17" fmla="*/ 690033 h 5977466"/>
                  <a:gd name="connsiteX18" fmla="*/ 1157817 w 1894417"/>
                  <a:gd name="connsiteY18" fmla="*/ 759883 h 5977466"/>
                  <a:gd name="connsiteX19" fmla="*/ 1195917 w 1894417"/>
                  <a:gd name="connsiteY19" fmla="*/ 785283 h 5977466"/>
                  <a:gd name="connsiteX20" fmla="*/ 1214967 w 1894417"/>
                  <a:gd name="connsiteY20" fmla="*/ 842433 h 5977466"/>
                  <a:gd name="connsiteX21" fmla="*/ 1316567 w 1894417"/>
                  <a:gd name="connsiteY21" fmla="*/ 842433 h 5977466"/>
                  <a:gd name="connsiteX22" fmla="*/ 1386417 w 1894417"/>
                  <a:gd name="connsiteY22" fmla="*/ 905933 h 5977466"/>
                  <a:gd name="connsiteX23" fmla="*/ 1418167 w 1894417"/>
                  <a:gd name="connsiteY23" fmla="*/ 988483 h 5977466"/>
                  <a:gd name="connsiteX24" fmla="*/ 1519767 w 1894417"/>
                  <a:gd name="connsiteY24" fmla="*/ 1045633 h 5977466"/>
                  <a:gd name="connsiteX25" fmla="*/ 1640417 w 1894417"/>
                  <a:gd name="connsiteY25" fmla="*/ 1102783 h 5977466"/>
                  <a:gd name="connsiteX26" fmla="*/ 1767417 w 1894417"/>
                  <a:gd name="connsiteY26" fmla="*/ 1274233 h 5977466"/>
                  <a:gd name="connsiteX27" fmla="*/ 1773767 w 1894417"/>
                  <a:gd name="connsiteY27" fmla="*/ 1369483 h 5977466"/>
                  <a:gd name="connsiteX28" fmla="*/ 1862667 w 1894417"/>
                  <a:gd name="connsiteY28" fmla="*/ 1477433 h 5977466"/>
                  <a:gd name="connsiteX29" fmla="*/ 1881717 w 1894417"/>
                  <a:gd name="connsiteY29" fmla="*/ 1547283 h 5977466"/>
                  <a:gd name="connsiteX30" fmla="*/ 1830917 w 1894417"/>
                  <a:gd name="connsiteY30" fmla="*/ 1579033 h 5977466"/>
                  <a:gd name="connsiteX31" fmla="*/ 1843617 w 1894417"/>
                  <a:gd name="connsiteY31" fmla="*/ 1680633 h 5977466"/>
                  <a:gd name="connsiteX32" fmla="*/ 1894417 w 1894417"/>
                  <a:gd name="connsiteY32" fmla="*/ 1744133 h 5977466"/>
                  <a:gd name="connsiteX33" fmla="*/ 1843617 w 1894417"/>
                  <a:gd name="connsiteY33" fmla="*/ 1794933 h 5977466"/>
                  <a:gd name="connsiteX34" fmla="*/ 1843617 w 1894417"/>
                  <a:gd name="connsiteY34" fmla="*/ 1966383 h 5977466"/>
                  <a:gd name="connsiteX35" fmla="*/ 1830917 w 1894417"/>
                  <a:gd name="connsiteY35" fmla="*/ 2042583 h 5977466"/>
                  <a:gd name="connsiteX36" fmla="*/ 1824567 w 1894417"/>
                  <a:gd name="connsiteY36" fmla="*/ 2302933 h 5977466"/>
                  <a:gd name="connsiteX37" fmla="*/ 1875367 w 1894417"/>
                  <a:gd name="connsiteY37" fmla="*/ 2385483 h 5977466"/>
                  <a:gd name="connsiteX38" fmla="*/ 1811867 w 1894417"/>
                  <a:gd name="connsiteY38" fmla="*/ 2461683 h 5977466"/>
                  <a:gd name="connsiteX39" fmla="*/ 1786467 w 1894417"/>
                  <a:gd name="connsiteY39" fmla="*/ 2601383 h 5977466"/>
                  <a:gd name="connsiteX40" fmla="*/ 1748367 w 1894417"/>
                  <a:gd name="connsiteY40" fmla="*/ 2683933 h 5977466"/>
                  <a:gd name="connsiteX41" fmla="*/ 1729317 w 1894417"/>
                  <a:gd name="connsiteY41" fmla="*/ 2931583 h 5977466"/>
                  <a:gd name="connsiteX42" fmla="*/ 1742017 w 1894417"/>
                  <a:gd name="connsiteY42" fmla="*/ 3058583 h 5977466"/>
                  <a:gd name="connsiteX43" fmla="*/ 1786467 w 1894417"/>
                  <a:gd name="connsiteY43" fmla="*/ 3160183 h 5977466"/>
                  <a:gd name="connsiteX44" fmla="*/ 1754717 w 1894417"/>
                  <a:gd name="connsiteY44" fmla="*/ 3318933 h 5977466"/>
                  <a:gd name="connsiteX45" fmla="*/ 1589617 w 1894417"/>
                  <a:gd name="connsiteY45" fmla="*/ 3426883 h 5977466"/>
                  <a:gd name="connsiteX46" fmla="*/ 1519767 w 1894417"/>
                  <a:gd name="connsiteY46" fmla="*/ 3395133 h 5977466"/>
                  <a:gd name="connsiteX47" fmla="*/ 1576917 w 1894417"/>
                  <a:gd name="connsiteY47" fmla="*/ 3318933 h 5977466"/>
                  <a:gd name="connsiteX48" fmla="*/ 1589617 w 1894417"/>
                  <a:gd name="connsiteY48" fmla="*/ 3217333 h 5977466"/>
                  <a:gd name="connsiteX49" fmla="*/ 1557867 w 1894417"/>
                  <a:gd name="connsiteY49" fmla="*/ 3191933 h 5977466"/>
                  <a:gd name="connsiteX50" fmla="*/ 1519767 w 1894417"/>
                  <a:gd name="connsiteY50" fmla="*/ 3147483 h 5977466"/>
                  <a:gd name="connsiteX51" fmla="*/ 1519767 w 1894417"/>
                  <a:gd name="connsiteY51" fmla="*/ 2531533 h 5977466"/>
                  <a:gd name="connsiteX52" fmla="*/ 1583267 w 1894417"/>
                  <a:gd name="connsiteY52" fmla="*/ 2188633 h 5977466"/>
                  <a:gd name="connsiteX53" fmla="*/ 1532467 w 1894417"/>
                  <a:gd name="connsiteY53" fmla="*/ 2023533 h 5977466"/>
                  <a:gd name="connsiteX54" fmla="*/ 1494367 w 1894417"/>
                  <a:gd name="connsiteY54" fmla="*/ 2106083 h 5977466"/>
                  <a:gd name="connsiteX55" fmla="*/ 1494367 w 1894417"/>
                  <a:gd name="connsiteY55" fmla="*/ 2302933 h 5977466"/>
                  <a:gd name="connsiteX56" fmla="*/ 1494367 w 1894417"/>
                  <a:gd name="connsiteY56" fmla="*/ 2461683 h 5977466"/>
                  <a:gd name="connsiteX57" fmla="*/ 1507067 w 1894417"/>
                  <a:gd name="connsiteY57" fmla="*/ 3255433 h 5977466"/>
                  <a:gd name="connsiteX58" fmla="*/ 1475317 w 1894417"/>
                  <a:gd name="connsiteY58" fmla="*/ 3604683 h 5977466"/>
                  <a:gd name="connsiteX59" fmla="*/ 1430867 w 1894417"/>
                  <a:gd name="connsiteY59" fmla="*/ 4030133 h 5977466"/>
                  <a:gd name="connsiteX60" fmla="*/ 1316567 w 1894417"/>
                  <a:gd name="connsiteY60" fmla="*/ 4728633 h 5977466"/>
                  <a:gd name="connsiteX61" fmla="*/ 1259417 w 1894417"/>
                  <a:gd name="connsiteY61" fmla="*/ 5046133 h 5977466"/>
                  <a:gd name="connsiteX62" fmla="*/ 1202267 w 1894417"/>
                  <a:gd name="connsiteY62" fmla="*/ 5262033 h 5977466"/>
                  <a:gd name="connsiteX63" fmla="*/ 1322917 w 1894417"/>
                  <a:gd name="connsiteY63" fmla="*/ 5395383 h 5977466"/>
                  <a:gd name="connsiteX64" fmla="*/ 1348317 w 1894417"/>
                  <a:gd name="connsiteY64" fmla="*/ 5560483 h 5977466"/>
                  <a:gd name="connsiteX65" fmla="*/ 1265767 w 1894417"/>
                  <a:gd name="connsiteY65" fmla="*/ 5585883 h 5977466"/>
                  <a:gd name="connsiteX66" fmla="*/ 1418167 w 1894417"/>
                  <a:gd name="connsiteY66" fmla="*/ 5700183 h 5977466"/>
                  <a:gd name="connsiteX67" fmla="*/ 1443567 w 1894417"/>
                  <a:gd name="connsiteY67" fmla="*/ 5776383 h 5977466"/>
                  <a:gd name="connsiteX68" fmla="*/ 1316567 w 1894417"/>
                  <a:gd name="connsiteY68" fmla="*/ 5865283 h 5977466"/>
                  <a:gd name="connsiteX69" fmla="*/ 1132417 w 1894417"/>
                  <a:gd name="connsiteY69" fmla="*/ 5839883 h 5977466"/>
                  <a:gd name="connsiteX70" fmla="*/ 1068917 w 1894417"/>
                  <a:gd name="connsiteY70" fmla="*/ 5731933 h 5977466"/>
                  <a:gd name="connsiteX71" fmla="*/ 922867 w 1894417"/>
                  <a:gd name="connsiteY71" fmla="*/ 5693833 h 5977466"/>
                  <a:gd name="connsiteX72" fmla="*/ 891117 w 1894417"/>
                  <a:gd name="connsiteY72" fmla="*/ 5611283 h 5977466"/>
                  <a:gd name="connsiteX73" fmla="*/ 865717 w 1894417"/>
                  <a:gd name="connsiteY73" fmla="*/ 5598583 h 5977466"/>
                  <a:gd name="connsiteX74" fmla="*/ 853017 w 1894417"/>
                  <a:gd name="connsiteY74" fmla="*/ 4500033 h 5977466"/>
                  <a:gd name="connsiteX75" fmla="*/ 935567 w 1894417"/>
                  <a:gd name="connsiteY75" fmla="*/ 3680883 h 5977466"/>
                  <a:gd name="connsiteX76" fmla="*/ 986367 w 1894417"/>
                  <a:gd name="connsiteY76" fmla="*/ 3376083 h 5977466"/>
                  <a:gd name="connsiteX77" fmla="*/ 916517 w 1894417"/>
                  <a:gd name="connsiteY77" fmla="*/ 3490383 h 5977466"/>
                  <a:gd name="connsiteX78" fmla="*/ 802217 w 1894417"/>
                  <a:gd name="connsiteY78" fmla="*/ 3960283 h 5977466"/>
                  <a:gd name="connsiteX79" fmla="*/ 783167 w 1894417"/>
                  <a:gd name="connsiteY79" fmla="*/ 4334933 h 5977466"/>
                  <a:gd name="connsiteX80" fmla="*/ 814917 w 1894417"/>
                  <a:gd name="connsiteY80" fmla="*/ 4944533 h 5977466"/>
                  <a:gd name="connsiteX81" fmla="*/ 846667 w 1894417"/>
                  <a:gd name="connsiteY81" fmla="*/ 5585883 h 5977466"/>
                  <a:gd name="connsiteX82" fmla="*/ 668867 w 1894417"/>
                  <a:gd name="connsiteY82" fmla="*/ 5801783 h 5977466"/>
                  <a:gd name="connsiteX83" fmla="*/ 510117 w 1894417"/>
                  <a:gd name="connsiteY83" fmla="*/ 5960533 h 5977466"/>
                  <a:gd name="connsiteX84" fmla="*/ 345017 w 1894417"/>
                  <a:gd name="connsiteY84" fmla="*/ 5903383 h 5977466"/>
                  <a:gd name="connsiteX85" fmla="*/ 351367 w 1894417"/>
                  <a:gd name="connsiteY85" fmla="*/ 5738283 h 5977466"/>
                  <a:gd name="connsiteX86" fmla="*/ 332317 w 1894417"/>
                  <a:gd name="connsiteY86" fmla="*/ 5579533 h 5977466"/>
                  <a:gd name="connsiteX87" fmla="*/ 306917 w 1894417"/>
                  <a:gd name="connsiteY87" fmla="*/ 5236633 h 5977466"/>
                  <a:gd name="connsiteX88" fmla="*/ 338667 w 1894417"/>
                  <a:gd name="connsiteY88" fmla="*/ 5096933 h 5977466"/>
                  <a:gd name="connsiteX89" fmla="*/ 357717 w 1894417"/>
                  <a:gd name="connsiteY89" fmla="*/ 4639733 h 5977466"/>
                  <a:gd name="connsiteX90" fmla="*/ 389467 w 1894417"/>
                  <a:gd name="connsiteY90" fmla="*/ 4512733 h 5977466"/>
                  <a:gd name="connsiteX91" fmla="*/ 370417 w 1894417"/>
                  <a:gd name="connsiteY91" fmla="*/ 4347633 h 5977466"/>
                  <a:gd name="connsiteX92" fmla="*/ 351367 w 1894417"/>
                  <a:gd name="connsiteY92" fmla="*/ 4163483 h 5977466"/>
                  <a:gd name="connsiteX93" fmla="*/ 383117 w 1894417"/>
                  <a:gd name="connsiteY93" fmla="*/ 3534833 h 5977466"/>
                  <a:gd name="connsiteX94" fmla="*/ 376767 w 1894417"/>
                  <a:gd name="connsiteY94" fmla="*/ 3083983 h 5977466"/>
                  <a:gd name="connsiteX95" fmla="*/ 313267 w 1894417"/>
                  <a:gd name="connsiteY95" fmla="*/ 2810933 h 5977466"/>
                  <a:gd name="connsiteX96" fmla="*/ 351367 w 1894417"/>
                  <a:gd name="connsiteY96" fmla="*/ 2442633 h 5977466"/>
                  <a:gd name="connsiteX97" fmla="*/ 376767 w 1894417"/>
                  <a:gd name="connsiteY97" fmla="*/ 2137833 h 5977466"/>
                  <a:gd name="connsiteX98" fmla="*/ 345017 w 1894417"/>
                  <a:gd name="connsiteY98" fmla="*/ 2036233 h 5977466"/>
                  <a:gd name="connsiteX99" fmla="*/ 300567 w 1894417"/>
                  <a:gd name="connsiteY99" fmla="*/ 2169583 h 5977466"/>
                  <a:gd name="connsiteX100" fmla="*/ 319617 w 1894417"/>
                  <a:gd name="connsiteY100" fmla="*/ 2461683 h 5977466"/>
                  <a:gd name="connsiteX101" fmla="*/ 294217 w 1894417"/>
                  <a:gd name="connsiteY101" fmla="*/ 2842683 h 5977466"/>
                  <a:gd name="connsiteX102" fmla="*/ 275167 w 1894417"/>
                  <a:gd name="connsiteY102" fmla="*/ 2995083 h 5977466"/>
                  <a:gd name="connsiteX103" fmla="*/ 313267 w 1894417"/>
                  <a:gd name="connsiteY103" fmla="*/ 3039533 h 5977466"/>
                  <a:gd name="connsiteX104" fmla="*/ 313267 w 1894417"/>
                  <a:gd name="connsiteY104" fmla="*/ 3172883 h 5977466"/>
                  <a:gd name="connsiteX105" fmla="*/ 319617 w 1894417"/>
                  <a:gd name="connsiteY105" fmla="*/ 3299883 h 5977466"/>
                  <a:gd name="connsiteX106" fmla="*/ 281517 w 1894417"/>
                  <a:gd name="connsiteY106" fmla="*/ 3299883 h 5977466"/>
                  <a:gd name="connsiteX107" fmla="*/ 275167 w 1894417"/>
                  <a:gd name="connsiteY107" fmla="*/ 3185583 h 5977466"/>
                  <a:gd name="connsiteX108" fmla="*/ 249767 w 1894417"/>
                  <a:gd name="connsiteY108" fmla="*/ 3261783 h 5977466"/>
                  <a:gd name="connsiteX109" fmla="*/ 294217 w 1894417"/>
                  <a:gd name="connsiteY109" fmla="*/ 3357033 h 5977466"/>
                  <a:gd name="connsiteX110" fmla="*/ 306917 w 1894417"/>
                  <a:gd name="connsiteY110" fmla="*/ 3426883 h 5977466"/>
                  <a:gd name="connsiteX111" fmla="*/ 243417 w 1894417"/>
                  <a:gd name="connsiteY111" fmla="*/ 3420533 h 5977466"/>
                  <a:gd name="connsiteX112" fmla="*/ 160867 w 1894417"/>
                  <a:gd name="connsiteY112" fmla="*/ 3318933 h 5977466"/>
                  <a:gd name="connsiteX113" fmla="*/ 122767 w 1894417"/>
                  <a:gd name="connsiteY113" fmla="*/ 3274483 h 5977466"/>
                  <a:gd name="connsiteX114" fmla="*/ 110067 w 1894417"/>
                  <a:gd name="connsiteY114" fmla="*/ 3001433 h 5977466"/>
                  <a:gd name="connsiteX115" fmla="*/ 110067 w 1894417"/>
                  <a:gd name="connsiteY115" fmla="*/ 2779183 h 5977466"/>
                  <a:gd name="connsiteX116" fmla="*/ 59267 w 1894417"/>
                  <a:gd name="connsiteY116" fmla="*/ 2385483 h 5977466"/>
                  <a:gd name="connsiteX117" fmla="*/ 84667 w 1894417"/>
                  <a:gd name="connsiteY117" fmla="*/ 2137833 h 5977466"/>
                  <a:gd name="connsiteX118" fmla="*/ 78317 w 1894417"/>
                  <a:gd name="connsiteY118" fmla="*/ 2010833 h 5977466"/>
                  <a:gd name="connsiteX119" fmla="*/ 2117 w 1894417"/>
                  <a:gd name="connsiteY119" fmla="*/ 1902883 h 5977466"/>
                  <a:gd name="connsiteX120" fmla="*/ 91017 w 1894417"/>
                  <a:gd name="connsiteY120" fmla="*/ 1756833 h 5977466"/>
                  <a:gd name="connsiteX121" fmla="*/ 91018 w 1894417"/>
                  <a:gd name="connsiteY121" fmla="*/ 1591733 h 5977466"/>
                  <a:gd name="connsiteX122" fmla="*/ 179917 w 1894417"/>
                  <a:gd name="connsiteY122" fmla="*/ 1261533 h 5977466"/>
                  <a:gd name="connsiteX123" fmla="*/ 440267 w 1894417"/>
                  <a:gd name="connsiteY123" fmla="*/ 1051983 h 5977466"/>
                  <a:gd name="connsiteX124" fmla="*/ 668867 w 1894417"/>
                  <a:gd name="connsiteY124" fmla="*/ 861483 h 5977466"/>
                  <a:gd name="connsiteX125" fmla="*/ 795867 w 1894417"/>
                  <a:gd name="connsiteY125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78467 w 1894417"/>
                  <a:gd name="connsiteY13" fmla="*/ 486833 h 5977466"/>
                  <a:gd name="connsiteX14" fmla="*/ 1246717 w 1894417"/>
                  <a:gd name="connsiteY14" fmla="*/ 493183 h 5977466"/>
                  <a:gd name="connsiteX15" fmla="*/ 1214967 w 1894417"/>
                  <a:gd name="connsiteY15" fmla="*/ 601133 h 5977466"/>
                  <a:gd name="connsiteX16" fmla="*/ 1176867 w 1894417"/>
                  <a:gd name="connsiteY16" fmla="*/ 639233 h 5977466"/>
                  <a:gd name="connsiteX17" fmla="*/ 1151467 w 1894417"/>
                  <a:gd name="connsiteY17" fmla="*/ 690033 h 5977466"/>
                  <a:gd name="connsiteX18" fmla="*/ 1157817 w 1894417"/>
                  <a:gd name="connsiteY18" fmla="*/ 759883 h 5977466"/>
                  <a:gd name="connsiteX19" fmla="*/ 1195917 w 1894417"/>
                  <a:gd name="connsiteY19" fmla="*/ 785283 h 5977466"/>
                  <a:gd name="connsiteX20" fmla="*/ 1214967 w 1894417"/>
                  <a:gd name="connsiteY20" fmla="*/ 842433 h 5977466"/>
                  <a:gd name="connsiteX21" fmla="*/ 1316567 w 1894417"/>
                  <a:gd name="connsiteY21" fmla="*/ 842433 h 5977466"/>
                  <a:gd name="connsiteX22" fmla="*/ 1386417 w 1894417"/>
                  <a:gd name="connsiteY22" fmla="*/ 905933 h 5977466"/>
                  <a:gd name="connsiteX23" fmla="*/ 1418167 w 1894417"/>
                  <a:gd name="connsiteY23" fmla="*/ 988483 h 5977466"/>
                  <a:gd name="connsiteX24" fmla="*/ 1519767 w 1894417"/>
                  <a:gd name="connsiteY24" fmla="*/ 1045633 h 5977466"/>
                  <a:gd name="connsiteX25" fmla="*/ 1640417 w 1894417"/>
                  <a:gd name="connsiteY25" fmla="*/ 1102783 h 5977466"/>
                  <a:gd name="connsiteX26" fmla="*/ 1767417 w 1894417"/>
                  <a:gd name="connsiteY26" fmla="*/ 1274233 h 5977466"/>
                  <a:gd name="connsiteX27" fmla="*/ 1773767 w 1894417"/>
                  <a:gd name="connsiteY27" fmla="*/ 1369483 h 5977466"/>
                  <a:gd name="connsiteX28" fmla="*/ 1862667 w 1894417"/>
                  <a:gd name="connsiteY28" fmla="*/ 1477433 h 5977466"/>
                  <a:gd name="connsiteX29" fmla="*/ 1881717 w 1894417"/>
                  <a:gd name="connsiteY29" fmla="*/ 1547283 h 5977466"/>
                  <a:gd name="connsiteX30" fmla="*/ 1830917 w 1894417"/>
                  <a:gd name="connsiteY30" fmla="*/ 1579033 h 5977466"/>
                  <a:gd name="connsiteX31" fmla="*/ 1843617 w 1894417"/>
                  <a:gd name="connsiteY31" fmla="*/ 1680633 h 5977466"/>
                  <a:gd name="connsiteX32" fmla="*/ 1894417 w 1894417"/>
                  <a:gd name="connsiteY32" fmla="*/ 1744133 h 5977466"/>
                  <a:gd name="connsiteX33" fmla="*/ 1843617 w 1894417"/>
                  <a:gd name="connsiteY33" fmla="*/ 1794933 h 5977466"/>
                  <a:gd name="connsiteX34" fmla="*/ 1843617 w 1894417"/>
                  <a:gd name="connsiteY34" fmla="*/ 1966383 h 5977466"/>
                  <a:gd name="connsiteX35" fmla="*/ 1830917 w 1894417"/>
                  <a:gd name="connsiteY35" fmla="*/ 2042583 h 5977466"/>
                  <a:gd name="connsiteX36" fmla="*/ 1824567 w 1894417"/>
                  <a:gd name="connsiteY36" fmla="*/ 2302933 h 5977466"/>
                  <a:gd name="connsiteX37" fmla="*/ 1875367 w 1894417"/>
                  <a:gd name="connsiteY37" fmla="*/ 2385483 h 5977466"/>
                  <a:gd name="connsiteX38" fmla="*/ 1811867 w 1894417"/>
                  <a:gd name="connsiteY38" fmla="*/ 2461683 h 5977466"/>
                  <a:gd name="connsiteX39" fmla="*/ 1786467 w 1894417"/>
                  <a:gd name="connsiteY39" fmla="*/ 2601383 h 5977466"/>
                  <a:gd name="connsiteX40" fmla="*/ 1748367 w 1894417"/>
                  <a:gd name="connsiteY40" fmla="*/ 2683933 h 5977466"/>
                  <a:gd name="connsiteX41" fmla="*/ 1729317 w 1894417"/>
                  <a:gd name="connsiteY41" fmla="*/ 2931583 h 5977466"/>
                  <a:gd name="connsiteX42" fmla="*/ 1742017 w 1894417"/>
                  <a:gd name="connsiteY42" fmla="*/ 3058583 h 5977466"/>
                  <a:gd name="connsiteX43" fmla="*/ 1786467 w 1894417"/>
                  <a:gd name="connsiteY43" fmla="*/ 3160183 h 5977466"/>
                  <a:gd name="connsiteX44" fmla="*/ 1754717 w 1894417"/>
                  <a:gd name="connsiteY44" fmla="*/ 3318933 h 5977466"/>
                  <a:gd name="connsiteX45" fmla="*/ 1589617 w 1894417"/>
                  <a:gd name="connsiteY45" fmla="*/ 3426883 h 5977466"/>
                  <a:gd name="connsiteX46" fmla="*/ 1519767 w 1894417"/>
                  <a:gd name="connsiteY46" fmla="*/ 3395133 h 5977466"/>
                  <a:gd name="connsiteX47" fmla="*/ 1576917 w 1894417"/>
                  <a:gd name="connsiteY47" fmla="*/ 3318933 h 5977466"/>
                  <a:gd name="connsiteX48" fmla="*/ 1589617 w 1894417"/>
                  <a:gd name="connsiteY48" fmla="*/ 3217333 h 5977466"/>
                  <a:gd name="connsiteX49" fmla="*/ 1557867 w 1894417"/>
                  <a:gd name="connsiteY49" fmla="*/ 3191933 h 5977466"/>
                  <a:gd name="connsiteX50" fmla="*/ 1519767 w 1894417"/>
                  <a:gd name="connsiteY50" fmla="*/ 3147483 h 5977466"/>
                  <a:gd name="connsiteX51" fmla="*/ 1519767 w 1894417"/>
                  <a:gd name="connsiteY51" fmla="*/ 2531533 h 5977466"/>
                  <a:gd name="connsiteX52" fmla="*/ 1583267 w 1894417"/>
                  <a:gd name="connsiteY52" fmla="*/ 2188633 h 5977466"/>
                  <a:gd name="connsiteX53" fmla="*/ 1532467 w 1894417"/>
                  <a:gd name="connsiteY53" fmla="*/ 2023533 h 5977466"/>
                  <a:gd name="connsiteX54" fmla="*/ 1494367 w 1894417"/>
                  <a:gd name="connsiteY54" fmla="*/ 2106083 h 5977466"/>
                  <a:gd name="connsiteX55" fmla="*/ 1494367 w 1894417"/>
                  <a:gd name="connsiteY55" fmla="*/ 2302933 h 5977466"/>
                  <a:gd name="connsiteX56" fmla="*/ 1494367 w 1894417"/>
                  <a:gd name="connsiteY56" fmla="*/ 2461683 h 5977466"/>
                  <a:gd name="connsiteX57" fmla="*/ 1507067 w 1894417"/>
                  <a:gd name="connsiteY57" fmla="*/ 3255433 h 5977466"/>
                  <a:gd name="connsiteX58" fmla="*/ 1475317 w 1894417"/>
                  <a:gd name="connsiteY58" fmla="*/ 3604683 h 5977466"/>
                  <a:gd name="connsiteX59" fmla="*/ 1430867 w 1894417"/>
                  <a:gd name="connsiteY59" fmla="*/ 4030133 h 5977466"/>
                  <a:gd name="connsiteX60" fmla="*/ 1316567 w 1894417"/>
                  <a:gd name="connsiteY60" fmla="*/ 4728633 h 5977466"/>
                  <a:gd name="connsiteX61" fmla="*/ 1259417 w 1894417"/>
                  <a:gd name="connsiteY61" fmla="*/ 5046133 h 5977466"/>
                  <a:gd name="connsiteX62" fmla="*/ 1202267 w 1894417"/>
                  <a:gd name="connsiteY62" fmla="*/ 5262033 h 5977466"/>
                  <a:gd name="connsiteX63" fmla="*/ 1322917 w 1894417"/>
                  <a:gd name="connsiteY63" fmla="*/ 5395383 h 5977466"/>
                  <a:gd name="connsiteX64" fmla="*/ 1348317 w 1894417"/>
                  <a:gd name="connsiteY64" fmla="*/ 5560483 h 5977466"/>
                  <a:gd name="connsiteX65" fmla="*/ 1265767 w 1894417"/>
                  <a:gd name="connsiteY65" fmla="*/ 5585883 h 5977466"/>
                  <a:gd name="connsiteX66" fmla="*/ 1418167 w 1894417"/>
                  <a:gd name="connsiteY66" fmla="*/ 5700183 h 5977466"/>
                  <a:gd name="connsiteX67" fmla="*/ 1443567 w 1894417"/>
                  <a:gd name="connsiteY67" fmla="*/ 5776383 h 5977466"/>
                  <a:gd name="connsiteX68" fmla="*/ 1316567 w 1894417"/>
                  <a:gd name="connsiteY68" fmla="*/ 5865283 h 5977466"/>
                  <a:gd name="connsiteX69" fmla="*/ 1132417 w 1894417"/>
                  <a:gd name="connsiteY69" fmla="*/ 5839883 h 5977466"/>
                  <a:gd name="connsiteX70" fmla="*/ 1068917 w 1894417"/>
                  <a:gd name="connsiteY70" fmla="*/ 5731933 h 5977466"/>
                  <a:gd name="connsiteX71" fmla="*/ 922867 w 1894417"/>
                  <a:gd name="connsiteY71" fmla="*/ 5693833 h 5977466"/>
                  <a:gd name="connsiteX72" fmla="*/ 891117 w 1894417"/>
                  <a:gd name="connsiteY72" fmla="*/ 5611283 h 5977466"/>
                  <a:gd name="connsiteX73" fmla="*/ 865717 w 1894417"/>
                  <a:gd name="connsiteY73" fmla="*/ 5598583 h 5977466"/>
                  <a:gd name="connsiteX74" fmla="*/ 853017 w 1894417"/>
                  <a:gd name="connsiteY74" fmla="*/ 4500033 h 5977466"/>
                  <a:gd name="connsiteX75" fmla="*/ 935567 w 1894417"/>
                  <a:gd name="connsiteY75" fmla="*/ 3680883 h 5977466"/>
                  <a:gd name="connsiteX76" fmla="*/ 986367 w 1894417"/>
                  <a:gd name="connsiteY76" fmla="*/ 3376083 h 5977466"/>
                  <a:gd name="connsiteX77" fmla="*/ 916517 w 1894417"/>
                  <a:gd name="connsiteY77" fmla="*/ 3490383 h 5977466"/>
                  <a:gd name="connsiteX78" fmla="*/ 802217 w 1894417"/>
                  <a:gd name="connsiteY78" fmla="*/ 3960283 h 5977466"/>
                  <a:gd name="connsiteX79" fmla="*/ 783167 w 1894417"/>
                  <a:gd name="connsiteY79" fmla="*/ 4334933 h 5977466"/>
                  <a:gd name="connsiteX80" fmla="*/ 814917 w 1894417"/>
                  <a:gd name="connsiteY80" fmla="*/ 4944533 h 5977466"/>
                  <a:gd name="connsiteX81" fmla="*/ 846667 w 1894417"/>
                  <a:gd name="connsiteY81" fmla="*/ 5585883 h 5977466"/>
                  <a:gd name="connsiteX82" fmla="*/ 668867 w 1894417"/>
                  <a:gd name="connsiteY82" fmla="*/ 5801783 h 5977466"/>
                  <a:gd name="connsiteX83" fmla="*/ 510117 w 1894417"/>
                  <a:gd name="connsiteY83" fmla="*/ 5960533 h 5977466"/>
                  <a:gd name="connsiteX84" fmla="*/ 345017 w 1894417"/>
                  <a:gd name="connsiteY84" fmla="*/ 5903383 h 5977466"/>
                  <a:gd name="connsiteX85" fmla="*/ 351367 w 1894417"/>
                  <a:gd name="connsiteY85" fmla="*/ 5738283 h 5977466"/>
                  <a:gd name="connsiteX86" fmla="*/ 332317 w 1894417"/>
                  <a:gd name="connsiteY86" fmla="*/ 5579533 h 5977466"/>
                  <a:gd name="connsiteX87" fmla="*/ 306917 w 1894417"/>
                  <a:gd name="connsiteY87" fmla="*/ 5236633 h 5977466"/>
                  <a:gd name="connsiteX88" fmla="*/ 338667 w 1894417"/>
                  <a:gd name="connsiteY88" fmla="*/ 5096933 h 5977466"/>
                  <a:gd name="connsiteX89" fmla="*/ 357717 w 1894417"/>
                  <a:gd name="connsiteY89" fmla="*/ 4639733 h 5977466"/>
                  <a:gd name="connsiteX90" fmla="*/ 389467 w 1894417"/>
                  <a:gd name="connsiteY90" fmla="*/ 4512733 h 5977466"/>
                  <a:gd name="connsiteX91" fmla="*/ 370417 w 1894417"/>
                  <a:gd name="connsiteY91" fmla="*/ 4347633 h 5977466"/>
                  <a:gd name="connsiteX92" fmla="*/ 351367 w 1894417"/>
                  <a:gd name="connsiteY92" fmla="*/ 4163483 h 5977466"/>
                  <a:gd name="connsiteX93" fmla="*/ 383117 w 1894417"/>
                  <a:gd name="connsiteY93" fmla="*/ 3534833 h 5977466"/>
                  <a:gd name="connsiteX94" fmla="*/ 376767 w 1894417"/>
                  <a:gd name="connsiteY94" fmla="*/ 3083983 h 5977466"/>
                  <a:gd name="connsiteX95" fmla="*/ 313267 w 1894417"/>
                  <a:gd name="connsiteY95" fmla="*/ 2810933 h 5977466"/>
                  <a:gd name="connsiteX96" fmla="*/ 351367 w 1894417"/>
                  <a:gd name="connsiteY96" fmla="*/ 2442633 h 5977466"/>
                  <a:gd name="connsiteX97" fmla="*/ 376767 w 1894417"/>
                  <a:gd name="connsiteY97" fmla="*/ 2137833 h 5977466"/>
                  <a:gd name="connsiteX98" fmla="*/ 345017 w 1894417"/>
                  <a:gd name="connsiteY98" fmla="*/ 2036233 h 5977466"/>
                  <a:gd name="connsiteX99" fmla="*/ 300567 w 1894417"/>
                  <a:gd name="connsiteY99" fmla="*/ 2169583 h 5977466"/>
                  <a:gd name="connsiteX100" fmla="*/ 319617 w 1894417"/>
                  <a:gd name="connsiteY100" fmla="*/ 2461683 h 5977466"/>
                  <a:gd name="connsiteX101" fmla="*/ 294217 w 1894417"/>
                  <a:gd name="connsiteY101" fmla="*/ 2842683 h 5977466"/>
                  <a:gd name="connsiteX102" fmla="*/ 275167 w 1894417"/>
                  <a:gd name="connsiteY102" fmla="*/ 2995083 h 5977466"/>
                  <a:gd name="connsiteX103" fmla="*/ 313267 w 1894417"/>
                  <a:gd name="connsiteY103" fmla="*/ 3039533 h 5977466"/>
                  <a:gd name="connsiteX104" fmla="*/ 313267 w 1894417"/>
                  <a:gd name="connsiteY104" fmla="*/ 3172883 h 5977466"/>
                  <a:gd name="connsiteX105" fmla="*/ 319617 w 1894417"/>
                  <a:gd name="connsiteY105" fmla="*/ 3299883 h 5977466"/>
                  <a:gd name="connsiteX106" fmla="*/ 281517 w 1894417"/>
                  <a:gd name="connsiteY106" fmla="*/ 3299883 h 5977466"/>
                  <a:gd name="connsiteX107" fmla="*/ 275167 w 1894417"/>
                  <a:gd name="connsiteY107" fmla="*/ 3185583 h 5977466"/>
                  <a:gd name="connsiteX108" fmla="*/ 249767 w 1894417"/>
                  <a:gd name="connsiteY108" fmla="*/ 3261783 h 5977466"/>
                  <a:gd name="connsiteX109" fmla="*/ 294217 w 1894417"/>
                  <a:gd name="connsiteY109" fmla="*/ 3357033 h 5977466"/>
                  <a:gd name="connsiteX110" fmla="*/ 306917 w 1894417"/>
                  <a:gd name="connsiteY110" fmla="*/ 3426883 h 5977466"/>
                  <a:gd name="connsiteX111" fmla="*/ 243417 w 1894417"/>
                  <a:gd name="connsiteY111" fmla="*/ 3420533 h 5977466"/>
                  <a:gd name="connsiteX112" fmla="*/ 160867 w 1894417"/>
                  <a:gd name="connsiteY112" fmla="*/ 3318933 h 5977466"/>
                  <a:gd name="connsiteX113" fmla="*/ 122767 w 1894417"/>
                  <a:gd name="connsiteY113" fmla="*/ 3274483 h 5977466"/>
                  <a:gd name="connsiteX114" fmla="*/ 110067 w 1894417"/>
                  <a:gd name="connsiteY114" fmla="*/ 3001433 h 5977466"/>
                  <a:gd name="connsiteX115" fmla="*/ 110067 w 1894417"/>
                  <a:gd name="connsiteY115" fmla="*/ 2779183 h 5977466"/>
                  <a:gd name="connsiteX116" fmla="*/ 59267 w 1894417"/>
                  <a:gd name="connsiteY116" fmla="*/ 2385483 h 5977466"/>
                  <a:gd name="connsiteX117" fmla="*/ 84667 w 1894417"/>
                  <a:gd name="connsiteY117" fmla="*/ 2137833 h 5977466"/>
                  <a:gd name="connsiteX118" fmla="*/ 78317 w 1894417"/>
                  <a:gd name="connsiteY118" fmla="*/ 2010833 h 5977466"/>
                  <a:gd name="connsiteX119" fmla="*/ 2117 w 1894417"/>
                  <a:gd name="connsiteY119" fmla="*/ 1902883 h 5977466"/>
                  <a:gd name="connsiteX120" fmla="*/ 91017 w 1894417"/>
                  <a:gd name="connsiteY120" fmla="*/ 1756833 h 5977466"/>
                  <a:gd name="connsiteX121" fmla="*/ 91018 w 1894417"/>
                  <a:gd name="connsiteY121" fmla="*/ 1591733 h 5977466"/>
                  <a:gd name="connsiteX122" fmla="*/ 179917 w 1894417"/>
                  <a:gd name="connsiteY122" fmla="*/ 1261533 h 5977466"/>
                  <a:gd name="connsiteX123" fmla="*/ 440267 w 1894417"/>
                  <a:gd name="connsiteY123" fmla="*/ 1051983 h 5977466"/>
                  <a:gd name="connsiteX124" fmla="*/ 668867 w 1894417"/>
                  <a:gd name="connsiteY124" fmla="*/ 861483 h 5977466"/>
                  <a:gd name="connsiteX125" fmla="*/ 795867 w 1894417"/>
                  <a:gd name="connsiteY125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42433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309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42433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30917 w 1894417"/>
                  <a:gd name="connsiteY29" fmla="*/ 1579033 h 5977466"/>
                  <a:gd name="connsiteX30" fmla="*/ 1830918 w 1894417"/>
                  <a:gd name="connsiteY30" fmla="*/ 1582208 h 5977466"/>
                  <a:gd name="connsiteX31" fmla="*/ 1843617 w 1894417"/>
                  <a:gd name="connsiteY31" fmla="*/ 1680633 h 5977466"/>
                  <a:gd name="connsiteX32" fmla="*/ 1894417 w 1894417"/>
                  <a:gd name="connsiteY32" fmla="*/ 1744133 h 5977466"/>
                  <a:gd name="connsiteX33" fmla="*/ 1843617 w 1894417"/>
                  <a:gd name="connsiteY33" fmla="*/ 1794933 h 5977466"/>
                  <a:gd name="connsiteX34" fmla="*/ 1843617 w 1894417"/>
                  <a:gd name="connsiteY34" fmla="*/ 1966383 h 5977466"/>
                  <a:gd name="connsiteX35" fmla="*/ 1830917 w 1894417"/>
                  <a:gd name="connsiteY35" fmla="*/ 2042583 h 5977466"/>
                  <a:gd name="connsiteX36" fmla="*/ 1824567 w 1894417"/>
                  <a:gd name="connsiteY36" fmla="*/ 2302933 h 5977466"/>
                  <a:gd name="connsiteX37" fmla="*/ 1875367 w 1894417"/>
                  <a:gd name="connsiteY37" fmla="*/ 2385483 h 5977466"/>
                  <a:gd name="connsiteX38" fmla="*/ 1811867 w 1894417"/>
                  <a:gd name="connsiteY38" fmla="*/ 2461683 h 5977466"/>
                  <a:gd name="connsiteX39" fmla="*/ 1786467 w 1894417"/>
                  <a:gd name="connsiteY39" fmla="*/ 2601383 h 5977466"/>
                  <a:gd name="connsiteX40" fmla="*/ 1748367 w 1894417"/>
                  <a:gd name="connsiteY40" fmla="*/ 2683933 h 5977466"/>
                  <a:gd name="connsiteX41" fmla="*/ 1729317 w 1894417"/>
                  <a:gd name="connsiteY41" fmla="*/ 2931583 h 5977466"/>
                  <a:gd name="connsiteX42" fmla="*/ 1742017 w 1894417"/>
                  <a:gd name="connsiteY42" fmla="*/ 3058583 h 5977466"/>
                  <a:gd name="connsiteX43" fmla="*/ 1786467 w 1894417"/>
                  <a:gd name="connsiteY43" fmla="*/ 3160183 h 5977466"/>
                  <a:gd name="connsiteX44" fmla="*/ 1754717 w 1894417"/>
                  <a:gd name="connsiteY44" fmla="*/ 3318933 h 5977466"/>
                  <a:gd name="connsiteX45" fmla="*/ 1589617 w 1894417"/>
                  <a:gd name="connsiteY45" fmla="*/ 3426883 h 5977466"/>
                  <a:gd name="connsiteX46" fmla="*/ 1519767 w 1894417"/>
                  <a:gd name="connsiteY46" fmla="*/ 3395133 h 5977466"/>
                  <a:gd name="connsiteX47" fmla="*/ 1576917 w 1894417"/>
                  <a:gd name="connsiteY47" fmla="*/ 3318933 h 5977466"/>
                  <a:gd name="connsiteX48" fmla="*/ 1589617 w 1894417"/>
                  <a:gd name="connsiteY48" fmla="*/ 3217333 h 5977466"/>
                  <a:gd name="connsiteX49" fmla="*/ 1557867 w 1894417"/>
                  <a:gd name="connsiteY49" fmla="*/ 3191933 h 5977466"/>
                  <a:gd name="connsiteX50" fmla="*/ 1519767 w 1894417"/>
                  <a:gd name="connsiteY50" fmla="*/ 3147483 h 5977466"/>
                  <a:gd name="connsiteX51" fmla="*/ 1519767 w 1894417"/>
                  <a:gd name="connsiteY51" fmla="*/ 2531533 h 5977466"/>
                  <a:gd name="connsiteX52" fmla="*/ 1583267 w 1894417"/>
                  <a:gd name="connsiteY52" fmla="*/ 2188633 h 5977466"/>
                  <a:gd name="connsiteX53" fmla="*/ 1532467 w 1894417"/>
                  <a:gd name="connsiteY53" fmla="*/ 2023533 h 5977466"/>
                  <a:gd name="connsiteX54" fmla="*/ 1494367 w 1894417"/>
                  <a:gd name="connsiteY54" fmla="*/ 2106083 h 5977466"/>
                  <a:gd name="connsiteX55" fmla="*/ 1494367 w 1894417"/>
                  <a:gd name="connsiteY55" fmla="*/ 2302933 h 5977466"/>
                  <a:gd name="connsiteX56" fmla="*/ 1494367 w 1894417"/>
                  <a:gd name="connsiteY56" fmla="*/ 2461683 h 5977466"/>
                  <a:gd name="connsiteX57" fmla="*/ 1507067 w 1894417"/>
                  <a:gd name="connsiteY57" fmla="*/ 3255433 h 5977466"/>
                  <a:gd name="connsiteX58" fmla="*/ 1475317 w 1894417"/>
                  <a:gd name="connsiteY58" fmla="*/ 3604683 h 5977466"/>
                  <a:gd name="connsiteX59" fmla="*/ 1430867 w 1894417"/>
                  <a:gd name="connsiteY59" fmla="*/ 4030133 h 5977466"/>
                  <a:gd name="connsiteX60" fmla="*/ 1316567 w 1894417"/>
                  <a:gd name="connsiteY60" fmla="*/ 4728633 h 5977466"/>
                  <a:gd name="connsiteX61" fmla="*/ 1259417 w 1894417"/>
                  <a:gd name="connsiteY61" fmla="*/ 5046133 h 5977466"/>
                  <a:gd name="connsiteX62" fmla="*/ 1202267 w 1894417"/>
                  <a:gd name="connsiteY62" fmla="*/ 5262033 h 5977466"/>
                  <a:gd name="connsiteX63" fmla="*/ 1322917 w 1894417"/>
                  <a:gd name="connsiteY63" fmla="*/ 5395383 h 5977466"/>
                  <a:gd name="connsiteX64" fmla="*/ 1348317 w 1894417"/>
                  <a:gd name="connsiteY64" fmla="*/ 5560483 h 5977466"/>
                  <a:gd name="connsiteX65" fmla="*/ 1265767 w 1894417"/>
                  <a:gd name="connsiteY65" fmla="*/ 5585883 h 5977466"/>
                  <a:gd name="connsiteX66" fmla="*/ 1418167 w 1894417"/>
                  <a:gd name="connsiteY66" fmla="*/ 5700183 h 5977466"/>
                  <a:gd name="connsiteX67" fmla="*/ 1443567 w 1894417"/>
                  <a:gd name="connsiteY67" fmla="*/ 5776383 h 5977466"/>
                  <a:gd name="connsiteX68" fmla="*/ 1316567 w 1894417"/>
                  <a:gd name="connsiteY68" fmla="*/ 5865283 h 5977466"/>
                  <a:gd name="connsiteX69" fmla="*/ 1132417 w 1894417"/>
                  <a:gd name="connsiteY69" fmla="*/ 5839883 h 5977466"/>
                  <a:gd name="connsiteX70" fmla="*/ 1068917 w 1894417"/>
                  <a:gd name="connsiteY70" fmla="*/ 5731933 h 5977466"/>
                  <a:gd name="connsiteX71" fmla="*/ 922867 w 1894417"/>
                  <a:gd name="connsiteY71" fmla="*/ 5693833 h 5977466"/>
                  <a:gd name="connsiteX72" fmla="*/ 891117 w 1894417"/>
                  <a:gd name="connsiteY72" fmla="*/ 5611283 h 5977466"/>
                  <a:gd name="connsiteX73" fmla="*/ 865717 w 1894417"/>
                  <a:gd name="connsiteY73" fmla="*/ 5598583 h 5977466"/>
                  <a:gd name="connsiteX74" fmla="*/ 853017 w 1894417"/>
                  <a:gd name="connsiteY74" fmla="*/ 4500033 h 5977466"/>
                  <a:gd name="connsiteX75" fmla="*/ 935567 w 1894417"/>
                  <a:gd name="connsiteY75" fmla="*/ 3680883 h 5977466"/>
                  <a:gd name="connsiteX76" fmla="*/ 986367 w 1894417"/>
                  <a:gd name="connsiteY76" fmla="*/ 3376083 h 5977466"/>
                  <a:gd name="connsiteX77" fmla="*/ 916517 w 1894417"/>
                  <a:gd name="connsiteY77" fmla="*/ 3490383 h 5977466"/>
                  <a:gd name="connsiteX78" fmla="*/ 802217 w 1894417"/>
                  <a:gd name="connsiteY78" fmla="*/ 3960283 h 5977466"/>
                  <a:gd name="connsiteX79" fmla="*/ 783167 w 1894417"/>
                  <a:gd name="connsiteY79" fmla="*/ 4334933 h 5977466"/>
                  <a:gd name="connsiteX80" fmla="*/ 814917 w 1894417"/>
                  <a:gd name="connsiteY80" fmla="*/ 4944533 h 5977466"/>
                  <a:gd name="connsiteX81" fmla="*/ 846667 w 1894417"/>
                  <a:gd name="connsiteY81" fmla="*/ 5585883 h 5977466"/>
                  <a:gd name="connsiteX82" fmla="*/ 668867 w 1894417"/>
                  <a:gd name="connsiteY82" fmla="*/ 5801783 h 5977466"/>
                  <a:gd name="connsiteX83" fmla="*/ 510117 w 1894417"/>
                  <a:gd name="connsiteY83" fmla="*/ 5960533 h 5977466"/>
                  <a:gd name="connsiteX84" fmla="*/ 345017 w 1894417"/>
                  <a:gd name="connsiteY84" fmla="*/ 5903383 h 5977466"/>
                  <a:gd name="connsiteX85" fmla="*/ 351367 w 1894417"/>
                  <a:gd name="connsiteY85" fmla="*/ 5738283 h 5977466"/>
                  <a:gd name="connsiteX86" fmla="*/ 332317 w 1894417"/>
                  <a:gd name="connsiteY86" fmla="*/ 5579533 h 5977466"/>
                  <a:gd name="connsiteX87" fmla="*/ 306917 w 1894417"/>
                  <a:gd name="connsiteY87" fmla="*/ 5236633 h 5977466"/>
                  <a:gd name="connsiteX88" fmla="*/ 338667 w 1894417"/>
                  <a:gd name="connsiteY88" fmla="*/ 5096933 h 5977466"/>
                  <a:gd name="connsiteX89" fmla="*/ 357717 w 1894417"/>
                  <a:gd name="connsiteY89" fmla="*/ 4639733 h 5977466"/>
                  <a:gd name="connsiteX90" fmla="*/ 389467 w 1894417"/>
                  <a:gd name="connsiteY90" fmla="*/ 4512733 h 5977466"/>
                  <a:gd name="connsiteX91" fmla="*/ 370417 w 1894417"/>
                  <a:gd name="connsiteY91" fmla="*/ 4347633 h 5977466"/>
                  <a:gd name="connsiteX92" fmla="*/ 351367 w 1894417"/>
                  <a:gd name="connsiteY92" fmla="*/ 4163483 h 5977466"/>
                  <a:gd name="connsiteX93" fmla="*/ 383117 w 1894417"/>
                  <a:gd name="connsiteY93" fmla="*/ 3534833 h 5977466"/>
                  <a:gd name="connsiteX94" fmla="*/ 376767 w 1894417"/>
                  <a:gd name="connsiteY94" fmla="*/ 3083983 h 5977466"/>
                  <a:gd name="connsiteX95" fmla="*/ 313267 w 1894417"/>
                  <a:gd name="connsiteY95" fmla="*/ 2810933 h 5977466"/>
                  <a:gd name="connsiteX96" fmla="*/ 351367 w 1894417"/>
                  <a:gd name="connsiteY96" fmla="*/ 2442633 h 5977466"/>
                  <a:gd name="connsiteX97" fmla="*/ 376767 w 1894417"/>
                  <a:gd name="connsiteY97" fmla="*/ 2137833 h 5977466"/>
                  <a:gd name="connsiteX98" fmla="*/ 345017 w 1894417"/>
                  <a:gd name="connsiteY98" fmla="*/ 2036233 h 5977466"/>
                  <a:gd name="connsiteX99" fmla="*/ 300567 w 1894417"/>
                  <a:gd name="connsiteY99" fmla="*/ 2169583 h 5977466"/>
                  <a:gd name="connsiteX100" fmla="*/ 319617 w 1894417"/>
                  <a:gd name="connsiteY100" fmla="*/ 2461683 h 5977466"/>
                  <a:gd name="connsiteX101" fmla="*/ 294217 w 1894417"/>
                  <a:gd name="connsiteY101" fmla="*/ 2842683 h 5977466"/>
                  <a:gd name="connsiteX102" fmla="*/ 275167 w 1894417"/>
                  <a:gd name="connsiteY102" fmla="*/ 2995083 h 5977466"/>
                  <a:gd name="connsiteX103" fmla="*/ 313267 w 1894417"/>
                  <a:gd name="connsiteY103" fmla="*/ 3039533 h 5977466"/>
                  <a:gd name="connsiteX104" fmla="*/ 313267 w 1894417"/>
                  <a:gd name="connsiteY104" fmla="*/ 3172883 h 5977466"/>
                  <a:gd name="connsiteX105" fmla="*/ 319617 w 1894417"/>
                  <a:gd name="connsiteY105" fmla="*/ 3299883 h 5977466"/>
                  <a:gd name="connsiteX106" fmla="*/ 281517 w 1894417"/>
                  <a:gd name="connsiteY106" fmla="*/ 3299883 h 5977466"/>
                  <a:gd name="connsiteX107" fmla="*/ 275167 w 1894417"/>
                  <a:gd name="connsiteY107" fmla="*/ 3185583 h 5977466"/>
                  <a:gd name="connsiteX108" fmla="*/ 249767 w 1894417"/>
                  <a:gd name="connsiteY108" fmla="*/ 3261783 h 5977466"/>
                  <a:gd name="connsiteX109" fmla="*/ 294217 w 1894417"/>
                  <a:gd name="connsiteY109" fmla="*/ 3357033 h 5977466"/>
                  <a:gd name="connsiteX110" fmla="*/ 306917 w 1894417"/>
                  <a:gd name="connsiteY110" fmla="*/ 3426883 h 5977466"/>
                  <a:gd name="connsiteX111" fmla="*/ 243417 w 1894417"/>
                  <a:gd name="connsiteY111" fmla="*/ 3420533 h 5977466"/>
                  <a:gd name="connsiteX112" fmla="*/ 160867 w 1894417"/>
                  <a:gd name="connsiteY112" fmla="*/ 3318933 h 5977466"/>
                  <a:gd name="connsiteX113" fmla="*/ 122767 w 1894417"/>
                  <a:gd name="connsiteY113" fmla="*/ 3274483 h 5977466"/>
                  <a:gd name="connsiteX114" fmla="*/ 110067 w 1894417"/>
                  <a:gd name="connsiteY114" fmla="*/ 3001433 h 5977466"/>
                  <a:gd name="connsiteX115" fmla="*/ 110067 w 1894417"/>
                  <a:gd name="connsiteY115" fmla="*/ 2779183 h 5977466"/>
                  <a:gd name="connsiteX116" fmla="*/ 59267 w 1894417"/>
                  <a:gd name="connsiteY116" fmla="*/ 2385483 h 5977466"/>
                  <a:gd name="connsiteX117" fmla="*/ 84667 w 1894417"/>
                  <a:gd name="connsiteY117" fmla="*/ 2137833 h 5977466"/>
                  <a:gd name="connsiteX118" fmla="*/ 78317 w 1894417"/>
                  <a:gd name="connsiteY118" fmla="*/ 2010833 h 5977466"/>
                  <a:gd name="connsiteX119" fmla="*/ 2117 w 1894417"/>
                  <a:gd name="connsiteY119" fmla="*/ 1902883 h 5977466"/>
                  <a:gd name="connsiteX120" fmla="*/ 91017 w 1894417"/>
                  <a:gd name="connsiteY120" fmla="*/ 1756833 h 5977466"/>
                  <a:gd name="connsiteX121" fmla="*/ 91018 w 1894417"/>
                  <a:gd name="connsiteY121" fmla="*/ 1591733 h 5977466"/>
                  <a:gd name="connsiteX122" fmla="*/ 179917 w 1894417"/>
                  <a:gd name="connsiteY122" fmla="*/ 1261533 h 5977466"/>
                  <a:gd name="connsiteX123" fmla="*/ 440267 w 1894417"/>
                  <a:gd name="connsiteY123" fmla="*/ 1051983 h 5977466"/>
                  <a:gd name="connsiteX124" fmla="*/ 668867 w 1894417"/>
                  <a:gd name="connsiteY124" fmla="*/ 861483 h 5977466"/>
                  <a:gd name="connsiteX125" fmla="*/ 795867 w 1894417"/>
                  <a:gd name="connsiteY125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42433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309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42433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80533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392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832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19767 w 1894417"/>
                  <a:gd name="connsiteY50" fmla="*/ 2531533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919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86467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5471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683933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022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351367 w 1894417"/>
                  <a:gd name="connsiteY84" fmla="*/ 57382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332317 w 1894417"/>
                  <a:gd name="connsiteY85" fmla="*/ 557953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06917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79942 w 1894417"/>
                  <a:gd name="connsiteY86" fmla="*/ 5236633 h 5977466"/>
                  <a:gd name="connsiteX87" fmla="*/ 338667 w 1894417"/>
                  <a:gd name="connsiteY87" fmla="*/ 5096933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79942 w 1894417"/>
                  <a:gd name="connsiteY86" fmla="*/ 5236633 h 5977466"/>
                  <a:gd name="connsiteX87" fmla="*/ 3386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79942 w 1894417"/>
                  <a:gd name="connsiteY86" fmla="*/ 5236633 h 5977466"/>
                  <a:gd name="connsiteX87" fmla="*/ 3386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79942 w 1894417"/>
                  <a:gd name="connsiteY86" fmla="*/ 5236633 h 5977466"/>
                  <a:gd name="connsiteX87" fmla="*/ 3386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3799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57717 w 1894417"/>
                  <a:gd name="connsiteY88" fmla="*/ 4639733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408517 w 1894417"/>
                  <a:gd name="connsiteY85" fmla="*/ 5509683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02167 w 1894417"/>
                  <a:gd name="connsiteY84" fmla="*/ 5687483 h 5977466"/>
                  <a:gd name="connsiteX85" fmla="*/ 379942 w 1894417"/>
                  <a:gd name="connsiteY85" fmla="*/ 5595408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418042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91055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91055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89467 w 1894417"/>
                  <a:gd name="connsiteY89" fmla="*/ 4512733 h 5977466"/>
                  <a:gd name="connsiteX90" fmla="*/ 370417 w 1894417"/>
                  <a:gd name="connsiteY90" fmla="*/ 4347633 h 5977466"/>
                  <a:gd name="connsiteX91" fmla="*/ 351367 w 1894417"/>
                  <a:gd name="connsiteY91" fmla="*/ 4163483 h 5977466"/>
                  <a:gd name="connsiteX92" fmla="*/ 383117 w 1894417"/>
                  <a:gd name="connsiteY92" fmla="*/ 3534833 h 5977466"/>
                  <a:gd name="connsiteX93" fmla="*/ 376767 w 1894417"/>
                  <a:gd name="connsiteY93" fmla="*/ 3083983 h 5977466"/>
                  <a:gd name="connsiteX94" fmla="*/ 313267 w 1894417"/>
                  <a:gd name="connsiteY94" fmla="*/ 2810933 h 5977466"/>
                  <a:gd name="connsiteX95" fmla="*/ 351367 w 1894417"/>
                  <a:gd name="connsiteY95" fmla="*/ 2442633 h 5977466"/>
                  <a:gd name="connsiteX96" fmla="*/ 376767 w 1894417"/>
                  <a:gd name="connsiteY96" fmla="*/ 2137833 h 5977466"/>
                  <a:gd name="connsiteX97" fmla="*/ 345017 w 1894417"/>
                  <a:gd name="connsiteY97" fmla="*/ 2036233 h 5977466"/>
                  <a:gd name="connsiteX98" fmla="*/ 300567 w 1894417"/>
                  <a:gd name="connsiteY98" fmla="*/ 2169583 h 5977466"/>
                  <a:gd name="connsiteX99" fmla="*/ 319617 w 1894417"/>
                  <a:gd name="connsiteY99" fmla="*/ 2461683 h 5977466"/>
                  <a:gd name="connsiteX100" fmla="*/ 294217 w 1894417"/>
                  <a:gd name="connsiteY100" fmla="*/ 2842683 h 5977466"/>
                  <a:gd name="connsiteX101" fmla="*/ 275167 w 1894417"/>
                  <a:gd name="connsiteY101" fmla="*/ 2995083 h 5977466"/>
                  <a:gd name="connsiteX102" fmla="*/ 313267 w 1894417"/>
                  <a:gd name="connsiteY102" fmla="*/ 3039533 h 5977466"/>
                  <a:gd name="connsiteX103" fmla="*/ 313267 w 1894417"/>
                  <a:gd name="connsiteY103" fmla="*/ 3172883 h 5977466"/>
                  <a:gd name="connsiteX104" fmla="*/ 319617 w 1894417"/>
                  <a:gd name="connsiteY104" fmla="*/ 3299883 h 5977466"/>
                  <a:gd name="connsiteX105" fmla="*/ 281517 w 1894417"/>
                  <a:gd name="connsiteY105" fmla="*/ 3299883 h 5977466"/>
                  <a:gd name="connsiteX106" fmla="*/ 275167 w 1894417"/>
                  <a:gd name="connsiteY106" fmla="*/ 3185583 h 5977466"/>
                  <a:gd name="connsiteX107" fmla="*/ 249767 w 1894417"/>
                  <a:gd name="connsiteY107" fmla="*/ 3261783 h 5977466"/>
                  <a:gd name="connsiteX108" fmla="*/ 294217 w 1894417"/>
                  <a:gd name="connsiteY108" fmla="*/ 3357033 h 5977466"/>
                  <a:gd name="connsiteX109" fmla="*/ 306917 w 1894417"/>
                  <a:gd name="connsiteY109" fmla="*/ 3426883 h 5977466"/>
                  <a:gd name="connsiteX110" fmla="*/ 243417 w 1894417"/>
                  <a:gd name="connsiteY110" fmla="*/ 3420533 h 5977466"/>
                  <a:gd name="connsiteX111" fmla="*/ 160867 w 1894417"/>
                  <a:gd name="connsiteY111" fmla="*/ 3318933 h 5977466"/>
                  <a:gd name="connsiteX112" fmla="*/ 122767 w 1894417"/>
                  <a:gd name="connsiteY112" fmla="*/ 3274483 h 5977466"/>
                  <a:gd name="connsiteX113" fmla="*/ 110067 w 1894417"/>
                  <a:gd name="connsiteY113" fmla="*/ 3001433 h 5977466"/>
                  <a:gd name="connsiteX114" fmla="*/ 110067 w 1894417"/>
                  <a:gd name="connsiteY114" fmla="*/ 2779183 h 5977466"/>
                  <a:gd name="connsiteX115" fmla="*/ 59267 w 1894417"/>
                  <a:gd name="connsiteY115" fmla="*/ 2385483 h 5977466"/>
                  <a:gd name="connsiteX116" fmla="*/ 84667 w 1894417"/>
                  <a:gd name="connsiteY116" fmla="*/ 2137833 h 5977466"/>
                  <a:gd name="connsiteX117" fmla="*/ 78317 w 1894417"/>
                  <a:gd name="connsiteY117" fmla="*/ 2010833 h 5977466"/>
                  <a:gd name="connsiteX118" fmla="*/ 2117 w 1894417"/>
                  <a:gd name="connsiteY118" fmla="*/ 1902883 h 5977466"/>
                  <a:gd name="connsiteX119" fmla="*/ 91017 w 1894417"/>
                  <a:gd name="connsiteY119" fmla="*/ 1756833 h 5977466"/>
                  <a:gd name="connsiteX120" fmla="*/ 91018 w 1894417"/>
                  <a:gd name="connsiteY120" fmla="*/ 1591733 h 5977466"/>
                  <a:gd name="connsiteX121" fmla="*/ 179917 w 1894417"/>
                  <a:gd name="connsiteY121" fmla="*/ 1261533 h 5977466"/>
                  <a:gd name="connsiteX122" fmla="*/ 440267 w 1894417"/>
                  <a:gd name="connsiteY122" fmla="*/ 1051983 h 5977466"/>
                  <a:gd name="connsiteX123" fmla="*/ 668867 w 1894417"/>
                  <a:gd name="connsiteY123" fmla="*/ 861483 h 5977466"/>
                  <a:gd name="connsiteX124" fmla="*/ 795867 w 1894417"/>
                  <a:gd name="connsiteY124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70417 w 1894417"/>
                  <a:gd name="connsiteY89" fmla="*/ 4347633 h 5977466"/>
                  <a:gd name="connsiteX90" fmla="*/ 351367 w 1894417"/>
                  <a:gd name="connsiteY90" fmla="*/ 4163483 h 5977466"/>
                  <a:gd name="connsiteX91" fmla="*/ 383117 w 1894417"/>
                  <a:gd name="connsiteY91" fmla="*/ 3534833 h 5977466"/>
                  <a:gd name="connsiteX92" fmla="*/ 376767 w 1894417"/>
                  <a:gd name="connsiteY92" fmla="*/ 3083983 h 5977466"/>
                  <a:gd name="connsiteX93" fmla="*/ 313267 w 1894417"/>
                  <a:gd name="connsiteY93" fmla="*/ 2810933 h 5977466"/>
                  <a:gd name="connsiteX94" fmla="*/ 351367 w 1894417"/>
                  <a:gd name="connsiteY94" fmla="*/ 2442633 h 5977466"/>
                  <a:gd name="connsiteX95" fmla="*/ 376767 w 1894417"/>
                  <a:gd name="connsiteY95" fmla="*/ 2137833 h 5977466"/>
                  <a:gd name="connsiteX96" fmla="*/ 345017 w 1894417"/>
                  <a:gd name="connsiteY96" fmla="*/ 2036233 h 5977466"/>
                  <a:gd name="connsiteX97" fmla="*/ 300567 w 1894417"/>
                  <a:gd name="connsiteY97" fmla="*/ 2169583 h 5977466"/>
                  <a:gd name="connsiteX98" fmla="*/ 319617 w 1894417"/>
                  <a:gd name="connsiteY98" fmla="*/ 2461683 h 5977466"/>
                  <a:gd name="connsiteX99" fmla="*/ 294217 w 1894417"/>
                  <a:gd name="connsiteY99" fmla="*/ 2842683 h 5977466"/>
                  <a:gd name="connsiteX100" fmla="*/ 275167 w 1894417"/>
                  <a:gd name="connsiteY100" fmla="*/ 2995083 h 5977466"/>
                  <a:gd name="connsiteX101" fmla="*/ 313267 w 1894417"/>
                  <a:gd name="connsiteY101" fmla="*/ 3039533 h 5977466"/>
                  <a:gd name="connsiteX102" fmla="*/ 313267 w 1894417"/>
                  <a:gd name="connsiteY102" fmla="*/ 3172883 h 5977466"/>
                  <a:gd name="connsiteX103" fmla="*/ 319617 w 1894417"/>
                  <a:gd name="connsiteY103" fmla="*/ 3299883 h 5977466"/>
                  <a:gd name="connsiteX104" fmla="*/ 281517 w 1894417"/>
                  <a:gd name="connsiteY104" fmla="*/ 3299883 h 5977466"/>
                  <a:gd name="connsiteX105" fmla="*/ 275167 w 1894417"/>
                  <a:gd name="connsiteY105" fmla="*/ 3185583 h 5977466"/>
                  <a:gd name="connsiteX106" fmla="*/ 249767 w 1894417"/>
                  <a:gd name="connsiteY106" fmla="*/ 3261783 h 5977466"/>
                  <a:gd name="connsiteX107" fmla="*/ 294217 w 1894417"/>
                  <a:gd name="connsiteY107" fmla="*/ 3357033 h 5977466"/>
                  <a:gd name="connsiteX108" fmla="*/ 306917 w 1894417"/>
                  <a:gd name="connsiteY108" fmla="*/ 3426883 h 5977466"/>
                  <a:gd name="connsiteX109" fmla="*/ 243417 w 1894417"/>
                  <a:gd name="connsiteY109" fmla="*/ 3420533 h 5977466"/>
                  <a:gd name="connsiteX110" fmla="*/ 160867 w 1894417"/>
                  <a:gd name="connsiteY110" fmla="*/ 3318933 h 5977466"/>
                  <a:gd name="connsiteX111" fmla="*/ 122767 w 1894417"/>
                  <a:gd name="connsiteY111" fmla="*/ 3274483 h 5977466"/>
                  <a:gd name="connsiteX112" fmla="*/ 110067 w 1894417"/>
                  <a:gd name="connsiteY112" fmla="*/ 3001433 h 5977466"/>
                  <a:gd name="connsiteX113" fmla="*/ 110067 w 1894417"/>
                  <a:gd name="connsiteY113" fmla="*/ 2779183 h 5977466"/>
                  <a:gd name="connsiteX114" fmla="*/ 59267 w 1894417"/>
                  <a:gd name="connsiteY114" fmla="*/ 2385483 h 5977466"/>
                  <a:gd name="connsiteX115" fmla="*/ 84667 w 1894417"/>
                  <a:gd name="connsiteY115" fmla="*/ 2137833 h 5977466"/>
                  <a:gd name="connsiteX116" fmla="*/ 78317 w 1894417"/>
                  <a:gd name="connsiteY116" fmla="*/ 2010833 h 5977466"/>
                  <a:gd name="connsiteX117" fmla="*/ 2117 w 1894417"/>
                  <a:gd name="connsiteY117" fmla="*/ 1902883 h 5977466"/>
                  <a:gd name="connsiteX118" fmla="*/ 91017 w 1894417"/>
                  <a:gd name="connsiteY118" fmla="*/ 1756833 h 5977466"/>
                  <a:gd name="connsiteX119" fmla="*/ 91018 w 1894417"/>
                  <a:gd name="connsiteY119" fmla="*/ 1591733 h 5977466"/>
                  <a:gd name="connsiteX120" fmla="*/ 179917 w 1894417"/>
                  <a:gd name="connsiteY120" fmla="*/ 1261533 h 5977466"/>
                  <a:gd name="connsiteX121" fmla="*/ 440267 w 1894417"/>
                  <a:gd name="connsiteY121" fmla="*/ 1051983 h 5977466"/>
                  <a:gd name="connsiteX122" fmla="*/ 668867 w 1894417"/>
                  <a:gd name="connsiteY122" fmla="*/ 861483 h 5977466"/>
                  <a:gd name="connsiteX123" fmla="*/ 795867 w 1894417"/>
                  <a:gd name="connsiteY123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51367 w 1894417"/>
                  <a:gd name="connsiteY89" fmla="*/ 4163483 h 5977466"/>
                  <a:gd name="connsiteX90" fmla="*/ 383117 w 1894417"/>
                  <a:gd name="connsiteY90" fmla="*/ 3534833 h 5977466"/>
                  <a:gd name="connsiteX91" fmla="*/ 376767 w 1894417"/>
                  <a:gd name="connsiteY91" fmla="*/ 3083983 h 5977466"/>
                  <a:gd name="connsiteX92" fmla="*/ 313267 w 1894417"/>
                  <a:gd name="connsiteY92" fmla="*/ 2810933 h 5977466"/>
                  <a:gd name="connsiteX93" fmla="*/ 351367 w 1894417"/>
                  <a:gd name="connsiteY93" fmla="*/ 2442633 h 5977466"/>
                  <a:gd name="connsiteX94" fmla="*/ 376767 w 1894417"/>
                  <a:gd name="connsiteY94" fmla="*/ 2137833 h 5977466"/>
                  <a:gd name="connsiteX95" fmla="*/ 345017 w 1894417"/>
                  <a:gd name="connsiteY95" fmla="*/ 2036233 h 5977466"/>
                  <a:gd name="connsiteX96" fmla="*/ 300567 w 1894417"/>
                  <a:gd name="connsiteY96" fmla="*/ 2169583 h 5977466"/>
                  <a:gd name="connsiteX97" fmla="*/ 319617 w 1894417"/>
                  <a:gd name="connsiteY97" fmla="*/ 2461683 h 5977466"/>
                  <a:gd name="connsiteX98" fmla="*/ 294217 w 1894417"/>
                  <a:gd name="connsiteY98" fmla="*/ 2842683 h 5977466"/>
                  <a:gd name="connsiteX99" fmla="*/ 275167 w 1894417"/>
                  <a:gd name="connsiteY99" fmla="*/ 2995083 h 5977466"/>
                  <a:gd name="connsiteX100" fmla="*/ 313267 w 1894417"/>
                  <a:gd name="connsiteY100" fmla="*/ 3039533 h 5977466"/>
                  <a:gd name="connsiteX101" fmla="*/ 313267 w 1894417"/>
                  <a:gd name="connsiteY101" fmla="*/ 3172883 h 5977466"/>
                  <a:gd name="connsiteX102" fmla="*/ 319617 w 1894417"/>
                  <a:gd name="connsiteY102" fmla="*/ 3299883 h 5977466"/>
                  <a:gd name="connsiteX103" fmla="*/ 281517 w 1894417"/>
                  <a:gd name="connsiteY103" fmla="*/ 3299883 h 5977466"/>
                  <a:gd name="connsiteX104" fmla="*/ 275167 w 1894417"/>
                  <a:gd name="connsiteY104" fmla="*/ 3185583 h 5977466"/>
                  <a:gd name="connsiteX105" fmla="*/ 249767 w 1894417"/>
                  <a:gd name="connsiteY105" fmla="*/ 3261783 h 5977466"/>
                  <a:gd name="connsiteX106" fmla="*/ 294217 w 1894417"/>
                  <a:gd name="connsiteY106" fmla="*/ 3357033 h 5977466"/>
                  <a:gd name="connsiteX107" fmla="*/ 306917 w 1894417"/>
                  <a:gd name="connsiteY107" fmla="*/ 3426883 h 5977466"/>
                  <a:gd name="connsiteX108" fmla="*/ 243417 w 1894417"/>
                  <a:gd name="connsiteY108" fmla="*/ 3420533 h 5977466"/>
                  <a:gd name="connsiteX109" fmla="*/ 160867 w 1894417"/>
                  <a:gd name="connsiteY109" fmla="*/ 3318933 h 5977466"/>
                  <a:gd name="connsiteX110" fmla="*/ 122767 w 1894417"/>
                  <a:gd name="connsiteY110" fmla="*/ 3274483 h 5977466"/>
                  <a:gd name="connsiteX111" fmla="*/ 110067 w 1894417"/>
                  <a:gd name="connsiteY111" fmla="*/ 3001433 h 5977466"/>
                  <a:gd name="connsiteX112" fmla="*/ 110067 w 1894417"/>
                  <a:gd name="connsiteY112" fmla="*/ 2779183 h 5977466"/>
                  <a:gd name="connsiteX113" fmla="*/ 59267 w 1894417"/>
                  <a:gd name="connsiteY113" fmla="*/ 2385483 h 5977466"/>
                  <a:gd name="connsiteX114" fmla="*/ 84667 w 1894417"/>
                  <a:gd name="connsiteY114" fmla="*/ 2137833 h 5977466"/>
                  <a:gd name="connsiteX115" fmla="*/ 78317 w 1894417"/>
                  <a:gd name="connsiteY115" fmla="*/ 2010833 h 5977466"/>
                  <a:gd name="connsiteX116" fmla="*/ 2117 w 1894417"/>
                  <a:gd name="connsiteY116" fmla="*/ 1902883 h 5977466"/>
                  <a:gd name="connsiteX117" fmla="*/ 91017 w 1894417"/>
                  <a:gd name="connsiteY117" fmla="*/ 1756833 h 5977466"/>
                  <a:gd name="connsiteX118" fmla="*/ 91018 w 1894417"/>
                  <a:gd name="connsiteY118" fmla="*/ 1591733 h 5977466"/>
                  <a:gd name="connsiteX119" fmla="*/ 179917 w 1894417"/>
                  <a:gd name="connsiteY119" fmla="*/ 1261533 h 5977466"/>
                  <a:gd name="connsiteX120" fmla="*/ 440267 w 1894417"/>
                  <a:gd name="connsiteY120" fmla="*/ 1051983 h 5977466"/>
                  <a:gd name="connsiteX121" fmla="*/ 668867 w 1894417"/>
                  <a:gd name="connsiteY121" fmla="*/ 861483 h 5977466"/>
                  <a:gd name="connsiteX122" fmla="*/ 795867 w 1894417"/>
                  <a:gd name="connsiteY122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51367 w 1894417"/>
                  <a:gd name="connsiteY89" fmla="*/ 4163483 h 5977466"/>
                  <a:gd name="connsiteX90" fmla="*/ 383117 w 1894417"/>
                  <a:gd name="connsiteY90" fmla="*/ 3534833 h 5977466"/>
                  <a:gd name="connsiteX91" fmla="*/ 376767 w 1894417"/>
                  <a:gd name="connsiteY91" fmla="*/ 3083983 h 5977466"/>
                  <a:gd name="connsiteX92" fmla="*/ 313267 w 1894417"/>
                  <a:gd name="connsiteY92" fmla="*/ 2810933 h 5977466"/>
                  <a:gd name="connsiteX93" fmla="*/ 351367 w 1894417"/>
                  <a:gd name="connsiteY93" fmla="*/ 2442633 h 5977466"/>
                  <a:gd name="connsiteX94" fmla="*/ 376767 w 1894417"/>
                  <a:gd name="connsiteY94" fmla="*/ 2137833 h 5977466"/>
                  <a:gd name="connsiteX95" fmla="*/ 345017 w 1894417"/>
                  <a:gd name="connsiteY95" fmla="*/ 2036233 h 5977466"/>
                  <a:gd name="connsiteX96" fmla="*/ 300567 w 1894417"/>
                  <a:gd name="connsiteY96" fmla="*/ 2169583 h 5977466"/>
                  <a:gd name="connsiteX97" fmla="*/ 319617 w 1894417"/>
                  <a:gd name="connsiteY97" fmla="*/ 2461683 h 5977466"/>
                  <a:gd name="connsiteX98" fmla="*/ 294217 w 1894417"/>
                  <a:gd name="connsiteY98" fmla="*/ 2842683 h 5977466"/>
                  <a:gd name="connsiteX99" fmla="*/ 275167 w 1894417"/>
                  <a:gd name="connsiteY99" fmla="*/ 2995083 h 5977466"/>
                  <a:gd name="connsiteX100" fmla="*/ 313267 w 1894417"/>
                  <a:gd name="connsiteY100" fmla="*/ 3039533 h 5977466"/>
                  <a:gd name="connsiteX101" fmla="*/ 313267 w 1894417"/>
                  <a:gd name="connsiteY101" fmla="*/ 3172883 h 5977466"/>
                  <a:gd name="connsiteX102" fmla="*/ 319617 w 1894417"/>
                  <a:gd name="connsiteY102" fmla="*/ 3299883 h 5977466"/>
                  <a:gd name="connsiteX103" fmla="*/ 281517 w 1894417"/>
                  <a:gd name="connsiteY103" fmla="*/ 3299883 h 5977466"/>
                  <a:gd name="connsiteX104" fmla="*/ 275167 w 1894417"/>
                  <a:gd name="connsiteY104" fmla="*/ 3185583 h 5977466"/>
                  <a:gd name="connsiteX105" fmla="*/ 249767 w 1894417"/>
                  <a:gd name="connsiteY105" fmla="*/ 3261783 h 5977466"/>
                  <a:gd name="connsiteX106" fmla="*/ 294217 w 1894417"/>
                  <a:gd name="connsiteY106" fmla="*/ 3357033 h 5977466"/>
                  <a:gd name="connsiteX107" fmla="*/ 306917 w 1894417"/>
                  <a:gd name="connsiteY107" fmla="*/ 3426883 h 5977466"/>
                  <a:gd name="connsiteX108" fmla="*/ 243417 w 1894417"/>
                  <a:gd name="connsiteY108" fmla="*/ 3420533 h 5977466"/>
                  <a:gd name="connsiteX109" fmla="*/ 160867 w 1894417"/>
                  <a:gd name="connsiteY109" fmla="*/ 3318933 h 5977466"/>
                  <a:gd name="connsiteX110" fmla="*/ 122767 w 1894417"/>
                  <a:gd name="connsiteY110" fmla="*/ 3274483 h 5977466"/>
                  <a:gd name="connsiteX111" fmla="*/ 110067 w 1894417"/>
                  <a:gd name="connsiteY111" fmla="*/ 3001433 h 5977466"/>
                  <a:gd name="connsiteX112" fmla="*/ 110067 w 1894417"/>
                  <a:gd name="connsiteY112" fmla="*/ 2779183 h 5977466"/>
                  <a:gd name="connsiteX113" fmla="*/ 59267 w 1894417"/>
                  <a:gd name="connsiteY113" fmla="*/ 2385483 h 5977466"/>
                  <a:gd name="connsiteX114" fmla="*/ 84667 w 1894417"/>
                  <a:gd name="connsiteY114" fmla="*/ 2137833 h 5977466"/>
                  <a:gd name="connsiteX115" fmla="*/ 78317 w 1894417"/>
                  <a:gd name="connsiteY115" fmla="*/ 2010833 h 5977466"/>
                  <a:gd name="connsiteX116" fmla="*/ 2117 w 1894417"/>
                  <a:gd name="connsiteY116" fmla="*/ 1902883 h 5977466"/>
                  <a:gd name="connsiteX117" fmla="*/ 91017 w 1894417"/>
                  <a:gd name="connsiteY117" fmla="*/ 1756833 h 5977466"/>
                  <a:gd name="connsiteX118" fmla="*/ 91018 w 1894417"/>
                  <a:gd name="connsiteY118" fmla="*/ 1591733 h 5977466"/>
                  <a:gd name="connsiteX119" fmla="*/ 179917 w 1894417"/>
                  <a:gd name="connsiteY119" fmla="*/ 1261533 h 5977466"/>
                  <a:gd name="connsiteX120" fmla="*/ 440267 w 1894417"/>
                  <a:gd name="connsiteY120" fmla="*/ 1051983 h 5977466"/>
                  <a:gd name="connsiteX121" fmla="*/ 668867 w 1894417"/>
                  <a:gd name="connsiteY121" fmla="*/ 861483 h 5977466"/>
                  <a:gd name="connsiteX122" fmla="*/ 795867 w 1894417"/>
                  <a:gd name="connsiteY122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783167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51367 w 1894417"/>
                  <a:gd name="connsiteY89" fmla="*/ 4163483 h 5977466"/>
                  <a:gd name="connsiteX90" fmla="*/ 383117 w 1894417"/>
                  <a:gd name="connsiteY90" fmla="*/ 3534833 h 5977466"/>
                  <a:gd name="connsiteX91" fmla="*/ 376767 w 1894417"/>
                  <a:gd name="connsiteY91" fmla="*/ 3083983 h 5977466"/>
                  <a:gd name="connsiteX92" fmla="*/ 313267 w 1894417"/>
                  <a:gd name="connsiteY92" fmla="*/ 2810933 h 5977466"/>
                  <a:gd name="connsiteX93" fmla="*/ 351367 w 1894417"/>
                  <a:gd name="connsiteY93" fmla="*/ 2442633 h 5977466"/>
                  <a:gd name="connsiteX94" fmla="*/ 376767 w 1894417"/>
                  <a:gd name="connsiteY94" fmla="*/ 2137833 h 5977466"/>
                  <a:gd name="connsiteX95" fmla="*/ 345017 w 1894417"/>
                  <a:gd name="connsiteY95" fmla="*/ 2036233 h 5977466"/>
                  <a:gd name="connsiteX96" fmla="*/ 300567 w 1894417"/>
                  <a:gd name="connsiteY96" fmla="*/ 2169583 h 5977466"/>
                  <a:gd name="connsiteX97" fmla="*/ 319617 w 1894417"/>
                  <a:gd name="connsiteY97" fmla="*/ 2461683 h 5977466"/>
                  <a:gd name="connsiteX98" fmla="*/ 294217 w 1894417"/>
                  <a:gd name="connsiteY98" fmla="*/ 2842683 h 5977466"/>
                  <a:gd name="connsiteX99" fmla="*/ 275167 w 1894417"/>
                  <a:gd name="connsiteY99" fmla="*/ 2995083 h 5977466"/>
                  <a:gd name="connsiteX100" fmla="*/ 313267 w 1894417"/>
                  <a:gd name="connsiteY100" fmla="*/ 3039533 h 5977466"/>
                  <a:gd name="connsiteX101" fmla="*/ 313267 w 1894417"/>
                  <a:gd name="connsiteY101" fmla="*/ 3172883 h 5977466"/>
                  <a:gd name="connsiteX102" fmla="*/ 319617 w 1894417"/>
                  <a:gd name="connsiteY102" fmla="*/ 3299883 h 5977466"/>
                  <a:gd name="connsiteX103" fmla="*/ 281517 w 1894417"/>
                  <a:gd name="connsiteY103" fmla="*/ 3299883 h 5977466"/>
                  <a:gd name="connsiteX104" fmla="*/ 275167 w 1894417"/>
                  <a:gd name="connsiteY104" fmla="*/ 3185583 h 5977466"/>
                  <a:gd name="connsiteX105" fmla="*/ 249767 w 1894417"/>
                  <a:gd name="connsiteY105" fmla="*/ 3261783 h 5977466"/>
                  <a:gd name="connsiteX106" fmla="*/ 294217 w 1894417"/>
                  <a:gd name="connsiteY106" fmla="*/ 3357033 h 5977466"/>
                  <a:gd name="connsiteX107" fmla="*/ 306917 w 1894417"/>
                  <a:gd name="connsiteY107" fmla="*/ 3426883 h 5977466"/>
                  <a:gd name="connsiteX108" fmla="*/ 243417 w 1894417"/>
                  <a:gd name="connsiteY108" fmla="*/ 3420533 h 5977466"/>
                  <a:gd name="connsiteX109" fmla="*/ 160867 w 1894417"/>
                  <a:gd name="connsiteY109" fmla="*/ 3318933 h 5977466"/>
                  <a:gd name="connsiteX110" fmla="*/ 122767 w 1894417"/>
                  <a:gd name="connsiteY110" fmla="*/ 3274483 h 5977466"/>
                  <a:gd name="connsiteX111" fmla="*/ 110067 w 1894417"/>
                  <a:gd name="connsiteY111" fmla="*/ 3001433 h 5977466"/>
                  <a:gd name="connsiteX112" fmla="*/ 110067 w 1894417"/>
                  <a:gd name="connsiteY112" fmla="*/ 2779183 h 5977466"/>
                  <a:gd name="connsiteX113" fmla="*/ 59267 w 1894417"/>
                  <a:gd name="connsiteY113" fmla="*/ 2385483 h 5977466"/>
                  <a:gd name="connsiteX114" fmla="*/ 84667 w 1894417"/>
                  <a:gd name="connsiteY114" fmla="*/ 2137833 h 5977466"/>
                  <a:gd name="connsiteX115" fmla="*/ 78317 w 1894417"/>
                  <a:gd name="connsiteY115" fmla="*/ 2010833 h 5977466"/>
                  <a:gd name="connsiteX116" fmla="*/ 2117 w 1894417"/>
                  <a:gd name="connsiteY116" fmla="*/ 1902883 h 5977466"/>
                  <a:gd name="connsiteX117" fmla="*/ 91017 w 1894417"/>
                  <a:gd name="connsiteY117" fmla="*/ 1756833 h 5977466"/>
                  <a:gd name="connsiteX118" fmla="*/ 91018 w 1894417"/>
                  <a:gd name="connsiteY118" fmla="*/ 1591733 h 5977466"/>
                  <a:gd name="connsiteX119" fmla="*/ 179917 w 1894417"/>
                  <a:gd name="connsiteY119" fmla="*/ 1261533 h 5977466"/>
                  <a:gd name="connsiteX120" fmla="*/ 440267 w 1894417"/>
                  <a:gd name="connsiteY120" fmla="*/ 1051983 h 5977466"/>
                  <a:gd name="connsiteX121" fmla="*/ 668867 w 1894417"/>
                  <a:gd name="connsiteY121" fmla="*/ 861483 h 5977466"/>
                  <a:gd name="connsiteX122" fmla="*/ 795867 w 1894417"/>
                  <a:gd name="connsiteY122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824442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51367 w 1894417"/>
                  <a:gd name="connsiteY89" fmla="*/ 4163483 h 5977466"/>
                  <a:gd name="connsiteX90" fmla="*/ 383117 w 1894417"/>
                  <a:gd name="connsiteY90" fmla="*/ 3534833 h 5977466"/>
                  <a:gd name="connsiteX91" fmla="*/ 376767 w 1894417"/>
                  <a:gd name="connsiteY91" fmla="*/ 3083983 h 5977466"/>
                  <a:gd name="connsiteX92" fmla="*/ 313267 w 1894417"/>
                  <a:gd name="connsiteY92" fmla="*/ 2810933 h 5977466"/>
                  <a:gd name="connsiteX93" fmla="*/ 351367 w 1894417"/>
                  <a:gd name="connsiteY93" fmla="*/ 2442633 h 5977466"/>
                  <a:gd name="connsiteX94" fmla="*/ 376767 w 1894417"/>
                  <a:gd name="connsiteY94" fmla="*/ 2137833 h 5977466"/>
                  <a:gd name="connsiteX95" fmla="*/ 345017 w 1894417"/>
                  <a:gd name="connsiteY95" fmla="*/ 2036233 h 5977466"/>
                  <a:gd name="connsiteX96" fmla="*/ 300567 w 1894417"/>
                  <a:gd name="connsiteY96" fmla="*/ 2169583 h 5977466"/>
                  <a:gd name="connsiteX97" fmla="*/ 319617 w 1894417"/>
                  <a:gd name="connsiteY97" fmla="*/ 2461683 h 5977466"/>
                  <a:gd name="connsiteX98" fmla="*/ 294217 w 1894417"/>
                  <a:gd name="connsiteY98" fmla="*/ 2842683 h 5977466"/>
                  <a:gd name="connsiteX99" fmla="*/ 275167 w 1894417"/>
                  <a:gd name="connsiteY99" fmla="*/ 2995083 h 5977466"/>
                  <a:gd name="connsiteX100" fmla="*/ 313267 w 1894417"/>
                  <a:gd name="connsiteY100" fmla="*/ 3039533 h 5977466"/>
                  <a:gd name="connsiteX101" fmla="*/ 313267 w 1894417"/>
                  <a:gd name="connsiteY101" fmla="*/ 3172883 h 5977466"/>
                  <a:gd name="connsiteX102" fmla="*/ 319617 w 1894417"/>
                  <a:gd name="connsiteY102" fmla="*/ 3299883 h 5977466"/>
                  <a:gd name="connsiteX103" fmla="*/ 281517 w 1894417"/>
                  <a:gd name="connsiteY103" fmla="*/ 3299883 h 5977466"/>
                  <a:gd name="connsiteX104" fmla="*/ 275167 w 1894417"/>
                  <a:gd name="connsiteY104" fmla="*/ 3185583 h 5977466"/>
                  <a:gd name="connsiteX105" fmla="*/ 249767 w 1894417"/>
                  <a:gd name="connsiteY105" fmla="*/ 3261783 h 5977466"/>
                  <a:gd name="connsiteX106" fmla="*/ 294217 w 1894417"/>
                  <a:gd name="connsiteY106" fmla="*/ 3357033 h 5977466"/>
                  <a:gd name="connsiteX107" fmla="*/ 306917 w 1894417"/>
                  <a:gd name="connsiteY107" fmla="*/ 3426883 h 5977466"/>
                  <a:gd name="connsiteX108" fmla="*/ 243417 w 1894417"/>
                  <a:gd name="connsiteY108" fmla="*/ 3420533 h 5977466"/>
                  <a:gd name="connsiteX109" fmla="*/ 160867 w 1894417"/>
                  <a:gd name="connsiteY109" fmla="*/ 3318933 h 5977466"/>
                  <a:gd name="connsiteX110" fmla="*/ 122767 w 1894417"/>
                  <a:gd name="connsiteY110" fmla="*/ 3274483 h 5977466"/>
                  <a:gd name="connsiteX111" fmla="*/ 110067 w 1894417"/>
                  <a:gd name="connsiteY111" fmla="*/ 3001433 h 5977466"/>
                  <a:gd name="connsiteX112" fmla="*/ 110067 w 1894417"/>
                  <a:gd name="connsiteY112" fmla="*/ 2779183 h 5977466"/>
                  <a:gd name="connsiteX113" fmla="*/ 59267 w 1894417"/>
                  <a:gd name="connsiteY113" fmla="*/ 2385483 h 5977466"/>
                  <a:gd name="connsiteX114" fmla="*/ 84667 w 1894417"/>
                  <a:gd name="connsiteY114" fmla="*/ 2137833 h 5977466"/>
                  <a:gd name="connsiteX115" fmla="*/ 78317 w 1894417"/>
                  <a:gd name="connsiteY115" fmla="*/ 2010833 h 5977466"/>
                  <a:gd name="connsiteX116" fmla="*/ 2117 w 1894417"/>
                  <a:gd name="connsiteY116" fmla="*/ 1902883 h 5977466"/>
                  <a:gd name="connsiteX117" fmla="*/ 91017 w 1894417"/>
                  <a:gd name="connsiteY117" fmla="*/ 1756833 h 5977466"/>
                  <a:gd name="connsiteX118" fmla="*/ 91018 w 1894417"/>
                  <a:gd name="connsiteY118" fmla="*/ 1591733 h 5977466"/>
                  <a:gd name="connsiteX119" fmla="*/ 179917 w 1894417"/>
                  <a:gd name="connsiteY119" fmla="*/ 1261533 h 5977466"/>
                  <a:gd name="connsiteX120" fmla="*/ 440267 w 1894417"/>
                  <a:gd name="connsiteY120" fmla="*/ 1051983 h 5977466"/>
                  <a:gd name="connsiteX121" fmla="*/ 668867 w 1894417"/>
                  <a:gd name="connsiteY121" fmla="*/ 861483 h 5977466"/>
                  <a:gd name="connsiteX122" fmla="*/ 795867 w 1894417"/>
                  <a:gd name="connsiteY122" fmla="*/ 753533 h 5977466"/>
                  <a:gd name="connsiteX0" fmla="*/ 795867 w 1894417"/>
                  <a:gd name="connsiteY0" fmla="*/ 753533 h 5977466"/>
                  <a:gd name="connsiteX1" fmla="*/ 814917 w 1894417"/>
                  <a:gd name="connsiteY1" fmla="*/ 683683 h 5977466"/>
                  <a:gd name="connsiteX2" fmla="*/ 770467 w 1894417"/>
                  <a:gd name="connsiteY2" fmla="*/ 607483 h 5977466"/>
                  <a:gd name="connsiteX3" fmla="*/ 732367 w 1894417"/>
                  <a:gd name="connsiteY3" fmla="*/ 531283 h 5977466"/>
                  <a:gd name="connsiteX4" fmla="*/ 726017 w 1894417"/>
                  <a:gd name="connsiteY4" fmla="*/ 410633 h 5977466"/>
                  <a:gd name="connsiteX5" fmla="*/ 738717 w 1894417"/>
                  <a:gd name="connsiteY5" fmla="*/ 321733 h 5977466"/>
                  <a:gd name="connsiteX6" fmla="*/ 738717 w 1894417"/>
                  <a:gd name="connsiteY6" fmla="*/ 150283 h 5977466"/>
                  <a:gd name="connsiteX7" fmla="*/ 903817 w 1894417"/>
                  <a:gd name="connsiteY7" fmla="*/ 23283 h 5977466"/>
                  <a:gd name="connsiteX8" fmla="*/ 1068917 w 1894417"/>
                  <a:gd name="connsiteY8" fmla="*/ 10583 h 5977466"/>
                  <a:gd name="connsiteX9" fmla="*/ 1195917 w 1894417"/>
                  <a:gd name="connsiteY9" fmla="*/ 80433 h 5977466"/>
                  <a:gd name="connsiteX10" fmla="*/ 1259417 w 1894417"/>
                  <a:gd name="connsiteY10" fmla="*/ 194733 h 5977466"/>
                  <a:gd name="connsiteX11" fmla="*/ 1259417 w 1894417"/>
                  <a:gd name="connsiteY11" fmla="*/ 340783 h 5977466"/>
                  <a:gd name="connsiteX12" fmla="*/ 1265767 w 1894417"/>
                  <a:gd name="connsiteY12" fmla="*/ 416983 h 5977466"/>
                  <a:gd name="connsiteX13" fmla="*/ 1246717 w 1894417"/>
                  <a:gd name="connsiteY13" fmla="*/ 493183 h 5977466"/>
                  <a:gd name="connsiteX14" fmla="*/ 1214967 w 1894417"/>
                  <a:gd name="connsiteY14" fmla="*/ 601133 h 5977466"/>
                  <a:gd name="connsiteX15" fmla="*/ 1176867 w 1894417"/>
                  <a:gd name="connsiteY15" fmla="*/ 639233 h 5977466"/>
                  <a:gd name="connsiteX16" fmla="*/ 1151467 w 1894417"/>
                  <a:gd name="connsiteY16" fmla="*/ 690033 h 5977466"/>
                  <a:gd name="connsiteX17" fmla="*/ 1157817 w 1894417"/>
                  <a:gd name="connsiteY17" fmla="*/ 759883 h 5977466"/>
                  <a:gd name="connsiteX18" fmla="*/ 1195917 w 1894417"/>
                  <a:gd name="connsiteY18" fmla="*/ 785283 h 5977466"/>
                  <a:gd name="connsiteX19" fmla="*/ 1214967 w 1894417"/>
                  <a:gd name="connsiteY19" fmla="*/ 842433 h 5977466"/>
                  <a:gd name="connsiteX20" fmla="*/ 1316567 w 1894417"/>
                  <a:gd name="connsiteY20" fmla="*/ 877358 h 5977466"/>
                  <a:gd name="connsiteX21" fmla="*/ 1386417 w 1894417"/>
                  <a:gd name="connsiteY21" fmla="*/ 905933 h 5977466"/>
                  <a:gd name="connsiteX22" fmla="*/ 1418167 w 1894417"/>
                  <a:gd name="connsiteY22" fmla="*/ 988483 h 5977466"/>
                  <a:gd name="connsiteX23" fmla="*/ 1519767 w 1894417"/>
                  <a:gd name="connsiteY23" fmla="*/ 1045633 h 5977466"/>
                  <a:gd name="connsiteX24" fmla="*/ 1640417 w 1894417"/>
                  <a:gd name="connsiteY24" fmla="*/ 1102783 h 5977466"/>
                  <a:gd name="connsiteX25" fmla="*/ 1767417 w 1894417"/>
                  <a:gd name="connsiteY25" fmla="*/ 1274233 h 5977466"/>
                  <a:gd name="connsiteX26" fmla="*/ 1773767 w 1894417"/>
                  <a:gd name="connsiteY26" fmla="*/ 1369483 h 5977466"/>
                  <a:gd name="connsiteX27" fmla="*/ 1862667 w 1894417"/>
                  <a:gd name="connsiteY27" fmla="*/ 1477433 h 5977466"/>
                  <a:gd name="connsiteX28" fmla="*/ 1881717 w 1894417"/>
                  <a:gd name="connsiteY28" fmla="*/ 1547283 h 5977466"/>
                  <a:gd name="connsiteX29" fmla="*/ 1869017 w 1894417"/>
                  <a:gd name="connsiteY29" fmla="*/ 1579033 h 5977466"/>
                  <a:gd name="connsiteX30" fmla="*/ 1843617 w 1894417"/>
                  <a:gd name="connsiteY30" fmla="*/ 1680633 h 5977466"/>
                  <a:gd name="connsiteX31" fmla="*/ 1894417 w 1894417"/>
                  <a:gd name="connsiteY31" fmla="*/ 1744133 h 5977466"/>
                  <a:gd name="connsiteX32" fmla="*/ 1843617 w 1894417"/>
                  <a:gd name="connsiteY32" fmla="*/ 1794933 h 5977466"/>
                  <a:gd name="connsiteX33" fmla="*/ 1843617 w 1894417"/>
                  <a:gd name="connsiteY33" fmla="*/ 1966383 h 5977466"/>
                  <a:gd name="connsiteX34" fmla="*/ 1830917 w 1894417"/>
                  <a:gd name="connsiteY34" fmla="*/ 2042583 h 5977466"/>
                  <a:gd name="connsiteX35" fmla="*/ 1824567 w 1894417"/>
                  <a:gd name="connsiteY35" fmla="*/ 2302933 h 5977466"/>
                  <a:gd name="connsiteX36" fmla="*/ 1875367 w 1894417"/>
                  <a:gd name="connsiteY36" fmla="*/ 2385483 h 5977466"/>
                  <a:gd name="connsiteX37" fmla="*/ 1811867 w 1894417"/>
                  <a:gd name="connsiteY37" fmla="*/ 2461683 h 5977466"/>
                  <a:gd name="connsiteX38" fmla="*/ 1786467 w 1894417"/>
                  <a:gd name="connsiteY38" fmla="*/ 2601383 h 5977466"/>
                  <a:gd name="connsiteX39" fmla="*/ 1748367 w 1894417"/>
                  <a:gd name="connsiteY39" fmla="*/ 2782358 h 5977466"/>
                  <a:gd name="connsiteX40" fmla="*/ 1729317 w 1894417"/>
                  <a:gd name="connsiteY40" fmla="*/ 2931583 h 5977466"/>
                  <a:gd name="connsiteX41" fmla="*/ 1742017 w 1894417"/>
                  <a:gd name="connsiteY41" fmla="*/ 3058583 h 5977466"/>
                  <a:gd name="connsiteX42" fmla="*/ 1745192 w 1894417"/>
                  <a:gd name="connsiteY42" fmla="*/ 3160183 h 5977466"/>
                  <a:gd name="connsiteX43" fmla="*/ 1710267 w 1894417"/>
                  <a:gd name="connsiteY43" fmla="*/ 3318933 h 5977466"/>
                  <a:gd name="connsiteX44" fmla="*/ 1589617 w 1894417"/>
                  <a:gd name="connsiteY44" fmla="*/ 3426883 h 5977466"/>
                  <a:gd name="connsiteX45" fmla="*/ 1519767 w 1894417"/>
                  <a:gd name="connsiteY45" fmla="*/ 3395133 h 5977466"/>
                  <a:gd name="connsiteX46" fmla="*/ 1576917 w 1894417"/>
                  <a:gd name="connsiteY46" fmla="*/ 3318933 h 5977466"/>
                  <a:gd name="connsiteX47" fmla="*/ 1589617 w 1894417"/>
                  <a:gd name="connsiteY47" fmla="*/ 3217333 h 5977466"/>
                  <a:gd name="connsiteX48" fmla="*/ 1557867 w 1894417"/>
                  <a:gd name="connsiteY48" fmla="*/ 3153833 h 5977466"/>
                  <a:gd name="connsiteX49" fmla="*/ 1519767 w 1894417"/>
                  <a:gd name="connsiteY49" fmla="*/ 3147483 h 5977466"/>
                  <a:gd name="connsiteX50" fmla="*/ 1586442 w 1894417"/>
                  <a:gd name="connsiteY50" fmla="*/ 2845858 h 5977466"/>
                  <a:gd name="connsiteX51" fmla="*/ 1545167 w 1894417"/>
                  <a:gd name="connsiteY51" fmla="*/ 2188633 h 5977466"/>
                  <a:gd name="connsiteX52" fmla="*/ 1532467 w 1894417"/>
                  <a:gd name="connsiteY52" fmla="*/ 2023533 h 5977466"/>
                  <a:gd name="connsiteX53" fmla="*/ 1494367 w 1894417"/>
                  <a:gd name="connsiteY53" fmla="*/ 2106083 h 5977466"/>
                  <a:gd name="connsiteX54" fmla="*/ 1494367 w 1894417"/>
                  <a:gd name="connsiteY54" fmla="*/ 2302933 h 5977466"/>
                  <a:gd name="connsiteX55" fmla="*/ 1494367 w 1894417"/>
                  <a:gd name="connsiteY55" fmla="*/ 2461683 h 5977466"/>
                  <a:gd name="connsiteX56" fmla="*/ 1507067 w 1894417"/>
                  <a:gd name="connsiteY56" fmla="*/ 3255433 h 5977466"/>
                  <a:gd name="connsiteX57" fmla="*/ 1475317 w 1894417"/>
                  <a:gd name="connsiteY57" fmla="*/ 3604683 h 5977466"/>
                  <a:gd name="connsiteX58" fmla="*/ 1430867 w 1894417"/>
                  <a:gd name="connsiteY58" fmla="*/ 4030133 h 5977466"/>
                  <a:gd name="connsiteX59" fmla="*/ 1316567 w 1894417"/>
                  <a:gd name="connsiteY59" fmla="*/ 4728633 h 5977466"/>
                  <a:gd name="connsiteX60" fmla="*/ 1259417 w 1894417"/>
                  <a:gd name="connsiteY60" fmla="*/ 5046133 h 5977466"/>
                  <a:gd name="connsiteX61" fmla="*/ 1202267 w 1894417"/>
                  <a:gd name="connsiteY61" fmla="*/ 5262033 h 5977466"/>
                  <a:gd name="connsiteX62" fmla="*/ 1322917 w 1894417"/>
                  <a:gd name="connsiteY62" fmla="*/ 5395383 h 5977466"/>
                  <a:gd name="connsiteX63" fmla="*/ 1348317 w 1894417"/>
                  <a:gd name="connsiteY63" fmla="*/ 5560483 h 5977466"/>
                  <a:gd name="connsiteX64" fmla="*/ 1265767 w 1894417"/>
                  <a:gd name="connsiteY64" fmla="*/ 5585883 h 5977466"/>
                  <a:gd name="connsiteX65" fmla="*/ 1418167 w 1894417"/>
                  <a:gd name="connsiteY65" fmla="*/ 5700183 h 5977466"/>
                  <a:gd name="connsiteX66" fmla="*/ 1443567 w 1894417"/>
                  <a:gd name="connsiteY66" fmla="*/ 5776383 h 5977466"/>
                  <a:gd name="connsiteX67" fmla="*/ 1316567 w 1894417"/>
                  <a:gd name="connsiteY67" fmla="*/ 5865283 h 5977466"/>
                  <a:gd name="connsiteX68" fmla="*/ 1132417 w 1894417"/>
                  <a:gd name="connsiteY68" fmla="*/ 5839883 h 5977466"/>
                  <a:gd name="connsiteX69" fmla="*/ 1068917 w 1894417"/>
                  <a:gd name="connsiteY69" fmla="*/ 5731933 h 5977466"/>
                  <a:gd name="connsiteX70" fmla="*/ 922867 w 1894417"/>
                  <a:gd name="connsiteY70" fmla="*/ 5693833 h 5977466"/>
                  <a:gd name="connsiteX71" fmla="*/ 891117 w 1894417"/>
                  <a:gd name="connsiteY71" fmla="*/ 5611283 h 5977466"/>
                  <a:gd name="connsiteX72" fmla="*/ 865717 w 1894417"/>
                  <a:gd name="connsiteY72" fmla="*/ 5598583 h 5977466"/>
                  <a:gd name="connsiteX73" fmla="*/ 853017 w 1894417"/>
                  <a:gd name="connsiteY73" fmla="*/ 4500033 h 5977466"/>
                  <a:gd name="connsiteX74" fmla="*/ 935567 w 1894417"/>
                  <a:gd name="connsiteY74" fmla="*/ 3680883 h 5977466"/>
                  <a:gd name="connsiteX75" fmla="*/ 986367 w 1894417"/>
                  <a:gd name="connsiteY75" fmla="*/ 3376083 h 5977466"/>
                  <a:gd name="connsiteX76" fmla="*/ 916517 w 1894417"/>
                  <a:gd name="connsiteY76" fmla="*/ 3490383 h 5977466"/>
                  <a:gd name="connsiteX77" fmla="*/ 840317 w 1894417"/>
                  <a:gd name="connsiteY77" fmla="*/ 3960283 h 5977466"/>
                  <a:gd name="connsiteX78" fmla="*/ 824442 w 1894417"/>
                  <a:gd name="connsiteY78" fmla="*/ 4334933 h 5977466"/>
                  <a:gd name="connsiteX79" fmla="*/ 814917 w 1894417"/>
                  <a:gd name="connsiteY79" fmla="*/ 4944533 h 5977466"/>
                  <a:gd name="connsiteX80" fmla="*/ 846667 w 1894417"/>
                  <a:gd name="connsiteY80" fmla="*/ 5585883 h 5977466"/>
                  <a:gd name="connsiteX81" fmla="*/ 668867 w 1894417"/>
                  <a:gd name="connsiteY81" fmla="*/ 5801783 h 5977466"/>
                  <a:gd name="connsiteX82" fmla="*/ 510117 w 1894417"/>
                  <a:gd name="connsiteY82" fmla="*/ 5960533 h 5977466"/>
                  <a:gd name="connsiteX83" fmla="*/ 345017 w 1894417"/>
                  <a:gd name="connsiteY83" fmla="*/ 5903383 h 5977466"/>
                  <a:gd name="connsiteX84" fmla="*/ 432330 w 1894417"/>
                  <a:gd name="connsiteY84" fmla="*/ 5650971 h 5977466"/>
                  <a:gd name="connsiteX85" fmla="*/ 379942 w 1894417"/>
                  <a:gd name="connsiteY85" fmla="*/ 5595408 h 5977466"/>
                  <a:gd name="connsiteX86" fmla="*/ 367243 w 1894417"/>
                  <a:gd name="connsiteY86" fmla="*/ 5236633 h 5977466"/>
                  <a:gd name="connsiteX87" fmla="*/ 376767 w 1894417"/>
                  <a:gd name="connsiteY87" fmla="*/ 4973108 h 5977466"/>
                  <a:gd name="connsiteX88" fmla="*/ 383117 w 1894417"/>
                  <a:gd name="connsiteY88" fmla="*/ 4679421 h 5977466"/>
                  <a:gd name="connsiteX89" fmla="*/ 351367 w 1894417"/>
                  <a:gd name="connsiteY89" fmla="*/ 4163483 h 5977466"/>
                  <a:gd name="connsiteX90" fmla="*/ 383117 w 1894417"/>
                  <a:gd name="connsiteY90" fmla="*/ 3534833 h 5977466"/>
                  <a:gd name="connsiteX91" fmla="*/ 376767 w 1894417"/>
                  <a:gd name="connsiteY91" fmla="*/ 3083983 h 5977466"/>
                  <a:gd name="connsiteX92" fmla="*/ 313267 w 1894417"/>
                  <a:gd name="connsiteY92" fmla="*/ 2810933 h 5977466"/>
                  <a:gd name="connsiteX93" fmla="*/ 351367 w 1894417"/>
                  <a:gd name="connsiteY93" fmla="*/ 2442633 h 5977466"/>
                  <a:gd name="connsiteX94" fmla="*/ 376767 w 1894417"/>
                  <a:gd name="connsiteY94" fmla="*/ 2137833 h 5977466"/>
                  <a:gd name="connsiteX95" fmla="*/ 345017 w 1894417"/>
                  <a:gd name="connsiteY95" fmla="*/ 2036233 h 5977466"/>
                  <a:gd name="connsiteX96" fmla="*/ 300567 w 1894417"/>
                  <a:gd name="connsiteY96" fmla="*/ 2169583 h 5977466"/>
                  <a:gd name="connsiteX97" fmla="*/ 319617 w 1894417"/>
                  <a:gd name="connsiteY97" fmla="*/ 2461683 h 5977466"/>
                  <a:gd name="connsiteX98" fmla="*/ 294217 w 1894417"/>
                  <a:gd name="connsiteY98" fmla="*/ 2842683 h 5977466"/>
                  <a:gd name="connsiteX99" fmla="*/ 275167 w 1894417"/>
                  <a:gd name="connsiteY99" fmla="*/ 2995083 h 5977466"/>
                  <a:gd name="connsiteX100" fmla="*/ 313267 w 1894417"/>
                  <a:gd name="connsiteY100" fmla="*/ 3039533 h 5977466"/>
                  <a:gd name="connsiteX101" fmla="*/ 313267 w 1894417"/>
                  <a:gd name="connsiteY101" fmla="*/ 3172883 h 5977466"/>
                  <a:gd name="connsiteX102" fmla="*/ 319617 w 1894417"/>
                  <a:gd name="connsiteY102" fmla="*/ 3299883 h 5977466"/>
                  <a:gd name="connsiteX103" fmla="*/ 281517 w 1894417"/>
                  <a:gd name="connsiteY103" fmla="*/ 3299883 h 5977466"/>
                  <a:gd name="connsiteX104" fmla="*/ 275167 w 1894417"/>
                  <a:gd name="connsiteY104" fmla="*/ 3185583 h 5977466"/>
                  <a:gd name="connsiteX105" fmla="*/ 249767 w 1894417"/>
                  <a:gd name="connsiteY105" fmla="*/ 3261783 h 5977466"/>
                  <a:gd name="connsiteX106" fmla="*/ 294217 w 1894417"/>
                  <a:gd name="connsiteY106" fmla="*/ 3357033 h 5977466"/>
                  <a:gd name="connsiteX107" fmla="*/ 306917 w 1894417"/>
                  <a:gd name="connsiteY107" fmla="*/ 3426883 h 5977466"/>
                  <a:gd name="connsiteX108" fmla="*/ 243417 w 1894417"/>
                  <a:gd name="connsiteY108" fmla="*/ 3420533 h 5977466"/>
                  <a:gd name="connsiteX109" fmla="*/ 160867 w 1894417"/>
                  <a:gd name="connsiteY109" fmla="*/ 3318933 h 5977466"/>
                  <a:gd name="connsiteX110" fmla="*/ 122767 w 1894417"/>
                  <a:gd name="connsiteY110" fmla="*/ 3274483 h 5977466"/>
                  <a:gd name="connsiteX111" fmla="*/ 110067 w 1894417"/>
                  <a:gd name="connsiteY111" fmla="*/ 3001433 h 5977466"/>
                  <a:gd name="connsiteX112" fmla="*/ 110067 w 1894417"/>
                  <a:gd name="connsiteY112" fmla="*/ 2779183 h 5977466"/>
                  <a:gd name="connsiteX113" fmla="*/ 59267 w 1894417"/>
                  <a:gd name="connsiteY113" fmla="*/ 2385483 h 5977466"/>
                  <a:gd name="connsiteX114" fmla="*/ 84667 w 1894417"/>
                  <a:gd name="connsiteY114" fmla="*/ 2137833 h 5977466"/>
                  <a:gd name="connsiteX115" fmla="*/ 78317 w 1894417"/>
                  <a:gd name="connsiteY115" fmla="*/ 2010833 h 5977466"/>
                  <a:gd name="connsiteX116" fmla="*/ 2117 w 1894417"/>
                  <a:gd name="connsiteY116" fmla="*/ 1902883 h 5977466"/>
                  <a:gd name="connsiteX117" fmla="*/ 91017 w 1894417"/>
                  <a:gd name="connsiteY117" fmla="*/ 1756833 h 5977466"/>
                  <a:gd name="connsiteX118" fmla="*/ 91018 w 1894417"/>
                  <a:gd name="connsiteY118" fmla="*/ 1591733 h 5977466"/>
                  <a:gd name="connsiteX119" fmla="*/ 179917 w 1894417"/>
                  <a:gd name="connsiteY119" fmla="*/ 1261533 h 5977466"/>
                  <a:gd name="connsiteX120" fmla="*/ 440267 w 1894417"/>
                  <a:gd name="connsiteY120" fmla="*/ 1051983 h 5977466"/>
                  <a:gd name="connsiteX121" fmla="*/ 668867 w 1894417"/>
                  <a:gd name="connsiteY121" fmla="*/ 861483 h 5977466"/>
                  <a:gd name="connsiteX122" fmla="*/ 795867 w 1894417"/>
                  <a:gd name="connsiteY122" fmla="*/ 753533 h 5977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1894417" h="5977466">
                    <a:moveTo>
                      <a:pt x="795867" y="753533"/>
                    </a:moveTo>
                    <a:cubicBezTo>
                      <a:pt x="807508" y="730779"/>
                      <a:pt x="819150" y="708025"/>
                      <a:pt x="814917" y="683683"/>
                    </a:cubicBezTo>
                    <a:cubicBezTo>
                      <a:pt x="810684" y="659341"/>
                      <a:pt x="784225" y="632883"/>
                      <a:pt x="770467" y="607483"/>
                    </a:cubicBezTo>
                    <a:cubicBezTo>
                      <a:pt x="756709" y="582083"/>
                      <a:pt x="739775" y="564091"/>
                      <a:pt x="732367" y="531283"/>
                    </a:cubicBezTo>
                    <a:cubicBezTo>
                      <a:pt x="724959" y="498475"/>
                      <a:pt x="724959" y="445558"/>
                      <a:pt x="726017" y="410633"/>
                    </a:cubicBezTo>
                    <a:cubicBezTo>
                      <a:pt x="727075" y="375708"/>
                      <a:pt x="736600" y="365125"/>
                      <a:pt x="738717" y="321733"/>
                    </a:cubicBezTo>
                    <a:cubicBezTo>
                      <a:pt x="740834" y="278341"/>
                      <a:pt x="711200" y="200025"/>
                      <a:pt x="738717" y="150283"/>
                    </a:cubicBezTo>
                    <a:cubicBezTo>
                      <a:pt x="766234" y="100541"/>
                      <a:pt x="848784" y="46566"/>
                      <a:pt x="903817" y="23283"/>
                    </a:cubicBezTo>
                    <a:cubicBezTo>
                      <a:pt x="958850" y="0"/>
                      <a:pt x="1020234" y="1058"/>
                      <a:pt x="1068917" y="10583"/>
                    </a:cubicBezTo>
                    <a:cubicBezTo>
                      <a:pt x="1117600" y="20108"/>
                      <a:pt x="1164167" y="49741"/>
                      <a:pt x="1195917" y="80433"/>
                    </a:cubicBezTo>
                    <a:cubicBezTo>
                      <a:pt x="1227667" y="111125"/>
                      <a:pt x="1248834" y="151341"/>
                      <a:pt x="1259417" y="194733"/>
                    </a:cubicBezTo>
                    <a:cubicBezTo>
                      <a:pt x="1270000" y="238125"/>
                      <a:pt x="1258359" y="303741"/>
                      <a:pt x="1259417" y="340783"/>
                    </a:cubicBezTo>
                    <a:cubicBezTo>
                      <a:pt x="1260475" y="377825"/>
                      <a:pt x="1267884" y="391583"/>
                      <a:pt x="1265767" y="416983"/>
                    </a:cubicBezTo>
                    <a:cubicBezTo>
                      <a:pt x="1263650" y="442383"/>
                      <a:pt x="1255184" y="462491"/>
                      <a:pt x="1246717" y="493183"/>
                    </a:cubicBezTo>
                    <a:cubicBezTo>
                      <a:pt x="1238250" y="523875"/>
                      <a:pt x="1226609" y="576791"/>
                      <a:pt x="1214967" y="601133"/>
                    </a:cubicBezTo>
                    <a:cubicBezTo>
                      <a:pt x="1203325" y="625475"/>
                      <a:pt x="1187450" y="624416"/>
                      <a:pt x="1176867" y="639233"/>
                    </a:cubicBezTo>
                    <a:cubicBezTo>
                      <a:pt x="1166284" y="654050"/>
                      <a:pt x="1154642" y="669925"/>
                      <a:pt x="1151467" y="690033"/>
                    </a:cubicBezTo>
                    <a:cubicBezTo>
                      <a:pt x="1148292" y="710141"/>
                      <a:pt x="1150409" y="744008"/>
                      <a:pt x="1157817" y="759883"/>
                    </a:cubicBezTo>
                    <a:cubicBezTo>
                      <a:pt x="1165225" y="775758"/>
                      <a:pt x="1186392" y="771525"/>
                      <a:pt x="1195917" y="785283"/>
                    </a:cubicBezTo>
                    <a:cubicBezTo>
                      <a:pt x="1205442" y="799041"/>
                      <a:pt x="1194859" y="827087"/>
                      <a:pt x="1214967" y="842433"/>
                    </a:cubicBezTo>
                    <a:cubicBezTo>
                      <a:pt x="1235075" y="857779"/>
                      <a:pt x="1287992" y="866775"/>
                      <a:pt x="1316567" y="877358"/>
                    </a:cubicBezTo>
                    <a:cubicBezTo>
                      <a:pt x="1345142" y="887941"/>
                      <a:pt x="1369484" y="887412"/>
                      <a:pt x="1386417" y="905933"/>
                    </a:cubicBezTo>
                    <a:cubicBezTo>
                      <a:pt x="1403350" y="924454"/>
                      <a:pt x="1395942" y="965200"/>
                      <a:pt x="1418167" y="988483"/>
                    </a:cubicBezTo>
                    <a:cubicBezTo>
                      <a:pt x="1440392" y="1011766"/>
                      <a:pt x="1482725" y="1026583"/>
                      <a:pt x="1519767" y="1045633"/>
                    </a:cubicBezTo>
                    <a:cubicBezTo>
                      <a:pt x="1556809" y="1064683"/>
                      <a:pt x="1599142" y="1064683"/>
                      <a:pt x="1640417" y="1102783"/>
                    </a:cubicBezTo>
                    <a:cubicBezTo>
                      <a:pt x="1681692" y="1140883"/>
                      <a:pt x="1745192" y="1229783"/>
                      <a:pt x="1767417" y="1274233"/>
                    </a:cubicBezTo>
                    <a:cubicBezTo>
                      <a:pt x="1789642" y="1318683"/>
                      <a:pt x="1757892" y="1335616"/>
                      <a:pt x="1773767" y="1369483"/>
                    </a:cubicBezTo>
                    <a:cubicBezTo>
                      <a:pt x="1789642" y="1403350"/>
                      <a:pt x="1844675" y="1447800"/>
                      <a:pt x="1862667" y="1477433"/>
                    </a:cubicBezTo>
                    <a:cubicBezTo>
                      <a:pt x="1880659" y="1507066"/>
                      <a:pt x="1880659" y="1530350"/>
                      <a:pt x="1881717" y="1547283"/>
                    </a:cubicBezTo>
                    <a:cubicBezTo>
                      <a:pt x="1882775" y="1564216"/>
                      <a:pt x="1875367" y="1556808"/>
                      <a:pt x="1869017" y="1579033"/>
                    </a:cubicBezTo>
                    <a:cubicBezTo>
                      <a:pt x="1862667" y="1601258"/>
                      <a:pt x="1839384" y="1653116"/>
                      <a:pt x="1843617" y="1680633"/>
                    </a:cubicBezTo>
                    <a:cubicBezTo>
                      <a:pt x="1847850" y="1708150"/>
                      <a:pt x="1894417" y="1725083"/>
                      <a:pt x="1894417" y="1744133"/>
                    </a:cubicBezTo>
                    <a:cubicBezTo>
                      <a:pt x="1894417" y="1763183"/>
                      <a:pt x="1852084" y="1757891"/>
                      <a:pt x="1843617" y="1794933"/>
                    </a:cubicBezTo>
                    <a:cubicBezTo>
                      <a:pt x="1835150" y="1831975"/>
                      <a:pt x="1845734" y="1925108"/>
                      <a:pt x="1843617" y="1966383"/>
                    </a:cubicBezTo>
                    <a:cubicBezTo>
                      <a:pt x="1841500" y="2007658"/>
                      <a:pt x="1834092" y="1986491"/>
                      <a:pt x="1830917" y="2042583"/>
                    </a:cubicBezTo>
                    <a:cubicBezTo>
                      <a:pt x="1827742" y="2098675"/>
                      <a:pt x="1817159" y="2245783"/>
                      <a:pt x="1824567" y="2302933"/>
                    </a:cubicBezTo>
                    <a:cubicBezTo>
                      <a:pt x="1831975" y="2360083"/>
                      <a:pt x="1877484" y="2359025"/>
                      <a:pt x="1875367" y="2385483"/>
                    </a:cubicBezTo>
                    <a:cubicBezTo>
                      <a:pt x="1873250" y="2411941"/>
                      <a:pt x="1826684" y="2425700"/>
                      <a:pt x="1811867" y="2461683"/>
                    </a:cubicBezTo>
                    <a:cubicBezTo>
                      <a:pt x="1797050" y="2497666"/>
                      <a:pt x="1797050" y="2547937"/>
                      <a:pt x="1786467" y="2601383"/>
                    </a:cubicBezTo>
                    <a:cubicBezTo>
                      <a:pt x="1775884" y="2654829"/>
                      <a:pt x="1757892" y="2727325"/>
                      <a:pt x="1748367" y="2782358"/>
                    </a:cubicBezTo>
                    <a:cubicBezTo>
                      <a:pt x="1738842" y="2837391"/>
                      <a:pt x="1730375" y="2885546"/>
                      <a:pt x="1729317" y="2931583"/>
                    </a:cubicBezTo>
                    <a:cubicBezTo>
                      <a:pt x="1728259" y="2977620"/>
                      <a:pt x="1739371" y="3020483"/>
                      <a:pt x="1742017" y="3058583"/>
                    </a:cubicBezTo>
                    <a:cubicBezTo>
                      <a:pt x="1744663" y="3096683"/>
                      <a:pt x="1750484" y="3116791"/>
                      <a:pt x="1745192" y="3160183"/>
                    </a:cubicBezTo>
                    <a:cubicBezTo>
                      <a:pt x="1739900" y="3203575"/>
                      <a:pt x="1736196" y="3274483"/>
                      <a:pt x="1710267" y="3318933"/>
                    </a:cubicBezTo>
                    <a:cubicBezTo>
                      <a:pt x="1684338" y="3363383"/>
                      <a:pt x="1621367" y="3414183"/>
                      <a:pt x="1589617" y="3426883"/>
                    </a:cubicBezTo>
                    <a:cubicBezTo>
                      <a:pt x="1557867" y="3439583"/>
                      <a:pt x="1521884" y="3413125"/>
                      <a:pt x="1519767" y="3395133"/>
                    </a:cubicBezTo>
                    <a:cubicBezTo>
                      <a:pt x="1517650" y="3377141"/>
                      <a:pt x="1565275" y="3348566"/>
                      <a:pt x="1576917" y="3318933"/>
                    </a:cubicBezTo>
                    <a:cubicBezTo>
                      <a:pt x="1588559" y="3289300"/>
                      <a:pt x="1592792" y="3244850"/>
                      <a:pt x="1589617" y="3217333"/>
                    </a:cubicBezTo>
                    <a:cubicBezTo>
                      <a:pt x="1586442" y="3189816"/>
                      <a:pt x="1569509" y="3165475"/>
                      <a:pt x="1557867" y="3153833"/>
                    </a:cubicBezTo>
                    <a:cubicBezTo>
                      <a:pt x="1546225" y="3142191"/>
                      <a:pt x="1515005" y="3198812"/>
                      <a:pt x="1519767" y="3147483"/>
                    </a:cubicBezTo>
                    <a:cubicBezTo>
                      <a:pt x="1524529" y="3096154"/>
                      <a:pt x="1582209" y="3005666"/>
                      <a:pt x="1586442" y="2845858"/>
                    </a:cubicBezTo>
                    <a:cubicBezTo>
                      <a:pt x="1590675" y="2686050"/>
                      <a:pt x="1554163" y="2325687"/>
                      <a:pt x="1545167" y="2188633"/>
                    </a:cubicBezTo>
                    <a:cubicBezTo>
                      <a:pt x="1536171" y="2051579"/>
                      <a:pt x="1540934" y="2037291"/>
                      <a:pt x="1532467" y="2023533"/>
                    </a:cubicBezTo>
                    <a:cubicBezTo>
                      <a:pt x="1524000" y="2009775"/>
                      <a:pt x="1500717" y="2059516"/>
                      <a:pt x="1494367" y="2106083"/>
                    </a:cubicBezTo>
                    <a:cubicBezTo>
                      <a:pt x="1488017" y="2152650"/>
                      <a:pt x="1494367" y="2302933"/>
                      <a:pt x="1494367" y="2302933"/>
                    </a:cubicBezTo>
                    <a:cubicBezTo>
                      <a:pt x="1494367" y="2362200"/>
                      <a:pt x="1492250" y="2302933"/>
                      <a:pt x="1494367" y="2461683"/>
                    </a:cubicBezTo>
                    <a:cubicBezTo>
                      <a:pt x="1496484" y="2620433"/>
                      <a:pt x="1510242" y="3064933"/>
                      <a:pt x="1507067" y="3255433"/>
                    </a:cubicBezTo>
                    <a:cubicBezTo>
                      <a:pt x="1503892" y="3445933"/>
                      <a:pt x="1488017" y="3475566"/>
                      <a:pt x="1475317" y="3604683"/>
                    </a:cubicBezTo>
                    <a:cubicBezTo>
                      <a:pt x="1462617" y="3733800"/>
                      <a:pt x="1457325" y="3842808"/>
                      <a:pt x="1430867" y="4030133"/>
                    </a:cubicBezTo>
                    <a:cubicBezTo>
                      <a:pt x="1404409" y="4217458"/>
                      <a:pt x="1345142" y="4559300"/>
                      <a:pt x="1316567" y="4728633"/>
                    </a:cubicBezTo>
                    <a:cubicBezTo>
                      <a:pt x="1287992" y="4897966"/>
                      <a:pt x="1278467" y="4957233"/>
                      <a:pt x="1259417" y="5046133"/>
                    </a:cubicBezTo>
                    <a:cubicBezTo>
                      <a:pt x="1240367" y="5135033"/>
                      <a:pt x="1191684" y="5203825"/>
                      <a:pt x="1202267" y="5262033"/>
                    </a:cubicBezTo>
                    <a:cubicBezTo>
                      <a:pt x="1212850" y="5320241"/>
                      <a:pt x="1298575" y="5345641"/>
                      <a:pt x="1322917" y="5395383"/>
                    </a:cubicBezTo>
                    <a:cubicBezTo>
                      <a:pt x="1347259" y="5445125"/>
                      <a:pt x="1357842" y="5528733"/>
                      <a:pt x="1348317" y="5560483"/>
                    </a:cubicBezTo>
                    <a:cubicBezTo>
                      <a:pt x="1338792" y="5592233"/>
                      <a:pt x="1254125" y="5562600"/>
                      <a:pt x="1265767" y="5585883"/>
                    </a:cubicBezTo>
                    <a:cubicBezTo>
                      <a:pt x="1277409" y="5609166"/>
                      <a:pt x="1388534" y="5668433"/>
                      <a:pt x="1418167" y="5700183"/>
                    </a:cubicBezTo>
                    <a:cubicBezTo>
                      <a:pt x="1447800" y="5731933"/>
                      <a:pt x="1460500" y="5748866"/>
                      <a:pt x="1443567" y="5776383"/>
                    </a:cubicBezTo>
                    <a:cubicBezTo>
                      <a:pt x="1426634" y="5803900"/>
                      <a:pt x="1368425" y="5854700"/>
                      <a:pt x="1316567" y="5865283"/>
                    </a:cubicBezTo>
                    <a:cubicBezTo>
                      <a:pt x="1264709" y="5875866"/>
                      <a:pt x="1173692" y="5862108"/>
                      <a:pt x="1132417" y="5839883"/>
                    </a:cubicBezTo>
                    <a:cubicBezTo>
                      <a:pt x="1091142" y="5817658"/>
                      <a:pt x="1103842" y="5756275"/>
                      <a:pt x="1068917" y="5731933"/>
                    </a:cubicBezTo>
                    <a:cubicBezTo>
                      <a:pt x="1033992" y="5707591"/>
                      <a:pt x="952500" y="5713941"/>
                      <a:pt x="922867" y="5693833"/>
                    </a:cubicBezTo>
                    <a:cubicBezTo>
                      <a:pt x="893234" y="5673725"/>
                      <a:pt x="900642" y="5627158"/>
                      <a:pt x="891117" y="5611283"/>
                    </a:cubicBezTo>
                    <a:cubicBezTo>
                      <a:pt x="881592" y="5595408"/>
                      <a:pt x="875242" y="5593291"/>
                      <a:pt x="865717" y="5598583"/>
                    </a:cubicBezTo>
                    <a:cubicBezTo>
                      <a:pt x="818092" y="5311775"/>
                      <a:pt x="841375" y="4819650"/>
                      <a:pt x="853017" y="4500033"/>
                    </a:cubicBezTo>
                    <a:cubicBezTo>
                      <a:pt x="864659" y="4180416"/>
                      <a:pt x="913342" y="3868208"/>
                      <a:pt x="935567" y="3680883"/>
                    </a:cubicBezTo>
                    <a:cubicBezTo>
                      <a:pt x="957792" y="3493558"/>
                      <a:pt x="989542" y="3407833"/>
                      <a:pt x="986367" y="3376083"/>
                    </a:cubicBezTo>
                    <a:cubicBezTo>
                      <a:pt x="983192" y="3344333"/>
                      <a:pt x="940859" y="3393016"/>
                      <a:pt x="916517" y="3490383"/>
                    </a:cubicBezTo>
                    <a:cubicBezTo>
                      <a:pt x="892175" y="3587750"/>
                      <a:pt x="855663" y="3819525"/>
                      <a:pt x="840317" y="3960283"/>
                    </a:cubicBezTo>
                    <a:cubicBezTo>
                      <a:pt x="824971" y="4101041"/>
                      <a:pt x="828675" y="4148666"/>
                      <a:pt x="824442" y="4334933"/>
                    </a:cubicBezTo>
                    <a:cubicBezTo>
                      <a:pt x="826559" y="4498975"/>
                      <a:pt x="804334" y="4736041"/>
                      <a:pt x="814917" y="4944533"/>
                    </a:cubicBezTo>
                    <a:cubicBezTo>
                      <a:pt x="822325" y="5538788"/>
                      <a:pt x="871009" y="5443008"/>
                      <a:pt x="846667" y="5585883"/>
                    </a:cubicBezTo>
                    <a:cubicBezTo>
                      <a:pt x="822325" y="5728758"/>
                      <a:pt x="724959" y="5739341"/>
                      <a:pt x="668867" y="5801783"/>
                    </a:cubicBezTo>
                    <a:cubicBezTo>
                      <a:pt x="612775" y="5864225"/>
                      <a:pt x="564092" y="5943600"/>
                      <a:pt x="510117" y="5960533"/>
                    </a:cubicBezTo>
                    <a:cubicBezTo>
                      <a:pt x="456142" y="5977466"/>
                      <a:pt x="357981" y="5954977"/>
                      <a:pt x="345017" y="5903383"/>
                    </a:cubicBezTo>
                    <a:cubicBezTo>
                      <a:pt x="332053" y="5851789"/>
                      <a:pt x="426509" y="5702300"/>
                      <a:pt x="432330" y="5650971"/>
                    </a:cubicBezTo>
                    <a:cubicBezTo>
                      <a:pt x="474664" y="5567892"/>
                      <a:pt x="390790" y="5664464"/>
                      <a:pt x="379942" y="5595408"/>
                    </a:cubicBezTo>
                    <a:cubicBezTo>
                      <a:pt x="369094" y="5526352"/>
                      <a:pt x="367772" y="5340350"/>
                      <a:pt x="367243" y="5236633"/>
                    </a:cubicBezTo>
                    <a:cubicBezTo>
                      <a:pt x="366714" y="5132916"/>
                      <a:pt x="374121" y="5065977"/>
                      <a:pt x="376767" y="4973108"/>
                    </a:cubicBezTo>
                    <a:cubicBezTo>
                      <a:pt x="379413" y="4880239"/>
                      <a:pt x="387350" y="4814358"/>
                      <a:pt x="383117" y="4679421"/>
                    </a:cubicBezTo>
                    <a:cubicBezTo>
                      <a:pt x="378884" y="4544484"/>
                      <a:pt x="351367" y="4354248"/>
                      <a:pt x="351367" y="4163483"/>
                    </a:cubicBezTo>
                    <a:cubicBezTo>
                      <a:pt x="351367" y="3972718"/>
                      <a:pt x="378884" y="3714750"/>
                      <a:pt x="383117" y="3534833"/>
                    </a:cubicBezTo>
                    <a:cubicBezTo>
                      <a:pt x="387350" y="3354916"/>
                      <a:pt x="388409" y="3204633"/>
                      <a:pt x="376767" y="3083983"/>
                    </a:cubicBezTo>
                    <a:cubicBezTo>
                      <a:pt x="365125" y="2963333"/>
                      <a:pt x="317500" y="2917824"/>
                      <a:pt x="313267" y="2810933"/>
                    </a:cubicBezTo>
                    <a:cubicBezTo>
                      <a:pt x="309034" y="2704042"/>
                      <a:pt x="340784" y="2554816"/>
                      <a:pt x="351367" y="2442633"/>
                    </a:cubicBezTo>
                    <a:cubicBezTo>
                      <a:pt x="361950" y="2330450"/>
                      <a:pt x="377825" y="2205566"/>
                      <a:pt x="376767" y="2137833"/>
                    </a:cubicBezTo>
                    <a:cubicBezTo>
                      <a:pt x="375709" y="2070100"/>
                      <a:pt x="357717" y="2030941"/>
                      <a:pt x="345017" y="2036233"/>
                    </a:cubicBezTo>
                    <a:cubicBezTo>
                      <a:pt x="332317" y="2041525"/>
                      <a:pt x="304800" y="2098675"/>
                      <a:pt x="300567" y="2169583"/>
                    </a:cubicBezTo>
                    <a:cubicBezTo>
                      <a:pt x="296334" y="2240491"/>
                      <a:pt x="320675" y="2349500"/>
                      <a:pt x="319617" y="2461683"/>
                    </a:cubicBezTo>
                    <a:cubicBezTo>
                      <a:pt x="318559" y="2573866"/>
                      <a:pt x="301625" y="2753783"/>
                      <a:pt x="294217" y="2842683"/>
                    </a:cubicBezTo>
                    <a:cubicBezTo>
                      <a:pt x="286809" y="2931583"/>
                      <a:pt x="271992" y="2962275"/>
                      <a:pt x="275167" y="2995083"/>
                    </a:cubicBezTo>
                    <a:cubicBezTo>
                      <a:pt x="278342" y="3027891"/>
                      <a:pt x="306917" y="3009900"/>
                      <a:pt x="313267" y="3039533"/>
                    </a:cubicBezTo>
                    <a:cubicBezTo>
                      <a:pt x="319617" y="3069166"/>
                      <a:pt x="312209" y="3129491"/>
                      <a:pt x="313267" y="3172883"/>
                    </a:cubicBezTo>
                    <a:cubicBezTo>
                      <a:pt x="314325" y="3216275"/>
                      <a:pt x="324909" y="3278717"/>
                      <a:pt x="319617" y="3299883"/>
                    </a:cubicBezTo>
                    <a:cubicBezTo>
                      <a:pt x="314325" y="3321049"/>
                      <a:pt x="288925" y="3318933"/>
                      <a:pt x="281517" y="3299883"/>
                    </a:cubicBezTo>
                    <a:cubicBezTo>
                      <a:pt x="274109" y="3280833"/>
                      <a:pt x="280459" y="3191933"/>
                      <a:pt x="275167" y="3185583"/>
                    </a:cubicBezTo>
                    <a:cubicBezTo>
                      <a:pt x="269875" y="3179233"/>
                      <a:pt x="246592" y="3233208"/>
                      <a:pt x="249767" y="3261783"/>
                    </a:cubicBezTo>
                    <a:cubicBezTo>
                      <a:pt x="252942" y="3290358"/>
                      <a:pt x="284692" y="3329516"/>
                      <a:pt x="294217" y="3357033"/>
                    </a:cubicBezTo>
                    <a:cubicBezTo>
                      <a:pt x="303742" y="3384550"/>
                      <a:pt x="315384" y="3416300"/>
                      <a:pt x="306917" y="3426883"/>
                    </a:cubicBezTo>
                    <a:cubicBezTo>
                      <a:pt x="298450" y="3437466"/>
                      <a:pt x="267759" y="3438525"/>
                      <a:pt x="243417" y="3420533"/>
                    </a:cubicBezTo>
                    <a:cubicBezTo>
                      <a:pt x="219075" y="3402541"/>
                      <a:pt x="180975" y="3343275"/>
                      <a:pt x="160867" y="3318933"/>
                    </a:cubicBezTo>
                    <a:cubicBezTo>
                      <a:pt x="140759" y="3294591"/>
                      <a:pt x="131234" y="3327400"/>
                      <a:pt x="122767" y="3274483"/>
                    </a:cubicBezTo>
                    <a:cubicBezTo>
                      <a:pt x="114300" y="3221566"/>
                      <a:pt x="112184" y="3083983"/>
                      <a:pt x="110067" y="3001433"/>
                    </a:cubicBezTo>
                    <a:cubicBezTo>
                      <a:pt x="107950" y="2918883"/>
                      <a:pt x="118534" y="2881841"/>
                      <a:pt x="110067" y="2779183"/>
                    </a:cubicBezTo>
                    <a:cubicBezTo>
                      <a:pt x="101600" y="2676525"/>
                      <a:pt x="63500" y="2492374"/>
                      <a:pt x="59267" y="2385483"/>
                    </a:cubicBezTo>
                    <a:cubicBezTo>
                      <a:pt x="55034" y="2278592"/>
                      <a:pt x="81492" y="2200275"/>
                      <a:pt x="84667" y="2137833"/>
                    </a:cubicBezTo>
                    <a:cubicBezTo>
                      <a:pt x="87842" y="2075391"/>
                      <a:pt x="92075" y="2049991"/>
                      <a:pt x="78317" y="2010833"/>
                    </a:cubicBezTo>
                    <a:cubicBezTo>
                      <a:pt x="64559" y="1971675"/>
                      <a:pt x="0" y="1945216"/>
                      <a:pt x="2117" y="1902883"/>
                    </a:cubicBezTo>
                    <a:cubicBezTo>
                      <a:pt x="4234" y="1860550"/>
                      <a:pt x="76200" y="1808691"/>
                      <a:pt x="91017" y="1756833"/>
                    </a:cubicBezTo>
                    <a:cubicBezTo>
                      <a:pt x="105834" y="1704975"/>
                      <a:pt x="60326" y="1674283"/>
                      <a:pt x="91018" y="1591733"/>
                    </a:cubicBezTo>
                    <a:cubicBezTo>
                      <a:pt x="177801" y="1430866"/>
                      <a:pt x="67734" y="1333500"/>
                      <a:pt x="179917" y="1261533"/>
                    </a:cubicBezTo>
                    <a:cubicBezTo>
                      <a:pt x="298450" y="1134533"/>
                      <a:pt x="353484" y="1121833"/>
                      <a:pt x="440267" y="1051983"/>
                    </a:cubicBezTo>
                    <a:lnTo>
                      <a:pt x="668867" y="861483"/>
                    </a:lnTo>
                    <a:lnTo>
                      <a:pt x="795867" y="753533"/>
                    </a:lnTo>
                    <a:close/>
                  </a:path>
                </a:pathLst>
              </a:custGeom>
              <a:solidFill>
                <a:srgbClr val="5F5F5F"/>
              </a:solidFill>
              <a:ln w="25400" cap="flat" cmpd="sng" algn="ctr">
                <a:noFill/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B w="19050"/>
              </a:sp3d>
            </p:spPr>
            <p:txBody>
              <a:bodyPr lIns="81503" tIns="40751" rIns="81503" bIns="40751" anchor="ctr"/>
              <a:lstStyle/>
              <a:p>
                <a:pPr marL="0" marR="0" lvl="0" indent="0" algn="ctr" defTabSz="8115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98" name="오각형 121"/>
              <p:cNvSpPr/>
              <p:nvPr/>
            </p:nvSpPr>
            <p:spPr bwMode="auto">
              <a:xfrm>
                <a:off x="5075476" y="4723536"/>
                <a:ext cx="1863348" cy="367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83969" tIns="41985" rIns="83969" bIns="41985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400" b="0" i="0" u="sng" strike="noStrike" kern="0" cap="none" spc="-7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rPr>
                  <a:t>대응 프로세스</a:t>
                </a:r>
              </a:p>
            </p:txBody>
          </p:sp>
        </p:grpSp>
        <p:grpSp>
          <p:nvGrpSpPr>
            <p:cNvPr id="80" name="Group 79"/>
            <p:cNvGrpSpPr/>
            <p:nvPr/>
          </p:nvGrpSpPr>
          <p:grpSpPr>
            <a:xfrm>
              <a:off x="1431029" y="1954510"/>
              <a:ext cx="3099436" cy="333220"/>
              <a:chOff x="-140028" y="2090501"/>
              <a:chExt cx="6229560" cy="333220"/>
            </a:xfrm>
          </p:grpSpPr>
          <p:sp>
            <p:nvSpPr>
              <p:cNvPr id="90" name="TextBox 100"/>
              <p:cNvSpPr txBox="1">
                <a:spLocks noChangeArrowheads="1"/>
              </p:cNvSpPr>
              <p:nvPr/>
            </p:nvSpPr>
            <p:spPr bwMode="auto">
              <a:xfrm>
                <a:off x="634574" y="2090501"/>
                <a:ext cx="4680358" cy="33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단일 시나리오</a:t>
                </a:r>
                <a:endParaRPr kumimoji="0" lang="ko-KR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91" name="Straight Connector 60"/>
              <p:cNvCxnSpPr/>
              <p:nvPr/>
            </p:nvCxnSpPr>
            <p:spPr bwMode="auto">
              <a:xfrm>
                <a:off x="-140028" y="2380370"/>
                <a:ext cx="622956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tailEnd type="none"/>
              </a:ln>
              <a:effectLst/>
            </p:spPr>
          </p:cxnSp>
        </p:grpSp>
        <p:grpSp>
          <p:nvGrpSpPr>
            <p:cNvPr id="81" name="Group 80"/>
            <p:cNvGrpSpPr/>
            <p:nvPr/>
          </p:nvGrpSpPr>
          <p:grpSpPr>
            <a:xfrm>
              <a:off x="4687046" y="1954510"/>
              <a:ext cx="1221756" cy="333220"/>
              <a:chOff x="630005" y="2090501"/>
              <a:chExt cx="4282520" cy="333220"/>
            </a:xfrm>
          </p:grpSpPr>
          <p:sp>
            <p:nvSpPr>
              <p:cNvPr id="88" name="TextBox 100"/>
              <p:cNvSpPr txBox="1">
                <a:spLocks noChangeArrowheads="1"/>
              </p:cNvSpPr>
              <p:nvPr/>
            </p:nvSpPr>
            <p:spPr bwMode="auto">
              <a:xfrm>
                <a:off x="657654" y="2090501"/>
                <a:ext cx="4254871" cy="33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측정 지표</a:t>
                </a:r>
                <a:endParaRPr kumimoji="0" lang="ko-KR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89" name="Straight Connector 60"/>
              <p:cNvCxnSpPr/>
              <p:nvPr/>
            </p:nvCxnSpPr>
            <p:spPr bwMode="auto">
              <a:xfrm>
                <a:off x="630005" y="2380370"/>
                <a:ext cx="4254871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tailEnd type="none"/>
              </a:ln>
              <a:effectLst/>
            </p:spPr>
          </p:cxnSp>
        </p:grpSp>
        <p:grpSp>
          <p:nvGrpSpPr>
            <p:cNvPr id="82" name="Group 81"/>
            <p:cNvGrpSpPr/>
            <p:nvPr/>
          </p:nvGrpSpPr>
          <p:grpSpPr>
            <a:xfrm>
              <a:off x="6006393" y="1954510"/>
              <a:ext cx="1717817" cy="333220"/>
              <a:chOff x="630005" y="2090501"/>
              <a:chExt cx="4282520" cy="333220"/>
            </a:xfrm>
          </p:grpSpPr>
          <p:sp>
            <p:nvSpPr>
              <p:cNvPr id="86" name="TextBox 100"/>
              <p:cNvSpPr txBox="1">
                <a:spLocks noChangeArrowheads="1"/>
              </p:cNvSpPr>
              <p:nvPr/>
            </p:nvSpPr>
            <p:spPr bwMode="auto">
              <a:xfrm>
                <a:off x="657655" y="2090501"/>
                <a:ext cx="4254870" cy="33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복합 시나리오</a:t>
                </a:r>
                <a:endParaRPr kumimoji="0" lang="ko-KR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87" name="Straight Connector 60"/>
              <p:cNvCxnSpPr/>
              <p:nvPr/>
            </p:nvCxnSpPr>
            <p:spPr bwMode="auto">
              <a:xfrm>
                <a:off x="630005" y="2380370"/>
                <a:ext cx="4254871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tailEnd type="none"/>
              </a:ln>
              <a:effectLst/>
            </p:spPr>
          </p:cxnSp>
        </p:grpSp>
        <p:grpSp>
          <p:nvGrpSpPr>
            <p:cNvPr id="83" name="Group 82"/>
            <p:cNvGrpSpPr/>
            <p:nvPr/>
          </p:nvGrpSpPr>
          <p:grpSpPr>
            <a:xfrm>
              <a:off x="7810554" y="1954510"/>
              <a:ext cx="1723421" cy="333220"/>
              <a:chOff x="630005" y="2090501"/>
              <a:chExt cx="4282520" cy="333220"/>
            </a:xfrm>
          </p:grpSpPr>
          <p:sp>
            <p:nvSpPr>
              <p:cNvPr id="84" name="TextBox 100"/>
              <p:cNvSpPr txBox="1">
                <a:spLocks noChangeArrowheads="1"/>
              </p:cNvSpPr>
              <p:nvPr/>
            </p:nvSpPr>
            <p:spPr bwMode="auto">
              <a:xfrm>
                <a:off x="657654" y="2090501"/>
                <a:ext cx="4254871" cy="33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itchFamily="50" charset="-127"/>
                    <a:ea typeface="굴림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측정 지표</a:t>
                </a:r>
                <a:endParaRPr kumimoji="0" lang="ko-KR" altLang="en-US" sz="14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85" name="Straight Connector 60"/>
              <p:cNvCxnSpPr/>
              <p:nvPr/>
            </p:nvCxnSpPr>
            <p:spPr bwMode="auto">
              <a:xfrm>
                <a:off x="630005" y="2380370"/>
                <a:ext cx="4254871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tailEnd type="none"/>
              </a:ln>
              <a:effectLst/>
            </p:spPr>
          </p:cxnSp>
        </p:grpSp>
      </p:grpSp>
      <p:sp>
        <p:nvSpPr>
          <p:cNvPr id="10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20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121" name="TextBox 12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선제적 탐지 체계 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kern="0" dirty="0">
                  <a:solidFill>
                    <a:srgbClr val="333333"/>
                  </a:solidFill>
                  <a:latin typeface="맑은 고딕"/>
                  <a:ea typeface="맑은 고딕"/>
                  <a:cs typeface="Arial" panose="020B0604020202020204" pitchFamily="34" charset="0"/>
                </a:rPr>
                <a:t>案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22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124" name="TextBox 12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" name="그룹 5"/>
          <p:cNvGrpSpPr/>
          <p:nvPr/>
        </p:nvGrpSpPr>
        <p:grpSpPr>
          <a:xfrm>
            <a:off x="1196779" y="4417503"/>
            <a:ext cx="8293660" cy="411832"/>
            <a:chOff x="2318339" y="3635781"/>
            <a:chExt cx="8293660" cy="411832"/>
          </a:xfrm>
        </p:grpSpPr>
        <p:sp>
          <p:nvSpPr>
            <p:cNvPr id="5" name="사다리꼴 4"/>
            <p:cNvSpPr/>
            <p:nvPr/>
          </p:nvSpPr>
          <p:spPr bwMode="auto">
            <a:xfrm rot="10800000">
              <a:off x="2318339" y="3635781"/>
              <a:ext cx="8293660" cy="411832"/>
            </a:xfrm>
            <a:prstGeom prst="trapezoid">
              <a:avLst>
                <a:gd name="adj" fmla="val 662136"/>
              </a:avLst>
            </a:prstGeom>
            <a:solidFill>
              <a:schemeClr val="bg1">
                <a:lumMod val="75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32"/>
            <p:cNvSpPr/>
            <p:nvPr/>
          </p:nvSpPr>
          <p:spPr bwMode="auto">
            <a:xfrm>
              <a:off x="5765256" y="3638843"/>
              <a:ext cx="1399826" cy="40570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i="0" u="none" strike="noStrike" kern="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이상행위 탐지</a:t>
              </a:r>
              <a:endParaRPr kumimoji="1" lang="ko-KR" altLang="en-US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sp>
        <p:nvSpPr>
          <p:cNvPr id="99" name="직사각형 98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0" name="그룹 9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0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11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7" name="그룹 11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632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호 강화 및 통합 정보보호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양한 벤더와 사양이 공존하는 보안솔루션을 통합적으로 관리할 수 있는 플랫폼 성격의 보안아키텍처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시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72351" y="1904674"/>
            <a:ext cx="7345019" cy="4476736"/>
            <a:chOff x="272351" y="1904674"/>
            <a:chExt cx="7345019" cy="4476736"/>
          </a:xfrm>
        </p:grpSpPr>
        <p:sp>
          <p:nvSpPr>
            <p:cNvPr id="124" name="Rectangle 123"/>
            <p:cNvSpPr/>
            <p:nvPr/>
          </p:nvSpPr>
          <p:spPr>
            <a:xfrm>
              <a:off x="294150" y="1904674"/>
              <a:ext cx="732322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latinLnBrk="0"/>
              <a:r>
                <a:rPr lang="ko-KR" altLang="en-US" sz="1400" kern="0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보안 솔루션 통합관리를 통합 정보보호 플랫폼 </a:t>
              </a:r>
              <a:endParaRPr lang="ko-KR" altLang="en-US" b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2351" y="2272450"/>
              <a:ext cx="7345019" cy="4108960"/>
              <a:chOff x="272351" y="2272450"/>
              <a:chExt cx="7345019" cy="4108960"/>
            </a:xfrm>
          </p:grpSpPr>
          <p:sp>
            <p:nvSpPr>
              <p:cNvPr id="125" name="TextBox 124"/>
              <p:cNvSpPr txBox="1"/>
              <p:nvPr/>
            </p:nvSpPr>
            <p:spPr bwMode="gray">
              <a:xfrm>
                <a:off x="3751401" y="2274014"/>
                <a:ext cx="1240682" cy="1771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네트워크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6" name="TextBox 125"/>
              <p:cNvSpPr txBox="1"/>
              <p:nvPr/>
            </p:nvSpPr>
            <p:spPr bwMode="gray">
              <a:xfrm>
                <a:off x="5056009" y="2274014"/>
                <a:ext cx="1240682" cy="1771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보안장비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7" name="TextBox 126"/>
              <p:cNvSpPr txBox="1"/>
              <p:nvPr/>
            </p:nvSpPr>
            <p:spPr bwMode="gray">
              <a:xfrm>
                <a:off x="6367102" y="2274014"/>
                <a:ext cx="1240682" cy="1771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서버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8" name="TextBox 127"/>
              <p:cNvSpPr txBox="1"/>
              <p:nvPr/>
            </p:nvSpPr>
            <p:spPr bwMode="gray">
              <a:xfrm>
                <a:off x="1122110" y="2272450"/>
                <a:ext cx="1240682" cy="1771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어플리케이션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9" name="TextBox 128"/>
              <p:cNvSpPr txBox="1"/>
              <p:nvPr/>
            </p:nvSpPr>
            <p:spPr bwMode="gray">
              <a:xfrm>
                <a:off x="2439687" y="2272450"/>
                <a:ext cx="1240682" cy="1771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데이터베이스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0" name="TextBox 129"/>
              <p:cNvSpPr txBox="1"/>
              <p:nvPr/>
            </p:nvSpPr>
            <p:spPr bwMode="gray">
              <a:xfrm>
                <a:off x="272357" y="2480583"/>
                <a:ext cx="807886" cy="806707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인증</a:t>
                </a:r>
                <a:r>
                  <a:rPr kumimoji="0" lang="en-US" altLang="ko-KR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관리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 bwMode="gray">
              <a:xfrm>
                <a:off x="272354" y="3342899"/>
                <a:ext cx="807886" cy="601395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접근권한관리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2" name="TextBox 131"/>
              <p:cNvSpPr txBox="1"/>
              <p:nvPr/>
            </p:nvSpPr>
            <p:spPr bwMode="gray">
              <a:xfrm>
                <a:off x="272353" y="3999902"/>
                <a:ext cx="807886" cy="396080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가용성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3" name="TextBox 132"/>
              <p:cNvSpPr txBox="1"/>
              <p:nvPr/>
            </p:nvSpPr>
            <p:spPr bwMode="gray">
              <a:xfrm>
                <a:off x="272352" y="4458546"/>
                <a:ext cx="807886" cy="389126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암호화</a:t>
                </a:r>
                <a:r>
                  <a:rPr kumimoji="0" lang="en-US" altLang="ko-KR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밀성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4" name="TextBox 133"/>
              <p:cNvSpPr txBox="1"/>
              <p:nvPr/>
            </p:nvSpPr>
            <p:spPr bwMode="gray">
              <a:xfrm>
                <a:off x="272352" y="4903280"/>
                <a:ext cx="807886" cy="601395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5" name="TextBox 134"/>
              <p:cNvSpPr txBox="1"/>
              <p:nvPr/>
            </p:nvSpPr>
            <p:spPr bwMode="gray">
              <a:xfrm>
                <a:off x="272351" y="5560284"/>
                <a:ext cx="807886" cy="806705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177800" marR="0" lvl="0" indent="-17780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깅</a:t>
                </a:r>
                <a:r>
                  <a:rPr kumimoji="0" lang="en-US" altLang="ko-KR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감사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36" name="직선 연결선 134"/>
              <p:cNvCxnSpPr/>
              <p:nvPr/>
            </p:nvCxnSpPr>
            <p:spPr bwMode="auto">
              <a:xfrm flipH="1">
                <a:off x="1085136" y="3315094"/>
                <a:ext cx="6502434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" name="직선 연결선 135"/>
              <p:cNvCxnSpPr/>
              <p:nvPr/>
            </p:nvCxnSpPr>
            <p:spPr bwMode="auto">
              <a:xfrm flipH="1">
                <a:off x="1085136" y="3972097"/>
                <a:ext cx="6502434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" name="직선 연결선 136"/>
              <p:cNvCxnSpPr/>
              <p:nvPr/>
            </p:nvCxnSpPr>
            <p:spPr bwMode="auto">
              <a:xfrm flipH="1">
                <a:off x="1085136" y="4423787"/>
                <a:ext cx="6502434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" name="직선 연결선 137"/>
              <p:cNvCxnSpPr/>
              <p:nvPr/>
            </p:nvCxnSpPr>
            <p:spPr bwMode="auto">
              <a:xfrm flipH="1">
                <a:off x="1085136" y="4875477"/>
                <a:ext cx="6502434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" name="직선 연결선 138"/>
              <p:cNvCxnSpPr/>
              <p:nvPr/>
            </p:nvCxnSpPr>
            <p:spPr bwMode="auto">
              <a:xfrm flipH="1">
                <a:off x="1085136" y="5532479"/>
                <a:ext cx="6502434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41" name="Rectangle 137"/>
              <p:cNvSpPr>
                <a:spLocks noChangeArrowheads="1"/>
              </p:cNvSpPr>
              <p:nvPr/>
            </p:nvSpPr>
            <p:spPr bwMode="auto">
              <a:xfrm>
                <a:off x="1135082" y="2486190"/>
                <a:ext cx="6482288" cy="3895220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square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ko-KR" sz="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42" name="직사각형 22"/>
              <p:cNvSpPr/>
              <p:nvPr/>
            </p:nvSpPr>
            <p:spPr bwMode="auto">
              <a:xfrm>
                <a:off x="3747155" y="24821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90488" marR="0" lvl="0" indent="-90488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온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3" name="직사각형 32"/>
              <p:cNvSpPr/>
              <p:nvPr/>
            </p:nvSpPr>
            <p:spPr bwMode="auto">
              <a:xfrm>
                <a:off x="3747155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로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4" name="직사각형 33"/>
              <p:cNvSpPr/>
              <p:nvPr/>
            </p:nvSpPr>
            <p:spPr bwMode="auto">
              <a:xfrm>
                <a:off x="4381152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보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5" name="직사각형 34"/>
              <p:cNvSpPr/>
              <p:nvPr/>
            </p:nvSpPr>
            <p:spPr bwMode="auto">
              <a:xfrm>
                <a:off x="5055520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권한관리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6" name="직사각형 35"/>
              <p:cNvSpPr/>
              <p:nvPr/>
            </p:nvSpPr>
            <p:spPr bwMode="auto">
              <a:xfrm>
                <a:off x="5689943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처리시스템 접속 기록</a:t>
                </a:r>
                <a:endParaRPr kumimoji="0" lang="en-US" altLang="ko-KR" sz="6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7" name="직사각형 36"/>
              <p:cNvSpPr/>
              <p:nvPr/>
            </p:nvSpPr>
            <p:spPr bwMode="auto">
              <a:xfrm>
                <a:off x="5055520" y="576716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 오남용 탐지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8" name="직사각형 37"/>
              <p:cNvSpPr/>
              <p:nvPr/>
            </p:nvSpPr>
            <p:spPr bwMode="auto">
              <a:xfrm>
                <a:off x="5689943" y="576716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로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9" name="직사각형 38"/>
              <p:cNvSpPr/>
              <p:nvPr/>
            </p:nvSpPr>
            <p:spPr bwMode="auto">
              <a:xfrm>
                <a:off x="5055520" y="597247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보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0" name="직사각형 39"/>
              <p:cNvSpPr/>
              <p:nvPr/>
            </p:nvSpPr>
            <p:spPr bwMode="auto">
              <a:xfrm>
                <a:off x="5689943" y="597247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산원장 접근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1" name="직사각형 40"/>
              <p:cNvSpPr/>
              <p:nvPr/>
            </p:nvSpPr>
            <p:spPr bwMode="auto">
              <a:xfrm>
                <a:off x="6369069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권한관리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2" name="직사각형 41"/>
              <p:cNvSpPr/>
              <p:nvPr/>
            </p:nvSpPr>
            <p:spPr bwMode="auto">
              <a:xfrm>
                <a:off x="7004321" y="55618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로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3" name="직사각형 42"/>
              <p:cNvSpPr/>
              <p:nvPr/>
            </p:nvSpPr>
            <p:spPr bwMode="auto">
              <a:xfrm>
                <a:off x="6369069" y="576716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보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4" name="직사각형 43"/>
              <p:cNvSpPr/>
              <p:nvPr/>
            </p:nvSpPr>
            <p:spPr bwMode="auto">
              <a:xfrm>
                <a:off x="7004321" y="576716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행동정보 수집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5" name="직사각형 45"/>
              <p:cNvSpPr/>
              <p:nvPr/>
            </p:nvSpPr>
            <p:spPr bwMode="auto">
              <a:xfrm>
                <a:off x="1757968" y="556028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처리시스템 접속 기록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6" name="직사각형 47"/>
              <p:cNvSpPr/>
              <p:nvPr/>
            </p:nvSpPr>
            <p:spPr bwMode="auto">
              <a:xfrm>
                <a:off x="1757968" y="576559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보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7" name="직사각형 49"/>
              <p:cNvSpPr/>
              <p:nvPr/>
            </p:nvSpPr>
            <p:spPr bwMode="auto">
              <a:xfrm>
                <a:off x="1757968" y="597091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 의뢰 처리 내역</a:t>
                </a:r>
                <a:endParaRPr kumimoji="0" lang="en-US" altLang="ko-KR" sz="6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8" name="직사각형 44"/>
              <p:cNvSpPr/>
              <p:nvPr/>
            </p:nvSpPr>
            <p:spPr bwMode="auto">
              <a:xfrm>
                <a:off x="1121531" y="556028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권한관리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9" name="직사각형 46"/>
              <p:cNvSpPr/>
              <p:nvPr/>
            </p:nvSpPr>
            <p:spPr bwMode="auto">
              <a:xfrm>
                <a:off x="1121531" y="576559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로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0" name="직사각형 48"/>
              <p:cNvSpPr/>
              <p:nvPr/>
            </p:nvSpPr>
            <p:spPr bwMode="auto">
              <a:xfrm>
                <a:off x="1121531" y="597091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행동정보 수집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1" name="직사각형 50"/>
              <p:cNvSpPr/>
              <p:nvPr/>
            </p:nvSpPr>
            <p:spPr bwMode="auto">
              <a:xfrm>
                <a:off x="1121531" y="617622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업무용정보통신 수단 로그기록</a:t>
                </a:r>
                <a:endParaRPr kumimoji="0" lang="en-US" altLang="ko-KR" sz="6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2" name="직사각형 51"/>
              <p:cNvSpPr/>
              <p:nvPr/>
            </p:nvSpPr>
            <p:spPr bwMode="auto">
              <a:xfrm>
                <a:off x="1757968" y="617622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산원장 접근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3" name="직사각형 52"/>
              <p:cNvSpPr/>
              <p:nvPr/>
            </p:nvSpPr>
            <p:spPr bwMode="auto">
              <a:xfrm>
                <a:off x="2435997" y="556028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권한관리 내역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4" name="직사각형 53"/>
              <p:cNvSpPr/>
              <p:nvPr/>
            </p:nvSpPr>
            <p:spPr bwMode="auto">
              <a:xfrm>
                <a:off x="3067813" y="556028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로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5" name="직사각형 54"/>
              <p:cNvSpPr/>
              <p:nvPr/>
            </p:nvSpPr>
            <p:spPr bwMode="auto">
              <a:xfrm>
                <a:off x="2435997" y="490328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 테스트 사용 금지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6" name="직사각형 55"/>
              <p:cNvSpPr/>
              <p:nvPr/>
            </p:nvSpPr>
            <p:spPr bwMode="auto">
              <a:xfrm>
                <a:off x="3067813" y="490328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 파기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7" name="직사각형 57"/>
              <p:cNvSpPr/>
              <p:nvPr/>
            </p:nvSpPr>
            <p:spPr bwMode="auto">
              <a:xfrm>
                <a:off x="1757968" y="490328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내역 통보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8" name="직사각형 59"/>
              <p:cNvSpPr/>
              <p:nvPr/>
            </p:nvSpPr>
            <p:spPr bwMode="auto">
              <a:xfrm>
                <a:off x="1757968" y="510859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Do-Not-Call 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능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9" name="직사각형 56"/>
              <p:cNvSpPr/>
              <p:nvPr/>
            </p:nvSpPr>
            <p:spPr bwMode="auto">
              <a:xfrm>
                <a:off x="1121531" y="490328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 제공내역 조회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0" name="직사각형 58"/>
              <p:cNvSpPr/>
              <p:nvPr/>
            </p:nvSpPr>
            <p:spPr bwMode="auto">
              <a:xfrm>
                <a:off x="1121531" y="510859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홈페이지 구현 기능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1" name="직사각형 60"/>
              <p:cNvSpPr/>
              <p:nvPr/>
            </p:nvSpPr>
            <p:spPr bwMode="auto">
              <a:xfrm>
                <a:off x="1121531" y="531390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개인정보 파기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2" name="직사각형 61"/>
              <p:cNvSpPr/>
              <p:nvPr/>
            </p:nvSpPr>
            <p:spPr bwMode="auto">
              <a:xfrm>
                <a:off x="1757968" y="531390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0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주민등록번호 수집 및 노출통제</a:t>
                </a:r>
                <a:endParaRPr kumimoji="0" lang="en-US" altLang="ko-KR" sz="6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3" name="직사각형 62"/>
              <p:cNvSpPr/>
              <p:nvPr/>
            </p:nvSpPr>
            <p:spPr bwMode="auto">
              <a:xfrm>
                <a:off x="5055520" y="445315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데이터 암호화 적용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4" name="직사각형 63"/>
              <p:cNvSpPr/>
              <p:nvPr/>
            </p:nvSpPr>
            <p:spPr bwMode="auto">
              <a:xfrm>
                <a:off x="5689943" y="445315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암호화 통신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5" name="직사각형 64"/>
              <p:cNvSpPr/>
              <p:nvPr/>
            </p:nvSpPr>
            <p:spPr bwMode="auto">
              <a:xfrm>
                <a:off x="5055520" y="4658468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암호화키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6" name="직사각형 65"/>
              <p:cNvSpPr/>
              <p:nvPr/>
            </p:nvSpPr>
            <p:spPr bwMode="auto">
              <a:xfrm>
                <a:off x="6369069" y="445315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암호화 통신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7" name="직사각형 67"/>
              <p:cNvSpPr/>
              <p:nvPr/>
            </p:nvSpPr>
            <p:spPr bwMode="auto">
              <a:xfrm>
                <a:off x="1757968" y="445159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암호화 통신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8" name="직사각형 66"/>
              <p:cNvSpPr/>
              <p:nvPr/>
            </p:nvSpPr>
            <p:spPr bwMode="auto">
              <a:xfrm>
                <a:off x="1121531" y="445159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데이터 암호화 적용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9" name="직사각형 68"/>
              <p:cNvSpPr/>
              <p:nvPr/>
            </p:nvSpPr>
            <p:spPr bwMode="auto">
              <a:xfrm>
                <a:off x="1121531" y="4656904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마스킹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처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0" name="직사각형 69"/>
              <p:cNvSpPr/>
              <p:nvPr/>
            </p:nvSpPr>
            <p:spPr bwMode="auto">
              <a:xfrm>
                <a:off x="3747155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보안설정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1" name="직사각형 70"/>
              <p:cNvSpPr/>
              <p:nvPr/>
            </p:nvSpPr>
            <p:spPr bwMode="auto">
              <a:xfrm>
                <a:off x="4381152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중화 구성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2" name="직사각형 71"/>
              <p:cNvSpPr/>
              <p:nvPr/>
            </p:nvSpPr>
            <p:spPr bwMode="auto">
              <a:xfrm>
                <a:off x="3747155" y="420677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모니터링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3" name="직사각형 72"/>
              <p:cNvSpPr/>
              <p:nvPr/>
            </p:nvSpPr>
            <p:spPr bwMode="auto">
              <a:xfrm>
                <a:off x="4381152" y="420677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백업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4" name="직사각형 73"/>
              <p:cNvSpPr/>
              <p:nvPr/>
            </p:nvSpPr>
            <p:spPr bwMode="auto">
              <a:xfrm>
                <a:off x="5055520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보안설정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5" name="직사각형 74"/>
              <p:cNvSpPr/>
              <p:nvPr/>
            </p:nvSpPr>
            <p:spPr bwMode="auto">
              <a:xfrm>
                <a:off x="5689943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백업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6" name="직사각형 75"/>
              <p:cNvSpPr/>
              <p:nvPr/>
            </p:nvSpPr>
            <p:spPr bwMode="auto">
              <a:xfrm>
                <a:off x="5055520" y="420677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모니터링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7" name="직사각형 76"/>
              <p:cNvSpPr/>
              <p:nvPr/>
            </p:nvSpPr>
            <p:spPr bwMode="auto">
              <a:xfrm>
                <a:off x="6369069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보안설정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8" name="직사각형 77"/>
              <p:cNvSpPr/>
              <p:nvPr/>
            </p:nvSpPr>
            <p:spPr bwMode="auto">
              <a:xfrm>
                <a:off x="7004321" y="400146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백업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9" name="직사각형 78"/>
              <p:cNvSpPr/>
              <p:nvPr/>
            </p:nvSpPr>
            <p:spPr bwMode="auto">
              <a:xfrm>
                <a:off x="6369069" y="420677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모니터링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0" name="직사각형 79"/>
              <p:cNvSpPr/>
              <p:nvPr/>
            </p:nvSpPr>
            <p:spPr bwMode="auto">
              <a:xfrm>
                <a:off x="1121531" y="399990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보안설정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1" name="직사각형 81"/>
              <p:cNvSpPr/>
              <p:nvPr/>
            </p:nvSpPr>
            <p:spPr bwMode="auto">
              <a:xfrm>
                <a:off x="1121531" y="420521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파일 배포기능 최소화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2" name="직사각형 83"/>
              <p:cNvSpPr/>
              <p:nvPr/>
            </p:nvSpPr>
            <p:spPr bwMode="auto">
              <a:xfrm>
                <a:off x="2435997" y="399990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정보처리시스템 보안설정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3" name="직사각형 84"/>
              <p:cNvSpPr/>
              <p:nvPr/>
            </p:nvSpPr>
            <p:spPr bwMode="auto">
              <a:xfrm>
                <a:off x="3067813" y="3999901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중화 구성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4" name="직사각형 85"/>
              <p:cNvSpPr/>
              <p:nvPr/>
            </p:nvSpPr>
            <p:spPr bwMode="auto">
              <a:xfrm>
                <a:off x="2435997" y="420521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모니터링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5" name="직사각형 86"/>
              <p:cNvSpPr/>
              <p:nvPr/>
            </p:nvSpPr>
            <p:spPr bwMode="auto">
              <a:xfrm>
                <a:off x="3067813" y="420521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백업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6" name="직사각형 87"/>
              <p:cNvSpPr/>
              <p:nvPr/>
            </p:nvSpPr>
            <p:spPr bwMode="auto">
              <a:xfrm>
                <a:off x="3747155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 유형 및 접근권한 분류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7" name="직사각형 88"/>
              <p:cNvSpPr/>
              <p:nvPr/>
            </p:nvSpPr>
            <p:spPr bwMode="auto">
              <a:xfrm>
                <a:off x="4381152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망분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8" name="직사각형 89"/>
              <p:cNvSpPr/>
              <p:nvPr/>
            </p:nvSpPr>
            <p:spPr bwMode="auto">
              <a:xfrm>
                <a:off x="3747155" y="354977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네트워크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9" name="직사각형 90"/>
              <p:cNvSpPr/>
              <p:nvPr/>
            </p:nvSpPr>
            <p:spPr bwMode="auto">
              <a:xfrm>
                <a:off x="4381152" y="354977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공개용 </a:t>
                </a:r>
                <a:r>
                  <a:rPr kumimoji="0" lang="ko-KR" altLang="en-US" sz="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웹서버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0" name="직사각형 91"/>
              <p:cNvSpPr/>
              <p:nvPr/>
            </p:nvSpPr>
            <p:spPr bwMode="auto">
              <a:xfrm>
                <a:off x="3747155" y="375509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원격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1" name="직사각형 93"/>
              <p:cNvSpPr/>
              <p:nvPr/>
            </p:nvSpPr>
            <p:spPr bwMode="auto">
              <a:xfrm>
                <a:off x="5055520" y="24821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계정 관리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2" name="직사각형 94"/>
              <p:cNvSpPr/>
              <p:nvPr/>
            </p:nvSpPr>
            <p:spPr bwMode="auto">
              <a:xfrm>
                <a:off x="5689943" y="24821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비밀번호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3" name="직사각형 95"/>
              <p:cNvSpPr/>
              <p:nvPr/>
            </p:nvSpPr>
            <p:spPr bwMode="auto">
              <a:xfrm>
                <a:off x="5055520" y="2687460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온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4" name="직사각형 96"/>
              <p:cNvSpPr/>
              <p:nvPr/>
            </p:nvSpPr>
            <p:spPr bwMode="auto">
              <a:xfrm>
                <a:off x="6369069" y="24821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비밀번호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5" name="직사각형 97"/>
              <p:cNvSpPr/>
              <p:nvPr/>
            </p:nvSpPr>
            <p:spPr bwMode="auto">
              <a:xfrm>
                <a:off x="7004321" y="2482147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온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6" name="직사각형 101"/>
              <p:cNvSpPr/>
              <p:nvPr/>
            </p:nvSpPr>
            <p:spPr bwMode="auto">
              <a:xfrm>
                <a:off x="1757968" y="248058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공동계정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7" name="직사각형 103"/>
              <p:cNvSpPr/>
              <p:nvPr/>
            </p:nvSpPr>
            <p:spPr bwMode="auto">
              <a:xfrm>
                <a:off x="1757968" y="268589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비밀번호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8" name="직사각형 105"/>
              <p:cNvSpPr/>
              <p:nvPr/>
            </p:nvSpPr>
            <p:spPr bwMode="auto">
              <a:xfrm>
                <a:off x="1757968" y="289120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이용자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0" lang="en-US" altLang="ko-KR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 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본인 확인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직사각형 100"/>
              <p:cNvSpPr/>
              <p:nvPr/>
            </p:nvSpPr>
            <p:spPr bwMode="auto">
              <a:xfrm>
                <a:off x="1121531" y="248058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계정 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0" name="직사각형 102"/>
              <p:cNvSpPr/>
              <p:nvPr/>
            </p:nvSpPr>
            <p:spPr bwMode="auto">
              <a:xfrm>
                <a:off x="1121531" y="268589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비밀번호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1" name="직사각형 104"/>
              <p:cNvSpPr/>
              <p:nvPr/>
            </p:nvSpPr>
            <p:spPr bwMode="auto">
              <a:xfrm>
                <a:off x="1121531" y="289120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온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2" name="직사각형 106"/>
              <p:cNvSpPr/>
              <p:nvPr/>
            </p:nvSpPr>
            <p:spPr bwMode="auto">
              <a:xfrm>
                <a:off x="1121531" y="309652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인증강화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3" name="직사각형 108"/>
              <p:cNvSpPr/>
              <p:nvPr/>
            </p:nvSpPr>
            <p:spPr bwMode="auto">
              <a:xfrm>
                <a:off x="2435997" y="248058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사용자 비밀번호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4" name="직사각형 109"/>
              <p:cNvSpPr/>
              <p:nvPr/>
            </p:nvSpPr>
            <p:spPr bwMode="auto">
              <a:xfrm>
                <a:off x="3067813" y="248058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로그온 정책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5" name="직사각형 112"/>
              <p:cNvSpPr/>
              <p:nvPr/>
            </p:nvSpPr>
            <p:spPr bwMode="auto">
              <a:xfrm>
                <a:off x="1757968" y="334289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 유형 및 접근권한 분류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6" name="직사각형 114"/>
              <p:cNvSpPr/>
              <p:nvPr/>
            </p:nvSpPr>
            <p:spPr bwMode="auto">
              <a:xfrm>
                <a:off x="1757968" y="354821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네트워크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7" name="직사각형 111"/>
              <p:cNvSpPr/>
              <p:nvPr/>
            </p:nvSpPr>
            <p:spPr bwMode="auto">
              <a:xfrm>
                <a:off x="1121531" y="334289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접근권한 변경관리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8" name="직사각형 113"/>
              <p:cNvSpPr/>
              <p:nvPr/>
            </p:nvSpPr>
            <p:spPr bwMode="auto">
              <a:xfrm>
                <a:off x="1121531" y="3548212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능별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9" name="직사각형 115"/>
              <p:cNvSpPr/>
              <p:nvPr/>
            </p:nvSpPr>
            <p:spPr bwMode="auto">
              <a:xfrm>
                <a:off x="1121531" y="375352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공개용 </a:t>
                </a:r>
                <a:r>
                  <a:rPr kumimoji="0" lang="ko-KR" altLang="en-US" sz="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웹서버</a:t>
                </a: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0" name="직사각형 116"/>
              <p:cNvSpPr/>
              <p:nvPr/>
            </p:nvSpPr>
            <p:spPr bwMode="auto">
              <a:xfrm>
                <a:off x="1757968" y="3753525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원격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1" name="직사각형 117"/>
              <p:cNvSpPr/>
              <p:nvPr/>
            </p:nvSpPr>
            <p:spPr bwMode="auto">
              <a:xfrm>
                <a:off x="5055520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 유형 및 접근권한 분류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2" name="직사각형 118"/>
              <p:cNvSpPr/>
              <p:nvPr/>
            </p:nvSpPr>
            <p:spPr bwMode="auto">
              <a:xfrm>
                <a:off x="5689943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기능별 접근통제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3" name="직사각형 119"/>
              <p:cNvSpPr/>
              <p:nvPr/>
            </p:nvSpPr>
            <p:spPr bwMode="auto">
              <a:xfrm>
                <a:off x="5055520" y="354977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네트워크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4" name="직사각형 120"/>
              <p:cNvSpPr/>
              <p:nvPr/>
            </p:nvSpPr>
            <p:spPr bwMode="auto">
              <a:xfrm>
                <a:off x="5689943" y="3549776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원격 접근통제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5" name="직사각형 121"/>
              <p:cNvSpPr/>
              <p:nvPr/>
            </p:nvSpPr>
            <p:spPr bwMode="auto">
              <a:xfrm>
                <a:off x="6369069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 유형 및 접근권한 분류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6" name="직사각형 122"/>
              <p:cNvSpPr/>
              <p:nvPr/>
            </p:nvSpPr>
            <p:spPr bwMode="auto">
              <a:xfrm>
                <a:off x="7004321" y="3344463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15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원격 접근통제</a:t>
                </a:r>
                <a:endParaRPr kumimoji="0" lang="en-US" altLang="ko-KR" sz="6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7" name="직사각형 123"/>
              <p:cNvSpPr/>
              <p:nvPr/>
            </p:nvSpPr>
            <p:spPr bwMode="auto">
              <a:xfrm>
                <a:off x="2435997" y="3342899"/>
                <a:ext cx="605915" cy="190768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85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계정 유형 및 접근권한 분류</a:t>
                </a:r>
                <a:endParaRPr kumimoji="0" lang="en-US" altLang="ko-KR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228" name="직선 연결선 124"/>
              <p:cNvCxnSpPr/>
              <p:nvPr/>
            </p:nvCxnSpPr>
            <p:spPr bwMode="auto">
              <a:xfrm rot="16200000">
                <a:off x="450019" y="4428134"/>
                <a:ext cx="3897105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9" name="직선 연결선 130"/>
              <p:cNvCxnSpPr/>
              <p:nvPr/>
            </p:nvCxnSpPr>
            <p:spPr bwMode="auto">
              <a:xfrm rot="16200000">
                <a:off x="1770730" y="4428134"/>
                <a:ext cx="3897105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0" name="직선 연결선 131"/>
              <p:cNvCxnSpPr/>
              <p:nvPr/>
            </p:nvCxnSpPr>
            <p:spPr bwMode="auto">
              <a:xfrm rot="16200000">
                <a:off x="3065251" y="4428134"/>
                <a:ext cx="3897105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1" name="직선 연결선 132"/>
              <p:cNvCxnSpPr/>
              <p:nvPr/>
            </p:nvCxnSpPr>
            <p:spPr bwMode="auto">
              <a:xfrm rot="16200000">
                <a:off x="4385961" y="4428134"/>
                <a:ext cx="3897105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37" name="Rectangle 236"/>
          <p:cNvSpPr>
            <a:spLocks noChangeArrowheads="1"/>
          </p:cNvSpPr>
          <p:nvPr/>
        </p:nvSpPr>
        <p:spPr bwMode="gray">
          <a:xfrm>
            <a:off x="7760024" y="2312073"/>
            <a:ext cx="1872558" cy="3997212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보보안 프레임워크 기준 차세대 시스템의 대상 아키텍처를 식별 및 정의  </a:t>
            </a: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현 규범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규정의 준수여부 및 취약점 분석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사고사례 를 통해 개선 가이드 라인 작성</a:t>
            </a: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보안 아키텍처 개념 모델 작성 후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Post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차세대 시스템의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TA, AA, DA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영역 영향도 분석</a:t>
            </a: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타 영역의 설계방향성에 보안 아키텍처 개념을 반영</a:t>
            </a:r>
          </a:p>
        </p:txBody>
      </p:sp>
      <p:sp>
        <p:nvSpPr>
          <p:cNvPr id="238" name="Text Box 38"/>
          <p:cNvSpPr txBox="1">
            <a:spLocks noChangeArrowheads="1"/>
          </p:cNvSpPr>
          <p:nvPr/>
        </p:nvSpPr>
        <p:spPr bwMode="auto">
          <a:xfrm>
            <a:off x="7792770" y="1946572"/>
            <a:ext cx="16602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D200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수립 방안</a:t>
            </a:r>
          </a:p>
        </p:txBody>
      </p:sp>
      <p:cxnSp>
        <p:nvCxnSpPr>
          <p:cNvPr id="239" name="Straight Connector 238"/>
          <p:cNvCxnSpPr/>
          <p:nvPr/>
        </p:nvCxnSpPr>
        <p:spPr bwMode="auto">
          <a:xfrm>
            <a:off x="7760024" y="2232236"/>
            <a:ext cx="1872558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252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253" name="TextBox 252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보호 플랫폼 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kern="0" dirty="0">
                  <a:solidFill>
                    <a:srgbClr val="333333"/>
                  </a:solidFill>
                  <a:latin typeface="맑은 고딕"/>
                  <a:ea typeface="맑은 고딕"/>
                  <a:cs typeface="Arial" panose="020B0604020202020204" pitchFamily="34" charset="0"/>
                </a:rPr>
                <a:t>案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54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5" name="Group 154"/>
          <p:cNvGrpSpPr/>
          <p:nvPr/>
        </p:nvGrpSpPr>
        <p:grpSpPr>
          <a:xfrm>
            <a:off x="8515244" y="1412776"/>
            <a:ext cx="1109768" cy="246221"/>
            <a:chOff x="8019945" y="1816742"/>
            <a:chExt cx="1109768" cy="246221"/>
          </a:xfrm>
        </p:grpSpPr>
        <p:sp>
          <p:nvSpPr>
            <p:cNvPr id="256" name="TextBox 25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41" name="직사각형 24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42" name="그룹 24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24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4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4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4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24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24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24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25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51" name="그룹 25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66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67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145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보호 강화 및 통합 정보보호 체계 적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5)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6" cy="605126"/>
          </a:xfrm>
        </p:spPr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 Pay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사용자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ssuer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의 보안전략 기반 하에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주요 보안 기능을 구현하고 있음  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271770" y="2520452"/>
            <a:ext cx="6610350" cy="3788868"/>
          </a:xfrm>
          <a:prstGeom prst="rect">
            <a:avLst/>
          </a:prstGeom>
          <a:solidFill>
            <a:srgbClr val="FFFFFF"/>
          </a:solidFill>
          <a:ln w="3175">
            <a:solidFill>
              <a:srgbClr val="D9D9D9">
                <a:lumMod val="75000"/>
              </a:srgbClr>
            </a:solidFill>
          </a:ln>
        </p:spPr>
        <p:txBody>
          <a:bodyPr wrap="square" lIns="180000" tIns="108000" rtlCol="0" anchor="ctr">
            <a:noAutofit/>
          </a:bodyPr>
          <a:lstStyle/>
          <a:p>
            <a:pPr marL="87313" indent="-87313" fontAlgn="auto" latinLnBrk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ko-KR" altLang="en-US" sz="1400" kern="0" dirty="0" smtClean="0">
              <a:solidFill>
                <a:srgbClr val="000000"/>
              </a:solidFill>
              <a:latin typeface="맑은 고딕"/>
              <a:ea typeface="맑은 고딕"/>
              <a:sym typeface="Wingdings" pitchFamily="2" charset="2"/>
            </a:endParaRPr>
          </a:p>
        </p:txBody>
      </p:sp>
      <p:sp>
        <p:nvSpPr>
          <p:cNvPr id="87" name="Rectangle 10"/>
          <p:cNvSpPr txBox="1">
            <a:spLocks noChangeArrowheads="1"/>
          </p:cNvSpPr>
          <p:nvPr/>
        </p:nvSpPr>
        <p:spPr>
          <a:xfrm>
            <a:off x="326545" y="2993676"/>
            <a:ext cx="2100376" cy="423427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ctr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algn="ctr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Protection from card information theft </a:t>
            </a:r>
          </a:p>
        </p:txBody>
      </p:sp>
      <p:sp>
        <p:nvSpPr>
          <p:cNvPr id="88" name="Rectangle 87"/>
          <p:cNvSpPr/>
          <p:nvPr/>
        </p:nvSpPr>
        <p:spPr>
          <a:xfrm>
            <a:off x="326546" y="2622877"/>
            <a:ext cx="4200753" cy="302400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사용자 관점</a:t>
            </a:r>
          </a:p>
        </p:txBody>
      </p:sp>
      <p:sp>
        <p:nvSpPr>
          <p:cNvPr id="89" name="Rectangle 88"/>
          <p:cNvSpPr/>
          <p:nvPr/>
        </p:nvSpPr>
        <p:spPr>
          <a:xfrm>
            <a:off x="4588915" y="2622877"/>
            <a:ext cx="2247366" cy="302400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Issuer </a:t>
            </a:r>
            <a:r>
              <a:rPr lang="ko-KR" altLang="en-US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관점</a:t>
            </a:r>
          </a:p>
        </p:txBody>
      </p:sp>
      <p:sp>
        <p:nvSpPr>
          <p:cNvPr id="90" name="Rectangle 10"/>
          <p:cNvSpPr txBox="1">
            <a:spLocks noChangeArrowheads="1"/>
          </p:cNvSpPr>
          <p:nvPr/>
        </p:nvSpPr>
        <p:spPr>
          <a:xfrm>
            <a:off x="2488539" y="2993676"/>
            <a:ext cx="2038759" cy="423427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ctr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algn="ctr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Phone loss </a:t>
            </a:r>
          </a:p>
        </p:txBody>
      </p:sp>
      <p:sp>
        <p:nvSpPr>
          <p:cNvPr id="91" name="Rectangle 10"/>
          <p:cNvSpPr txBox="1">
            <a:spLocks noChangeArrowheads="1"/>
          </p:cNvSpPr>
          <p:nvPr/>
        </p:nvSpPr>
        <p:spPr>
          <a:xfrm>
            <a:off x="4588915" y="2993676"/>
            <a:ext cx="2247366" cy="423427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ctr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algn="ctr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Data protection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326545" y="3501223"/>
            <a:ext cx="6509736" cy="263113"/>
          </a:xfrm>
          <a:prstGeom prst="rect">
            <a:avLst/>
          </a:prstGeom>
          <a:solidFill>
            <a:srgbClr val="FFFFFF"/>
          </a:solidFill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>
            <a:defPPr>
              <a:defRPr lang="en-US"/>
            </a:defPPr>
            <a:lvl1pPr marL="0" lvl="0" indent="0" algn="ctr" eaLnBrk="0" fontAlgn="auto" latinLnBrk="0" hangingPunct="0">
              <a:spcBef>
                <a:spcPct val="30000"/>
              </a:spcBef>
              <a:spcAft>
                <a:spcPts val="0"/>
              </a:spcAft>
              <a:buClr>
                <a:srgbClr val="FFD200"/>
              </a:buClr>
              <a:buSzTx/>
              <a:buFont typeface="돋움" pitchFamily="50" charset="-127"/>
              <a:buNone/>
              <a:defRPr sz="1200" kern="0">
                <a:solidFill>
                  <a:srgbClr val="000000"/>
                </a:solidFill>
                <a:latin typeface="+mn-ea"/>
              </a:defRPr>
            </a:lvl1pPr>
            <a:lvl2pPr marL="717550" indent="-355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altLang="ko-KR" b="0" dirty="0" smtClean="0">
                <a:latin typeface="맑은 고딕"/>
                <a:ea typeface="맑은 고딕"/>
              </a:rPr>
              <a:t>S Pay Security System </a:t>
            </a:r>
            <a:endParaRPr lang="ko-KR" altLang="en-US" b="0" dirty="0">
              <a:latin typeface="맑은 고딕"/>
              <a:ea typeface="맑은 고딕"/>
            </a:endParaRPr>
          </a:p>
        </p:txBody>
      </p:sp>
      <p:sp>
        <p:nvSpPr>
          <p:cNvPr id="93" name="Rectangle 10"/>
          <p:cNvSpPr txBox="1">
            <a:spLocks noChangeArrowheads="1"/>
          </p:cNvSpPr>
          <p:nvPr/>
        </p:nvSpPr>
        <p:spPr>
          <a:xfrm>
            <a:off x="328011" y="3843150"/>
            <a:ext cx="2089878" cy="1709763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t" anchorCtr="0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u="sng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Payment Token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Surrogate number of an actual card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Limited user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Managed by KNOX</a:t>
            </a:r>
          </a:p>
        </p:txBody>
      </p:sp>
      <p:sp>
        <p:nvSpPr>
          <p:cNvPr id="94" name="Rectangle 10"/>
          <p:cNvSpPr txBox="1">
            <a:spLocks noChangeArrowheads="1"/>
          </p:cNvSpPr>
          <p:nvPr/>
        </p:nvSpPr>
        <p:spPr>
          <a:xfrm>
            <a:off x="2547115" y="3855638"/>
            <a:ext cx="2089878" cy="1709763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t" anchorCtr="0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u="sng" kern="0" dirty="0">
                <a:solidFill>
                  <a:srgbClr val="000000"/>
                </a:solidFill>
                <a:latin typeface="맑은 고딕"/>
                <a:ea typeface="맑은 고딕"/>
              </a:rPr>
              <a:t>Fingerprint authentication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User authentication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PIN also can be used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Managed by KNOX</a:t>
            </a:r>
          </a:p>
        </p:txBody>
      </p:sp>
      <p:sp>
        <p:nvSpPr>
          <p:cNvPr id="95" name="Rectangle 10"/>
          <p:cNvSpPr txBox="1">
            <a:spLocks noChangeArrowheads="1"/>
          </p:cNvSpPr>
          <p:nvPr/>
        </p:nvSpPr>
        <p:spPr>
          <a:xfrm>
            <a:off x="4746403" y="3852996"/>
            <a:ext cx="2089878" cy="1709763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</a:extLst>
        </p:spPr>
        <p:txBody>
          <a:bodyPr lIns="90000" tIns="90000" rIns="90000" bIns="90000" anchor="t" anchorCtr="0"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 fontAlgn="auto" latinLnBrk="0">
              <a:spcBef>
                <a:spcPct val="30000"/>
              </a:spcBef>
              <a:spcAft>
                <a:spcPts val="0"/>
              </a:spcAft>
              <a:buSzTx/>
              <a:buFont typeface="돋움" pitchFamily="50" charset="-127"/>
              <a:buNone/>
              <a:defRPr/>
            </a:pPr>
            <a:r>
              <a:rPr lang="en-US" altLang="ko-KR" sz="1200" u="sng" kern="0" dirty="0">
                <a:solidFill>
                  <a:srgbClr val="000000"/>
                </a:solidFill>
                <a:latin typeface="맑은 고딕"/>
                <a:ea typeface="맑은 고딕"/>
              </a:rPr>
              <a:t>Data protection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SAD, CHD &amp; transaction data are never stored in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S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server.</a:t>
            </a:r>
          </a:p>
          <a:p>
            <a:pPr marL="174625" indent="-174625" fontAlgn="auto" latinLnBrk="0">
              <a:spcBef>
                <a:spcPct val="3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/>
                <a:ea typeface="맑은 고딕"/>
              </a:rPr>
              <a:t>Card name, transaction amount &amp; merchant name are stored for statistics</a:t>
            </a:r>
          </a:p>
        </p:txBody>
      </p:sp>
      <p:cxnSp>
        <p:nvCxnSpPr>
          <p:cNvPr id="96" name="Straight Arrow Connector 95"/>
          <p:cNvCxnSpPr/>
          <p:nvPr/>
        </p:nvCxnSpPr>
        <p:spPr bwMode="auto">
          <a:xfrm flipV="1">
            <a:off x="1370889" y="5571646"/>
            <a:ext cx="0" cy="478786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7" name="Straight Arrow Connector 96"/>
          <p:cNvCxnSpPr/>
          <p:nvPr/>
        </p:nvCxnSpPr>
        <p:spPr bwMode="auto">
          <a:xfrm flipV="1">
            <a:off x="3598819" y="5552913"/>
            <a:ext cx="0" cy="478786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8" name="Straight Arrow Connector 97"/>
          <p:cNvCxnSpPr/>
          <p:nvPr/>
        </p:nvCxnSpPr>
        <p:spPr bwMode="auto">
          <a:xfrm flipV="1">
            <a:off x="5791938" y="5552913"/>
            <a:ext cx="0" cy="478786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9" name="TextBox 98"/>
          <p:cNvSpPr txBox="1"/>
          <p:nvPr/>
        </p:nvSpPr>
        <p:spPr>
          <a:xfrm>
            <a:off x="805377" y="5644918"/>
            <a:ext cx="1158009" cy="263113"/>
          </a:xfrm>
          <a:prstGeom prst="rect">
            <a:avLst/>
          </a:prstGeom>
          <a:solidFill>
            <a:srgbClr val="FFFFFF">
              <a:lumMod val="20000"/>
              <a:lumOff val="80000"/>
            </a:srgbClr>
          </a:solidFill>
        </p:spPr>
        <p:txBody>
          <a:bodyPr wrap="none" rtlCol="0">
            <a:spAutoFit/>
          </a:bodyPr>
          <a:lstStyle/>
          <a:p>
            <a:pPr marL="52388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Token crypto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2562618" y="5644918"/>
            <a:ext cx="2089355" cy="263113"/>
          </a:xfrm>
          <a:prstGeom prst="rect">
            <a:avLst/>
          </a:prstGeom>
          <a:solidFill>
            <a:srgbClr val="FFFFFF">
              <a:lumMod val="20000"/>
              <a:lumOff val="80000"/>
            </a:srgb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marL="52388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52388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Managing fingerprint info.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135422" y="5644918"/>
            <a:ext cx="1356782" cy="263113"/>
          </a:xfrm>
          <a:prstGeom prst="rect">
            <a:avLst/>
          </a:prstGeom>
          <a:solidFill>
            <a:srgbClr val="FFFFFF">
              <a:lumMod val="20000"/>
              <a:lumOff val="80000"/>
            </a:srgb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marL="52388">
              <a:spcBef>
                <a:spcPct val="20000"/>
              </a:spcBef>
              <a:buClr>
                <a:srgbClr val="FFD200"/>
              </a:buClr>
              <a:buSzPct val="75000"/>
              <a:defRPr sz="1200" kern="0">
                <a:solidFill>
                  <a:srgbClr val="646464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52388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>
                    <a:lumMod val="50000"/>
                  </a:srgbClr>
                </a:solidFill>
                <a:effectLst/>
                <a:uLnTx/>
                <a:uFillTx/>
                <a:latin typeface="맑은 고딕"/>
                <a:ea typeface="맑은 고딕"/>
              </a:rPr>
              <a:t>Data encryption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02" name="Pentagon 101"/>
          <p:cNvSpPr>
            <a:spLocks noChangeArrowheads="1"/>
          </p:cNvSpPr>
          <p:nvPr/>
        </p:nvSpPr>
        <p:spPr bwMode="gray">
          <a:xfrm>
            <a:off x="7621504" y="2615720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AP </a:t>
            </a: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무결성</a:t>
            </a:r>
          </a:p>
        </p:txBody>
      </p:sp>
      <p:sp>
        <p:nvSpPr>
          <p:cNvPr id="103" name="Rectangle 100"/>
          <p:cNvSpPr>
            <a:spLocks noChangeArrowheads="1"/>
          </p:cNvSpPr>
          <p:nvPr/>
        </p:nvSpPr>
        <p:spPr bwMode="gray">
          <a:xfrm>
            <a:off x="7619976" y="2615720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1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04" name="Pentagon 103"/>
          <p:cNvSpPr>
            <a:spLocks noChangeArrowheads="1"/>
          </p:cNvSpPr>
          <p:nvPr/>
        </p:nvSpPr>
        <p:spPr bwMode="gray">
          <a:xfrm>
            <a:off x="7632218" y="3121018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Device </a:t>
            </a: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무결성</a:t>
            </a:r>
          </a:p>
        </p:txBody>
      </p:sp>
      <p:sp>
        <p:nvSpPr>
          <p:cNvPr id="105" name="Rectangle 100"/>
          <p:cNvSpPr>
            <a:spLocks noChangeArrowheads="1"/>
          </p:cNvSpPr>
          <p:nvPr/>
        </p:nvSpPr>
        <p:spPr bwMode="gray">
          <a:xfrm>
            <a:off x="7630690" y="3121018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2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06" name="Pentagon 105"/>
          <p:cNvSpPr>
            <a:spLocks noChangeArrowheads="1"/>
          </p:cNvSpPr>
          <p:nvPr/>
        </p:nvSpPr>
        <p:spPr bwMode="gray">
          <a:xfrm>
            <a:off x="7632218" y="3634003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코드 난독화</a:t>
            </a:r>
          </a:p>
        </p:txBody>
      </p:sp>
      <p:sp>
        <p:nvSpPr>
          <p:cNvPr id="107" name="Rectangle 100"/>
          <p:cNvSpPr>
            <a:spLocks noChangeArrowheads="1"/>
          </p:cNvSpPr>
          <p:nvPr/>
        </p:nvSpPr>
        <p:spPr bwMode="gray">
          <a:xfrm>
            <a:off x="7630690" y="3634003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3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08" name="Pentagon 107"/>
          <p:cNvSpPr>
            <a:spLocks noChangeArrowheads="1"/>
          </p:cNvSpPr>
          <p:nvPr/>
        </p:nvSpPr>
        <p:spPr bwMode="gray">
          <a:xfrm>
            <a:off x="7632218" y="4154677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바이러스 백신</a:t>
            </a:r>
          </a:p>
        </p:txBody>
      </p:sp>
      <p:sp>
        <p:nvSpPr>
          <p:cNvPr id="109" name="Rectangle 100"/>
          <p:cNvSpPr>
            <a:spLocks noChangeArrowheads="1"/>
          </p:cNvSpPr>
          <p:nvPr/>
        </p:nvSpPr>
        <p:spPr bwMode="gray">
          <a:xfrm>
            <a:off x="7630690" y="4154677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4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10" name="Pentagon 109"/>
          <p:cNvSpPr>
            <a:spLocks noChangeArrowheads="1"/>
          </p:cNvSpPr>
          <p:nvPr/>
        </p:nvSpPr>
        <p:spPr bwMode="gray">
          <a:xfrm>
            <a:off x="7642932" y="4659975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종단간 암호화</a:t>
            </a:r>
          </a:p>
        </p:txBody>
      </p:sp>
      <p:sp>
        <p:nvSpPr>
          <p:cNvPr id="111" name="Rectangle 100"/>
          <p:cNvSpPr>
            <a:spLocks noChangeArrowheads="1"/>
          </p:cNvSpPr>
          <p:nvPr/>
        </p:nvSpPr>
        <p:spPr bwMode="gray">
          <a:xfrm>
            <a:off x="7641404" y="4659975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5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12" name="Pentagon 111"/>
          <p:cNvSpPr>
            <a:spLocks noChangeArrowheads="1"/>
          </p:cNvSpPr>
          <p:nvPr/>
        </p:nvSpPr>
        <p:spPr bwMode="gray">
          <a:xfrm>
            <a:off x="7642932" y="5172961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Secure key pad</a:t>
            </a:r>
            <a:endParaRPr lang="ko-KR" altLang="en-US" sz="1400" kern="0" dirty="0">
              <a:solidFill>
                <a:schemeClr val="tx1"/>
              </a:solidFill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13" name="Rectangle 100"/>
          <p:cNvSpPr>
            <a:spLocks noChangeArrowheads="1"/>
          </p:cNvSpPr>
          <p:nvPr/>
        </p:nvSpPr>
        <p:spPr bwMode="gray">
          <a:xfrm>
            <a:off x="7641404" y="5172961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6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14" name="Pentagon 113"/>
          <p:cNvSpPr>
            <a:spLocks noChangeArrowheads="1"/>
          </p:cNvSpPr>
          <p:nvPr/>
        </p:nvSpPr>
        <p:spPr bwMode="gray">
          <a:xfrm>
            <a:off x="7632218" y="5685946"/>
            <a:ext cx="1961859" cy="462616"/>
          </a:xfrm>
          <a:prstGeom prst="homePlate">
            <a:avLst>
              <a:gd name="adj" fmla="val 26686"/>
            </a:avLst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Key </a:t>
            </a:r>
            <a:r>
              <a:rPr lang="ko-KR" altLang="en-US" sz="14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관리</a:t>
            </a:r>
          </a:p>
        </p:txBody>
      </p:sp>
      <p:sp>
        <p:nvSpPr>
          <p:cNvPr id="115" name="Rectangle 100"/>
          <p:cNvSpPr>
            <a:spLocks noChangeArrowheads="1"/>
          </p:cNvSpPr>
          <p:nvPr/>
        </p:nvSpPr>
        <p:spPr bwMode="gray">
          <a:xfrm>
            <a:off x="7630690" y="5685946"/>
            <a:ext cx="244720" cy="228722"/>
          </a:xfrm>
          <a:prstGeom prst="rect">
            <a:avLst/>
          </a:prstGeom>
          <a:solidFill>
            <a:srgbClr val="00206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</a:pPr>
            <a:r>
              <a:rPr lang="en-US" altLang="ko-KR" sz="1400" kern="0" dirty="0">
                <a:latin typeface="맑은 고딕" panose="020B0503020000020004" pitchFamily="50" charset="-127"/>
                <a:ea typeface="맑은 고딕"/>
                <a:cs typeface="Arial" panose="020B0604020202020204" pitchFamily="34" charset="0"/>
              </a:rPr>
              <a:t>7</a:t>
            </a:r>
            <a:endParaRPr lang="ko-KR" altLang="en-US" sz="1400" kern="0" dirty="0">
              <a:latin typeface="맑은 고딕" panose="020B0503020000020004" pitchFamily="50" charset="-127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7547571" y="2205320"/>
            <a:ext cx="2057219" cy="29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/>
            <a:r>
              <a:rPr lang="ko-KR" altLang="en-US" sz="1400" dirty="0" smtClean="0">
                <a:solidFill>
                  <a:srgbClr val="333333"/>
                </a:solidFill>
                <a:latin typeface="맑은 고딕"/>
                <a:ea typeface="맑은 고딕"/>
              </a:rPr>
              <a:t>주요 </a:t>
            </a:r>
            <a:r>
              <a:rPr lang="ko-KR" altLang="en-US" sz="1400" dirty="0">
                <a:solidFill>
                  <a:srgbClr val="333333"/>
                </a:solidFill>
                <a:latin typeface="맑은 고딕"/>
                <a:ea typeface="맑은 고딕"/>
              </a:rPr>
              <a:t>보안 기능</a:t>
            </a:r>
          </a:p>
        </p:txBody>
      </p:sp>
      <p:sp>
        <p:nvSpPr>
          <p:cNvPr id="117" name="Isosceles Triangle 116"/>
          <p:cNvSpPr/>
          <p:nvPr/>
        </p:nvSpPr>
        <p:spPr>
          <a:xfrm rot="5400000">
            <a:off x="5350009" y="4224433"/>
            <a:ext cx="3788868" cy="380906"/>
          </a:xfrm>
          <a:prstGeom prst="triangle">
            <a:avLst/>
          </a:prstGeom>
          <a:solidFill>
            <a:srgbClr val="F0F0F0">
              <a:lumMod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328011" y="5918518"/>
            <a:ext cx="6508271" cy="341991"/>
          </a:xfrm>
          <a:prstGeom prst="rect">
            <a:avLst/>
          </a:prstGeom>
          <a:solidFill>
            <a:srgbClr val="FFFFFF"/>
          </a:solidFill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>
            <a:defPPr>
              <a:defRPr lang="en-US"/>
            </a:defPPr>
            <a:lvl1pPr marL="0" lvl="0" indent="0" algn="ctr" eaLnBrk="0" fontAlgn="auto" latinLnBrk="0" hangingPunct="0">
              <a:spcBef>
                <a:spcPct val="30000"/>
              </a:spcBef>
              <a:spcAft>
                <a:spcPts val="0"/>
              </a:spcAft>
              <a:buClr>
                <a:srgbClr val="FFD200"/>
              </a:buClr>
              <a:buSzTx/>
              <a:buFont typeface="돋움" pitchFamily="50" charset="-127"/>
              <a:buNone/>
              <a:defRPr sz="1200" kern="0">
                <a:solidFill>
                  <a:srgbClr val="000000"/>
                </a:solidFill>
                <a:latin typeface="+mn-ea"/>
              </a:defRPr>
            </a:lvl1pPr>
            <a:lvl2pPr marL="717550" indent="-355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2400">
                <a:solidFill>
                  <a:srgbClr val="646464"/>
                </a:solidFill>
                <a:latin typeface="+mn-lt"/>
              </a:defRPr>
            </a:lvl3pPr>
            <a:lvl4pPr marL="1441450" indent="-358775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돋움" pitchFamily="50" charset="-127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FFD200"/>
              </a:buClr>
              <a:buSzTx/>
              <a:buFont typeface="돋움" pitchFamily="50" charset="-127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S KNOX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119" name="Straight Connector 118"/>
          <p:cNvCxnSpPr/>
          <p:nvPr/>
        </p:nvCxnSpPr>
        <p:spPr bwMode="auto">
          <a:xfrm>
            <a:off x="7619976" y="2520452"/>
            <a:ext cx="1984815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0" name="Picture 10" descr="https://www.mastercard.us/en-us/consumers/features-benefits/mobile-payments/samsung-pay/_jcr_content/contentpar/herolight/image.adaptive.full.high.png/1443447008839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150" y="1885357"/>
            <a:ext cx="839327" cy="789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 Box 38"/>
          <p:cNvSpPr txBox="1">
            <a:spLocks noChangeArrowheads="1"/>
          </p:cNvSpPr>
          <p:nvPr/>
        </p:nvSpPr>
        <p:spPr bwMode="auto">
          <a:xfrm>
            <a:off x="948278" y="2174910"/>
            <a:ext cx="52565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D200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보안 전략</a:t>
            </a:r>
          </a:p>
        </p:txBody>
      </p:sp>
      <p:cxnSp>
        <p:nvCxnSpPr>
          <p:cNvPr id="122" name="Straight Connector 121"/>
          <p:cNvCxnSpPr/>
          <p:nvPr/>
        </p:nvCxnSpPr>
        <p:spPr bwMode="auto">
          <a:xfrm>
            <a:off x="271770" y="2451760"/>
            <a:ext cx="6609600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 smtClean="0">
                <a:solidFill>
                  <a:srgbClr val="FFFFFF"/>
                </a:solidFill>
              </a:rPr>
              <a:t>10. IT </a:t>
            </a:r>
            <a:r>
              <a:rPr lang="ko-KR" altLang="en-US" sz="1200" kern="0" dirty="0" smtClean="0">
                <a:solidFill>
                  <a:srgbClr val="FFFFFF"/>
                </a:solidFill>
              </a:rPr>
              <a:t>아키텍처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59" name="Group 32"/>
          <p:cNvGrpSpPr/>
          <p:nvPr/>
        </p:nvGrpSpPr>
        <p:grpSpPr>
          <a:xfrm>
            <a:off x="291000" y="1412776"/>
            <a:ext cx="9324000" cy="360000"/>
            <a:chOff x="380492" y="1590700"/>
            <a:chExt cx="2196000" cy="360000"/>
          </a:xfrm>
        </p:grpSpPr>
        <p:sp>
          <p:nvSpPr>
            <p:cNvPr id="60" name="TextBox 5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현사례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- </a:t>
              </a:r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삼성페이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1" name="Straight Connector 55"/>
            <p:cNvCxnSpPr/>
            <p:nvPr/>
          </p:nvCxnSpPr>
          <p:spPr>
            <a:xfrm>
              <a:off x="380492" y="1950700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직사각형 61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4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5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6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7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</a:p>
          </p:txBody>
        </p:sp>
        <p:sp>
          <p:nvSpPr>
            <p:cNvPr id="8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3" name="그룹 8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rgbClr val="002060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dirty="0"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dirty="0"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1632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 bwMode="auto">
          <a:xfrm>
            <a:off x="5211405" y="3595580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gray">
          <a:xfrm>
            <a:off x="5569423" y="2631494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과제 및 설계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리스크 및 대응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gray">
          <a:xfrm>
            <a:off x="5304797" y="2008753"/>
            <a:ext cx="3896795" cy="534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0357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예상 </a:t>
            </a:r>
            <a:r>
              <a:rPr lang="ko-KR" altLang="en-US" dirty="0" err="1" smtClean="0"/>
              <a:t>리스크</a:t>
            </a:r>
            <a:r>
              <a:rPr lang="ko-KR" altLang="en-US" dirty="0" smtClean="0"/>
              <a:t> 및 대응방안</a:t>
            </a:r>
            <a:endParaRPr lang="ko-KR" altLang="en-US" dirty="0"/>
          </a:p>
        </p:txBody>
      </p:sp>
      <p:sp>
        <p:nvSpPr>
          <p:cNvPr id="2" name="내용 개체 틀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본 프로젝트 수행에 있어 예상 리스크와 그에 따른 대응 방안을 다음과 같이 고려함</a:t>
            </a:r>
            <a:endParaRPr lang="ko-KR" altLang="en-US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0025" y="1844824"/>
            <a:ext cx="1296988" cy="41764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54000" rIns="54000" anchor="ctr"/>
          <a:lstStyle/>
          <a:p>
            <a:endParaRPr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3356733" y="1484784"/>
            <a:ext cx="2089150" cy="329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54000" rIns="54000">
            <a:spAutoFit/>
          </a:bodyPr>
          <a:lstStyle/>
          <a:p>
            <a:pPr marL="88900" indent="-88900" algn="ctr" latinLnBrk="0">
              <a:lnSpc>
                <a:spcPct val="110000"/>
              </a:lnSpc>
              <a:spcBef>
                <a:spcPct val="50000"/>
              </a:spcBef>
            </a:pPr>
            <a:r>
              <a:rPr kumimoji="1"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상 리스크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6812720" y="1484784"/>
            <a:ext cx="2089150" cy="329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54000" rIns="54000">
            <a:spAutoFit/>
          </a:bodyPr>
          <a:lstStyle/>
          <a:p>
            <a:pPr marL="88900" indent="-88900" algn="ctr" latinLnBrk="0">
              <a:lnSpc>
                <a:spcPct val="110000"/>
              </a:lnSpc>
              <a:spcBef>
                <a:spcPct val="50000"/>
              </a:spcBef>
            </a:pPr>
            <a:r>
              <a:rPr kumimoji="1"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응 방안</a:t>
            </a:r>
          </a:p>
        </p:txBody>
      </p:sp>
      <p:grpSp>
        <p:nvGrpSpPr>
          <p:cNvPr id="28" name="그룹 27"/>
          <p:cNvGrpSpPr/>
          <p:nvPr/>
        </p:nvGrpSpPr>
        <p:grpSpPr>
          <a:xfrm>
            <a:off x="488948" y="2060848"/>
            <a:ext cx="9180196" cy="1015663"/>
            <a:chOff x="488948" y="2276872"/>
            <a:chExt cx="9180196" cy="1015663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488948" y="2276872"/>
              <a:ext cx="1982789" cy="864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54000" rIns="54000" anchor="ctr"/>
            <a:lstStyle/>
            <a:p>
              <a:pPr algn="ctr" latinLnBrk="0">
                <a:lnSpc>
                  <a:spcPct val="110000"/>
                </a:lnSpc>
                <a:spcBef>
                  <a:spcPct val="50000"/>
                </a:spcBef>
              </a:pPr>
              <a:r>
                <a:rPr kumimoji="1" lang="ko-KR" altLang="en-US" sz="13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단위 업무간 작업중복 및 요건 누락 위험</a:t>
              </a:r>
            </a:p>
          </p:txBody>
        </p:sp>
        <p:sp>
          <p:nvSpPr>
            <p:cNvPr id="13" name="Text Box 13"/>
            <p:cNvSpPr txBox="1">
              <a:spLocks noChangeArrowheads="1"/>
            </p:cNvSpPr>
            <p:nvPr/>
          </p:nvSpPr>
          <p:spPr bwMode="auto">
            <a:xfrm>
              <a:off x="2648744" y="2276872"/>
              <a:ext cx="3420000" cy="960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젝트 실행 시 인터뷰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자료조사 등의 중복 수행으로 현업 담당자의 업무 효율 저하 발생</a:t>
              </a: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역간 연계 작업의 누락으로 프로젝트 일정 지연 및 산출물 품질 저하 발생</a:t>
              </a:r>
            </a:p>
          </p:txBody>
        </p:sp>
        <p:sp>
          <p:nvSpPr>
            <p:cNvPr id="14" name="Text Box 14"/>
            <p:cNvSpPr txBox="1">
              <a:spLocks noChangeArrowheads="1"/>
            </p:cNvSpPr>
            <p:nvPr/>
          </p:nvSpPr>
          <p:spPr bwMode="auto">
            <a:xfrm>
              <a:off x="6249144" y="2276872"/>
              <a:ext cx="3420000" cy="1015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계 업무간 작업 흐름도 및 산출물 검토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조정</a:t>
              </a: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공동 작업 분야에 대한 프로세스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R&amp;R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정의함</a:t>
              </a: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비즈니스 업무 간</a:t>
              </a:r>
              <a:r>
                <a:rPr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비즈니스와 </a:t>
              </a:r>
              <a:r>
                <a:rPr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IT (AA/DA/TA/SA)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역간 지속적인 검토 진행</a:t>
              </a: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488948" y="3502666"/>
            <a:ext cx="9180196" cy="960263"/>
            <a:chOff x="488948" y="3690138"/>
            <a:chExt cx="9180196" cy="960263"/>
          </a:xfrm>
        </p:grpSpPr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488948" y="3690138"/>
              <a:ext cx="1982789" cy="864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54000" rIns="54000" anchor="ctr"/>
            <a:lstStyle/>
            <a:p>
              <a:pPr algn="ctr" eaLnBrk="1" latinLnBrk="0" hangingPunct="1">
                <a:lnSpc>
                  <a:spcPct val="110000"/>
                </a:lnSpc>
                <a:spcBef>
                  <a:spcPct val="50000"/>
                </a:spcBef>
                <a:buFontTx/>
                <a:buNone/>
              </a:pPr>
              <a:r>
                <a:rPr lang="ko-KR" altLang="en-US" sz="13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행 목적 및 범위 불명확</a:t>
              </a:r>
              <a:endParaRPr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" name="Text Box 11"/>
            <p:cNvSpPr txBox="1">
              <a:spLocks noChangeArrowheads="1"/>
            </p:cNvSpPr>
            <p:nvPr/>
          </p:nvSpPr>
          <p:spPr bwMode="auto">
            <a:xfrm>
              <a:off x="2648744" y="3774362"/>
              <a:ext cx="3420000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을 고려하지 않은 프로세스 및 기능 정의</a:t>
              </a:r>
              <a:endParaRPr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목표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모델 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epth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에 대한 상호간 이견</a:t>
              </a:r>
            </a:p>
          </p:txBody>
        </p:sp>
        <p:sp>
          <p:nvSpPr>
            <p:cNvPr id="17" name="Text Box 12"/>
            <p:cNvSpPr txBox="1">
              <a:spLocks noChangeArrowheads="1"/>
            </p:cNvSpPr>
            <p:nvPr/>
          </p:nvSpPr>
          <p:spPr bwMode="auto">
            <a:xfrm>
              <a:off x="6249144" y="3690138"/>
              <a:ext cx="3420000" cy="960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차세대 개발 경험을 기반으로 설계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목적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범위 및 요건을 명확화 함</a:t>
              </a: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타사 사례를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바탕으로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담당자와의 충분한 의견 조율을 통한 사전 공감대 형성</a:t>
              </a:r>
            </a:p>
          </p:txBody>
        </p:sp>
      </p:grpSp>
      <p:sp>
        <p:nvSpPr>
          <p:cNvPr id="18" name="Line 16"/>
          <p:cNvSpPr>
            <a:spLocks noChangeShapeType="1"/>
          </p:cNvSpPr>
          <p:nvPr/>
        </p:nvSpPr>
        <p:spPr bwMode="auto">
          <a:xfrm>
            <a:off x="2673350" y="3261888"/>
            <a:ext cx="6767513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Line 16"/>
          <p:cNvSpPr>
            <a:spLocks noChangeShapeType="1"/>
          </p:cNvSpPr>
          <p:nvPr/>
        </p:nvSpPr>
        <p:spPr bwMode="auto">
          <a:xfrm>
            <a:off x="2720752" y="4607443"/>
            <a:ext cx="6767513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endParaRPr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</a:t>
            </a:r>
            <a:r>
              <a:rPr lang="ko-KR" altLang="en-US" sz="1400" kern="0" dirty="0">
                <a:solidFill>
                  <a:srgbClr val="FFFFFF"/>
                </a:solidFill>
              </a:rPr>
              <a:t>예상 리스크 및 대응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21" name="Line 11"/>
          <p:cNvSpPr>
            <a:spLocks noChangeShapeType="1"/>
          </p:cNvSpPr>
          <p:nvPr/>
        </p:nvSpPr>
        <p:spPr bwMode="auto">
          <a:xfrm>
            <a:off x="2576736" y="1802240"/>
            <a:ext cx="3564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endParaRPr kumimoji="1" lang="ko-KR" altLang="en-US" sz="12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Line 11"/>
          <p:cNvSpPr>
            <a:spLocks noChangeShapeType="1"/>
          </p:cNvSpPr>
          <p:nvPr/>
        </p:nvSpPr>
        <p:spPr bwMode="auto">
          <a:xfrm>
            <a:off x="6249143" y="1802240"/>
            <a:ext cx="3384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latinLnBrk="0">
              <a:spcBef>
                <a:spcPct val="50000"/>
              </a:spcBef>
              <a:defRPr/>
            </a:pPr>
            <a:endParaRPr kumimoji="1" lang="ko-KR" altLang="en-US" sz="12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488948" y="4848221"/>
            <a:ext cx="9288588" cy="1218795"/>
            <a:chOff x="488948" y="5064245"/>
            <a:chExt cx="9288588" cy="1218795"/>
          </a:xfrm>
        </p:grpSpPr>
        <p:sp>
          <p:nvSpPr>
            <p:cNvPr id="23" name="Rectangle 5"/>
            <p:cNvSpPr>
              <a:spLocks noChangeArrowheads="1"/>
            </p:cNvSpPr>
            <p:nvPr/>
          </p:nvSpPr>
          <p:spPr bwMode="auto">
            <a:xfrm>
              <a:off x="488948" y="5064245"/>
              <a:ext cx="1982789" cy="864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54000" rIns="54000" anchor="ctr"/>
            <a:lstStyle/>
            <a:p>
              <a:pPr algn="ctr" latinLnBrk="0">
                <a:lnSpc>
                  <a:spcPct val="110000"/>
                </a:lnSpc>
                <a:spcBef>
                  <a:spcPct val="50000"/>
                </a:spcBef>
              </a:pPr>
              <a:r>
                <a:rPr kumimoji="1" lang="ko-KR" altLang="en-US" sz="13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젝트 사상을 고려하지 않은 아키텍처</a:t>
              </a:r>
            </a:p>
          </p:txBody>
        </p:sp>
        <p:sp>
          <p:nvSpPr>
            <p:cNvPr id="24" name="Text Box 11"/>
            <p:cNvSpPr txBox="1">
              <a:spLocks noChangeArrowheads="1"/>
            </p:cNvSpPr>
            <p:nvPr/>
          </p:nvSpPr>
          <p:spPr bwMode="auto">
            <a:xfrm>
              <a:off x="2648743" y="5064245"/>
              <a:ext cx="3528391" cy="960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아키텍처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립 시 상호 이해관계 대립이나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 요건 불명확으로 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H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협카드 특성 </a:t>
              </a:r>
              <a:r>
                <a:rPr lang="ko-KR" altLang="en-US" sz="12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미반영</a:t>
              </a:r>
              <a:endParaRPr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젝트 사상 및 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E2E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점에서</a:t>
              </a:r>
              <a:r>
                <a:rPr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타 영역간의 연관관계를 고려하지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않음</a:t>
              </a:r>
              <a:endParaRPr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" name="Text Box 12"/>
            <p:cNvSpPr txBox="1">
              <a:spLocks noChangeArrowheads="1"/>
            </p:cNvSpPr>
            <p:nvPr/>
          </p:nvSpPr>
          <p:spPr bwMode="auto">
            <a:xfrm>
              <a:off x="6249143" y="5064245"/>
              <a:ext cx="3528393" cy="121879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rIns="54000">
              <a:spAutoFit/>
            </a:bodyPr>
            <a:lstStyle/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H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협카드의 비즈니스 모델에 대한 충분한 검토</a:t>
              </a:r>
              <a:endParaRPr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황에 </a:t>
              </a:r>
              <a:r>
                <a:rPr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대한이슈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분석을 통해 업무수행과 관련된 실질적인 이슈를 도출</a:t>
              </a:r>
            </a:p>
            <a:p>
              <a:pPr marL="177800" indent="-177800" latinLnBrk="0">
                <a:lnSpc>
                  <a:spcPct val="110000"/>
                </a:lnSpc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단계별 타 영역과의 </a:t>
              </a:r>
              <a:r>
                <a:rPr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ross-Check 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행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627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3985792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347615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Journey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는 차세대 시스템 개발을 위한 프로세스 설계 및 개발 요건을 정의하고</a:t>
            </a:r>
            <a:r>
              <a:rPr lang="en-US" altLang="ko-KR" dirty="0"/>
              <a:t> </a:t>
            </a:r>
            <a:r>
              <a:rPr lang="ko-KR" altLang="en-US" dirty="0"/>
              <a:t>실행을 위한 실제적 개발 계획을 수립하여</a:t>
            </a:r>
            <a:r>
              <a:rPr lang="en-US" altLang="ko-KR" dirty="0"/>
              <a:t>,</a:t>
            </a:r>
            <a:r>
              <a:rPr lang="ko-KR" altLang="en-US" dirty="0"/>
              <a:t> 시스템 개발단계로의 진입을 준비하는 단계임</a:t>
            </a:r>
          </a:p>
        </p:txBody>
      </p:sp>
      <p:sp>
        <p:nvSpPr>
          <p:cNvPr id="57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진행 로드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60" name="AutoShape 8"/>
          <p:cNvSpPr>
            <a:spLocks noChangeArrowheads="1"/>
          </p:cNvSpPr>
          <p:nvPr/>
        </p:nvSpPr>
        <p:spPr bwMode="gray">
          <a:xfrm>
            <a:off x="4274339" y="3883028"/>
            <a:ext cx="5286412" cy="2160000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rIns="54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2" name="AutoShape 25"/>
          <p:cNvCxnSpPr>
            <a:cxnSpLocks noChangeShapeType="1"/>
            <a:stCxn id="67" idx="2"/>
            <a:endCxn id="60" idx="0"/>
          </p:cNvCxnSpPr>
          <p:nvPr/>
        </p:nvCxnSpPr>
        <p:spPr bwMode="gray">
          <a:xfrm rot="16200000" flipH="1">
            <a:off x="5755033" y="2720516"/>
            <a:ext cx="742060" cy="1582964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 Box 36"/>
          <p:cNvSpPr txBox="1">
            <a:spLocks noChangeArrowheads="1"/>
          </p:cNvSpPr>
          <p:nvPr/>
        </p:nvSpPr>
        <p:spPr bwMode="gray">
          <a:xfrm>
            <a:off x="5168496" y="3921127"/>
            <a:ext cx="349809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rIns="54000">
            <a:spAutoFit/>
          </a:bodyPr>
          <a:lstStyle/>
          <a:p>
            <a:pPr algn="ctr" latinLnBrk="0"/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>Phase 3. </a:t>
            </a:r>
            <a:r>
              <a:rPr lang="ko-KR" altLang="en-US" sz="14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</a:t>
            </a:r>
            <a:r>
              <a:rPr lang="ko-KR" altLang="en-US" sz="14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  <a:endParaRPr lang="en-US" altLang="ko-KR" sz="140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2792760" y="1403657"/>
            <a:ext cx="5083641" cy="1737311"/>
            <a:chOff x="3620307" y="1714488"/>
            <a:chExt cx="4256094" cy="1571635"/>
          </a:xfrm>
        </p:grpSpPr>
        <p:sp>
          <p:nvSpPr>
            <p:cNvPr id="66" name="Text Box 4"/>
            <p:cNvSpPr txBox="1">
              <a:spLocks noChangeArrowheads="1"/>
            </p:cNvSpPr>
            <p:nvPr/>
          </p:nvSpPr>
          <p:spPr bwMode="gray">
            <a:xfrm>
              <a:off x="4105572" y="1727188"/>
              <a:ext cx="328556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>
              <a:spAutoFit/>
            </a:bodyPr>
            <a:lstStyle/>
            <a:p>
              <a:pPr latinLnBrk="0"/>
              <a:r>
                <a:rPr lang="en-US" altLang="ko-KR" sz="1400" i="1" dirty="0">
                  <a:solidFill>
                    <a:srgbClr val="000000"/>
                  </a:solidFill>
                  <a:latin typeface="맑은 고딕"/>
                  <a:ea typeface="맑은 고딕"/>
                </a:rPr>
                <a:t>Phase 2. </a:t>
              </a:r>
              <a:r>
                <a:rPr lang="ko-KR" altLang="en-US" sz="14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세 </a:t>
              </a:r>
              <a:r>
                <a:rPr lang="en-US" altLang="ko-KR" sz="14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(Process Innovation)</a:t>
              </a:r>
            </a:p>
          </p:txBody>
        </p:sp>
        <p:sp>
          <p:nvSpPr>
            <p:cNvPr id="67" name="AutoShape 7"/>
            <p:cNvSpPr>
              <a:spLocks noChangeArrowheads="1"/>
            </p:cNvSpPr>
            <p:nvPr/>
          </p:nvSpPr>
          <p:spPr bwMode="gray">
            <a:xfrm>
              <a:off x="3620307" y="1714488"/>
              <a:ext cx="4256094" cy="1571635"/>
            </a:xfrm>
            <a:prstGeom prst="rect">
              <a:avLst/>
            </a:prstGeom>
            <a:noFill/>
            <a:ln w="28575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endParaRPr lang="ko-KR" altLang="en-US" sz="120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8" name="Rectangle 11"/>
            <p:cNvSpPr>
              <a:spLocks noChangeArrowheads="1"/>
            </p:cNvSpPr>
            <p:nvPr/>
          </p:nvSpPr>
          <p:spPr bwMode="gray">
            <a:xfrm>
              <a:off x="4874501" y="2143115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상세화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9" name="Rectangle 12"/>
            <p:cNvSpPr>
              <a:spLocks noChangeArrowheads="1"/>
            </p:cNvSpPr>
            <p:nvPr/>
          </p:nvSpPr>
          <p:spPr bwMode="gray">
            <a:xfrm>
              <a:off x="4874501" y="2714619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ko-KR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세스</a:t>
              </a: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b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설계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Rectangle 10"/>
            <p:cNvSpPr>
              <a:spLocks noChangeArrowheads="1"/>
            </p:cNvSpPr>
            <p:nvPr/>
          </p:nvSpPr>
          <p:spPr bwMode="gray">
            <a:xfrm>
              <a:off x="3818252" y="2143116"/>
              <a:ext cx="825137" cy="10001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ko-KR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s-Is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1" name="Rectangle 10"/>
            <p:cNvSpPr>
              <a:spLocks noChangeArrowheads="1"/>
            </p:cNvSpPr>
            <p:nvPr/>
          </p:nvSpPr>
          <p:spPr bwMode="gray">
            <a:xfrm>
              <a:off x="6452095" y="2143115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요건 정의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2" name="AutoShape 24"/>
            <p:cNvCxnSpPr>
              <a:cxnSpLocks noChangeShapeType="1"/>
              <a:stCxn id="70" idx="3"/>
              <a:endCxn id="68" idx="1"/>
            </p:cNvCxnSpPr>
            <p:nvPr/>
          </p:nvCxnSpPr>
          <p:spPr bwMode="gray">
            <a:xfrm flipV="1">
              <a:off x="4643389" y="2359115"/>
              <a:ext cx="231112" cy="284067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44"/>
            <p:cNvCxnSpPr>
              <a:cxnSpLocks noChangeShapeType="1"/>
              <a:stCxn id="68" idx="2"/>
              <a:endCxn id="69" idx="0"/>
            </p:cNvCxnSpPr>
            <p:nvPr/>
          </p:nvCxnSpPr>
          <p:spPr bwMode="gray">
            <a:xfrm rot="5400000">
              <a:off x="5417930" y="2644867"/>
              <a:ext cx="13950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AutoShape 44"/>
            <p:cNvCxnSpPr>
              <a:cxnSpLocks noChangeShapeType="1"/>
              <a:stCxn id="69" idx="3"/>
              <a:endCxn id="71" idx="1"/>
            </p:cNvCxnSpPr>
            <p:nvPr/>
          </p:nvCxnSpPr>
          <p:spPr bwMode="gray">
            <a:xfrm flipV="1">
              <a:off x="6100863" y="2359115"/>
              <a:ext cx="351232" cy="571504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Rectangle 10"/>
            <p:cNvSpPr>
              <a:spLocks noChangeArrowheads="1"/>
            </p:cNvSpPr>
            <p:nvPr/>
          </p:nvSpPr>
          <p:spPr bwMode="gray">
            <a:xfrm>
              <a:off x="6452095" y="2714619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발계획 </a:t>
              </a:r>
              <a:r>
                <a:rPr lang="ko-KR" altLang="en-US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립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6" name="AutoShape 44"/>
            <p:cNvCxnSpPr>
              <a:cxnSpLocks noChangeShapeType="1"/>
              <a:stCxn id="71" idx="2"/>
              <a:endCxn id="75" idx="0"/>
            </p:cNvCxnSpPr>
            <p:nvPr/>
          </p:nvCxnSpPr>
          <p:spPr bwMode="gray">
            <a:xfrm rot="5400000">
              <a:off x="6995524" y="2644867"/>
              <a:ext cx="13950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77" name="AutoShape 24"/>
          <p:cNvCxnSpPr>
            <a:cxnSpLocks noChangeShapeType="1"/>
            <a:stCxn id="101" idx="0"/>
            <a:endCxn id="67" idx="1"/>
          </p:cNvCxnSpPr>
          <p:nvPr/>
        </p:nvCxnSpPr>
        <p:spPr bwMode="gray">
          <a:xfrm rot="5400000" flipH="1" flipV="1">
            <a:off x="1961814" y="1715662"/>
            <a:ext cx="274294" cy="1387597"/>
          </a:xfrm>
          <a:prstGeom prst="bentConnector2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Rectangle 15"/>
          <p:cNvSpPr>
            <a:spLocks noChangeArrowheads="1"/>
          </p:cNvSpPr>
          <p:nvPr/>
        </p:nvSpPr>
        <p:spPr bwMode="gray">
          <a:xfrm>
            <a:off x="4408484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요건 분석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Rectangle 16"/>
          <p:cNvSpPr>
            <a:spLocks noChangeArrowheads="1"/>
          </p:cNvSpPr>
          <p:nvPr/>
        </p:nvSpPr>
        <p:spPr bwMode="gray">
          <a:xfrm>
            <a:off x="4408484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설계</a:t>
            </a:r>
          </a:p>
        </p:txBody>
      </p:sp>
      <p:sp>
        <p:nvSpPr>
          <p:cNvPr id="80" name="Rectangle 15"/>
          <p:cNvSpPr>
            <a:spLocks noChangeArrowheads="1"/>
          </p:cNvSpPr>
          <p:nvPr/>
        </p:nvSpPr>
        <p:spPr bwMode="gray">
          <a:xfrm>
            <a:off x="5807875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설계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hysical Design)</a:t>
            </a:r>
          </a:p>
        </p:txBody>
      </p:sp>
      <p:cxnSp>
        <p:nvCxnSpPr>
          <p:cNvPr id="81" name="AutoShape 44"/>
          <p:cNvCxnSpPr>
            <a:cxnSpLocks noChangeShapeType="1"/>
            <a:stCxn id="78" idx="3"/>
            <a:endCxn id="80" idx="1"/>
          </p:cNvCxnSpPr>
          <p:nvPr/>
        </p:nvCxnSpPr>
        <p:spPr bwMode="gray">
          <a:xfrm>
            <a:off x="5634846" y="4502256"/>
            <a:ext cx="160067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Rectangle 15"/>
          <p:cNvSpPr>
            <a:spLocks noChangeArrowheads="1"/>
          </p:cNvSpPr>
          <p:nvPr/>
        </p:nvSpPr>
        <p:spPr bwMode="gray">
          <a:xfrm>
            <a:off x="7207266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테스트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Rectangle 16"/>
          <p:cNvSpPr>
            <a:spLocks noChangeArrowheads="1"/>
          </p:cNvSpPr>
          <p:nvPr/>
        </p:nvSpPr>
        <p:spPr bwMode="gray">
          <a:xfrm>
            <a:off x="5801525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축</a:t>
            </a:r>
          </a:p>
        </p:txBody>
      </p:sp>
      <p:sp>
        <p:nvSpPr>
          <p:cNvPr id="84" name="Rectangle 16"/>
          <p:cNvSpPr>
            <a:spLocks noChangeArrowheads="1"/>
          </p:cNvSpPr>
          <p:nvPr/>
        </p:nvSpPr>
        <p:spPr bwMode="gray">
          <a:xfrm>
            <a:off x="7194566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이행</a:t>
            </a:r>
          </a:p>
        </p:txBody>
      </p:sp>
      <p:sp>
        <p:nvSpPr>
          <p:cNvPr id="85" name="Rectangle 15"/>
          <p:cNvSpPr>
            <a:spLocks noChangeArrowheads="1"/>
          </p:cNvSpPr>
          <p:nvPr/>
        </p:nvSpPr>
        <p:spPr bwMode="gray">
          <a:xfrm>
            <a:off x="8640788" y="4289628"/>
            <a:ext cx="785818" cy="10001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6" name="AutoShape 44"/>
          <p:cNvCxnSpPr>
            <a:cxnSpLocks noChangeShapeType="1"/>
            <a:stCxn id="80" idx="3"/>
            <a:endCxn id="82" idx="1"/>
          </p:cNvCxnSpPr>
          <p:nvPr/>
        </p:nvCxnSpPr>
        <p:spPr bwMode="gray">
          <a:xfrm>
            <a:off x="7021275" y="4502256"/>
            <a:ext cx="185991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AutoShape 44"/>
          <p:cNvCxnSpPr>
            <a:cxnSpLocks noChangeShapeType="1"/>
            <a:stCxn id="82" idx="3"/>
            <a:endCxn id="85" idx="1"/>
          </p:cNvCxnSpPr>
          <p:nvPr/>
        </p:nvCxnSpPr>
        <p:spPr bwMode="gray">
          <a:xfrm>
            <a:off x="8433628" y="4502256"/>
            <a:ext cx="207160" cy="28743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AutoShape 44"/>
          <p:cNvCxnSpPr>
            <a:cxnSpLocks noChangeShapeType="1"/>
            <a:stCxn id="79" idx="3"/>
            <a:endCxn id="83" idx="1"/>
          </p:cNvCxnSpPr>
          <p:nvPr/>
        </p:nvCxnSpPr>
        <p:spPr bwMode="gray">
          <a:xfrm>
            <a:off x="5634846" y="5073760"/>
            <a:ext cx="130960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AutoShape 44"/>
          <p:cNvCxnSpPr>
            <a:cxnSpLocks noChangeShapeType="1"/>
            <a:stCxn id="83" idx="3"/>
            <a:endCxn id="84" idx="1"/>
          </p:cNvCxnSpPr>
          <p:nvPr/>
        </p:nvCxnSpPr>
        <p:spPr bwMode="gray">
          <a:xfrm>
            <a:off x="6992168" y="5073760"/>
            <a:ext cx="202398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AutoShape 44"/>
          <p:cNvCxnSpPr>
            <a:cxnSpLocks noChangeShapeType="1"/>
            <a:stCxn id="84" idx="3"/>
            <a:endCxn id="85" idx="1"/>
          </p:cNvCxnSpPr>
          <p:nvPr/>
        </p:nvCxnSpPr>
        <p:spPr bwMode="gray">
          <a:xfrm flipV="1">
            <a:off x="8420928" y="4789694"/>
            <a:ext cx="219860" cy="28406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1" name="Rectangle 16"/>
          <p:cNvSpPr>
            <a:spLocks noChangeArrowheads="1"/>
          </p:cNvSpPr>
          <p:nvPr/>
        </p:nvSpPr>
        <p:spPr bwMode="gray">
          <a:xfrm>
            <a:off x="4398913" y="5470542"/>
            <a:ext cx="500066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정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요건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물관리 등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2" name="AutoShape 24"/>
          <p:cNvCxnSpPr>
            <a:cxnSpLocks noChangeShapeType="1"/>
            <a:stCxn id="91" idx="0"/>
            <a:endCxn id="79" idx="2"/>
          </p:cNvCxnSpPr>
          <p:nvPr/>
        </p:nvCxnSpPr>
        <p:spPr bwMode="gray">
          <a:xfrm rot="16200000" flipV="1">
            <a:off x="5870063" y="4441362"/>
            <a:ext cx="180782" cy="187757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AutoShape 24"/>
          <p:cNvCxnSpPr>
            <a:cxnSpLocks noChangeShapeType="1"/>
            <a:stCxn id="91" idx="0"/>
            <a:endCxn id="83" idx="2"/>
          </p:cNvCxnSpPr>
          <p:nvPr/>
        </p:nvCxnSpPr>
        <p:spPr bwMode="gray">
          <a:xfrm rot="16200000" flipV="1">
            <a:off x="6548724" y="5120023"/>
            <a:ext cx="180782" cy="52025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AutoShape 24"/>
          <p:cNvCxnSpPr>
            <a:cxnSpLocks noChangeShapeType="1"/>
            <a:stCxn id="91" idx="0"/>
            <a:endCxn id="84" idx="2"/>
          </p:cNvCxnSpPr>
          <p:nvPr/>
        </p:nvCxnSpPr>
        <p:spPr bwMode="gray">
          <a:xfrm rot="5400000" flipH="1" flipV="1">
            <a:off x="7263104" y="4925899"/>
            <a:ext cx="180782" cy="90850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AutoShape 24"/>
          <p:cNvCxnSpPr>
            <a:cxnSpLocks noChangeShapeType="1"/>
            <a:stCxn id="91" idx="0"/>
            <a:endCxn id="85" idx="2"/>
          </p:cNvCxnSpPr>
          <p:nvPr/>
        </p:nvCxnSpPr>
        <p:spPr bwMode="gray">
          <a:xfrm rot="5400000" flipH="1" flipV="1">
            <a:off x="7876079" y="4312924"/>
            <a:ext cx="180782" cy="213445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Freeform 5"/>
          <p:cNvSpPr>
            <a:spLocks/>
          </p:cNvSpPr>
          <p:nvPr/>
        </p:nvSpPr>
        <p:spPr bwMode="auto">
          <a:xfrm>
            <a:off x="3187108" y="1331589"/>
            <a:ext cx="370541" cy="334699"/>
          </a:xfrm>
          <a:custGeom>
            <a:avLst/>
            <a:gdLst>
              <a:gd name="T0" fmla="*/ 211 w 5033"/>
              <a:gd name="T1" fmla="*/ 2036 h 3448"/>
              <a:gd name="T2" fmla="*/ 512 w 5033"/>
              <a:gd name="T3" fmla="*/ 2415 h 3448"/>
              <a:gd name="T4" fmla="*/ 876 w 5033"/>
              <a:gd name="T5" fmla="*/ 2969 h 3448"/>
              <a:gd name="T6" fmla="*/ 1038 w 5033"/>
              <a:gd name="T7" fmla="*/ 3128 h 3448"/>
              <a:gd name="T8" fmla="*/ 1213 w 5033"/>
              <a:gd name="T9" fmla="*/ 3204 h 3448"/>
              <a:gd name="T10" fmla="*/ 1395 w 5033"/>
              <a:gd name="T11" fmla="*/ 3275 h 3448"/>
              <a:gd name="T12" fmla="*/ 1732 w 5033"/>
              <a:gd name="T13" fmla="*/ 3392 h 3448"/>
              <a:gd name="T14" fmla="*/ 1879 w 5033"/>
              <a:gd name="T15" fmla="*/ 3434 h 3448"/>
              <a:gd name="T16" fmla="*/ 1922 w 5033"/>
              <a:gd name="T17" fmla="*/ 3323 h 3448"/>
              <a:gd name="T18" fmla="*/ 2083 w 5033"/>
              <a:gd name="T19" fmla="*/ 3085 h 3448"/>
              <a:gd name="T20" fmla="*/ 2225 w 5033"/>
              <a:gd name="T21" fmla="*/ 2695 h 3448"/>
              <a:gd name="T22" fmla="*/ 2422 w 5033"/>
              <a:gd name="T23" fmla="*/ 2378 h 3448"/>
              <a:gd name="T24" fmla="*/ 2552 w 5033"/>
              <a:gd name="T25" fmla="*/ 2199 h 3448"/>
              <a:gd name="T26" fmla="*/ 2687 w 5033"/>
              <a:gd name="T27" fmla="*/ 2110 h 3448"/>
              <a:gd name="T28" fmla="*/ 2780 w 5033"/>
              <a:gd name="T29" fmla="*/ 2006 h 3448"/>
              <a:gd name="T30" fmla="*/ 3045 w 5033"/>
              <a:gd name="T31" fmla="*/ 1730 h 3448"/>
              <a:gd name="T32" fmla="*/ 3418 w 5033"/>
              <a:gd name="T33" fmla="*/ 1374 h 3448"/>
              <a:gd name="T34" fmla="*/ 3840 w 5033"/>
              <a:gd name="T35" fmla="*/ 1068 h 3448"/>
              <a:gd name="T36" fmla="*/ 4056 w 5033"/>
              <a:gd name="T37" fmla="*/ 949 h 3448"/>
              <a:gd name="T38" fmla="*/ 4251 w 5033"/>
              <a:gd name="T39" fmla="*/ 795 h 3448"/>
              <a:gd name="T40" fmla="*/ 4363 w 5033"/>
              <a:gd name="T41" fmla="*/ 740 h 3448"/>
              <a:gd name="T42" fmla="*/ 4543 w 5033"/>
              <a:gd name="T43" fmla="*/ 585 h 3448"/>
              <a:gd name="T44" fmla="*/ 4690 w 5033"/>
              <a:gd name="T45" fmla="*/ 431 h 3448"/>
              <a:gd name="T46" fmla="*/ 4841 w 5033"/>
              <a:gd name="T47" fmla="*/ 339 h 3448"/>
              <a:gd name="T48" fmla="*/ 4972 w 5033"/>
              <a:gd name="T49" fmla="*/ 278 h 3448"/>
              <a:gd name="T50" fmla="*/ 4947 w 5033"/>
              <a:gd name="T51" fmla="*/ 244 h 3448"/>
              <a:gd name="T52" fmla="*/ 4858 w 5033"/>
              <a:gd name="T53" fmla="*/ 281 h 3448"/>
              <a:gd name="T54" fmla="*/ 4756 w 5033"/>
              <a:gd name="T55" fmla="*/ 360 h 3448"/>
              <a:gd name="T56" fmla="*/ 4531 w 5033"/>
              <a:gd name="T57" fmla="*/ 513 h 3448"/>
              <a:gd name="T58" fmla="*/ 4401 w 5033"/>
              <a:gd name="T59" fmla="*/ 542 h 3448"/>
              <a:gd name="T60" fmla="*/ 4018 w 5033"/>
              <a:gd name="T61" fmla="*/ 810 h 3448"/>
              <a:gd name="T62" fmla="*/ 4096 w 5033"/>
              <a:gd name="T63" fmla="*/ 702 h 3448"/>
              <a:gd name="T64" fmla="*/ 4196 w 5033"/>
              <a:gd name="T65" fmla="*/ 621 h 3448"/>
              <a:gd name="T66" fmla="*/ 4319 w 5033"/>
              <a:gd name="T67" fmla="*/ 501 h 3448"/>
              <a:gd name="T68" fmla="*/ 4342 w 5033"/>
              <a:gd name="T69" fmla="*/ 423 h 3448"/>
              <a:gd name="T70" fmla="*/ 4478 w 5033"/>
              <a:gd name="T71" fmla="*/ 286 h 3448"/>
              <a:gd name="T72" fmla="*/ 4289 w 5033"/>
              <a:gd name="T73" fmla="*/ 341 h 3448"/>
              <a:gd name="T74" fmla="*/ 4455 w 5033"/>
              <a:gd name="T75" fmla="*/ 198 h 3448"/>
              <a:gd name="T76" fmla="*/ 4410 w 5033"/>
              <a:gd name="T77" fmla="*/ 167 h 3448"/>
              <a:gd name="T78" fmla="*/ 4293 w 5033"/>
              <a:gd name="T79" fmla="*/ 277 h 3448"/>
              <a:gd name="T80" fmla="*/ 4288 w 5033"/>
              <a:gd name="T81" fmla="*/ 162 h 3448"/>
              <a:gd name="T82" fmla="*/ 4376 w 5033"/>
              <a:gd name="T83" fmla="*/ 48 h 3448"/>
              <a:gd name="T84" fmla="*/ 4276 w 5033"/>
              <a:gd name="T85" fmla="*/ 25 h 3448"/>
              <a:gd name="T86" fmla="*/ 4168 w 5033"/>
              <a:gd name="T87" fmla="*/ 135 h 3448"/>
              <a:gd name="T88" fmla="*/ 3906 w 5033"/>
              <a:gd name="T89" fmla="*/ 284 h 3448"/>
              <a:gd name="T90" fmla="*/ 3186 w 5033"/>
              <a:gd name="T91" fmla="*/ 777 h 3448"/>
              <a:gd name="T92" fmla="*/ 3188 w 5033"/>
              <a:gd name="T93" fmla="*/ 733 h 3448"/>
              <a:gd name="T94" fmla="*/ 3235 w 5033"/>
              <a:gd name="T95" fmla="*/ 671 h 3448"/>
              <a:gd name="T96" fmla="*/ 3941 w 5033"/>
              <a:gd name="T97" fmla="*/ 219 h 3448"/>
              <a:gd name="T98" fmla="*/ 3992 w 5033"/>
              <a:gd name="T99" fmla="*/ 140 h 3448"/>
              <a:gd name="T100" fmla="*/ 3743 w 5033"/>
              <a:gd name="T101" fmla="*/ 240 h 3448"/>
              <a:gd name="T102" fmla="*/ 3290 w 5033"/>
              <a:gd name="T103" fmla="*/ 525 h 3448"/>
              <a:gd name="T104" fmla="*/ 2837 w 5033"/>
              <a:gd name="T105" fmla="*/ 830 h 3448"/>
              <a:gd name="T106" fmla="*/ 2197 w 5033"/>
              <a:gd name="T107" fmla="*/ 1270 h 3448"/>
              <a:gd name="T108" fmla="*/ 1903 w 5033"/>
              <a:gd name="T109" fmla="*/ 1608 h 3448"/>
              <a:gd name="T110" fmla="*/ 1609 w 5033"/>
              <a:gd name="T111" fmla="*/ 1914 h 3448"/>
              <a:gd name="T112" fmla="*/ 1327 w 5033"/>
              <a:gd name="T113" fmla="*/ 1996 h 3448"/>
              <a:gd name="T114" fmla="*/ 1057 w 5033"/>
              <a:gd name="T115" fmla="*/ 1475 h 3448"/>
              <a:gd name="T116" fmla="*/ 755 w 5033"/>
              <a:gd name="T117" fmla="*/ 1501 h 3448"/>
              <a:gd name="T118" fmla="*/ 523 w 5033"/>
              <a:gd name="T119" fmla="*/ 1595 h 3448"/>
              <a:gd name="T120" fmla="*/ 242 w 5033"/>
              <a:gd name="T121" fmla="*/ 1683 h 3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33" h="3448">
                <a:moveTo>
                  <a:pt x="0" y="1824"/>
                </a:moveTo>
                <a:lnTo>
                  <a:pt x="12" y="1840"/>
                </a:lnTo>
                <a:lnTo>
                  <a:pt x="25" y="1855"/>
                </a:lnTo>
                <a:lnTo>
                  <a:pt x="39" y="1870"/>
                </a:lnTo>
                <a:lnTo>
                  <a:pt x="54" y="1886"/>
                </a:lnTo>
                <a:lnTo>
                  <a:pt x="69" y="1900"/>
                </a:lnTo>
                <a:lnTo>
                  <a:pt x="85" y="1917"/>
                </a:lnTo>
                <a:lnTo>
                  <a:pt x="102" y="1931"/>
                </a:lnTo>
                <a:lnTo>
                  <a:pt x="119" y="1945"/>
                </a:lnTo>
                <a:lnTo>
                  <a:pt x="134" y="1961"/>
                </a:lnTo>
                <a:lnTo>
                  <a:pt x="151" y="1975"/>
                </a:lnTo>
                <a:lnTo>
                  <a:pt x="166" y="1990"/>
                </a:lnTo>
                <a:lnTo>
                  <a:pt x="183" y="2006"/>
                </a:lnTo>
                <a:lnTo>
                  <a:pt x="197" y="2020"/>
                </a:lnTo>
                <a:lnTo>
                  <a:pt x="211" y="2036"/>
                </a:lnTo>
                <a:lnTo>
                  <a:pt x="224" y="2050"/>
                </a:lnTo>
                <a:lnTo>
                  <a:pt x="236" y="2067"/>
                </a:lnTo>
                <a:lnTo>
                  <a:pt x="250" y="2094"/>
                </a:lnTo>
                <a:lnTo>
                  <a:pt x="267" y="2117"/>
                </a:lnTo>
                <a:lnTo>
                  <a:pt x="287" y="2135"/>
                </a:lnTo>
                <a:lnTo>
                  <a:pt x="308" y="2152"/>
                </a:lnTo>
                <a:lnTo>
                  <a:pt x="329" y="2167"/>
                </a:lnTo>
                <a:lnTo>
                  <a:pt x="350" y="2186"/>
                </a:lnTo>
                <a:lnTo>
                  <a:pt x="368" y="2207"/>
                </a:lnTo>
                <a:lnTo>
                  <a:pt x="384" y="2234"/>
                </a:lnTo>
                <a:lnTo>
                  <a:pt x="400" y="2263"/>
                </a:lnTo>
                <a:lnTo>
                  <a:pt x="424" y="2297"/>
                </a:lnTo>
                <a:lnTo>
                  <a:pt x="452" y="2335"/>
                </a:lnTo>
                <a:lnTo>
                  <a:pt x="482" y="2375"/>
                </a:lnTo>
                <a:lnTo>
                  <a:pt x="512" y="2415"/>
                </a:lnTo>
                <a:lnTo>
                  <a:pt x="540" y="2452"/>
                </a:lnTo>
                <a:lnTo>
                  <a:pt x="564" y="2486"/>
                </a:lnTo>
                <a:lnTo>
                  <a:pt x="582" y="2514"/>
                </a:lnTo>
                <a:lnTo>
                  <a:pt x="594" y="2536"/>
                </a:lnTo>
                <a:lnTo>
                  <a:pt x="611" y="2564"/>
                </a:lnTo>
                <a:lnTo>
                  <a:pt x="631" y="2598"/>
                </a:lnTo>
                <a:lnTo>
                  <a:pt x="653" y="2633"/>
                </a:lnTo>
                <a:lnTo>
                  <a:pt x="679" y="2673"/>
                </a:lnTo>
                <a:lnTo>
                  <a:pt x="705" y="2714"/>
                </a:lnTo>
                <a:lnTo>
                  <a:pt x="734" y="2757"/>
                </a:lnTo>
                <a:lnTo>
                  <a:pt x="765" y="2801"/>
                </a:lnTo>
                <a:lnTo>
                  <a:pt x="793" y="2844"/>
                </a:lnTo>
                <a:lnTo>
                  <a:pt x="822" y="2889"/>
                </a:lnTo>
                <a:lnTo>
                  <a:pt x="850" y="2930"/>
                </a:lnTo>
                <a:lnTo>
                  <a:pt x="876" y="2969"/>
                </a:lnTo>
                <a:lnTo>
                  <a:pt x="899" y="3005"/>
                </a:lnTo>
                <a:lnTo>
                  <a:pt x="919" y="3036"/>
                </a:lnTo>
                <a:lnTo>
                  <a:pt x="935" y="3065"/>
                </a:lnTo>
                <a:lnTo>
                  <a:pt x="948" y="3087"/>
                </a:lnTo>
                <a:lnTo>
                  <a:pt x="959" y="3089"/>
                </a:lnTo>
                <a:lnTo>
                  <a:pt x="969" y="3090"/>
                </a:lnTo>
                <a:lnTo>
                  <a:pt x="979" y="3092"/>
                </a:lnTo>
                <a:lnTo>
                  <a:pt x="989" y="3094"/>
                </a:lnTo>
                <a:lnTo>
                  <a:pt x="1000" y="3094"/>
                </a:lnTo>
                <a:lnTo>
                  <a:pt x="1011" y="3097"/>
                </a:lnTo>
                <a:lnTo>
                  <a:pt x="1020" y="3098"/>
                </a:lnTo>
                <a:lnTo>
                  <a:pt x="1031" y="3100"/>
                </a:lnTo>
                <a:lnTo>
                  <a:pt x="1033" y="3109"/>
                </a:lnTo>
                <a:lnTo>
                  <a:pt x="1036" y="3119"/>
                </a:lnTo>
                <a:lnTo>
                  <a:pt x="1038" y="3128"/>
                </a:lnTo>
                <a:lnTo>
                  <a:pt x="1040" y="3138"/>
                </a:lnTo>
                <a:lnTo>
                  <a:pt x="1050" y="3138"/>
                </a:lnTo>
                <a:lnTo>
                  <a:pt x="1058" y="3140"/>
                </a:lnTo>
                <a:lnTo>
                  <a:pt x="1067" y="3141"/>
                </a:lnTo>
                <a:lnTo>
                  <a:pt x="1077" y="3142"/>
                </a:lnTo>
                <a:lnTo>
                  <a:pt x="1085" y="3145"/>
                </a:lnTo>
                <a:lnTo>
                  <a:pt x="1095" y="3146"/>
                </a:lnTo>
                <a:lnTo>
                  <a:pt x="1105" y="3147"/>
                </a:lnTo>
                <a:lnTo>
                  <a:pt x="1113" y="3148"/>
                </a:lnTo>
                <a:lnTo>
                  <a:pt x="1130" y="3159"/>
                </a:lnTo>
                <a:lnTo>
                  <a:pt x="1148" y="3169"/>
                </a:lnTo>
                <a:lnTo>
                  <a:pt x="1164" y="3177"/>
                </a:lnTo>
                <a:lnTo>
                  <a:pt x="1179" y="3186"/>
                </a:lnTo>
                <a:lnTo>
                  <a:pt x="1196" y="3196"/>
                </a:lnTo>
                <a:lnTo>
                  <a:pt x="1213" y="3204"/>
                </a:lnTo>
                <a:lnTo>
                  <a:pt x="1231" y="3213"/>
                </a:lnTo>
                <a:lnTo>
                  <a:pt x="1246" y="3221"/>
                </a:lnTo>
                <a:lnTo>
                  <a:pt x="1258" y="3222"/>
                </a:lnTo>
                <a:lnTo>
                  <a:pt x="1269" y="3223"/>
                </a:lnTo>
                <a:lnTo>
                  <a:pt x="1281" y="3225"/>
                </a:lnTo>
                <a:lnTo>
                  <a:pt x="1292" y="3227"/>
                </a:lnTo>
                <a:lnTo>
                  <a:pt x="1304" y="3227"/>
                </a:lnTo>
                <a:lnTo>
                  <a:pt x="1315" y="3228"/>
                </a:lnTo>
                <a:lnTo>
                  <a:pt x="1328" y="3229"/>
                </a:lnTo>
                <a:lnTo>
                  <a:pt x="1340" y="3229"/>
                </a:lnTo>
                <a:lnTo>
                  <a:pt x="1348" y="3240"/>
                </a:lnTo>
                <a:lnTo>
                  <a:pt x="1357" y="3252"/>
                </a:lnTo>
                <a:lnTo>
                  <a:pt x="1367" y="3264"/>
                </a:lnTo>
                <a:lnTo>
                  <a:pt x="1375" y="3273"/>
                </a:lnTo>
                <a:lnTo>
                  <a:pt x="1395" y="3275"/>
                </a:lnTo>
                <a:lnTo>
                  <a:pt x="1416" y="3277"/>
                </a:lnTo>
                <a:lnTo>
                  <a:pt x="1436" y="3279"/>
                </a:lnTo>
                <a:lnTo>
                  <a:pt x="1456" y="3279"/>
                </a:lnTo>
                <a:lnTo>
                  <a:pt x="1478" y="3281"/>
                </a:lnTo>
                <a:lnTo>
                  <a:pt x="1497" y="3281"/>
                </a:lnTo>
                <a:lnTo>
                  <a:pt x="1518" y="3282"/>
                </a:lnTo>
                <a:lnTo>
                  <a:pt x="1537" y="3283"/>
                </a:lnTo>
                <a:lnTo>
                  <a:pt x="1562" y="3296"/>
                </a:lnTo>
                <a:lnTo>
                  <a:pt x="1584" y="3310"/>
                </a:lnTo>
                <a:lnTo>
                  <a:pt x="1609" y="3323"/>
                </a:lnTo>
                <a:lnTo>
                  <a:pt x="1633" y="3336"/>
                </a:lnTo>
                <a:lnTo>
                  <a:pt x="1658" y="3352"/>
                </a:lnTo>
                <a:lnTo>
                  <a:pt x="1682" y="3365"/>
                </a:lnTo>
                <a:lnTo>
                  <a:pt x="1707" y="3379"/>
                </a:lnTo>
                <a:lnTo>
                  <a:pt x="1732" y="3392"/>
                </a:lnTo>
                <a:lnTo>
                  <a:pt x="1742" y="3392"/>
                </a:lnTo>
                <a:lnTo>
                  <a:pt x="1752" y="3392"/>
                </a:lnTo>
                <a:lnTo>
                  <a:pt x="1762" y="3392"/>
                </a:lnTo>
                <a:lnTo>
                  <a:pt x="1773" y="3392"/>
                </a:lnTo>
                <a:lnTo>
                  <a:pt x="1784" y="3392"/>
                </a:lnTo>
                <a:lnTo>
                  <a:pt x="1793" y="3392"/>
                </a:lnTo>
                <a:lnTo>
                  <a:pt x="1803" y="3392"/>
                </a:lnTo>
                <a:lnTo>
                  <a:pt x="1814" y="3392"/>
                </a:lnTo>
                <a:lnTo>
                  <a:pt x="1822" y="3400"/>
                </a:lnTo>
                <a:lnTo>
                  <a:pt x="1833" y="3406"/>
                </a:lnTo>
                <a:lnTo>
                  <a:pt x="1842" y="3412"/>
                </a:lnTo>
                <a:lnTo>
                  <a:pt x="1852" y="3419"/>
                </a:lnTo>
                <a:lnTo>
                  <a:pt x="1860" y="3425"/>
                </a:lnTo>
                <a:lnTo>
                  <a:pt x="1869" y="3429"/>
                </a:lnTo>
                <a:lnTo>
                  <a:pt x="1879" y="3434"/>
                </a:lnTo>
                <a:lnTo>
                  <a:pt x="1887" y="3439"/>
                </a:lnTo>
                <a:lnTo>
                  <a:pt x="1915" y="3446"/>
                </a:lnTo>
                <a:lnTo>
                  <a:pt x="1934" y="3448"/>
                </a:lnTo>
                <a:lnTo>
                  <a:pt x="1946" y="3445"/>
                </a:lnTo>
                <a:lnTo>
                  <a:pt x="1950" y="3438"/>
                </a:lnTo>
                <a:lnTo>
                  <a:pt x="1950" y="3429"/>
                </a:lnTo>
                <a:lnTo>
                  <a:pt x="1944" y="3416"/>
                </a:lnTo>
                <a:lnTo>
                  <a:pt x="1936" y="3401"/>
                </a:lnTo>
                <a:lnTo>
                  <a:pt x="1928" y="3387"/>
                </a:lnTo>
                <a:lnTo>
                  <a:pt x="1921" y="3371"/>
                </a:lnTo>
                <a:lnTo>
                  <a:pt x="1912" y="3357"/>
                </a:lnTo>
                <a:lnTo>
                  <a:pt x="1908" y="3345"/>
                </a:lnTo>
                <a:lnTo>
                  <a:pt x="1907" y="3333"/>
                </a:lnTo>
                <a:lnTo>
                  <a:pt x="1911" y="3327"/>
                </a:lnTo>
                <a:lnTo>
                  <a:pt x="1922" y="3323"/>
                </a:lnTo>
                <a:lnTo>
                  <a:pt x="1941" y="3325"/>
                </a:lnTo>
                <a:lnTo>
                  <a:pt x="1968" y="3332"/>
                </a:lnTo>
                <a:lnTo>
                  <a:pt x="1981" y="3310"/>
                </a:lnTo>
                <a:lnTo>
                  <a:pt x="1993" y="3289"/>
                </a:lnTo>
                <a:lnTo>
                  <a:pt x="2003" y="3271"/>
                </a:lnTo>
                <a:lnTo>
                  <a:pt x="2012" y="3251"/>
                </a:lnTo>
                <a:lnTo>
                  <a:pt x="2022" y="3233"/>
                </a:lnTo>
                <a:lnTo>
                  <a:pt x="2032" y="3211"/>
                </a:lnTo>
                <a:lnTo>
                  <a:pt x="2042" y="3191"/>
                </a:lnTo>
                <a:lnTo>
                  <a:pt x="2055" y="3167"/>
                </a:lnTo>
                <a:lnTo>
                  <a:pt x="2056" y="3154"/>
                </a:lnTo>
                <a:lnTo>
                  <a:pt x="2061" y="3138"/>
                </a:lnTo>
                <a:lnTo>
                  <a:pt x="2067" y="3122"/>
                </a:lnTo>
                <a:lnTo>
                  <a:pt x="2075" y="3103"/>
                </a:lnTo>
                <a:lnTo>
                  <a:pt x="2083" y="3085"/>
                </a:lnTo>
                <a:lnTo>
                  <a:pt x="2089" y="3067"/>
                </a:lnTo>
                <a:lnTo>
                  <a:pt x="2093" y="3052"/>
                </a:lnTo>
                <a:lnTo>
                  <a:pt x="2095" y="3039"/>
                </a:lnTo>
                <a:lnTo>
                  <a:pt x="2108" y="3019"/>
                </a:lnTo>
                <a:lnTo>
                  <a:pt x="2121" y="2998"/>
                </a:lnTo>
                <a:lnTo>
                  <a:pt x="2134" y="2980"/>
                </a:lnTo>
                <a:lnTo>
                  <a:pt x="2146" y="2960"/>
                </a:lnTo>
                <a:lnTo>
                  <a:pt x="2157" y="2942"/>
                </a:lnTo>
                <a:lnTo>
                  <a:pt x="2169" y="2923"/>
                </a:lnTo>
                <a:lnTo>
                  <a:pt x="2180" y="2905"/>
                </a:lnTo>
                <a:lnTo>
                  <a:pt x="2193" y="2885"/>
                </a:lnTo>
                <a:lnTo>
                  <a:pt x="2199" y="2832"/>
                </a:lnTo>
                <a:lnTo>
                  <a:pt x="2211" y="2790"/>
                </a:lnTo>
                <a:lnTo>
                  <a:pt x="2222" y="2749"/>
                </a:lnTo>
                <a:lnTo>
                  <a:pt x="2225" y="2695"/>
                </a:lnTo>
                <a:lnTo>
                  <a:pt x="2239" y="2687"/>
                </a:lnTo>
                <a:lnTo>
                  <a:pt x="2254" y="2675"/>
                </a:lnTo>
                <a:lnTo>
                  <a:pt x="2269" y="2662"/>
                </a:lnTo>
                <a:lnTo>
                  <a:pt x="2285" y="2649"/>
                </a:lnTo>
                <a:lnTo>
                  <a:pt x="2301" y="2636"/>
                </a:lnTo>
                <a:lnTo>
                  <a:pt x="2317" y="2622"/>
                </a:lnTo>
                <a:lnTo>
                  <a:pt x="2330" y="2611"/>
                </a:lnTo>
                <a:lnTo>
                  <a:pt x="2344" y="2602"/>
                </a:lnTo>
                <a:lnTo>
                  <a:pt x="2353" y="2549"/>
                </a:lnTo>
                <a:lnTo>
                  <a:pt x="2358" y="2508"/>
                </a:lnTo>
                <a:lnTo>
                  <a:pt x="2364" y="2467"/>
                </a:lnTo>
                <a:lnTo>
                  <a:pt x="2375" y="2413"/>
                </a:lnTo>
                <a:lnTo>
                  <a:pt x="2386" y="2403"/>
                </a:lnTo>
                <a:lnTo>
                  <a:pt x="2402" y="2391"/>
                </a:lnTo>
                <a:lnTo>
                  <a:pt x="2422" y="2378"/>
                </a:lnTo>
                <a:lnTo>
                  <a:pt x="2445" y="2364"/>
                </a:lnTo>
                <a:lnTo>
                  <a:pt x="2469" y="2348"/>
                </a:lnTo>
                <a:lnTo>
                  <a:pt x="2489" y="2335"/>
                </a:lnTo>
                <a:lnTo>
                  <a:pt x="2506" y="2324"/>
                </a:lnTo>
                <a:lnTo>
                  <a:pt x="2515" y="2314"/>
                </a:lnTo>
                <a:lnTo>
                  <a:pt x="2513" y="2300"/>
                </a:lnTo>
                <a:lnTo>
                  <a:pt x="2513" y="2286"/>
                </a:lnTo>
                <a:lnTo>
                  <a:pt x="2518" y="2274"/>
                </a:lnTo>
                <a:lnTo>
                  <a:pt x="2521" y="2261"/>
                </a:lnTo>
                <a:lnTo>
                  <a:pt x="2526" y="2247"/>
                </a:lnTo>
                <a:lnTo>
                  <a:pt x="2529" y="2234"/>
                </a:lnTo>
                <a:lnTo>
                  <a:pt x="2531" y="2219"/>
                </a:lnTo>
                <a:lnTo>
                  <a:pt x="2529" y="2205"/>
                </a:lnTo>
                <a:lnTo>
                  <a:pt x="2541" y="2203"/>
                </a:lnTo>
                <a:lnTo>
                  <a:pt x="2552" y="2199"/>
                </a:lnTo>
                <a:lnTo>
                  <a:pt x="2564" y="2196"/>
                </a:lnTo>
                <a:lnTo>
                  <a:pt x="2576" y="2192"/>
                </a:lnTo>
                <a:lnTo>
                  <a:pt x="2588" y="2188"/>
                </a:lnTo>
                <a:lnTo>
                  <a:pt x="2598" y="2185"/>
                </a:lnTo>
                <a:lnTo>
                  <a:pt x="2610" y="2180"/>
                </a:lnTo>
                <a:lnTo>
                  <a:pt x="2621" y="2177"/>
                </a:lnTo>
                <a:lnTo>
                  <a:pt x="2626" y="2156"/>
                </a:lnTo>
                <a:lnTo>
                  <a:pt x="2634" y="2136"/>
                </a:lnTo>
                <a:lnTo>
                  <a:pt x="2641" y="2117"/>
                </a:lnTo>
                <a:lnTo>
                  <a:pt x="2651" y="2095"/>
                </a:lnTo>
                <a:lnTo>
                  <a:pt x="2659" y="2100"/>
                </a:lnTo>
                <a:lnTo>
                  <a:pt x="2665" y="2102"/>
                </a:lnTo>
                <a:lnTo>
                  <a:pt x="2673" y="2105"/>
                </a:lnTo>
                <a:lnTo>
                  <a:pt x="2680" y="2107"/>
                </a:lnTo>
                <a:lnTo>
                  <a:pt x="2687" y="2110"/>
                </a:lnTo>
                <a:lnTo>
                  <a:pt x="2697" y="2112"/>
                </a:lnTo>
                <a:lnTo>
                  <a:pt x="2705" y="2115"/>
                </a:lnTo>
                <a:lnTo>
                  <a:pt x="2713" y="2117"/>
                </a:lnTo>
                <a:lnTo>
                  <a:pt x="2721" y="2100"/>
                </a:lnTo>
                <a:lnTo>
                  <a:pt x="2727" y="2082"/>
                </a:lnTo>
                <a:lnTo>
                  <a:pt x="2731" y="2065"/>
                </a:lnTo>
                <a:lnTo>
                  <a:pt x="2736" y="2048"/>
                </a:lnTo>
                <a:lnTo>
                  <a:pt x="2742" y="2043"/>
                </a:lnTo>
                <a:lnTo>
                  <a:pt x="2747" y="2038"/>
                </a:lnTo>
                <a:lnTo>
                  <a:pt x="2753" y="2034"/>
                </a:lnTo>
                <a:lnTo>
                  <a:pt x="2758" y="2027"/>
                </a:lnTo>
                <a:lnTo>
                  <a:pt x="2765" y="2022"/>
                </a:lnTo>
                <a:lnTo>
                  <a:pt x="2770" y="2017"/>
                </a:lnTo>
                <a:lnTo>
                  <a:pt x="2776" y="2011"/>
                </a:lnTo>
                <a:lnTo>
                  <a:pt x="2780" y="2006"/>
                </a:lnTo>
                <a:lnTo>
                  <a:pt x="2791" y="1990"/>
                </a:lnTo>
                <a:lnTo>
                  <a:pt x="2801" y="1974"/>
                </a:lnTo>
                <a:lnTo>
                  <a:pt x="2813" y="1958"/>
                </a:lnTo>
                <a:lnTo>
                  <a:pt x="2825" y="1942"/>
                </a:lnTo>
                <a:lnTo>
                  <a:pt x="2837" y="1926"/>
                </a:lnTo>
                <a:lnTo>
                  <a:pt x="2849" y="1910"/>
                </a:lnTo>
                <a:lnTo>
                  <a:pt x="2864" y="1893"/>
                </a:lnTo>
                <a:lnTo>
                  <a:pt x="2878" y="1877"/>
                </a:lnTo>
                <a:lnTo>
                  <a:pt x="2902" y="1857"/>
                </a:lnTo>
                <a:lnTo>
                  <a:pt x="2927" y="1836"/>
                </a:lnTo>
                <a:lnTo>
                  <a:pt x="2951" y="1815"/>
                </a:lnTo>
                <a:lnTo>
                  <a:pt x="2975" y="1795"/>
                </a:lnTo>
                <a:lnTo>
                  <a:pt x="2999" y="1774"/>
                </a:lnTo>
                <a:lnTo>
                  <a:pt x="3023" y="1752"/>
                </a:lnTo>
                <a:lnTo>
                  <a:pt x="3045" y="1730"/>
                </a:lnTo>
                <a:lnTo>
                  <a:pt x="3069" y="1708"/>
                </a:lnTo>
                <a:lnTo>
                  <a:pt x="3091" y="1685"/>
                </a:lnTo>
                <a:lnTo>
                  <a:pt x="3115" y="1664"/>
                </a:lnTo>
                <a:lnTo>
                  <a:pt x="3140" y="1640"/>
                </a:lnTo>
                <a:lnTo>
                  <a:pt x="3163" y="1617"/>
                </a:lnTo>
                <a:lnTo>
                  <a:pt x="3186" y="1593"/>
                </a:lnTo>
                <a:lnTo>
                  <a:pt x="3210" y="1569"/>
                </a:lnTo>
                <a:lnTo>
                  <a:pt x="3235" y="1547"/>
                </a:lnTo>
                <a:lnTo>
                  <a:pt x="3259" y="1522"/>
                </a:lnTo>
                <a:lnTo>
                  <a:pt x="3284" y="1496"/>
                </a:lnTo>
                <a:lnTo>
                  <a:pt x="3310" y="1474"/>
                </a:lnTo>
                <a:lnTo>
                  <a:pt x="3336" y="1449"/>
                </a:lnTo>
                <a:lnTo>
                  <a:pt x="3363" y="1425"/>
                </a:lnTo>
                <a:lnTo>
                  <a:pt x="3390" y="1399"/>
                </a:lnTo>
                <a:lnTo>
                  <a:pt x="3418" y="1374"/>
                </a:lnTo>
                <a:lnTo>
                  <a:pt x="3448" y="1350"/>
                </a:lnTo>
                <a:lnTo>
                  <a:pt x="3478" y="1325"/>
                </a:lnTo>
                <a:lnTo>
                  <a:pt x="3509" y="1299"/>
                </a:lnTo>
                <a:lnTo>
                  <a:pt x="3541" y="1274"/>
                </a:lnTo>
                <a:lnTo>
                  <a:pt x="3572" y="1249"/>
                </a:lnTo>
                <a:lnTo>
                  <a:pt x="3607" y="1222"/>
                </a:lnTo>
                <a:lnTo>
                  <a:pt x="3641" y="1199"/>
                </a:lnTo>
                <a:lnTo>
                  <a:pt x="3677" y="1172"/>
                </a:lnTo>
                <a:lnTo>
                  <a:pt x="3714" y="1147"/>
                </a:lnTo>
                <a:lnTo>
                  <a:pt x="3753" y="1121"/>
                </a:lnTo>
                <a:lnTo>
                  <a:pt x="3770" y="1110"/>
                </a:lnTo>
                <a:lnTo>
                  <a:pt x="3788" y="1099"/>
                </a:lnTo>
                <a:lnTo>
                  <a:pt x="3805" y="1089"/>
                </a:lnTo>
                <a:lnTo>
                  <a:pt x="3822" y="1077"/>
                </a:lnTo>
                <a:lnTo>
                  <a:pt x="3840" y="1068"/>
                </a:lnTo>
                <a:lnTo>
                  <a:pt x="3858" y="1057"/>
                </a:lnTo>
                <a:lnTo>
                  <a:pt x="3876" y="1046"/>
                </a:lnTo>
                <a:lnTo>
                  <a:pt x="3896" y="1037"/>
                </a:lnTo>
                <a:lnTo>
                  <a:pt x="3905" y="1031"/>
                </a:lnTo>
                <a:lnTo>
                  <a:pt x="3916" y="1027"/>
                </a:lnTo>
                <a:lnTo>
                  <a:pt x="3927" y="1022"/>
                </a:lnTo>
                <a:lnTo>
                  <a:pt x="3937" y="1018"/>
                </a:lnTo>
                <a:lnTo>
                  <a:pt x="3948" y="1012"/>
                </a:lnTo>
                <a:lnTo>
                  <a:pt x="3958" y="1007"/>
                </a:lnTo>
                <a:lnTo>
                  <a:pt x="3969" y="1000"/>
                </a:lnTo>
                <a:lnTo>
                  <a:pt x="3980" y="995"/>
                </a:lnTo>
                <a:lnTo>
                  <a:pt x="3999" y="984"/>
                </a:lnTo>
                <a:lnTo>
                  <a:pt x="4018" y="972"/>
                </a:lnTo>
                <a:lnTo>
                  <a:pt x="4037" y="962"/>
                </a:lnTo>
                <a:lnTo>
                  <a:pt x="4056" y="949"/>
                </a:lnTo>
                <a:lnTo>
                  <a:pt x="4075" y="939"/>
                </a:lnTo>
                <a:lnTo>
                  <a:pt x="4093" y="925"/>
                </a:lnTo>
                <a:lnTo>
                  <a:pt x="4112" y="915"/>
                </a:lnTo>
                <a:lnTo>
                  <a:pt x="4131" y="903"/>
                </a:lnTo>
                <a:lnTo>
                  <a:pt x="4144" y="894"/>
                </a:lnTo>
                <a:lnTo>
                  <a:pt x="4156" y="884"/>
                </a:lnTo>
                <a:lnTo>
                  <a:pt x="4168" y="875"/>
                </a:lnTo>
                <a:lnTo>
                  <a:pt x="4182" y="866"/>
                </a:lnTo>
                <a:lnTo>
                  <a:pt x="4195" y="856"/>
                </a:lnTo>
                <a:lnTo>
                  <a:pt x="4209" y="847"/>
                </a:lnTo>
                <a:lnTo>
                  <a:pt x="4221" y="839"/>
                </a:lnTo>
                <a:lnTo>
                  <a:pt x="4235" y="829"/>
                </a:lnTo>
                <a:lnTo>
                  <a:pt x="4240" y="816"/>
                </a:lnTo>
                <a:lnTo>
                  <a:pt x="4245" y="805"/>
                </a:lnTo>
                <a:lnTo>
                  <a:pt x="4251" y="795"/>
                </a:lnTo>
                <a:lnTo>
                  <a:pt x="4255" y="786"/>
                </a:lnTo>
                <a:lnTo>
                  <a:pt x="4264" y="777"/>
                </a:lnTo>
                <a:lnTo>
                  <a:pt x="4271" y="772"/>
                </a:lnTo>
                <a:lnTo>
                  <a:pt x="4280" y="764"/>
                </a:lnTo>
                <a:lnTo>
                  <a:pt x="4289" y="758"/>
                </a:lnTo>
                <a:lnTo>
                  <a:pt x="4298" y="751"/>
                </a:lnTo>
                <a:lnTo>
                  <a:pt x="4307" y="744"/>
                </a:lnTo>
                <a:lnTo>
                  <a:pt x="4315" y="737"/>
                </a:lnTo>
                <a:lnTo>
                  <a:pt x="4325" y="731"/>
                </a:lnTo>
                <a:lnTo>
                  <a:pt x="4328" y="737"/>
                </a:lnTo>
                <a:lnTo>
                  <a:pt x="4331" y="743"/>
                </a:lnTo>
                <a:lnTo>
                  <a:pt x="4334" y="750"/>
                </a:lnTo>
                <a:lnTo>
                  <a:pt x="4336" y="756"/>
                </a:lnTo>
                <a:lnTo>
                  <a:pt x="4350" y="746"/>
                </a:lnTo>
                <a:lnTo>
                  <a:pt x="4363" y="740"/>
                </a:lnTo>
                <a:lnTo>
                  <a:pt x="4377" y="731"/>
                </a:lnTo>
                <a:lnTo>
                  <a:pt x="4391" y="723"/>
                </a:lnTo>
                <a:lnTo>
                  <a:pt x="4404" y="716"/>
                </a:lnTo>
                <a:lnTo>
                  <a:pt x="4419" y="706"/>
                </a:lnTo>
                <a:lnTo>
                  <a:pt x="4433" y="699"/>
                </a:lnTo>
                <a:lnTo>
                  <a:pt x="4444" y="692"/>
                </a:lnTo>
                <a:lnTo>
                  <a:pt x="4455" y="678"/>
                </a:lnTo>
                <a:lnTo>
                  <a:pt x="4464" y="660"/>
                </a:lnTo>
                <a:lnTo>
                  <a:pt x="4474" y="644"/>
                </a:lnTo>
                <a:lnTo>
                  <a:pt x="4482" y="629"/>
                </a:lnTo>
                <a:lnTo>
                  <a:pt x="4493" y="619"/>
                </a:lnTo>
                <a:lnTo>
                  <a:pt x="4506" y="610"/>
                </a:lnTo>
                <a:lnTo>
                  <a:pt x="4519" y="602"/>
                </a:lnTo>
                <a:lnTo>
                  <a:pt x="4531" y="593"/>
                </a:lnTo>
                <a:lnTo>
                  <a:pt x="4543" y="585"/>
                </a:lnTo>
                <a:lnTo>
                  <a:pt x="4555" y="576"/>
                </a:lnTo>
                <a:lnTo>
                  <a:pt x="4566" y="566"/>
                </a:lnTo>
                <a:lnTo>
                  <a:pt x="4576" y="557"/>
                </a:lnTo>
                <a:lnTo>
                  <a:pt x="4581" y="543"/>
                </a:lnTo>
                <a:lnTo>
                  <a:pt x="4586" y="528"/>
                </a:lnTo>
                <a:lnTo>
                  <a:pt x="4590" y="513"/>
                </a:lnTo>
                <a:lnTo>
                  <a:pt x="4597" y="497"/>
                </a:lnTo>
                <a:lnTo>
                  <a:pt x="4608" y="489"/>
                </a:lnTo>
                <a:lnTo>
                  <a:pt x="4621" y="480"/>
                </a:lnTo>
                <a:lnTo>
                  <a:pt x="4633" y="473"/>
                </a:lnTo>
                <a:lnTo>
                  <a:pt x="4645" y="464"/>
                </a:lnTo>
                <a:lnTo>
                  <a:pt x="4657" y="456"/>
                </a:lnTo>
                <a:lnTo>
                  <a:pt x="4669" y="446"/>
                </a:lnTo>
                <a:lnTo>
                  <a:pt x="4680" y="439"/>
                </a:lnTo>
                <a:lnTo>
                  <a:pt x="4690" y="431"/>
                </a:lnTo>
                <a:lnTo>
                  <a:pt x="4705" y="427"/>
                </a:lnTo>
                <a:lnTo>
                  <a:pt x="4719" y="423"/>
                </a:lnTo>
                <a:lnTo>
                  <a:pt x="4732" y="419"/>
                </a:lnTo>
                <a:lnTo>
                  <a:pt x="4745" y="415"/>
                </a:lnTo>
                <a:lnTo>
                  <a:pt x="4758" y="409"/>
                </a:lnTo>
                <a:lnTo>
                  <a:pt x="4771" y="406"/>
                </a:lnTo>
                <a:lnTo>
                  <a:pt x="4783" y="401"/>
                </a:lnTo>
                <a:lnTo>
                  <a:pt x="4797" y="398"/>
                </a:lnTo>
                <a:lnTo>
                  <a:pt x="4803" y="390"/>
                </a:lnTo>
                <a:lnTo>
                  <a:pt x="4810" y="381"/>
                </a:lnTo>
                <a:lnTo>
                  <a:pt x="4816" y="374"/>
                </a:lnTo>
                <a:lnTo>
                  <a:pt x="4822" y="364"/>
                </a:lnTo>
                <a:lnTo>
                  <a:pt x="4829" y="356"/>
                </a:lnTo>
                <a:lnTo>
                  <a:pt x="4835" y="347"/>
                </a:lnTo>
                <a:lnTo>
                  <a:pt x="4841" y="339"/>
                </a:lnTo>
                <a:lnTo>
                  <a:pt x="4847" y="329"/>
                </a:lnTo>
                <a:lnTo>
                  <a:pt x="4858" y="323"/>
                </a:lnTo>
                <a:lnTo>
                  <a:pt x="4868" y="316"/>
                </a:lnTo>
                <a:lnTo>
                  <a:pt x="4878" y="310"/>
                </a:lnTo>
                <a:lnTo>
                  <a:pt x="4887" y="303"/>
                </a:lnTo>
                <a:lnTo>
                  <a:pt x="4898" y="295"/>
                </a:lnTo>
                <a:lnTo>
                  <a:pt x="4907" y="288"/>
                </a:lnTo>
                <a:lnTo>
                  <a:pt x="4916" y="281"/>
                </a:lnTo>
                <a:lnTo>
                  <a:pt x="4925" y="273"/>
                </a:lnTo>
                <a:lnTo>
                  <a:pt x="4931" y="278"/>
                </a:lnTo>
                <a:lnTo>
                  <a:pt x="4938" y="283"/>
                </a:lnTo>
                <a:lnTo>
                  <a:pt x="4946" y="289"/>
                </a:lnTo>
                <a:lnTo>
                  <a:pt x="4950" y="294"/>
                </a:lnTo>
                <a:lnTo>
                  <a:pt x="4960" y="286"/>
                </a:lnTo>
                <a:lnTo>
                  <a:pt x="4972" y="278"/>
                </a:lnTo>
                <a:lnTo>
                  <a:pt x="4981" y="270"/>
                </a:lnTo>
                <a:lnTo>
                  <a:pt x="4992" y="262"/>
                </a:lnTo>
                <a:lnTo>
                  <a:pt x="5001" y="251"/>
                </a:lnTo>
                <a:lnTo>
                  <a:pt x="5012" y="242"/>
                </a:lnTo>
                <a:lnTo>
                  <a:pt x="5023" y="234"/>
                </a:lnTo>
                <a:lnTo>
                  <a:pt x="5033" y="226"/>
                </a:lnTo>
                <a:lnTo>
                  <a:pt x="5021" y="231"/>
                </a:lnTo>
                <a:lnTo>
                  <a:pt x="5010" y="237"/>
                </a:lnTo>
                <a:lnTo>
                  <a:pt x="4997" y="244"/>
                </a:lnTo>
                <a:lnTo>
                  <a:pt x="4983" y="248"/>
                </a:lnTo>
                <a:lnTo>
                  <a:pt x="4972" y="254"/>
                </a:lnTo>
                <a:lnTo>
                  <a:pt x="4960" y="259"/>
                </a:lnTo>
                <a:lnTo>
                  <a:pt x="4948" y="265"/>
                </a:lnTo>
                <a:lnTo>
                  <a:pt x="4936" y="270"/>
                </a:lnTo>
                <a:lnTo>
                  <a:pt x="4947" y="244"/>
                </a:lnTo>
                <a:lnTo>
                  <a:pt x="4956" y="221"/>
                </a:lnTo>
                <a:lnTo>
                  <a:pt x="4963" y="197"/>
                </a:lnTo>
                <a:lnTo>
                  <a:pt x="4968" y="173"/>
                </a:lnTo>
                <a:lnTo>
                  <a:pt x="4959" y="180"/>
                </a:lnTo>
                <a:lnTo>
                  <a:pt x="4950" y="190"/>
                </a:lnTo>
                <a:lnTo>
                  <a:pt x="4941" y="198"/>
                </a:lnTo>
                <a:lnTo>
                  <a:pt x="4930" y="206"/>
                </a:lnTo>
                <a:lnTo>
                  <a:pt x="4921" y="214"/>
                </a:lnTo>
                <a:lnTo>
                  <a:pt x="4910" y="223"/>
                </a:lnTo>
                <a:lnTo>
                  <a:pt x="4899" y="231"/>
                </a:lnTo>
                <a:lnTo>
                  <a:pt x="4889" y="240"/>
                </a:lnTo>
                <a:lnTo>
                  <a:pt x="4882" y="250"/>
                </a:lnTo>
                <a:lnTo>
                  <a:pt x="4872" y="259"/>
                </a:lnTo>
                <a:lnTo>
                  <a:pt x="4865" y="270"/>
                </a:lnTo>
                <a:lnTo>
                  <a:pt x="4858" y="281"/>
                </a:lnTo>
                <a:lnTo>
                  <a:pt x="4850" y="292"/>
                </a:lnTo>
                <a:lnTo>
                  <a:pt x="4842" y="303"/>
                </a:lnTo>
                <a:lnTo>
                  <a:pt x="4835" y="314"/>
                </a:lnTo>
                <a:lnTo>
                  <a:pt x="4827" y="325"/>
                </a:lnTo>
                <a:lnTo>
                  <a:pt x="4820" y="329"/>
                </a:lnTo>
                <a:lnTo>
                  <a:pt x="4813" y="334"/>
                </a:lnTo>
                <a:lnTo>
                  <a:pt x="4805" y="341"/>
                </a:lnTo>
                <a:lnTo>
                  <a:pt x="4799" y="346"/>
                </a:lnTo>
                <a:lnTo>
                  <a:pt x="4791" y="351"/>
                </a:lnTo>
                <a:lnTo>
                  <a:pt x="4785" y="356"/>
                </a:lnTo>
                <a:lnTo>
                  <a:pt x="4778" y="360"/>
                </a:lnTo>
                <a:lnTo>
                  <a:pt x="4771" y="365"/>
                </a:lnTo>
                <a:lnTo>
                  <a:pt x="4766" y="364"/>
                </a:lnTo>
                <a:lnTo>
                  <a:pt x="4760" y="363"/>
                </a:lnTo>
                <a:lnTo>
                  <a:pt x="4756" y="360"/>
                </a:lnTo>
                <a:lnTo>
                  <a:pt x="4752" y="359"/>
                </a:lnTo>
                <a:lnTo>
                  <a:pt x="4747" y="358"/>
                </a:lnTo>
                <a:lnTo>
                  <a:pt x="4743" y="356"/>
                </a:lnTo>
                <a:lnTo>
                  <a:pt x="4736" y="354"/>
                </a:lnTo>
                <a:lnTo>
                  <a:pt x="4732" y="354"/>
                </a:lnTo>
                <a:lnTo>
                  <a:pt x="4709" y="371"/>
                </a:lnTo>
                <a:lnTo>
                  <a:pt x="4688" y="390"/>
                </a:lnTo>
                <a:lnTo>
                  <a:pt x="4666" y="408"/>
                </a:lnTo>
                <a:lnTo>
                  <a:pt x="4644" y="427"/>
                </a:lnTo>
                <a:lnTo>
                  <a:pt x="4621" y="445"/>
                </a:lnTo>
                <a:lnTo>
                  <a:pt x="4597" y="464"/>
                </a:lnTo>
                <a:lnTo>
                  <a:pt x="4575" y="483"/>
                </a:lnTo>
                <a:lnTo>
                  <a:pt x="4551" y="502"/>
                </a:lnTo>
                <a:lnTo>
                  <a:pt x="4541" y="507"/>
                </a:lnTo>
                <a:lnTo>
                  <a:pt x="4531" y="513"/>
                </a:lnTo>
                <a:lnTo>
                  <a:pt x="4521" y="517"/>
                </a:lnTo>
                <a:lnTo>
                  <a:pt x="4511" y="524"/>
                </a:lnTo>
                <a:lnTo>
                  <a:pt x="4501" y="528"/>
                </a:lnTo>
                <a:lnTo>
                  <a:pt x="4492" y="533"/>
                </a:lnTo>
                <a:lnTo>
                  <a:pt x="4482" y="539"/>
                </a:lnTo>
                <a:lnTo>
                  <a:pt x="4474" y="544"/>
                </a:lnTo>
                <a:lnTo>
                  <a:pt x="4467" y="542"/>
                </a:lnTo>
                <a:lnTo>
                  <a:pt x="4461" y="539"/>
                </a:lnTo>
                <a:lnTo>
                  <a:pt x="4455" y="537"/>
                </a:lnTo>
                <a:lnTo>
                  <a:pt x="4451" y="533"/>
                </a:lnTo>
                <a:lnTo>
                  <a:pt x="4443" y="531"/>
                </a:lnTo>
                <a:lnTo>
                  <a:pt x="4439" y="528"/>
                </a:lnTo>
                <a:lnTo>
                  <a:pt x="4433" y="526"/>
                </a:lnTo>
                <a:lnTo>
                  <a:pt x="4427" y="524"/>
                </a:lnTo>
                <a:lnTo>
                  <a:pt x="4401" y="542"/>
                </a:lnTo>
                <a:lnTo>
                  <a:pt x="4376" y="558"/>
                </a:lnTo>
                <a:lnTo>
                  <a:pt x="4350" y="577"/>
                </a:lnTo>
                <a:lnTo>
                  <a:pt x="4325" y="594"/>
                </a:lnTo>
                <a:lnTo>
                  <a:pt x="4301" y="612"/>
                </a:lnTo>
                <a:lnTo>
                  <a:pt x="4274" y="630"/>
                </a:lnTo>
                <a:lnTo>
                  <a:pt x="4248" y="648"/>
                </a:lnTo>
                <a:lnTo>
                  <a:pt x="4223" y="665"/>
                </a:lnTo>
                <a:lnTo>
                  <a:pt x="4197" y="683"/>
                </a:lnTo>
                <a:lnTo>
                  <a:pt x="4172" y="702"/>
                </a:lnTo>
                <a:lnTo>
                  <a:pt x="4147" y="719"/>
                </a:lnTo>
                <a:lnTo>
                  <a:pt x="4121" y="737"/>
                </a:lnTo>
                <a:lnTo>
                  <a:pt x="4096" y="755"/>
                </a:lnTo>
                <a:lnTo>
                  <a:pt x="4069" y="773"/>
                </a:lnTo>
                <a:lnTo>
                  <a:pt x="4044" y="792"/>
                </a:lnTo>
                <a:lnTo>
                  <a:pt x="4018" y="810"/>
                </a:lnTo>
                <a:lnTo>
                  <a:pt x="4012" y="802"/>
                </a:lnTo>
                <a:lnTo>
                  <a:pt x="4005" y="795"/>
                </a:lnTo>
                <a:lnTo>
                  <a:pt x="3999" y="784"/>
                </a:lnTo>
                <a:lnTo>
                  <a:pt x="3995" y="774"/>
                </a:lnTo>
                <a:lnTo>
                  <a:pt x="4005" y="767"/>
                </a:lnTo>
                <a:lnTo>
                  <a:pt x="4014" y="760"/>
                </a:lnTo>
                <a:lnTo>
                  <a:pt x="4024" y="751"/>
                </a:lnTo>
                <a:lnTo>
                  <a:pt x="4033" y="742"/>
                </a:lnTo>
                <a:lnTo>
                  <a:pt x="4043" y="733"/>
                </a:lnTo>
                <a:lnTo>
                  <a:pt x="4053" y="725"/>
                </a:lnTo>
                <a:lnTo>
                  <a:pt x="4063" y="716"/>
                </a:lnTo>
                <a:lnTo>
                  <a:pt x="4074" y="707"/>
                </a:lnTo>
                <a:lnTo>
                  <a:pt x="4081" y="705"/>
                </a:lnTo>
                <a:lnTo>
                  <a:pt x="4088" y="702"/>
                </a:lnTo>
                <a:lnTo>
                  <a:pt x="4096" y="702"/>
                </a:lnTo>
                <a:lnTo>
                  <a:pt x="4105" y="699"/>
                </a:lnTo>
                <a:lnTo>
                  <a:pt x="4112" y="696"/>
                </a:lnTo>
                <a:lnTo>
                  <a:pt x="4120" y="694"/>
                </a:lnTo>
                <a:lnTo>
                  <a:pt x="4129" y="691"/>
                </a:lnTo>
                <a:lnTo>
                  <a:pt x="4136" y="689"/>
                </a:lnTo>
                <a:lnTo>
                  <a:pt x="4141" y="682"/>
                </a:lnTo>
                <a:lnTo>
                  <a:pt x="4146" y="675"/>
                </a:lnTo>
                <a:lnTo>
                  <a:pt x="4151" y="668"/>
                </a:lnTo>
                <a:lnTo>
                  <a:pt x="4156" y="661"/>
                </a:lnTo>
                <a:lnTo>
                  <a:pt x="4160" y="654"/>
                </a:lnTo>
                <a:lnTo>
                  <a:pt x="4166" y="647"/>
                </a:lnTo>
                <a:lnTo>
                  <a:pt x="4172" y="639"/>
                </a:lnTo>
                <a:lnTo>
                  <a:pt x="4177" y="631"/>
                </a:lnTo>
                <a:lnTo>
                  <a:pt x="4188" y="627"/>
                </a:lnTo>
                <a:lnTo>
                  <a:pt x="4196" y="621"/>
                </a:lnTo>
                <a:lnTo>
                  <a:pt x="4207" y="616"/>
                </a:lnTo>
                <a:lnTo>
                  <a:pt x="4217" y="610"/>
                </a:lnTo>
                <a:lnTo>
                  <a:pt x="4225" y="605"/>
                </a:lnTo>
                <a:lnTo>
                  <a:pt x="4235" y="600"/>
                </a:lnTo>
                <a:lnTo>
                  <a:pt x="4245" y="593"/>
                </a:lnTo>
                <a:lnTo>
                  <a:pt x="4255" y="588"/>
                </a:lnTo>
                <a:lnTo>
                  <a:pt x="4262" y="575"/>
                </a:lnTo>
                <a:lnTo>
                  <a:pt x="4269" y="562"/>
                </a:lnTo>
                <a:lnTo>
                  <a:pt x="4276" y="548"/>
                </a:lnTo>
                <a:lnTo>
                  <a:pt x="4284" y="533"/>
                </a:lnTo>
                <a:lnTo>
                  <a:pt x="4290" y="526"/>
                </a:lnTo>
                <a:lnTo>
                  <a:pt x="4298" y="519"/>
                </a:lnTo>
                <a:lnTo>
                  <a:pt x="4305" y="513"/>
                </a:lnTo>
                <a:lnTo>
                  <a:pt x="4311" y="507"/>
                </a:lnTo>
                <a:lnTo>
                  <a:pt x="4319" y="501"/>
                </a:lnTo>
                <a:lnTo>
                  <a:pt x="4327" y="495"/>
                </a:lnTo>
                <a:lnTo>
                  <a:pt x="4335" y="489"/>
                </a:lnTo>
                <a:lnTo>
                  <a:pt x="4343" y="482"/>
                </a:lnTo>
                <a:lnTo>
                  <a:pt x="4336" y="480"/>
                </a:lnTo>
                <a:lnTo>
                  <a:pt x="4331" y="477"/>
                </a:lnTo>
                <a:lnTo>
                  <a:pt x="4325" y="475"/>
                </a:lnTo>
                <a:lnTo>
                  <a:pt x="4319" y="471"/>
                </a:lnTo>
                <a:lnTo>
                  <a:pt x="4313" y="469"/>
                </a:lnTo>
                <a:lnTo>
                  <a:pt x="4307" y="465"/>
                </a:lnTo>
                <a:lnTo>
                  <a:pt x="4302" y="462"/>
                </a:lnTo>
                <a:lnTo>
                  <a:pt x="4296" y="458"/>
                </a:lnTo>
                <a:lnTo>
                  <a:pt x="4307" y="450"/>
                </a:lnTo>
                <a:lnTo>
                  <a:pt x="4318" y="440"/>
                </a:lnTo>
                <a:lnTo>
                  <a:pt x="4329" y="432"/>
                </a:lnTo>
                <a:lnTo>
                  <a:pt x="4342" y="423"/>
                </a:lnTo>
                <a:lnTo>
                  <a:pt x="4353" y="415"/>
                </a:lnTo>
                <a:lnTo>
                  <a:pt x="4365" y="406"/>
                </a:lnTo>
                <a:lnTo>
                  <a:pt x="4376" y="398"/>
                </a:lnTo>
                <a:lnTo>
                  <a:pt x="4388" y="389"/>
                </a:lnTo>
                <a:lnTo>
                  <a:pt x="4393" y="383"/>
                </a:lnTo>
                <a:lnTo>
                  <a:pt x="4401" y="378"/>
                </a:lnTo>
                <a:lnTo>
                  <a:pt x="4410" y="371"/>
                </a:lnTo>
                <a:lnTo>
                  <a:pt x="4415" y="364"/>
                </a:lnTo>
                <a:lnTo>
                  <a:pt x="4424" y="354"/>
                </a:lnTo>
                <a:lnTo>
                  <a:pt x="4435" y="343"/>
                </a:lnTo>
                <a:lnTo>
                  <a:pt x="4442" y="331"/>
                </a:lnTo>
                <a:lnTo>
                  <a:pt x="4451" y="320"/>
                </a:lnTo>
                <a:lnTo>
                  <a:pt x="4460" y="309"/>
                </a:lnTo>
                <a:lnTo>
                  <a:pt x="4468" y="298"/>
                </a:lnTo>
                <a:lnTo>
                  <a:pt x="4478" y="286"/>
                </a:lnTo>
                <a:lnTo>
                  <a:pt x="4486" y="275"/>
                </a:lnTo>
                <a:lnTo>
                  <a:pt x="4464" y="285"/>
                </a:lnTo>
                <a:lnTo>
                  <a:pt x="4444" y="294"/>
                </a:lnTo>
                <a:lnTo>
                  <a:pt x="4423" y="304"/>
                </a:lnTo>
                <a:lnTo>
                  <a:pt x="4403" y="313"/>
                </a:lnTo>
                <a:lnTo>
                  <a:pt x="4381" y="323"/>
                </a:lnTo>
                <a:lnTo>
                  <a:pt x="4360" y="332"/>
                </a:lnTo>
                <a:lnTo>
                  <a:pt x="4338" y="344"/>
                </a:lnTo>
                <a:lnTo>
                  <a:pt x="4318" y="354"/>
                </a:lnTo>
                <a:lnTo>
                  <a:pt x="4313" y="351"/>
                </a:lnTo>
                <a:lnTo>
                  <a:pt x="4309" y="348"/>
                </a:lnTo>
                <a:lnTo>
                  <a:pt x="4304" y="347"/>
                </a:lnTo>
                <a:lnTo>
                  <a:pt x="4300" y="345"/>
                </a:lnTo>
                <a:lnTo>
                  <a:pt x="4293" y="344"/>
                </a:lnTo>
                <a:lnTo>
                  <a:pt x="4289" y="341"/>
                </a:lnTo>
                <a:lnTo>
                  <a:pt x="4285" y="341"/>
                </a:lnTo>
                <a:lnTo>
                  <a:pt x="4280" y="340"/>
                </a:lnTo>
                <a:lnTo>
                  <a:pt x="4286" y="333"/>
                </a:lnTo>
                <a:lnTo>
                  <a:pt x="4293" y="327"/>
                </a:lnTo>
                <a:lnTo>
                  <a:pt x="4300" y="321"/>
                </a:lnTo>
                <a:lnTo>
                  <a:pt x="4305" y="314"/>
                </a:lnTo>
                <a:lnTo>
                  <a:pt x="4311" y="308"/>
                </a:lnTo>
                <a:lnTo>
                  <a:pt x="4318" y="302"/>
                </a:lnTo>
                <a:lnTo>
                  <a:pt x="4325" y="295"/>
                </a:lnTo>
                <a:lnTo>
                  <a:pt x="4333" y="289"/>
                </a:lnTo>
                <a:lnTo>
                  <a:pt x="4352" y="275"/>
                </a:lnTo>
                <a:lnTo>
                  <a:pt x="4374" y="256"/>
                </a:lnTo>
                <a:lnTo>
                  <a:pt x="4399" y="237"/>
                </a:lnTo>
                <a:lnTo>
                  <a:pt x="4427" y="217"/>
                </a:lnTo>
                <a:lnTo>
                  <a:pt x="4455" y="198"/>
                </a:lnTo>
                <a:lnTo>
                  <a:pt x="4480" y="179"/>
                </a:lnTo>
                <a:lnTo>
                  <a:pt x="4503" y="164"/>
                </a:lnTo>
                <a:lnTo>
                  <a:pt x="4520" y="149"/>
                </a:lnTo>
                <a:lnTo>
                  <a:pt x="4524" y="125"/>
                </a:lnTo>
                <a:lnTo>
                  <a:pt x="4521" y="114"/>
                </a:lnTo>
                <a:lnTo>
                  <a:pt x="4513" y="114"/>
                </a:lnTo>
                <a:lnTo>
                  <a:pt x="4504" y="120"/>
                </a:lnTo>
                <a:lnTo>
                  <a:pt x="4491" y="128"/>
                </a:lnTo>
                <a:lnTo>
                  <a:pt x="4480" y="136"/>
                </a:lnTo>
                <a:lnTo>
                  <a:pt x="4471" y="141"/>
                </a:lnTo>
                <a:lnTo>
                  <a:pt x="4464" y="140"/>
                </a:lnTo>
                <a:lnTo>
                  <a:pt x="4455" y="148"/>
                </a:lnTo>
                <a:lnTo>
                  <a:pt x="4441" y="154"/>
                </a:lnTo>
                <a:lnTo>
                  <a:pt x="4425" y="162"/>
                </a:lnTo>
                <a:lnTo>
                  <a:pt x="4410" y="167"/>
                </a:lnTo>
                <a:lnTo>
                  <a:pt x="4393" y="175"/>
                </a:lnTo>
                <a:lnTo>
                  <a:pt x="4377" y="180"/>
                </a:lnTo>
                <a:lnTo>
                  <a:pt x="4363" y="190"/>
                </a:lnTo>
                <a:lnTo>
                  <a:pt x="4352" y="197"/>
                </a:lnTo>
                <a:lnTo>
                  <a:pt x="4348" y="206"/>
                </a:lnTo>
                <a:lnTo>
                  <a:pt x="4345" y="216"/>
                </a:lnTo>
                <a:lnTo>
                  <a:pt x="4342" y="227"/>
                </a:lnTo>
                <a:lnTo>
                  <a:pt x="4338" y="237"/>
                </a:lnTo>
                <a:lnTo>
                  <a:pt x="4333" y="242"/>
                </a:lnTo>
                <a:lnTo>
                  <a:pt x="4328" y="248"/>
                </a:lnTo>
                <a:lnTo>
                  <a:pt x="4322" y="254"/>
                </a:lnTo>
                <a:lnTo>
                  <a:pt x="4315" y="259"/>
                </a:lnTo>
                <a:lnTo>
                  <a:pt x="4307" y="266"/>
                </a:lnTo>
                <a:lnTo>
                  <a:pt x="4302" y="271"/>
                </a:lnTo>
                <a:lnTo>
                  <a:pt x="4293" y="277"/>
                </a:lnTo>
                <a:lnTo>
                  <a:pt x="4286" y="282"/>
                </a:lnTo>
                <a:lnTo>
                  <a:pt x="4280" y="275"/>
                </a:lnTo>
                <a:lnTo>
                  <a:pt x="4276" y="268"/>
                </a:lnTo>
                <a:lnTo>
                  <a:pt x="4269" y="262"/>
                </a:lnTo>
                <a:lnTo>
                  <a:pt x="4262" y="254"/>
                </a:lnTo>
                <a:lnTo>
                  <a:pt x="4257" y="247"/>
                </a:lnTo>
                <a:lnTo>
                  <a:pt x="4248" y="241"/>
                </a:lnTo>
                <a:lnTo>
                  <a:pt x="4242" y="235"/>
                </a:lnTo>
                <a:lnTo>
                  <a:pt x="4237" y="229"/>
                </a:lnTo>
                <a:lnTo>
                  <a:pt x="4245" y="215"/>
                </a:lnTo>
                <a:lnTo>
                  <a:pt x="4253" y="203"/>
                </a:lnTo>
                <a:lnTo>
                  <a:pt x="4260" y="190"/>
                </a:lnTo>
                <a:lnTo>
                  <a:pt x="4269" y="175"/>
                </a:lnTo>
                <a:lnTo>
                  <a:pt x="4280" y="169"/>
                </a:lnTo>
                <a:lnTo>
                  <a:pt x="4288" y="162"/>
                </a:lnTo>
                <a:lnTo>
                  <a:pt x="4297" y="154"/>
                </a:lnTo>
                <a:lnTo>
                  <a:pt x="4305" y="146"/>
                </a:lnTo>
                <a:lnTo>
                  <a:pt x="4314" y="138"/>
                </a:lnTo>
                <a:lnTo>
                  <a:pt x="4323" y="131"/>
                </a:lnTo>
                <a:lnTo>
                  <a:pt x="4331" y="124"/>
                </a:lnTo>
                <a:lnTo>
                  <a:pt x="4338" y="117"/>
                </a:lnTo>
                <a:lnTo>
                  <a:pt x="4346" y="107"/>
                </a:lnTo>
                <a:lnTo>
                  <a:pt x="4350" y="100"/>
                </a:lnTo>
                <a:lnTo>
                  <a:pt x="4356" y="91"/>
                </a:lnTo>
                <a:lnTo>
                  <a:pt x="4362" y="83"/>
                </a:lnTo>
                <a:lnTo>
                  <a:pt x="4368" y="74"/>
                </a:lnTo>
                <a:lnTo>
                  <a:pt x="4373" y="65"/>
                </a:lnTo>
                <a:lnTo>
                  <a:pt x="4379" y="55"/>
                </a:lnTo>
                <a:lnTo>
                  <a:pt x="4386" y="47"/>
                </a:lnTo>
                <a:lnTo>
                  <a:pt x="4376" y="48"/>
                </a:lnTo>
                <a:lnTo>
                  <a:pt x="4366" y="50"/>
                </a:lnTo>
                <a:lnTo>
                  <a:pt x="4356" y="52"/>
                </a:lnTo>
                <a:lnTo>
                  <a:pt x="4346" y="52"/>
                </a:lnTo>
                <a:lnTo>
                  <a:pt x="4335" y="55"/>
                </a:lnTo>
                <a:lnTo>
                  <a:pt x="4325" y="56"/>
                </a:lnTo>
                <a:lnTo>
                  <a:pt x="4314" y="59"/>
                </a:lnTo>
                <a:lnTo>
                  <a:pt x="4304" y="60"/>
                </a:lnTo>
                <a:lnTo>
                  <a:pt x="4307" y="44"/>
                </a:lnTo>
                <a:lnTo>
                  <a:pt x="4311" y="29"/>
                </a:lnTo>
                <a:lnTo>
                  <a:pt x="4313" y="15"/>
                </a:lnTo>
                <a:lnTo>
                  <a:pt x="4315" y="0"/>
                </a:lnTo>
                <a:lnTo>
                  <a:pt x="4305" y="6"/>
                </a:lnTo>
                <a:lnTo>
                  <a:pt x="4296" y="12"/>
                </a:lnTo>
                <a:lnTo>
                  <a:pt x="4285" y="18"/>
                </a:lnTo>
                <a:lnTo>
                  <a:pt x="4276" y="25"/>
                </a:lnTo>
                <a:lnTo>
                  <a:pt x="4266" y="32"/>
                </a:lnTo>
                <a:lnTo>
                  <a:pt x="4257" y="41"/>
                </a:lnTo>
                <a:lnTo>
                  <a:pt x="4248" y="48"/>
                </a:lnTo>
                <a:lnTo>
                  <a:pt x="4238" y="55"/>
                </a:lnTo>
                <a:lnTo>
                  <a:pt x="4233" y="63"/>
                </a:lnTo>
                <a:lnTo>
                  <a:pt x="4227" y="74"/>
                </a:lnTo>
                <a:lnTo>
                  <a:pt x="4221" y="83"/>
                </a:lnTo>
                <a:lnTo>
                  <a:pt x="4217" y="93"/>
                </a:lnTo>
                <a:lnTo>
                  <a:pt x="4211" y="103"/>
                </a:lnTo>
                <a:lnTo>
                  <a:pt x="4205" y="114"/>
                </a:lnTo>
                <a:lnTo>
                  <a:pt x="4199" y="124"/>
                </a:lnTo>
                <a:lnTo>
                  <a:pt x="4195" y="135"/>
                </a:lnTo>
                <a:lnTo>
                  <a:pt x="4186" y="135"/>
                </a:lnTo>
                <a:lnTo>
                  <a:pt x="4177" y="135"/>
                </a:lnTo>
                <a:lnTo>
                  <a:pt x="4168" y="135"/>
                </a:lnTo>
                <a:lnTo>
                  <a:pt x="4160" y="135"/>
                </a:lnTo>
                <a:lnTo>
                  <a:pt x="4151" y="135"/>
                </a:lnTo>
                <a:lnTo>
                  <a:pt x="4144" y="135"/>
                </a:lnTo>
                <a:lnTo>
                  <a:pt x="4134" y="135"/>
                </a:lnTo>
                <a:lnTo>
                  <a:pt x="4126" y="134"/>
                </a:lnTo>
                <a:lnTo>
                  <a:pt x="4111" y="144"/>
                </a:lnTo>
                <a:lnTo>
                  <a:pt x="4096" y="156"/>
                </a:lnTo>
                <a:lnTo>
                  <a:pt x="4081" y="167"/>
                </a:lnTo>
                <a:lnTo>
                  <a:pt x="4066" y="177"/>
                </a:lnTo>
                <a:lnTo>
                  <a:pt x="4051" y="189"/>
                </a:lnTo>
                <a:lnTo>
                  <a:pt x="4035" y="200"/>
                </a:lnTo>
                <a:lnTo>
                  <a:pt x="4021" y="210"/>
                </a:lnTo>
                <a:lnTo>
                  <a:pt x="4003" y="221"/>
                </a:lnTo>
                <a:lnTo>
                  <a:pt x="3955" y="254"/>
                </a:lnTo>
                <a:lnTo>
                  <a:pt x="3906" y="284"/>
                </a:lnTo>
                <a:lnTo>
                  <a:pt x="3858" y="312"/>
                </a:lnTo>
                <a:lnTo>
                  <a:pt x="3809" y="337"/>
                </a:lnTo>
                <a:lnTo>
                  <a:pt x="3759" y="362"/>
                </a:lnTo>
                <a:lnTo>
                  <a:pt x="3711" y="387"/>
                </a:lnTo>
                <a:lnTo>
                  <a:pt x="3662" y="412"/>
                </a:lnTo>
                <a:lnTo>
                  <a:pt x="3614" y="435"/>
                </a:lnTo>
                <a:lnTo>
                  <a:pt x="3566" y="463"/>
                </a:lnTo>
                <a:lnTo>
                  <a:pt x="3518" y="493"/>
                </a:lnTo>
                <a:lnTo>
                  <a:pt x="3469" y="525"/>
                </a:lnTo>
                <a:lnTo>
                  <a:pt x="3421" y="558"/>
                </a:lnTo>
                <a:lnTo>
                  <a:pt x="3374" y="600"/>
                </a:lnTo>
                <a:lnTo>
                  <a:pt x="3327" y="644"/>
                </a:lnTo>
                <a:lnTo>
                  <a:pt x="3279" y="693"/>
                </a:lnTo>
                <a:lnTo>
                  <a:pt x="3231" y="749"/>
                </a:lnTo>
                <a:lnTo>
                  <a:pt x="3186" y="777"/>
                </a:lnTo>
                <a:lnTo>
                  <a:pt x="3151" y="800"/>
                </a:lnTo>
                <a:lnTo>
                  <a:pt x="3125" y="816"/>
                </a:lnTo>
                <a:lnTo>
                  <a:pt x="3108" y="826"/>
                </a:lnTo>
                <a:lnTo>
                  <a:pt x="3100" y="829"/>
                </a:lnTo>
                <a:lnTo>
                  <a:pt x="3098" y="828"/>
                </a:lnTo>
                <a:lnTo>
                  <a:pt x="3100" y="822"/>
                </a:lnTo>
                <a:lnTo>
                  <a:pt x="3107" y="813"/>
                </a:lnTo>
                <a:lnTo>
                  <a:pt x="3116" y="804"/>
                </a:lnTo>
                <a:lnTo>
                  <a:pt x="3128" y="792"/>
                </a:lnTo>
                <a:lnTo>
                  <a:pt x="3143" y="779"/>
                </a:lnTo>
                <a:lnTo>
                  <a:pt x="3156" y="767"/>
                </a:lnTo>
                <a:lnTo>
                  <a:pt x="3168" y="756"/>
                </a:lnTo>
                <a:lnTo>
                  <a:pt x="3178" y="744"/>
                </a:lnTo>
                <a:lnTo>
                  <a:pt x="3186" y="737"/>
                </a:lnTo>
                <a:lnTo>
                  <a:pt x="3188" y="733"/>
                </a:lnTo>
                <a:lnTo>
                  <a:pt x="3211" y="722"/>
                </a:lnTo>
                <a:lnTo>
                  <a:pt x="3230" y="712"/>
                </a:lnTo>
                <a:lnTo>
                  <a:pt x="3242" y="702"/>
                </a:lnTo>
                <a:lnTo>
                  <a:pt x="3251" y="696"/>
                </a:lnTo>
                <a:lnTo>
                  <a:pt x="3256" y="693"/>
                </a:lnTo>
                <a:lnTo>
                  <a:pt x="3259" y="689"/>
                </a:lnTo>
                <a:lnTo>
                  <a:pt x="3256" y="687"/>
                </a:lnTo>
                <a:lnTo>
                  <a:pt x="3253" y="686"/>
                </a:lnTo>
                <a:lnTo>
                  <a:pt x="3248" y="686"/>
                </a:lnTo>
                <a:lnTo>
                  <a:pt x="3244" y="686"/>
                </a:lnTo>
                <a:lnTo>
                  <a:pt x="3239" y="685"/>
                </a:lnTo>
                <a:lnTo>
                  <a:pt x="3235" y="683"/>
                </a:lnTo>
                <a:lnTo>
                  <a:pt x="3233" y="681"/>
                </a:lnTo>
                <a:lnTo>
                  <a:pt x="3233" y="678"/>
                </a:lnTo>
                <a:lnTo>
                  <a:pt x="3235" y="671"/>
                </a:lnTo>
                <a:lnTo>
                  <a:pt x="3240" y="665"/>
                </a:lnTo>
                <a:lnTo>
                  <a:pt x="3248" y="656"/>
                </a:lnTo>
                <a:lnTo>
                  <a:pt x="3261" y="644"/>
                </a:lnTo>
                <a:lnTo>
                  <a:pt x="3279" y="630"/>
                </a:lnTo>
                <a:lnTo>
                  <a:pt x="3302" y="613"/>
                </a:lnTo>
                <a:lnTo>
                  <a:pt x="3330" y="593"/>
                </a:lnTo>
                <a:lnTo>
                  <a:pt x="3366" y="570"/>
                </a:lnTo>
                <a:lnTo>
                  <a:pt x="3407" y="542"/>
                </a:lnTo>
                <a:lnTo>
                  <a:pt x="3456" y="511"/>
                </a:lnTo>
                <a:lnTo>
                  <a:pt x="3513" y="473"/>
                </a:lnTo>
                <a:lnTo>
                  <a:pt x="3578" y="433"/>
                </a:lnTo>
                <a:lnTo>
                  <a:pt x="3654" y="389"/>
                </a:lnTo>
                <a:lnTo>
                  <a:pt x="3738" y="337"/>
                </a:lnTo>
                <a:lnTo>
                  <a:pt x="3833" y="282"/>
                </a:lnTo>
                <a:lnTo>
                  <a:pt x="3941" y="219"/>
                </a:lnTo>
                <a:lnTo>
                  <a:pt x="4057" y="152"/>
                </a:lnTo>
                <a:lnTo>
                  <a:pt x="4084" y="134"/>
                </a:lnTo>
                <a:lnTo>
                  <a:pt x="4107" y="117"/>
                </a:lnTo>
                <a:lnTo>
                  <a:pt x="4125" y="100"/>
                </a:lnTo>
                <a:lnTo>
                  <a:pt x="4138" y="85"/>
                </a:lnTo>
                <a:lnTo>
                  <a:pt x="4147" y="71"/>
                </a:lnTo>
                <a:lnTo>
                  <a:pt x="4151" y="61"/>
                </a:lnTo>
                <a:lnTo>
                  <a:pt x="4151" y="54"/>
                </a:lnTo>
                <a:lnTo>
                  <a:pt x="4147" y="52"/>
                </a:lnTo>
                <a:lnTo>
                  <a:pt x="4121" y="56"/>
                </a:lnTo>
                <a:lnTo>
                  <a:pt x="4093" y="69"/>
                </a:lnTo>
                <a:lnTo>
                  <a:pt x="4066" y="89"/>
                </a:lnTo>
                <a:lnTo>
                  <a:pt x="4038" y="107"/>
                </a:lnTo>
                <a:lnTo>
                  <a:pt x="4014" y="127"/>
                </a:lnTo>
                <a:lnTo>
                  <a:pt x="3992" y="140"/>
                </a:lnTo>
                <a:lnTo>
                  <a:pt x="3975" y="144"/>
                </a:lnTo>
                <a:lnTo>
                  <a:pt x="3963" y="134"/>
                </a:lnTo>
                <a:lnTo>
                  <a:pt x="3949" y="156"/>
                </a:lnTo>
                <a:lnTo>
                  <a:pt x="3947" y="164"/>
                </a:lnTo>
                <a:lnTo>
                  <a:pt x="3949" y="162"/>
                </a:lnTo>
                <a:lnTo>
                  <a:pt x="3952" y="153"/>
                </a:lnTo>
                <a:lnTo>
                  <a:pt x="3950" y="144"/>
                </a:lnTo>
                <a:lnTo>
                  <a:pt x="3936" y="144"/>
                </a:lnTo>
                <a:lnTo>
                  <a:pt x="3904" y="154"/>
                </a:lnTo>
                <a:lnTo>
                  <a:pt x="3848" y="179"/>
                </a:lnTo>
                <a:lnTo>
                  <a:pt x="3831" y="190"/>
                </a:lnTo>
                <a:lnTo>
                  <a:pt x="3811" y="200"/>
                </a:lnTo>
                <a:lnTo>
                  <a:pt x="3790" y="211"/>
                </a:lnTo>
                <a:lnTo>
                  <a:pt x="3766" y="226"/>
                </a:lnTo>
                <a:lnTo>
                  <a:pt x="3743" y="240"/>
                </a:lnTo>
                <a:lnTo>
                  <a:pt x="3716" y="254"/>
                </a:lnTo>
                <a:lnTo>
                  <a:pt x="3689" y="271"/>
                </a:lnTo>
                <a:lnTo>
                  <a:pt x="3662" y="288"/>
                </a:lnTo>
                <a:lnTo>
                  <a:pt x="3633" y="306"/>
                </a:lnTo>
                <a:lnTo>
                  <a:pt x="3603" y="323"/>
                </a:lnTo>
                <a:lnTo>
                  <a:pt x="3574" y="343"/>
                </a:lnTo>
                <a:lnTo>
                  <a:pt x="3543" y="362"/>
                </a:lnTo>
                <a:lnTo>
                  <a:pt x="3512" y="381"/>
                </a:lnTo>
                <a:lnTo>
                  <a:pt x="3481" y="401"/>
                </a:lnTo>
                <a:lnTo>
                  <a:pt x="3448" y="422"/>
                </a:lnTo>
                <a:lnTo>
                  <a:pt x="3417" y="442"/>
                </a:lnTo>
                <a:lnTo>
                  <a:pt x="3386" y="463"/>
                </a:lnTo>
                <a:lnTo>
                  <a:pt x="3352" y="483"/>
                </a:lnTo>
                <a:lnTo>
                  <a:pt x="3322" y="504"/>
                </a:lnTo>
                <a:lnTo>
                  <a:pt x="3290" y="525"/>
                </a:lnTo>
                <a:lnTo>
                  <a:pt x="3260" y="544"/>
                </a:lnTo>
                <a:lnTo>
                  <a:pt x="3230" y="566"/>
                </a:lnTo>
                <a:lnTo>
                  <a:pt x="3201" y="583"/>
                </a:lnTo>
                <a:lnTo>
                  <a:pt x="3172" y="604"/>
                </a:lnTo>
                <a:lnTo>
                  <a:pt x="3145" y="621"/>
                </a:lnTo>
                <a:lnTo>
                  <a:pt x="3119" y="639"/>
                </a:lnTo>
                <a:lnTo>
                  <a:pt x="3093" y="656"/>
                </a:lnTo>
                <a:lnTo>
                  <a:pt x="3069" y="671"/>
                </a:lnTo>
                <a:lnTo>
                  <a:pt x="3045" y="689"/>
                </a:lnTo>
                <a:lnTo>
                  <a:pt x="3025" y="702"/>
                </a:lnTo>
                <a:lnTo>
                  <a:pt x="3005" y="716"/>
                </a:lnTo>
                <a:lnTo>
                  <a:pt x="2988" y="727"/>
                </a:lnTo>
                <a:lnTo>
                  <a:pt x="2937" y="762"/>
                </a:lnTo>
                <a:lnTo>
                  <a:pt x="2886" y="797"/>
                </a:lnTo>
                <a:lnTo>
                  <a:pt x="2837" y="830"/>
                </a:lnTo>
                <a:lnTo>
                  <a:pt x="2788" y="862"/>
                </a:lnTo>
                <a:lnTo>
                  <a:pt x="2738" y="894"/>
                </a:lnTo>
                <a:lnTo>
                  <a:pt x="2690" y="925"/>
                </a:lnTo>
                <a:lnTo>
                  <a:pt x="2642" y="956"/>
                </a:lnTo>
                <a:lnTo>
                  <a:pt x="2596" y="987"/>
                </a:lnTo>
                <a:lnTo>
                  <a:pt x="2550" y="1018"/>
                </a:lnTo>
                <a:lnTo>
                  <a:pt x="2505" y="1049"/>
                </a:lnTo>
                <a:lnTo>
                  <a:pt x="2459" y="1078"/>
                </a:lnTo>
                <a:lnTo>
                  <a:pt x="2415" y="1108"/>
                </a:lnTo>
                <a:lnTo>
                  <a:pt x="2371" y="1137"/>
                </a:lnTo>
                <a:lnTo>
                  <a:pt x="2327" y="1168"/>
                </a:lnTo>
                <a:lnTo>
                  <a:pt x="2285" y="1199"/>
                </a:lnTo>
                <a:lnTo>
                  <a:pt x="2243" y="1227"/>
                </a:lnTo>
                <a:lnTo>
                  <a:pt x="2219" y="1249"/>
                </a:lnTo>
                <a:lnTo>
                  <a:pt x="2197" y="1270"/>
                </a:lnTo>
                <a:lnTo>
                  <a:pt x="2175" y="1293"/>
                </a:lnTo>
                <a:lnTo>
                  <a:pt x="2154" y="1316"/>
                </a:lnTo>
                <a:lnTo>
                  <a:pt x="2134" y="1339"/>
                </a:lnTo>
                <a:lnTo>
                  <a:pt x="2114" y="1362"/>
                </a:lnTo>
                <a:lnTo>
                  <a:pt x="2097" y="1385"/>
                </a:lnTo>
                <a:lnTo>
                  <a:pt x="2078" y="1408"/>
                </a:lnTo>
                <a:lnTo>
                  <a:pt x="2058" y="1432"/>
                </a:lnTo>
                <a:lnTo>
                  <a:pt x="2041" y="1455"/>
                </a:lnTo>
                <a:lnTo>
                  <a:pt x="2022" y="1479"/>
                </a:lnTo>
                <a:lnTo>
                  <a:pt x="2003" y="1501"/>
                </a:lnTo>
                <a:lnTo>
                  <a:pt x="1985" y="1524"/>
                </a:lnTo>
                <a:lnTo>
                  <a:pt x="1966" y="1545"/>
                </a:lnTo>
                <a:lnTo>
                  <a:pt x="1946" y="1566"/>
                </a:lnTo>
                <a:lnTo>
                  <a:pt x="1926" y="1587"/>
                </a:lnTo>
                <a:lnTo>
                  <a:pt x="1903" y="1608"/>
                </a:lnTo>
                <a:lnTo>
                  <a:pt x="1879" y="1635"/>
                </a:lnTo>
                <a:lnTo>
                  <a:pt x="1854" y="1666"/>
                </a:lnTo>
                <a:lnTo>
                  <a:pt x="1829" y="1701"/>
                </a:lnTo>
                <a:lnTo>
                  <a:pt x="1803" y="1734"/>
                </a:lnTo>
                <a:lnTo>
                  <a:pt x="1779" y="1765"/>
                </a:lnTo>
                <a:lnTo>
                  <a:pt x="1757" y="1791"/>
                </a:lnTo>
                <a:lnTo>
                  <a:pt x="1737" y="1811"/>
                </a:lnTo>
                <a:lnTo>
                  <a:pt x="1709" y="1831"/>
                </a:lnTo>
                <a:lnTo>
                  <a:pt x="1690" y="1846"/>
                </a:lnTo>
                <a:lnTo>
                  <a:pt x="1677" y="1855"/>
                </a:lnTo>
                <a:lnTo>
                  <a:pt x="1667" y="1862"/>
                </a:lnTo>
                <a:lnTo>
                  <a:pt x="1657" y="1868"/>
                </a:lnTo>
                <a:lnTo>
                  <a:pt x="1645" y="1879"/>
                </a:lnTo>
                <a:lnTo>
                  <a:pt x="1631" y="1892"/>
                </a:lnTo>
                <a:lnTo>
                  <a:pt x="1609" y="1914"/>
                </a:lnTo>
                <a:lnTo>
                  <a:pt x="1587" y="1947"/>
                </a:lnTo>
                <a:lnTo>
                  <a:pt x="1568" y="1981"/>
                </a:lnTo>
                <a:lnTo>
                  <a:pt x="1550" y="2018"/>
                </a:lnTo>
                <a:lnTo>
                  <a:pt x="1534" y="2057"/>
                </a:lnTo>
                <a:lnTo>
                  <a:pt x="1518" y="2093"/>
                </a:lnTo>
                <a:lnTo>
                  <a:pt x="1501" y="2130"/>
                </a:lnTo>
                <a:lnTo>
                  <a:pt x="1486" y="2166"/>
                </a:lnTo>
                <a:lnTo>
                  <a:pt x="1469" y="2199"/>
                </a:lnTo>
                <a:lnTo>
                  <a:pt x="1454" y="2170"/>
                </a:lnTo>
                <a:lnTo>
                  <a:pt x="1435" y="2142"/>
                </a:lnTo>
                <a:lnTo>
                  <a:pt x="1416" y="2112"/>
                </a:lnTo>
                <a:lnTo>
                  <a:pt x="1395" y="2082"/>
                </a:lnTo>
                <a:lnTo>
                  <a:pt x="1372" y="2054"/>
                </a:lnTo>
                <a:lnTo>
                  <a:pt x="1350" y="2025"/>
                </a:lnTo>
                <a:lnTo>
                  <a:pt x="1327" y="1996"/>
                </a:lnTo>
                <a:lnTo>
                  <a:pt x="1304" y="1967"/>
                </a:lnTo>
                <a:lnTo>
                  <a:pt x="1281" y="1937"/>
                </a:lnTo>
                <a:lnTo>
                  <a:pt x="1259" y="1907"/>
                </a:lnTo>
                <a:lnTo>
                  <a:pt x="1239" y="1880"/>
                </a:lnTo>
                <a:lnTo>
                  <a:pt x="1220" y="1850"/>
                </a:lnTo>
                <a:lnTo>
                  <a:pt x="1202" y="1821"/>
                </a:lnTo>
                <a:lnTo>
                  <a:pt x="1187" y="1792"/>
                </a:lnTo>
                <a:lnTo>
                  <a:pt x="1173" y="1763"/>
                </a:lnTo>
                <a:lnTo>
                  <a:pt x="1164" y="1735"/>
                </a:lnTo>
                <a:lnTo>
                  <a:pt x="1148" y="1695"/>
                </a:lnTo>
                <a:lnTo>
                  <a:pt x="1131" y="1653"/>
                </a:lnTo>
                <a:lnTo>
                  <a:pt x="1112" y="1608"/>
                </a:lnTo>
                <a:lnTo>
                  <a:pt x="1093" y="1564"/>
                </a:lnTo>
                <a:lnTo>
                  <a:pt x="1075" y="1519"/>
                </a:lnTo>
                <a:lnTo>
                  <a:pt x="1057" y="1475"/>
                </a:lnTo>
                <a:lnTo>
                  <a:pt x="1040" y="1432"/>
                </a:lnTo>
                <a:lnTo>
                  <a:pt x="1026" y="1391"/>
                </a:lnTo>
                <a:lnTo>
                  <a:pt x="1002" y="1400"/>
                </a:lnTo>
                <a:lnTo>
                  <a:pt x="980" y="1410"/>
                </a:lnTo>
                <a:lnTo>
                  <a:pt x="957" y="1418"/>
                </a:lnTo>
                <a:lnTo>
                  <a:pt x="935" y="1428"/>
                </a:lnTo>
                <a:lnTo>
                  <a:pt x="912" y="1436"/>
                </a:lnTo>
                <a:lnTo>
                  <a:pt x="890" y="1443"/>
                </a:lnTo>
                <a:lnTo>
                  <a:pt x="867" y="1451"/>
                </a:lnTo>
                <a:lnTo>
                  <a:pt x="844" y="1460"/>
                </a:lnTo>
                <a:lnTo>
                  <a:pt x="828" y="1469"/>
                </a:lnTo>
                <a:lnTo>
                  <a:pt x="809" y="1476"/>
                </a:lnTo>
                <a:lnTo>
                  <a:pt x="791" y="1485"/>
                </a:lnTo>
                <a:lnTo>
                  <a:pt x="773" y="1493"/>
                </a:lnTo>
                <a:lnTo>
                  <a:pt x="755" y="1501"/>
                </a:lnTo>
                <a:lnTo>
                  <a:pt x="739" y="1510"/>
                </a:lnTo>
                <a:lnTo>
                  <a:pt x="721" y="1517"/>
                </a:lnTo>
                <a:lnTo>
                  <a:pt x="703" y="1525"/>
                </a:lnTo>
                <a:lnTo>
                  <a:pt x="685" y="1533"/>
                </a:lnTo>
                <a:lnTo>
                  <a:pt x="667" y="1542"/>
                </a:lnTo>
                <a:lnTo>
                  <a:pt x="651" y="1549"/>
                </a:lnTo>
                <a:lnTo>
                  <a:pt x="634" y="1558"/>
                </a:lnTo>
                <a:lnTo>
                  <a:pt x="616" y="1564"/>
                </a:lnTo>
                <a:lnTo>
                  <a:pt x="600" y="1573"/>
                </a:lnTo>
                <a:lnTo>
                  <a:pt x="582" y="1581"/>
                </a:lnTo>
                <a:lnTo>
                  <a:pt x="566" y="1589"/>
                </a:lnTo>
                <a:lnTo>
                  <a:pt x="563" y="1589"/>
                </a:lnTo>
                <a:lnTo>
                  <a:pt x="554" y="1589"/>
                </a:lnTo>
                <a:lnTo>
                  <a:pt x="540" y="1591"/>
                </a:lnTo>
                <a:lnTo>
                  <a:pt x="523" y="1595"/>
                </a:lnTo>
                <a:lnTo>
                  <a:pt x="503" y="1599"/>
                </a:lnTo>
                <a:lnTo>
                  <a:pt x="480" y="1605"/>
                </a:lnTo>
                <a:lnTo>
                  <a:pt x="456" y="1613"/>
                </a:lnTo>
                <a:lnTo>
                  <a:pt x="431" y="1620"/>
                </a:lnTo>
                <a:lnTo>
                  <a:pt x="406" y="1626"/>
                </a:lnTo>
                <a:lnTo>
                  <a:pt x="381" y="1633"/>
                </a:lnTo>
                <a:lnTo>
                  <a:pt x="359" y="1640"/>
                </a:lnTo>
                <a:lnTo>
                  <a:pt x="341" y="1644"/>
                </a:lnTo>
                <a:lnTo>
                  <a:pt x="323" y="1648"/>
                </a:lnTo>
                <a:lnTo>
                  <a:pt x="311" y="1653"/>
                </a:lnTo>
                <a:lnTo>
                  <a:pt x="304" y="1653"/>
                </a:lnTo>
                <a:lnTo>
                  <a:pt x="301" y="1651"/>
                </a:lnTo>
                <a:lnTo>
                  <a:pt x="281" y="1662"/>
                </a:lnTo>
                <a:lnTo>
                  <a:pt x="262" y="1672"/>
                </a:lnTo>
                <a:lnTo>
                  <a:pt x="242" y="1683"/>
                </a:lnTo>
                <a:lnTo>
                  <a:pt x="224" y="1695"/>
                </a:lnTo>
                <a:lnTo>
                  <a:pt x="203" y="1705"/>
                </a:lnTo>
                <a:lnTo>
                  <a:pt x="185" y="1715"/>
                </a:lnTo>
                <a:lnTo>
                  <a:pt x="165" y="1726"/>
                </a:lnTo>
                <a:lnTo>
                  <a:pt x="146" y="1737"/>
                </a:lnTo>
                <a:lnTo>
                  <a:pt x="127" y="1748"/>
                </a:lnTo>
                <a:lnTo>
                  <a:pt x="108" y="1759"/>
                </a:lnTo>
                <a:lnTo>
                  <a:pt x="89" y="1770"/>
                </a:lnTo>
                <a:lnTo>
                  <a:pt x="72" y="1781"/>
                </a:lnTo>
                <a:lnTo>
                  <a:pt x="54" y="1791"/>
                </a:lnTo>
                <a:lnTo>
                  <a:pt x="36" y="1803"/>
                </a:lnTo>
                <a:lnTo>
                  <a:pt x="18" y="1813"/>
                </a:lnTo>
                <a:lnTo>
                  <a:pt x="0" y="182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Text Box 3"/>
          <p:cNvSpPr txBox="1">
            <a:spLocks noChangeArrowheads="1"/>
          </p:cNvSpPr>
          <p:nvPr/>
        </p:nvSpPr>
        <p:spPr bwMode="gray">
          <a:xfrm>
            <a:off x="395682" y="2551988"/>
            <a:ext cx="202464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rIns="54000">
            <a:spAutoFit/>
          </a:bodyPr>
          <a:lstStyle/>
          <a:p>
            <a:pPr algn="ctr" latinLnBrk="0"/>
            <a:r>
              <a:rPr lang="en-US" altLang="ko-KR" sz="1400" i="1" u="sng" dirty="0">
                <a:solidFill>
                  <a:srgbClr val="000000"/>
                </a:solidFill>
                <a:latin typeface="맑은 고딕"/>
                <a:ea typeface="맑은 고딕"/>
              </a:rPr>
              <a:t>Phase 1. </a:t>
            </a:r>
            <a:r>
              <a:rPr lang="ko-KR" altLang="en-US" sz="1400" i="1" u="sng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</a:t>
            </a:r>
            <a:r>
              <a:rPr lang="en-US" altLang="ko-KR" sz="1400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400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Planning</a:t>
            </a:r>
            <a:endParaRPr lang="ko-KR" altLang="en-US" sz="1400" i="1" u="sng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AutoShape 6"/>
          <p:cNvSpPr>
            <a:spLocks noChangeArrowheads="1"/>
          </p:cNvSpPr>
          <p:nvPr/>
        </p:nvSpPr>
        <p:spPr bwMode="gray">
          <a:xfrm>
            <a:off x="312127" y="2546607"/>
            <a:ext cx="2186071" cy="2944926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rIns="54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Rectangle 9"/>
          <p:cNvSpPr>
            <a:spLocks noChangeArrowheads="1"/>
          </p:cNvSpPr>
          <p:nvPr/>
        </p:nvSpPr>
        <p:spPr bwMode="gray">
          <a:xfrm>
            <a:off x="395219" y="3812442"/>
            <a:ext cx="2019887" cy="336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및 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 과제</a:t>
            </a:r>
          </a:p>
        </p:txBody>
      </p:sp>
      <p:sp>
        <p:nvSpPr>
          <p:cNvPr id="104" name="Rectangle 43"/>
          <p:cNvSpPr>
            <a:spLocks noChangeArrowheads="1"/>
          </p:cNvSpPr>
          <p:nvPr/>
        </p:nvSpPr>
        <p:spPr bwMode="gray">
          <a:xfrm>
            <a:off x="395219" y="3317246"/>
            <a:ext cx="2019887" cy="336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적 방향 결정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7" name="AutoShape 44"/>
          <p:cNvCxnSpPr>
            <a:cxnSpLocks noChangeShapeType="1"/>
            <a:stCxn id="104" idx="2"/>
            <a:endCxn id="102" idx="0"/>
          </p:cNvCxnSpPr>
          <p:nvPr/>
        </p:nvCxnSpPr>
        <p:spPr bwMode="gray">
          <a:xfrm rot="5400000">
            <a:off x="1325883" y="3733145"/>
            <a:ext cx="158558" cy="1273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9" name="Rectangle 10"/>
          <p:cNvSpPr>
            <a:spLocks noChangeArrowheads="1"/>
          </p:cNvSpPr>
          <p:nvPr/>
        </p:nvSpPr>
        <p:spPr bwMode="gray">
          <a:xfrm>
            <a:off x="395219" y="4307020"/>
            <a:ext cx="2019887" cy="336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시스템 구축 방안 수립 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Rectangle 10"/>
          <p:cNvSpPr>
            <a:spLocks noChangeArrowheads="1"/>
          </p:cNvSpPr>
          <p:nvPr/>
        </p:nvSpPr>
        <p:spPr bwMode="gray">
          <a:xfrm>
            <a:off x="395219" y="4802215"/>
            <a:ext cx="2019887" cy="336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시스템 </a:t>
            </a:r>
            <a:r>
              <a:rPr lang="ko-KR" altLang="en-US" sz="105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방침 확정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1" name="AutoShape 44"/>
          <p:cNvCxnSpPr>
            <a:cxnSpLocks noChangeShapeType="1"/>
            <a:endCxn id="109" idx="0"/>
          </p:cNvCxnSpPr>
          <p:nvPr/>
        </p:nvCxnSpPr>
        <p:spPr bwMode="gray">
          <a:xfrm rot="5400000">
            <a:off x="1325883" y="4227723"/>
            <a:ext cx="158558" cy="1273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" name="AutoShape 44"/>
          <p:cNvCxnSpPr>
            <a:cxnSpLocks noChangeShapeType="1"/>
            <a:stCxn id="109" idx="2"/>
            <a:endCxn id="110" idx="0"/>
          </p:cNvCxnSpPr>
          <p:nvPr/>
        </p:nvCxnSpPr>
        <p:spPr bwMode="gray">
          <a:xfrm rot="5400000">
            <a:off x="1325884" y="4722918"/>
            <a:ext cx="158557" cy="1273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3" name="Freeform 6"/>
          <p:cNvSpPr>
            <a:spLocks/>
          </p:cNvSpPr>
          <p:nvPr/>
        </p:nvSpPr>
        <p:spPr bwMode="auto">
          <a:xfrm>
            <a:off x="506254" y="2563389"/>
            <a:ext cx="14185" cy="14489"/>
          </a:xfrm>
          <a:custGeom>
            <a:avLst/>
            <a:gdLst>
              <a:gd name="T0" fmla="*/ 242 w 242"/>
              <a:gd name="T1" fmla="*/ 0 h 195"/>
              <a:gd name="T2" fmla="*/ 213 w 242"/>
              <a:gd name="T3" fmla="*/ 19 h 195"/>
              <a:gd name="T4" fmla="*/ 190 w 242"/>
              <a:gd name="T5" fmla="*/ 37 h 195"/>
              <a:gd name="T6" fmla="*/ 170 w 242"/>
              <a:gd name="T7" fmla="*/ 52 h 195"/>
              <a:gd name="T8" fmla="*/ 152 w 242"/>
              <a:gd name="T9" fmla="*/ 66 h 195"/>
              <a:gd name="T10" fmla="*/ 134 w 242"/>
              <a:gd name="T11" fmla="*/ 83 h 195"/>
              <a:gd name="T12" fmla="*/ 115 w 242"/>
              <a:gd name="T13" fmla="*/ 98 h 195"/>
              <a:gd name="T14" fmla="*/ 92 w 242"/>
              <a:gd name="T15" fmla="*/ 116 h 195"/>
              <a:gd name="T16" fmla="*/ 62 w 242"/>
              <a:gd name="T17" fmla="*/ 133 h 195"/>
              <a:gd name="T18" fmla="*/ 60 w 242"/>
              <a:gd name="T19" fmla="*/ 139 h 195"/>
              <a:gd name="T20" fmla="*/ 52 w 242"/>
              <a:gd name="T21" fmla="*/ 142 h 195"/>
              <a:gd name="T22" fmla="*/ 39 w 242"/>
              <a:gd name="T23" fmla="*/ 146 h 195"/>
              <a:gd name="T24" fmla="*/ 26 w 242"/>
              <a:gd name="T25" fmla="*/ 150 h 195"/>
              <a:gd name="T26" fmla="*/ 11 w 242"/>
              <a:gd name="T27" fmla="*/ 157 h 195"/>
              <a:gd name="T28" fmla="*/ 4 w 242"/>
              <a:gd name="T29" fmla="*/ 165 h 195"/>
              <a:gd name="T30" fmla="*/ 0 w 242"/>
              <a:gd name="T31" fmla="*/ 177 h 195"/>
              <a:gd name="T32" fmla="*/ 7 w 242"/>
              <a:gd name="T33" fmla="*/ 195 h 195"/>
              <a:gd name="T34" fmla="*/ 21 w 242"/>
              <a:gd name="T35" fmla="*/ 185 h 195"/>
              <a:gd name="T36" fmla="*/ 36 w 242"/>
              <a:gd name="T37" fmla="*/ 175 h 195"/>
              <a:gd name="T38" fmla="*/ 51 w 242"/>
              <a:gd name="T39" fmla="*/ 165 h 195"/>
              <a:gd name="T40" fmla="*/ 64 w 242"/>
              <a:gd name="T41" fmla="*/ 154 h 195"/>
              <a:gd name="T42" fmla="*/ 80 w 242"/>
              <a:gd name="T43" fmla="*/ 144 h 195"/>
              <a:gd name="T44" fmla="*/ 95 w 242"/>
              <a:gd name="T45" fmla="*/ 134 h 195"/>
              <a:gd name="T46" fmla="*/ 108 w 242"/>
              <a:gd name="T47" fmla="*/ 125 h 195"/>
              <a:gd name="T48" fmla="*/ 123 w 242"/>
              <a:gd name="T49" fmla="*/ 115 h 195"/>
              <a:gd name="T50" fmla="*/ 139 w 242"/>
              <a:gd name="T51" fmla="*/ 105 h 195"/>
              <a:gd name="T52" fmla="*/ 152 w 242"/>
              <a:gd name="T53" fmla="*/ 95 h 195"/>
              <a:gd name="T54" fmla="*/ 168 w 242"/>
              <a:gd name="T55" fmla="*/ 85 h 195"/>
              <a:gd name="T56" fmla="*/ 183 w 242"/>
              <a:gd name="T57" fmla="*/ 75 h 195"/>
              <a:gd name="T58" fmla="*/ 197 w 242"/>
              <a:gd name="T59" fmla="*/ 65 h 195"/>
              <a:gd name="T60" fmla="*/ 213 w 242"/>
              <a:gd name="T61" fmla="*/ 55 h 195"/>
              <a:gd name="T62" fmla="*/ 228 w 242"/>
              <a:gd name="T63" fmla="*/ 44 h 195"/>
              <a:gd name="T64" fmla="*/ 242 w 242"/>
              <a:gd name="T65" fmla="*/ 35 h 195"/>
              <a:gd name="T66" fmla="*/ 242 w 242"/>
              <a:gd name="T67" fmla="*/ 26 h 195"/>
              <a:gd name="T68" fmla="*/ 242 w 242"/>
              <a:gd name="T69" fmla="*/ 17 h 195"/>
              <a:gd name="T70" fmla="*/ 242 w 242"/>
              <a:gd name="T71" fmla="*/ 9 h 195"/>
              <a:gd name="T72" fmla="*/ 242 w 242"/>
              <a:gd name="T73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42" h="195">
                <a:moveTo>
                  <a:pt x="242" y="0"/>
                </a:moveTo>
                <a:lnTo>
                  <a:pt x="213" y="19"/>
                </a:lnTo>
                <a:lnTo>
                  <a:pt x="190" y="37"/>
                </a:lnTo>
                <a:lnTo>
                  <a:pt x="170" y="52"/>
                </a:lnTo>
                <a:lnTo>
                  <a:pt x="152" y="66"/>
                </a:lnTo>
                <a:lnTo>
                  <a:pt x="134" y="83"/>
                </a:lnTo>
                <a:lnTo>
                  <a:pt x="115" y="98"/>
                </a:lnTo>
                <a:lnTo>
                  <a:pt x="92" y="116"/>
                </a:lnTo>
                <a:lnTo>
                  <a:pt x="62" y="133"/>
                </a:lnTo>
                <a:lnTo>
                  <a:pt x="60" y="139"/>
                </a:lnTo>
                <a:lnTo>
                  <a:pt x="52" y="142"/>
                </a:lnTo>
                <a:lnTo>
                  <a:pt x="39" y="146"/>
                </a:lnTo>
                <a:lnTo>
                  <a:pt x="26" y="150"/>
                </a:lnTo>
                <a:lnTo>
                  <a:pt x="11" y="157"/>
                </a:lnTo>
                <a:lnTo>
                  <a:pt x="4" y="165"/>
                </a:lnTo>
                <a:lnTo>
                  <a:pt x="0" y="177"/>
                </a:lnTo>
                <a:lnTo>
                  <a:pt x="7" y="195"/>
                </a:lnTo>
                <a:lnTo>
                  <a:pt x="21" y="185"/>
                </a:lnTo>
                <a:lnTo>
                  <a:pt x="36" y="175"/>
                </a:lnTo>
                <a:lnTo>
                  <a:pt x="51" y="165"/>
                </a:lnTo>
                <a:lnTo>
                  <a:pt x="64" y="154"/>
                </a:lnTo>
                <a:lnTo>
                  <a:pt x="80" y="144"/>
                </a:lnTo>
                <a:lnTo>
                  <a:pt x="95" y="134"/>
                </a:lnTo>
                <a:lnTo>
                  <a:pt x="108" y="125"/>
                </a:lnTo>
                <a:lnTo>
                  <a:pt x="123" y="115"/>
                </a:lnTo>
                <a:lnTo>
                  <a:pt x="139" y="105"/>
                </a:lnTo>
                <a:lnTo>
                  <a:pt x="152" y="95"/>
                </a:lnTo>
                <a:lnTo>
                  <a:pt x="168" y="85"/>
                </a:lnTo>
                <a:lnTo>
                  <a:pt x="183" y="75"/>
                </a:lnTo>
                <a:lnTo>
                  <a:pt x="197" y="65"/>
                </a:lnTo>
                <a:lnTo>
                  <a:pt x="213" y="55"/>
                </a:lnTo>
                <a:lnTo>
                  <a:pt x="228" y="44"/>
                </a:lnTo>
                <a:lnTo>
                  <a:pt x="242" y="35"/>
                </a:lnTo>
                <a:lnTo>
                  <a:pt x="242" y="26"/>
                </a:lnTo>
                <a:lnTo>
                  <a:pt x="242" y="17"/>
                </a:lnTo>
                <a:lnTo>
                  <a:pt x="242" y="9"/>
                </a:lnTo>
                <a:lnTo>
                  <a:pt x="24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Freeform 7"/>
          <p:cNvSpPr>
            <a:spLocks/>
          </p:cNvSpPr>
          <p:nvPr/>
        </p:nvSpPr>
        <p:spPr bwMode="auto">
          <a:xfrm>
            <a:off x="560336" y="2535314"/>
            <a:ext cx="7979" cy="9056"/>
          </a:xfrm>
          <a:custGeom>
            <a:avLst/>
            <a:gdLst>
              <a:gd name="T0" fmla="*/ 137 w 141"/>
              <a:gd name="T1" fmla="*/ 0 h 109"/>
              <a:gd name="T2" fmla="*/ 128 w 141"/>
              <a:gd name="T3" fmla="*/ 5 h 109"/>
              <a:gd name="T4" fmla="*/ 120 w 141"/>
              <a:gd name="T5" fmla="*/ 11 h 109"/>
              <a:gd name="T6" fmla="*/ 112 w 141"/>
              <a:gd name="T7" fmla="*/ 16 h 109"/>
              <a:gd name="T8" fmla="*/ 106 w 141"/>
              <a:gd name="T9" fmla="*/ 22 h 109"/>
              <a:gd name="T10" fmla="*/ 98 w 141"/>
              <a:gd name="T11" fmla="*/ 28 h 109"/>
              <a:gd name="T12" fmla="*/ 90 w 141"/>
              <a:gd name="T13" fmla="*/ 32 h 109"/>
              <a:gd name="T14" fmla="*/ 83 w 141"/>
              <a:gd name="T15" fmla="*/ 38 h 109"/>
              <a:gd name="T16" fmla="*/ 76 w 141"/>
              <a:gd name="T17" fmla="*/ 42 h 109"/>
              <a:gd name="T18" fmla="*/ 67 w 141"/>
              <a:gd name="T19" fmla="*/ 51 h 109"/>
              <a:gd name="T20" fmla="*/ 57 w 141"/>
              <a:gd name="T21" fmla="*/ 59 h 109"/>
              <a:gd name="T22" fmla="*/ 46 w 141"/>
              <a:gd name="T23" fmla="*/ 69 h 109"/>
              <a:gd name="T24" fmla="*/ 36 w 141"/>
              <a:gd name="T25" fmla="*/ 77 h 109"/>
              <a:gd name="T26" fmla="*/ 27 w 141"/>
              <a:gd name="T27" fmla="*/ 85 h 109"/>
              <a:gd name="T28" fmla="*/ 18 w 141"/>
              <a:gd name="T29" fmla="*/ 92 h 109"/>
              <a:gd name="T30" fmla="*/ 8 w 141"/>
              <a:gd name="T31" fmla="*/ 102 h 109"/>
              <a:gd name="T32" fmla="*/ 0 w 141"/>
              <a:gd name="T33" fmla="*/ 109 h 109"/>
              <a:gd name="T34" fmla="*/ 18 w 141"/>
              <a:gd name="T35" fmla="*/ 97 h 109"/>
              <a:gd name="T36" fmla="*/ 36 w 141"/>
              <a:gd name="T37" fmla="*/ 88 h 109"/>
              <a:gd name="T38" fmla="*/ 52 w 141"/>
              <a:gd name="T39" fmla="*/ 77 h 109"/>
              <a:gd name="T40" fmla="*/ 70 w 141"/>
              <a:gd name="T41" fmla="*/ 67 h 109"/>
              <a:gd name="T42" fmla="*/ 88 w 141"/>
              <a:gd name="T43" fmla="*/ 57 h 109"/>
              <a:gd name="T44" fmla="*/ 106 w 141"/>
              <a:gd name="T45" fmla="*/ 47 h 109"/>
              <a:gd name="T46" fmla="*/ 124 w 141"/>
              <a:gd name="T47" fmla="*/ 36 h 109"/>
              <a:gd name="T48" fmla="*/ 141 w 141"/>
              <a:gd name="T49" fmla="*/ 27 h 109"/>
              <a:gd name="T50" fmla="*/ 141 w 141"/>
              <a:gd name="T51" fmla="*/ 20 h 109"/>
              <a:gd name="T52" fmla="*/ 140 w 141"/>
              <a:gd name="T53" fmla="*/ 12 h 109"/>
              <a:gd name="T54" fmla="*/ 139 w 141"/>
              <a:gd name="T55" fmla="*/ 7 h 109"/>
              <a:gd name="T56" fmla="*/ 137 w 141"/>
              <a:gd name="T57" fmla="*/ 0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41" h="109">
                <a:moveTo>
                  <a:pt x="137" y="0"/>
                </a:moveTo>
                <a:lnTo>
                  <a:pt x="128" y="5"/>
                </a:lnTo>
                <a:lnTo>
                  <a:pt x="120" y="11"/>
                </a:lnTo>
                <a:lnTo>
                  <a:pt x="112" y="16"/>
                </a:lnTo>
                <a:lnTo>
                  <a:pt x="106" y="22"/>
                </a:lnTo>
                <a:lnTo>
                  <a:pt x="98" y="28"/>
                </a:lnTo>
                <a:lnTo>
                  <a:pt x="90" y="32"/>
                </a:lnTo>
                <a:lnTo>
                  <a:pt x="83" y="38"/>
                </a:lnTo>
                <a:lnTo>
                  <a:pt x="76" y="42"/>
                </a:lnTo>
                <a:lnTo>
                  <a:pt x="67" y="51"/>
                </a:lnTo>
                <a:lnTo>
                  <a:pt x="57" y="59"/>
                </a:lnTo>
                <a:lnTo>
                  <a:pt x="46" y="69"/>
                </a:lnTo>
                <a:lnTo>
                  <a:pt x="36" y="77"/>
                </a:lnTo>
                <a:lnTo>
                  <a:pt x="27" y="85"/>
                </a:lnTo>
                <a:lnTo>
                  <a:pt x="18" y="92"/>
                </a:lnTo>
                <a:lnTo>
                  <a:pt x="8" y="102"/>
                </a:lnTo>
                <a:lnTo>
                  <a:pt x="0" y="109"/>
                </a:lnTo>
                <a:lnTo>
                  <a:pt x="18" y="97"/>
                </a:lnTo>
                <a:lnTo>
                  <a:pt x="36" y="88"/>
                </a:lnTo>
                <a:lnTo>
                  <a:pt x="52" y="77"/>
                </a:lnTo>
                <a:lnTo>
                  <a:pt x="70" y="67"/>
                </a:lnTo>
                <a:lnTo>
                  <a:pt x="88" y="57"/>
                </a:lnTo>
                <a:lnTo>
                  <a:pt x="106" y="47"/>
                </a:lnTo>
                <a:lnTo>
                  <a:pt x="124" y="36"/>
                </a:lnTo>
                <a:lnTo>
                  <a:pt x="141" y="27"/>
                </a:lnTo>
                <a:lnTo>
                  <a:pt x="141" y="20"/>
                </a:lnTo>
                <a:lnTo>
                  <a:pt x="140" y="12"/>
                </a:lnTo>
                <a:lnTo>
                  <a:pt x="139" y="7"/>
                </a:lnTo>
                <a:lnTo>
                  <a:pt x="13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Freeform 8"/>
          <p:cNvSpPr>
            <a:spLocks/>
          </p:cNvSpPr>
          <p:nvPr/>
        </p:nvSpPr>
        <p:spPr bwMode="auto">
          <a:xfrm>
            <a:off x="521326" y="2532598"/>
            <a:ext cx="15959" cy="15396"/>
          </a:xfrm>
          <a:custGeom>
            <a:avLst/>
            <a:gdLst>
              <a:gd name="T0" fmla="*/ 238 w 269"/>
              <a:gd name="T1" fmla="*/ 0 h 205"/>
              <a:gd name="T2" fmla="*/ 226 w 269"/>
              <a:gd name="T3" fmla="*/ 9 h 205"/>
              <a:gd name="T4" fmla="*/ 206 w 269"/>
              <a:gd name="T5" fmla="*/ 22 h 205"/>
              <a:gd name="T6" fmla="*/ 182 w 269"/>
              <a:gd name="T7" fmla="*/ 40 h 205"/>
              <a:gd name="T8" fmla="*/ 155 w 269"/>
              <a:gd name="T9" fmla="*/ 59 h 205"/>
              <a:gd name="T10" fmla="*/ 128 w 269"/>
              <a:gd name="T11" fmla="*/ 78 h 205"/>
              <a:gd name="T12" fmla="*/ 103 w 269"/>
              <a:gd name="T13" fmla="*/ 95 h 205"/>
              <a:gd name="T14" fmla="*/ 83 w 269"/>
              <a:gd name="T15" fmla="*/ 110 h 205"/>
              <a:gd name="T16" fmla="*/ 69 w 269"/>
              <a:gd name="T17" fmla="*/ 118 h 205"/>
              <a:gd name="T18" fmla="*/ 69 w 269"/>
              <a:gd name="T19" fmla="*/ 122 h 205"/>
              <a:gd name="T20" fmla="*/ 65 w 269"/>
              <a:gd name="T21" fmla="*/ 129 h 205"/>
              <a:gd name="T22" fmla="*/ 56 w 269"/>
              <a:gd name="T23" fmla="*/ 136 h 205"/>
              <a:gd name="T24" fmla="*/ 48 w 269"/>
              <a:gd name="T25" fmla="*/ 147 h 205"/>
              <a:gd name="T26" fmla="*/ 41 w 269"/>
              <a:gd name="T27" fmla="*/ 155 h 205"/>
              <a:gd name="T28" fmla="*/ 33 w 269"/>
              <a:gd name="T29" fmla="*/ 164 h 205"/>
              <a:gd name="T30" fmla="*/ 29 w 269"/>
              <a:gd name="T31" fmla="*/ 170 h 205"/>
              <a:gd name="T32" fmla="*/ 30 w 269"/>
              <a:gd name="T33" fmla="*/ 174 h 205"/>
              <a:gd name="T34" fmla="*/ 10 w 269"/>
              <a:gd name="T35" fmla="*/ 192 h 205"/>
              <a:gd name="T36" fmla="*/ 2 w 269"/>
              <a:gd name="T37" fmla="*/ 201 h 205"/>
              <a:gd name="T38" fmla="*/ 0 w 269"/>
              <a:gd name="T39" fmla="*/ 205 h 205"/>
              <a:gd name="T40" fmla="*/ 8 w 269"/>
              <a:gd name="T41" fmla="*/ 201 h 205"/>
              <a:gd name="T42" fmla="*/ 22 w 269"/>
              <a:gd name="T43" fmla="*/ 193 h 205"/>
              <a:gd name="T44" fmla="*/ 41 w 269"/>
              <a:gd name="T45" fmla="*/ 180 h 205"/>
              <a:gd name="T46" fmla="*/ 65 w 269"/>
              <a:gd name="T47" fmla="*/ 165 h 205"/>
              <a:gd name="T48" fmla="*/ 91 w 269"/>
              <a:gd name="T49" fmla="*/ 146 h 205"/>
              <a:gd name="T50" fmla="*/ 118 w 269"/>
              <a:gd name="T51" fmla="*/ 126 h 205"/>
              <a:gd name="T52" fmla="*/ 148 w 269"/>
              <a:gd name="T53" fmla="*/ 104 h 205"/>
              <a:gd name="T54" fmla="*/ 177 w 269"/>
              <a:gd name="T55" fmla="*/ 84 h 205"/>
              <a:gd name="T56" fmla="*/ 202 w 269"/>
              <a:gd name="T57" fmla="*/ 64 h 205"/>
              <a:gd name="T58" fmla="*/ 226 w 269"/>
              <a:gd name="T59" fmla="*/ 45 h 205"/>
              <a:gd name="T60" fmla="*/ 247 w 269"/>
              <a:gd name="T61" fmla="*/ 30 h 205"/>
              <a:gd name="T62" fmla="*/ 261 w 269"/>
              <a:gd name="T63" fmla="*/ 20 h 205"/>
              <a:gd name="T64" fmla="*/ 269 w 269"/>
              <a:gd name="T65" fmla="*/ 13 h 205"/>
              <a:gd name="T66" fmla="*/ 261 w 269"/>
              <a:gd name="T67" fmla="*/ 11 h 205"/>
              <a:gd name="T68" fmla="*/ 251 w 269"/>
              <a:gd name="T69" fmla="*/ 9 h 205"/>
              <a:gd name="T70" fmla="*/ 244 w 269"/>
              <a:gd name="T71" fmla="*/ 5 h 205"/>
              <a:gd name="T72" fmla="*/ 238 w 269"/>
              <a:gd name="T73" fmla="*/ 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69" h="205">
                <a:moveTo>
                  <a:pt x="238" y="0"/>
                </a:moveTo>
                <a:lnTo>
                  <a:pt x="226" y="9"/>
                </a:lnTo>
                <a:lnTo>
                  <a:pt x="206" y="22"/>
                </a:lnTo>
                <a:lnTo>
                  <a:pt x="182" y="40"/>
                </a:lnTo>
                <a:lnTo>
                  <a:pt x="155" y="59"/>
                </a:lnTo>
                <a:lnTo>
                  <a:pt x="128" y="78"/>
                </a:lnTo>
                <a:lnTo>
                  <a:pt x="103" y="95"/>
                </a:lnTo>
                <a:lnTo>
                  <a:pt x="83" y="110"/>
                </a:lnTo>
                <a:lnTo>
                  <a:pt x="69" y="118"/>
                </a:lnTo>
                <a:lnTo>
                  <a:pt x="69" y="122"/>
                </a:lnTo>
                <a:lnTo>
                  <a:pt x="65" y="129"/>
                </a:lnTo>
                <a:lnTo>
                  <a:pt x="56" y="136"/>
                </a:lnTo>
                <a:lnTo>
                  <a:pt x="48" y="147"/>
                </a:lnTo>
                <a:lnTo>
                  <a:pt x="41" y="155"/>
                </a:lnTo>
                <a:lnTo>
                  <a:pt x="33" y="164"/>
                </a:lnTo>
                <a:lnTo>
                  <a:pt x="29" y="170"/>
                </a:lnTo>
                <a:lnTo>
                  <a:pt x="30" y="174"/>
                </a:lnTo>
                <a:lnTo>
                  <a:pt x="10" y="192"/>
                </a:lnTo>
                <a:lnTo>
                  <a:pt x="2" y="201"/>
                </a:lnTo>
                <a:lnTo>
                  <a:pt x="0" y="205"/>
                </a:lnTo>
                <a:lnTo>
                  <a:pt x="8" y="201"/>
                </a:lnTo>
                <a:lnTo>
                  <a:pt x="22" y="193"/>
                </a:lnTo>
                <a:lnTo>
                  <a:pt x="41" y="180"/>
                </a:lnTo>
                <a:lnTo>
                  <a:pt x="65" y="165"/>
                </a:lnTo>
                <a:lnTo>
                  <a:pt x="91" y="146"/>
                </a:lnTo>
                <a:lnTo>
                  <a:pt x="118" y="126"/>
                </a:lnTo>
                <a:lnTo>
                  <a:pt x="148" y="104"/>
                </a:lnTo>
                <a:lnTo>
                  <a:pt x="177" y="84"/>
                </a:lnTo>
                <a:lnTo>
                  <a:pt x="202" y="64"/>
                </a:lnTo>
                <a:lnTo>
                  <a:pt x="226" y="45"/>
                </a:lnTo>
                <a:lnTo>
                  <a:pt x="247" y="30"/>
                </a:lnTo>
                <a:lnTo>
                  <a:pt x="261" y="20"/>
                </a:lnTo>
                <a:lnTo>
                  <a:pt x="269" y="13"/>
                </a:lnTo>
                <a:lnTo>
                  <a:pt x="261" y="11"/>
                </a:lnTo>
                <a:lnTo>
                  <a:pt x="251" y="9"/>
                </a:lnTo>
                <a:lnTo>
                  <a:pt x="244" y="5"/>
                </a:lnTo>
                <a:lnTo>
                  <a:pt x="23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Freeform 9"/>
          <p:cNvSpPr>
            <a:spLocks/>
          </p:cNvSpPr>
          <p:nvPr/>
        </p:nvSpPr>
        <p:spPr bwMode="auto">
          <a:xfrm>
            <a:off x="504481" y="2524447"/>
            <a:ext cx="28371" cy="25357"/>
          </a:xfrm>
          <a:custGeom>
            <a:avLst/>
            <a:gdLst>
              <a:gd name="T0" fmla="*/ 480 w 481"/>
              <a:gd name="T1" fmla="*/ 0 h 333"/>
              <a:gd name="T2" fmla="*/ 471 w 481"/>
              <a:gd name="T3" fmla="*/ 6 h 333"/>
              <a:gd name="T4" fmla="*/ 464 w 481"/>
              <a:gd name="T5" fmla="*/ 12 h 333"/>
              <a:gd name="T6" fmla="*/ 458 w 481"/>
              <a:gd name="T7" fmla="*/ 17 h 333"/>
              <a:gd name="T8" fmla="*/ 450 w 481"/>
              <a:gd name="T9" fmla="*/ 23 h 333"/>
              <a:gd name="T10" fmla="*/ 443 w 481"/>
              <a:gd name="T11" fmla="*/ 29 h 333"/>
              <a:gd name="T12" fmla="*/ 437 w 481"/>
              <a:gd name="T13" fmla="*/ 33 h 333"/>
              <a:gd name="T14" fmla="*/ 429 w 481"/>
              <a:gd name="T15" fmla="*/ 39 h 333"/>
              <a:gd name="T16" fmla="*/ 422 w 481"/>
              <a:gd name="T17" fmla="*/ 43 h 333"/>
              <a:gd name="T18" fmla="*/ 409 w 481"/>
              <a:gd name="T19" fmla="*/ 54 h 333"/>
              <a:gd name="T20" fmla="*/ 395 w 481"/>
              <a:gd name="T21" fmla="*/ 66 h 333"/>
              <a:gd name="T22" fmla="*/ 383 w 481"/>
              <a:gd name="T23" fmla="*/ 77 h 333"/>
              <a:gd name="T24" fmla="*/ 370 w 481"/>
              <a:gd name="T25" fmla="*/ 89 h 333"/>
              <a:gd name="T26" fmla="*/ 356 w 481"/>
              <a:gd name="T27" fmla="*/ 101 h 333"/>
              <a:gd name="T28" fmla="*/ 343 w 481"/>
              <a:gd name="T29" fmla="*/ 112 h 333"/>
              <a:gd name="T30" fmla="*/ 332 w 481"/>
              <a:gd name="T31" fmla="*/ 123 h 333"/>
              <a:gd name="T32" fmla="*/ 318 w 481"/>
              <a:gd name="T33" fmla="*/ 135 h 333"/>
              <a:gd name="T34" fmla="*/ 301 w 481"/>
              <a:gd name="T35" fmla="*/ 153 h 333"/>
              <a:gd name="T36" fmla="*/ 277 w 481"/>
              <a:gd name="T37" fmla="*/ 172 h 333"/>
              <a:gd name="T38" fmla="*/ 247 w 481"/>
              <a:gd name="T39" fmla="*/ 193 h 333"/>
              <a:gd name="T40" fmla="*/ 213 w 481"/>
              <a:gd name="T41" fmla="*/ 215 h 333"/>
              <a:gd name="T42" fmla="*/ 176 w 481"/>
              <a:gd name="T43" fmla="*/ 235 h 333"/>
              <a:gd name="T44" fmla="*/ 138 w 481"/>
              <a:gd name="T45" fmla="*/ 255 h 333"/>
              <a:gd name="T46" fmla="*/ 102 w 481"/>
              <a:gd name="T47" fmla="*/ 275 h 333"/>
              <a:gd name="T48" fmla="*/ 69 w 481"/>
              <a:gd name="T49" fmla="*/ 293 h 333"/>
              <a:gd name="T50" fmla="*/ 40 w 481"/>
              <a:gd name="T51" fmla="*/ 306 h 333"/>
              <a:gd name="T52" fmla="*/ 18 w 481"/>
              <a:gd name="T53" fmla="*/ 319 h 333"/>
              <a:gd name="T54" fmla="*/ 4 w 481"/>
              <a:gd name="T55" fmla="*/ 328 h 333"/>
              <a:gd name="T56" fmla="*/ 0 w 481"/>
              <a:gd name="T57" fmla="*/ 333 h 333"/>
              <a:gd name="T58" fmla="*/ 7 w 481"/>
              <a:gd name="T59" fmla="*/ 333 h 333"/>
              <a:gd name="T60" fmla="*/ 28 w 481"/>
              <a:gd name="T61" fmla="*/ 327 h 333"/>
              <a:gd name="T62" fmla="*/ 64 w 481"/>
              <a:gd name="T63" fmla="*/ 315 h 333"/>
              <a:gd name="T64" fmla="*/ 116 w 481"/>
              <a:gd name="T65" fmla="*/ 298 h 333"/>
              <a:gd name="T66" fmla="*/ 127 w 481"/>
              <a:gd name="T67" fmla="*/ 291 h 333"/>
              <a:gd name="T68" fmla="*/ 143 w 481"/>
              <a:gd name="T69" fmla="*/ 279 h 333"/>
              <a:gd name="T70" fmla="*/ 161 w 481"/>
              <a:gd name="T71" fmla="*/ 268 h 333"/>
              <a:gd name="T72" fmla="*/ 185 w 481"/>
              <a:gd name="T73" fmla="*/ 252 h 333"/>
              <a:gd name="T74" fmla="*/ 210 w 481"/>
              <a:gd name="T75" fmla="*/ 234 h 333"/>
              <a:gd name="T76" fmla="*/ 239 w 481"/>
              <a:gd name="T77" fmla="*/ 218 h 333"/>
              <a:gd name="T78" fmla="*/ 269 w 481"/>
              <a:gd name="T79" fmla="*/ 197 h 333"/>
              <a:gd name="T80" fmla="*/ 298 w 481"/>
              <a:gd name="T81" fmla="*/ 178 h 333"/>
              <a:gd name="T82" fmla="*/ 329 w 481"/>
              <a:gd name="T83" fmla="*/ 158 h 333"/>
              <a:gd name="T84" fmla="*/ 358 w 481"/>
              <a:gd name="T85" fmla="*/ 139 h 333"/>
              <a:gd name="T86" fmla="*/ 385 w 481"/>
              <a:gd name="T87" fmla="*/ 120 h 333"/>
              <a:gd name="T88" fmla="*/ 412 w 481"/>
              <a:gd name="T89" fmla="*/ 103 h 333"/>
              <a:gd name="T90" fmla="*/ 435 w 481"/>
              <a:gd name="T91" fmla="*/ 87 h 333"/>
              <a:gd name="T92" fmla="*/ 454 w 481"/>
              <a:gd name="T93" fmla="*/ 74 h 333"/>
              <a:gd name="T94" fmla="*/ 471 w 481"/>
              <a:gd name="T95" fmla="*/ 64 h 333"/>
              <a:gd name="T96" fmla="*/ 481 w 481"/>
              <a:gd name="T97" fmla="*/ 55 h 333"/>
              <a:gd name="T98" fmla="*/ 480 w 481"/>
              <a:gd name="T99" fmla="*/ 42 h 333"/>
              <a:gd name="T100" fmla="*/ 479 w 481"/>
              <a:gd name="T101" fmla="*/ 28 h 333"/>
              <a:gd name="T102" fmla="*/ 479 w 481"/>
              <a:gd name="T103" fmla="*/ 13 h 333"/>
              <a:gd name="T104" fmla="*/ 480 w 481"/>
              <a:gd name="T105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1" h="333">
                <a:moveTo>
                  <a:pt x="480" y="0"/>
                </a:moveTo>
                <a:lnTo>
                  <a:pt x="471" y="6"/>
                </a:lnTo>
                <a:lnTo>
                  <a:pt x="464" y="12"/>
                </a:lnTo>
                <a:lnTo>
                  <a:pt x="458" y="17"/>
                </a:lnTo>
                <a:lnTo>
                  <a:pt x="450" y="23"/>
                </a:lnTo>
                <a:lnTo>
                  <a:pt x="443" y="29"/>
                </a:lnTo>
                <a:lnTo>
                  <a:pt x="437" y="33"/>
                </a:lnTo>
                <a:lnTo>
                  <a:pt x="429" y="39"/>
                </a:lnTo>
                <a:lnTo>
                  <a:pt x="422" y="43"/>
                </a:lnTo>
                <a:lnTo>
                  <a:pt x="409" y="54"/>
                </a:lnTo>
                <a:lnTo>
                  <a:pt x="395" y="66"/>
                </a:lnTo>
                <a:lnTo>
                  <a:pt x="383" y="77"/>
                </a:lnTo>
                <a:lnTo>
                  <a:pt x="370" y="89"/>
                </a:lnTo>
                <a:lnTo>
                  <a:pt x="356" y="101"/>
                </a:lnTo>
                <a:lnTo>
                  <a:pt x="343" y="112"/>
                </a:lnTo>
                <a:lnTo>
                  <a:pt x="332" y="123"/>
                </a:lnTo>
                <a:lnTo>
                  <a:pt x="318" y="135"/>
                </a:lnTo>
                <a:lnTo>
                  <a:pt x="301" y="153"/>
                </a:lnTo>
                <a:lnTo>
                  <a:pt x="277" y="172"/>
                </a:lnTo>
                <a:lnTo>
                  <a:pt x="247" y="193"/>
                </a:lnTo>
                <a:lnTo>
                  <a:pt x="213" y="215"/>
                </a:lnTo>
                <a:lnTo>
                  <a:pt x="176" y="235"/>
                </a:lnTo>
                <a:lnTo>
                  <a:pt x="138" y="255"/>
                </a:lnTo>
                <a:lnTo>
                  <a:pt x="102" y="275"/>
                </a:lnTo>
                <a:lnTo>
                  <a:pt x="69" y="293"/>
                </a:lnTo>
                <a:lnTo>
                  <a:pt x="40" y="306"/>
                </a:lnTo>
                <a:lnTo>
                  <a:pt x="18" y="319"/>
                </a:lnTo>
                <a:lnTo>
                  <a:pt x="4" y="328"/>
                </a:lnTo>
                <a:lnTo>
                  <a:pt x="0" y="333"/>
                </a:lnTo>
                <a:lnTo>
                  <a:pt x="7" y="333"/>
                </a:lnTo>
                <a:lnTo>
                  <a:pt x="28" y="327"/>
                </a:lnTo>
                <a:lnTo>
                  <a:pt x="64" y="315"/>
                </a:lnTo>
                <a:lnTo>
                  <a:pt x="116" y="298"/>
                </a:lnTo>
                <a:lnTo>
                  <a:pt x="127" y="291"/>
                </a:lnTo>
                <a:lnTo>
                  <a:pt x="143" y="279"/>
                </a:lnTo>
                <a:lnTo>
                  <a:pt x="161" y="268"/>
                </a:lnTo>
                <a:lnTo>
                  <a:pt x="185" y="252"/>
                </a:lnTo>
                <a:lnTo>
                  <a:pt x="210" y="234"/>
                </a:lnTo>
                <a:lnTo>
                  <a:pt x="239" y="218"/>
                </a:lnTo>
                <a:lnTo>
                  <a:pt x="269" y="197"/>
                </a:lnTo>
                <a:lnTo>
                  <a:pt x="298" y="178"/>
                </a:lnTo>
                <a:lnTo>
                  <a:pt x="329" y="158"/>
                </a:lnTo>
                <a:lnTo>
                  <a:pt x="358" y="139"/>
                </a:lnTo>
                <a:lnTo>
                  <a:pt x="385" y="120"/>
                </a:lnTo>
                <a:lnTo>
                  <a:pt x="412" y="103"/>
                </a:lnTo>
                <a:lnTo>
                  <a:pt x="435" y="87"/>
                </a:lnTo>
                <a:lnTo>
                  <a:pt x="454" y="74"/>
                </a:lnTo>
                <a:lnTo>
                  <a:pt x="471" y="64"/>
                </a:lnTo>
                <a:lnTo>
                  <a:pt x="481" y="55"/>
                </a:lnTo>
                <a:lnTo>
                  <a:pt x="480" y="42"/>
                </a:lnTo>
                <a:lnTo>
                  <a:pt x="479" y="28"/>
                </a:lnTo>
                <a:lnTo>
                  <a:pt x="479" y="13"/>
                </a:lnTo>
                <a:lnTo>
                  <a:pt x="48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TextBox 119"/>
          <p:cNvSpPr txBox="1"/>
          <p:nvPr/>
        </p:nvSpPr>
        <p:spPr bwMode="auto">
          <a:xfrm>
            <a:off x="294710" y="5544528"/>
            <a:ext cx="2786082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세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PI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를 위한 개선 과제 도출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차세대 시스템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구축 전반을 망라하는 실행 계획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(Master Plan)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수립</a:t>
            </a:r>
          </a:p>
        </p:txBody>
      </p:sp>
      <p:sp>
        <p:nvSpPr>
          <p:cNvPr id="121" name="TextBox 120"/>
          <p:cNvSpPr txBox="1"/>
          <p:nvPr/>
        </p:nvSpPr>
        <p:spPr bwMode="auto">
          <a:xfrm>
            <a:off x="7953396" y="1412776"/>
            <a:ext cx="1785950" cy="14207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MP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단계의 개선 과제를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업무 및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에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적용할 수 있도록 상세화함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기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설계를 통해서 도출된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개발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요건을 확정한 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개발계획을 수립함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17502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수행</a:t>
            </a:r>
            <a:r>
              <a:rPr lang="en-US" altLang="ko-KR" dirty="0"/>
              <a:t> </a:t>
            </a:r>
            <a:r>
              <a:rPr lang="ko-KR" altLang="en-US" dirty="0"/>
              <a:t>방안 개요 </a:t>
            </a:r>
            <a:r>
              <a:rPr lang="en-US" altLang="ko-KR" dirty="0"/>
              <a:t>(1/5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에서는 전체 차세대시스템 개발을 위한 상세 프로세스 설계 및 시스템 개발 요건을 정의하고</a:t>
            </a:r>
            <a:r>
              <a:rPr lang="en-US" altLang="ko-KR" dirty="0"/>
              <a:t>, </a:t>
            </a:r>
            <a:r>
              <a:rPr lang="ko-KR" altLang="en-US" dirty="0"/>
              <a:t>실행을 위한 </a:t>
            </a:r>
            <a:r>
              <a:rPr lang="ko-KR" altLang="en-US" dirty="0" smtClean="0"/>
              <a:t>개발 </a:t>
            </a:r>
            <a:r>
              <a:rPr lang="ko-KR" altLang="en-US" dirty="0"/>
              <a:t>계획을 수립함</a:t>
            </a:r>
          </a:p>
        </p:txBody>
      </p:sp>
      <p:sp>
        <p:nvSpPr>
          <p:cNvPr id="5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gray">
          <a:xfrm>
            <a:off x="4274339" y="3883028"/>
            <a:ext cx="5286412" cy="2160000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rIns="54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0" name="AutoShape 25"/>
          <p:cNvCxnSpPr>
            <a:cxnSpLocks noChangeShapeType="1"/>
            <a:stCxn id="66" idx="2"/>
            <a:endCxn id="59" idx="0"/>
          </p:cNvCxnSpPr>
          <p:nvPr/>
        </p:nvCxnSpPr>
        <p:spPr bwMode="gray">
          <a:xfrm rot="16200000" flipH="1">
            <a:off x="5755033" y="2720516"/>
            <a:ext cx="742060" cy="1582964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 Box 36"/>
          <p:cNvSpPr txBox="1">
            <a:spLocks noChangeArrowheads="1"/>
          </p:cNvSpPr>
          <p:nvPr/>
        </p:nvSpPr>
        <p:spPr bwMode="gray">
          <a:xfrm>
            <a:off x="5168496" y="3921127"/>
            <a:ext cx="349809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rIns="54000">
            <a:spAutoFit/>
          </a:bodyPr>
          <a:lstStyle/>
          <a:p>
            <a:pPr algn="ctr" latinLnBrk="0"/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>Phase 3. </a:t>
            </a:r>
            <a:r>
              <a:rPr lang="ko-KR" altLang="en-US" sz="14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시스템 구축</a:t>
            </a:r>
            <a:endParaRPr lang="en-US" altLang="ko-KR" sz="140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2792760" y="1403657"/>
            <a:ext cx="5083641" cy="1737311"/>
            <a:chOff x="3620307" y="1714488"/>
            <a:chExt cx="4256094" cy="1571635"/>
          </a:xfrm>
        </p:grpSpPr>
        <p:sp>
          <p:nvSpPr>
            <p:cNvPr id="65" name="Text Box 4"/>
            <p:cNvSpPr txBox="1">
              <a:spLocks noChangeArrowheads="1"/>
            </p:cNvSpPr>
            <p:nvPr/>
          </p:nvSpPr>
          <p:spPr bwMode="gray">
            <a:xfrm>
              <a:off x="4105572" y="1727188"/>
              <a:ext cx="328556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>
              <a:spAutoFit/>
            </a:bodyPr>
            <a:lstStyle/>
            <a:p>
              <a:pPr latinLnBrk="0"/>
              <a:r>
                <a:rPr lang="en-US" altLang="ko-KR" sz="1400" i="1" dirty="0">
                  <a:solidFill>
                    <a:srgbClr val="000000"/>
                  </a:solidFill>
                  <a:latin typeface="맑은 고딕"/>
                  <a:ea typeface="맑은 고딕"/>
                </a:rPr>
                <a:t>Phase 2. </a:t>
              </a:r>
              <a:r>
                <a:rPr lang="ko-KR" altLang="en-US" sz="14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세 </a:t>
              </a:r>
              <a:r>
                <a:rPr lang="en-US" altLang="ko-KR" sz="14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(Process Innovation)</a:t>
              </a:r>
            </a:p>
          </p:txBody>
        </p:sp>
        <p:sp>
          <p:nvSpPr>
            <p:cNvPr id="66" name="AutoShape 7"/>
            <p:cNvSpPr>
              <a:spLocks noChangeArrowheads="1"/>
            </p:cNvSpPr>
            <p:nvPr/>
          </p:nvSpPr>
          <p:spPr bwMode="gray">
            <a:xfrm>
              <a:off x="3620307" y="1714488"/>
              <a:ext cx="4256094" cy="1571635"/>
            </a:xfrm>
            <a:prstGeom prst="rect">
              <a:avLst/>
            </a:prstGeom>
            <a:noFill/>
            <a:ln w="28575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endParaRPr lang="ko-KR" altLang="en-US" sz="120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Rectangle 11"/>
            <p:cNvSpPr>
              <a:spLocks noChangeArrowheads="1"/>
            </p:cNvSpPr>
            <p:nvPr/>
          </p:nvSpPr>
          <p:spPr bwMode="gray">
            <a:xfrm>
              <a:off x="4874501" y="2143115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상세화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8" name="Rectangle 12"/>
            <p:cNvSpPr>
              <a:spLocks noChangeArrowheads="1"/>
            </p:cNvSpPr>
            <p:nvPr/>
          </p:nvSpPr>
          <p:spPr bwMode="gray">
            <a:xfrm>
              <a:off x="4874501" y="2714619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ko-KR" sz="105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세스</a:t>
              </a: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b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설계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9" name="Rectangle 10"/>
            <p:cNvSpPr>
              <a:spLocks noChangeArrowheads="1"/>
            </p:cNvSpPr>
            <p:nvPr/>
          </p:nvSpPr>
          <p:spPr bwMode="gray">
            <a:xfrm>
              <a:off x="3818252" y="2143116"/>
              <a:ext cx="825137" cy="10001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S-IS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Rectangle 10"/>
            <p:cNvSpPr>
              <a:spLocks noChangeArrowheads="1"/>
            </p:cNvSpPr>
            <p:nvPr/>
          </p:nvSpPr>
          <p:spPr bwMode="gray">
            <a:xfrm>
              <a:off x="6452095" y="2143115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요건 정의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1" name="AutoShape 24"/>
            <p:cNvCxnSpPr>
              <a:cxnSpLocks noChangeShapeType="1"/>
              <a:stCxn id="69" idx="3"/>
              <a:endCxn id="67" idx="1"/>
            </p:cNvCxnSpPr>
            <p:nvPr/>
          </p:nvCxnSpPr>
          <p:spPr bwMode="gray">
            <a:xfrm flipV="1">
              <a:off x="4643389" y="2359115"/>
              <a:ext cx="231112" cy="284067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AutoShape 44"/>
            <p:cNvCxnSpPr>
              <a:cxnSpLocks noChangeShapeType="1"/>
              <a:stCxn id="67" idx="2"/>
              <a:endCxn id="68" idx="0"/>
            </p:cNvCxnSpPr>
            <p:nvPr/>
          </p:nvCxnSpPr>
          <p:spPr bwMode="gray">
            <a:xfrm rot="5400000">
              <a:off x="5417930" y="2644867"/>
              <a:ext cx="13950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44"/>
            <p:cNvCxnSpPr>
              <a:cxnSpLocks noChangeShapeType="1"/>
              <a:stCxn id="68" idx="3"/>
              <a:endCxn id="70" idx="1"/>
            </p:cNvCxnSpPr>
            <p:nvPr/>
          </p:nvCxnSpPr>
          <p:spPr bwMode="gray">
            <a:xfrm flipV="1">
              <a:off x="6100863" y="2359115"/>
              <a:ext cx="351232" cy="571504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4" name="Rectangle 10"/>
            <p:cNvSpPr>
              <a:spLocks noChangeArrowheads="1"/>
            </p:cNvSpPr>
            <p:nvPr/>
          </p:nvSpPr>
          <p:spPr bwMode="gray">
            <a:xfrm>
              <a:off x="6452095" y="2714619"/>
              <a:ext cx="1226362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발계획 수립 및 지원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5" name="AutoShape 44"/>
            <p:cNvCxnSpPr>
              <a:cxnSpLocks noChangeShapeType="1"/>
              <a:stCxn id="70" idx="2"/>
              <a:endCxn id="74" idx="0"/>
            </p:cNvCxnSpPr>
            <p:nvPr/>
          </p:nvCxnSpPr>
          <p:spPr bwMode="gray">
            <a:xfrm rot="5400000">
              <a:off x="6995524" y="2644867"/>
              <a:ext cx="13950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76" name="AutoShape 24"/>
          <p:cNvCxnSpPr>
            <a:cxnSpLocks noChangeShapeType="1"/>
            <a:stCxn id="99" idx="0"/>
            <a:endCxn id="66" idx="1"/>
          </p:cNvCxnSpPr>
          <p:nvPr/>
        </p:nvCxnSpPr>
        <p:spPr bwMode="gray">
          <a:xfrm rot="5400000" flipH="1" flipV="1">
            <a:off x="1914046" y="1763430"/>
            <a:ext cx="369830" cy="1387597"/>
          </a:xfrm>
          <a:prstGeom prst="bentConnector2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Rectangle 15"/>
          <p:cNvSpPr>
            <a:spLocks noChangeArrowheads="1"/>
          </p:cNvSpPr>
          <p:nvPr/>
        </p:nvSpPr>
        <p:spPr bwMode="gray">
          <a:xfrm>
            <a:off x="4408484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요건 분석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Rectangle 16"/>
          <p:cNvSpPr>
            <a:spLocks noChangeArrowheads="1"/>
          </p:cNvSpPr>
          <p:nvPr/>
        </p:nvSpPr>
        <p:spPr bwMode="gray">
          <a:xfrm>
            <a:off x="4408484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설계</a:t>
            </a:r>
          </a:p>
        </p:txBody>
      </p:sp>
      <p:sp>
        <p:nvSpPr>
          <p:cNvPr id="79" name="Rectangle 15"/>
          <p:cNvSpPr>
            <a:spLocks noChangeArrowheads="1"/>
          </p:cNvSpPr>
          <p:nvPr/>
        </p:nvSpPr>
        <p:spPr bwMode="gray">
          <a:xfrm>
            <a:off x="5807875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설계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hysical Design)</a:t>
            </a:r>
          </a:p>
        </p:txBody>
      </p:sp>
      <p:cxnSp>
        <p:nvCxnSpPr>
          <p:cNvPr id="80" name="AutoShape 44"/>
          <p:cNvCxnSpPr>
            <a:cxnSpLocks noChangeShapeType="1"/>
            <a:stCxn id="77" idx="3"/>
            <a:endCxn id="79" idx="1"/>
          </p:cNvCxnSpPr>
          <p:nvPr/>
        </p:nvCxnSpPr>
        <p:spPr bwMode="gray">
          <a:xfrm>
            <a:off x="5634846" y="4502256"/>
            <a:ext cx="160067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1" name="Rectangle 15"/>
          <p:cNvSpPr>
            <a:spLocks noChangeArrowheads="1"/>
          </p:cNvSpPr>
          <p:nvPr/>
        </p:nvSpPr>
        <p:spPr bwMode="gray">
          <a:xfrm>
            <a:off x="7207266" y="4286256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테스트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Rectangle 16"/>
          <p:cNvSpPr>
            <a:spLocks noChangeArrowheads="1"/>
          </p:cNvSpPr>
          <p:nvPr/>
        </p:nvSpPr>
        <p:spPr bwMode="gray">
          <a:xfrm>
            <a:off x="5801525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축</a:t>
            </a:r>
          </a:p>
        </p:txBody>
      </p:sp>
      <p:sp>
        <p:nvSpPr>
          <p:cNvPr id="83" name="Rectangle 16"/>
          <p:cNvSpPr>
            <a:spLocks noChangeArrowheads="1"/>
          </p:cNvSpPr>
          <p:nvPr/>
        </p:nvSpPr>
        <p:spPr bwMode="gray">
          <a:xfrm>
            <a:off x="7194566" y="4857760"/>
            <a:ext cx="122636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이행</a:t>
            </a:r>
          </a:p>
        </p:txBody>
      </p:sp>
      <p:sp>
        <p:nvSpPr>
          <p:cNvPr id="84" name="Rectangle 15"/>
          <p:cNvSpPr>
            <a:spLocks noChangeArrowheads="1"/>
          </p:cNvSpPr>
          <p:nvPr/>
        </p:nvSpPr>
        <p:spPr bwMode="gray">
          <a:xfrm>
            <a:off x="8640788" y="4289628"/>
            <a:ext cx="785818" cy="10001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</a:t>
            </a:r>
            <a:endParaRPr lang="en-US" altLang="ko-KR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5" name="AutoShape 44"/>
          <p:cNvCxnSpPr>
            <a:cxnSpLocks noChangeShapeType="1"/>
            <a:stCxn id="79" idx="3"/>
            <a:endCxn id="81" idx="1"/>
          </p:cNvCxnSpPr>
          <p:nvPr/>
        </p:nvCxnSpPr>
        <p:spPr bwMode="gray">
          <a:xfrm>
            <a:off x="7021275" y="4502256"/>
            <a:ext cx="185991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AutoShape 44"/>
          <p:cNvCxnSpPr>
            <a:cxnSpLocks noChangeShapeType="1"/>
            <a:stCxn id="81" idx="3"/>
            <a:endCxn id="84" idx="1"/>
          </p:cNvCxnSpPr>
          <p:nvPr/>
        </p:nvCxnSpPr>
        <p:spPr bwMode="gray">
          <a:xfrm>
            <a:off x="8433628" y="4502256"/>
            <a:ext cx="207160" cy="28743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AutoShape 44"/>
          <p:cNvCxnSpPr>
            <a:cxnSpLocks noChangeShapeType="1"/>
            <a:stCxn id="78" idx="3"/>
            <a:endCxn id="82" idx="1"/>
          </p:cNvCxnSpPr>
          <p:nvPr/>
        </p:nvCxnSpPr>
        <p:spPr bwMode="gray">
          <a:xfrm>
            <a:off x="5634846" y="5073760"/>
            <a:ext cx="130960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AutoShape 44"/>
          <p:cNvCxnSpPr>
            <a:cxnSpLocks noChangeShapeType="1"/>
            <a:stCxn id="82" idx="3"/>
            <a:endCxn id="83" idx="1"/>
          </p:cNvCxnSpPr>
          <p:nvPr/>
        </p:nvCxnSpPr>
        <p:spPr bwMode="gray">
          <a:xfrm>
            <a:off x="6992168" y="5073760"/>
            <a:ext cx="202398" cy="1588"/>
          </a:xfrm>
          <a:prstGeom prst="straightConnector1">
            <a:avLst/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AutoShape 44"/>
          <p:cNvCxnSpPr>
            <a:cxnSpLocks noChangeShapeType="1"/>
            <a:stCxn id="83" idx="3"/>
            <a:endCxn id="84" idx="1"/>
          </p:cNvCxnSpPr>
          <p:nvPr/>
        </p:nvCxnSpPr>
        <p:spPr bwMode="gray">
          <a:xfrm flipV="1">
            <a:off x="8420928" y="4789694"/>
            <a:ext cx="219860" cy="28406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Rectangle 16"/>
          <p:cNvSpPr>
            <a:spLocks noChangeArrowheads="1"/>
          </p:cNvSpPr>
          <p:nvPr/>
        </p:nvSpPr>
        <p:spPr bwMode="gray">
          <a:xfrm>
            <a:off x="4398913" y="5470542"/>
            <a:ext cx="500066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785813" eaLnBrk="0" latin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b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정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관리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관리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물관리 등</a:t>
            </a:r>
            <a:r>
              <a: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5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1" name="AutoShape 24"/>
          <p:cNvCxnSpPr>
            <a:cxnSpLocks noChangeShapeType="1"/>
            <a:stCxn id="90" idx="0"/>
            <a:endCxn id="78" idx="2"/>
          </p:cNvCxnSpPr>
          <p:nvPr/>
        </p:nvCxnSpPr>
        <p:spPr bwMode="gray">
          <a:xfrm rot="16200000" flipV="1">
            <a:off x="5870063" y="4441362"/>
            <a:ext cx="180782" cy="187757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AutoShape 24"/>
          <p:cNvCxnSpPr>
            <a:cxnSpLocks noChangeShapeType="1"/>
            <a:stCxn id="90" idx="0"/>
            <a:endCxn id="82" idx="2"/>
          </p:cNvCxnSpPr>
          <p:nvPr/>
        </p:nvCxnSpPr>
        <p:spPr bwMode="gray">
          <a:xfrm rot="16200000" flipV="1">
            <a:off x="6548724" y="5120023"/>
            <a:ext cx="180782" cy="52025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AutoShape 24"/>
          <p:cNvCxnSpPr>
            <a:cxnSpLocks noChangeShapeType="1"/>
            <a:stCxn id="90" idx="0"/>
            <a:endCxn id="83" idx="2"/>
          </p:cNvCxnSpPr>
          <p:nvPr/>
        </p:nvCxnSpPr>
        <p:spPr bwMode="gray">
          <a:xfrm rot="5400000" flipH="1" flipV="1">
            <a:off x="7263104" y="4925899"/>
            <a:ext cx="180782" cy="90850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AutoShape 24"/>
          <p:cNvCxnSpPr>
            <a:cxnSpLocks noChangeShapeType="1"/>
            <a:stCxn id="90" idx="0"/>
            <a:endCxn id="84" idx="2"/>
          </p:cNvCxnSpPr>
          <p:nvPr/>
        </p:nvCxnSpPr>
        <p:spPr bwMode="gray">
          <a:xfrm rot="5400000" flipH="1" flipV="1">
            <a:off x="7876079" y="4312924"/>
            <a:ext cx="180782" cy="213445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Freeform 5"/>
          <p:cNvSpPr>
            <a:spLocks/>
          </p:cNvSpPr>
          <p:nvPr/>
        </p:nvSpPr>
        <p:spPr bwMode="auto">
          <a:xfrm>
            <a:off x="3187108" y="1331589"/>
            <a:ext cx="370541" cy="334699"/>
          </a:xfrm>
          <a:custGeom>
            <a:avLst/>
            <a:gdLst>
              <a:gd name="T0" fmla="*/ 211 w 5033"/>
              <a:gd name="T1" fmla="*/ 2036 h 3448"/>
              <a:gd name="T2" fmla="*/ 512 w 5033"/>
              <a:gd name="T3" fmla="*/ 2415 h 3448"/>
              <a:gd name="T4" fmla="*/ 876 w 5033"/>
              <a:gd name="T5" fmla="*/ 2969 h 3448"/>
              <a:gd name="T6" fmla="*/ 1038 w 5033"/>
              <a:gd name="T7" fmla="*/ 3128 h 3448"/>
              <a:gd name="T8" fmla="*/ 1213 w 5033"/>
              <a:gd name="T9" fmla="*/ 3204 h 3448"/>
              <a:gd name="T10" fmla="*/ 1395 w 5033"/>
              <a:gd name="T11" fmla="*/ 3275 h 3448"/>
              <a:gd name="T12" fmla="*/ 1732 w 5033"/>
              <a:gd name="T13" fmla="*/ 3392 h 3448"/>
              <a:gd name="T14" fmla="*/ 1879 w 5033"/>
              <a:gd name="T15" fmla="*/ 3434 h 3448"/>
              <a:gd name="T16" fmla="*/ 1922 w 5033"/>
              <a:gd name="T17" fmla="*/ 3323 h 3448"/>
              <a:gd name="T18" fmla="*/ 2083 w 5033"/>
              <a:gd name="T19" fmla="*/ 3085 h 3448"/>
              <a:gd name="T20" fmla="*/ 2225 w 5033"/>
              <a:gd name="T21" fmla="*/ 2695 h 3448"/>
              <a:gd name="T22" fmla="*/ 2422 w 5033"/>
              <a:gd name="T23" fmla="*/ 2378 h 3448"/>
              <a:gd name="T24" fmla="*/ 2552 w 5033"/>
              <a:gd name="T25" fmla="*/ 2199 h 3448"/>
              <a:gd name="T26" fmla="*/ 2687 w 5033"/>
              <a:gd name="T27" fmla="*/ 2110 h 3448"/>
              <a:gd name="T28" fmla="*/ 2780 w 5033"/>
              <a:gd name="T29" fmla="*/ 2006 h 3448"/>
              <a:gd name="T30" fmla="*/ 3045 w 5033"/>
              <a:gd name="T31" fmla="*/ 1730 h 3448"/>
              <a:gd name="T32" fmla="*/ 3418 w 5033"/>
              <a:gd name="T33" fmla="*/ 1374 h 3448"/>
              <a:gd name="T34" fmla="*/ 3840 w 5033"/>
              <a:gd name="T35" fmla="*/ 1068 h 3448"/>
              <a:gd name="T36" fmla="*/ 4056 w 5033"/>
              <a:gd name="T37" fmla="*/ 949 h 3448"/>
              <a:gd name="T38" fmla="*/ 4251 w 5033"/>
              <a:gd name="T39" fmla="*/ 795 h 3448"/>
              <a:gd name="T40" fmla="*/ 4363 w 5033"/>
              <a:gd name="T41" fmla="*/ 740 h 3448"/>
              <a:gd name="T42" fmla="*/ 4543 w 5033"/>
              <a:gd name="T43" fmla="*/ 585 h 3448"/>
              <a:gd name="T44" fmla="*/ 4690 w 5033"/>
              <a:gd name="T45" fmla="*/ 431 h 3448"/>
              <a:gd name="T46" fmla="*/ 4841 w 5033"/>
              <a:gd name="T47" fmla="*/ 339 h 3448"/>
              <a:gd name="T48" fmla="*/ 4972 w 5033"/>
              <a:gd name="T49" fmla="*/ 278 h 3448"/>
              <a:gd name="T50" fmla="*/ 4947 w 5033"/>
              <a:gd name="T51" fmla="*/ 244 h 3448"/>
              <a:gd name="T52" fmla="*/ 4858 w 5033"/>
              <a:gd name="T53" fmla="*/ 281 h 3448"/>
              <a:gd name="T54" fmla="*/ 4756 w 5033"/>
              <a:gd name="T55" fmla="*/ 360 h 3448"/>
              <a:gd name="T56" fmla="*/ 4531 w 5033"/>
              <a:gd name="T57" fmla="*/ 513 h 3448"/>
              <a:gd name="T58" fmla="*/ 4401 w 5033"/>
              <a:gd name="T59" fmla="*/ 542 h 3448"/>
              <a:gd name="T60" fmla="*/ 4018 w 5033"/>
              <a:gd name="T61" fmla="*/ 810 h 3448"/>
              <a:gd name="T62" fmla="*/ 4096 w 5033"/>
              <a:gd name="T63" fmla="*/ 702 h 3448"/>
              <a:gd name="T64" fmla="*/ 4196 w 5033"/>
              <a:gd name="T65" fmla="*/ 621 h 3448"/>
              <a:gd name="T66" fmla="*/ 4319 w 5033"/>
              <a:gd name="T67" fmla="*/ 501 h 3448"/>
              <a:gd name="T68" fmla="*/ 4342 w 5033"/>
              <a:gd name="T69" fmla="*/ 423 h 3448"/>
              <a:gd name="T70" fmla="*/ 4478 w 5033"/>
              <a:gd name="T71" fmla="*/ 286 h 3448"/>
              <a:gd name="T72" fmla="*/ 4289 w 5033"/>
              <a:gd name="T73" fmla="*/ 341 h 3448"/>
              <a:gd name="T74" fmla="*/ 4455 w 5033"/>
              <a:gd name="T75" fmla="*/ 198 h 3448"/>
              <a:gd name="T76" fmla="*/ 4410 w 5033"/>
              <a:gd name="T77" fmla="*/ 167 h 3448"/>
              <a:gd name="T78" fmla="*/ 4293 w 5033"/>
              <a:gd name="T79" fmla="*/ 277 h 3448"/>
              <a:gd name="T80" fmla="*/ 4288 w 5033"/>
              <a:gd name="T81" fmla="*/ 162 h 3448"/>
              <a:gd name="T82" fmla="*/ 4376 w 5033"/>
              <a:gd name="T83" fmla="*/ 48 h 3448"/>
              <a:gd name="T84" fmla="*/ 4276 w 5033"/>
              <a:gd name="T85" fmla="*/ 25 h 3448"/>
              <a:gd name="T86" fmla="*/ 4168 w 5033"/>
              <a:gd name="T87" fmla="*/ 135 h 3448"/>
              <a:gd name="T88" fmla="*/ 3906 w 5033"/>
              <a:gd name="T89" fmla="*/ 284 h 3448"/>
              <a:gd name="T90" fmla="*/ 3186 w 5033"/>
              <a:gd name="T91" fmla="*/ 777 h 3448"/>
              <a:gd name="T92" fmla="*/ 3188 w 5033"/>
              <a:gd name="T93" fmla="*/ 733 h 3448"/>
              <a:gd name="T94" fmla="*/ 3235 w 5033"/>
              <a:gd name="T95" fmla="*/ 671 h 3448"/>
              <a:gd name="T96" fmla="*/ 3941 w 5033"/>
              <a:gd name="T97" fmla="*/ 219 h 3448"/>
              <a:gd name="T98" fmla="*/ 3992 w 5033"/>
              <a:gd name="T99" fmla="*/ 140 h 3448"/>
              <a:gd name="T100" fmla="*/ 3743 w 5033"/>
              <a:gd name="T101" fmla="*/ 240 h 3448"/>
              <a:gd name="T102" fmla="*/ 3290 w 5033"/>
              <a:gd name="T103" fmla="*/ 525 h 3448"/>
              <a:gd name="T104" fmla="*/ 2837 w 5033"/>
              <a:gd name="T105" fmla="*/ 830 h 3448"/>
              <a:gd name="T106" fmla="*/ 2197 w 5033"/>
              <a:gd name="T107" fmla="*/ 1270 h 3448"/>
              <a:gd name="T108" fmla="*/ 1903 w 5033"/>
              <a:gd name="T109" fmla="*/ 1608 h 3448"/>
              <a:gd name="T110" fmla="*/ 1609 w 5033"/>
              <a:gd name="T111" fmla="*/ 1914 h 3448"/>
              <a:gd name="T112" fmla="*/ 1327 w 5033"/>
              <a:gd name="T113" fmla="*/ 1996 h 3448"/>
              <a:gd name="T114" fmla="*/ 1057 w 5033"/>
              <a:gd name="T115" fmla="*/ 1475 h 3448"/>
              <a:gd name="T116" fmla="*/ 755 w 5033"/>
              <a:gd name="T117" fmla="*/ 1501 h 3448"/>
              <a:gd name="T118" fmla="*/ 523 w 5033"/>
              <a:gd name="T119" fmla="*/ 1595 h 3448"/>
              <a:gd name="T120" fmla="*/ 242 w 5033"/>
              <a:gd name="T121" fmla="*/ 1683 h 3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33" h="3448">
                <a:moveTo>
                  <a:pt x="0" y="1824"/>
                </a:moveTo>
                <a:lnTo>
                  <a:pt x="12" y="1840"/>
                </a:lnTo>
                <a:lnTo>
                  <a:pt x="25" y="1855"/>
                </a:lnTo>
                <a:lnTo>
                  <a:pt x="39" y="1870"/>
                </a:lnTo>
                <a:lnTo>
                  <a:pt x="54" y="1886"/>
                </a:lnTo>
                <a:lnTo>
                  <a:pt x="69" y="1900"/>
                </a:lnTo>
                <a:lnTo>
                  <a:pt x="85" y="1917"/>
                </a:lnTo>
                <a:lnTo>
                  <a:pt x="102" y="1931"/>
                </a:lnTo>
                <a:lnTo>
                  <a:pt x="119" y="1945"/>
                </a:lnTo>
                <a:lnTo>
                  <a:pt x="134" y="1961"/>
                </a:lnTo>
                <a:lnTo>
                  <a:pt x="151" y="1975"/>
                </a:lnTo>
                <a:lnTo>
                  <a:pt x="166" y="1990"/>
                </a:lnTo>
                <a:lnTo>
                  <a:pt x="183" y="2006"/>
                </a:lnTo>
                <a:lnTo>
                  <a:pt x="197" y="2020"/>
                </a:lnTo>
                <a:lnTo>
                  <a:pt x="211" y="2036"/>
                </a:lnTo>
                <a:lnTo>
                  <a:pt x="224" y="2050"/>
                </a:lnTo>
                <a:lnTo>
                  <a:pt x="236" y="2067"/>
                </a:lnTo>
                <a:lnTo>
                  <a:pt x="250" y="2094"/>
                </a:lnTo>
                <a:lnTo>
                  <a:pt x="267" y="2117"/>
                </a:lnTo>
                <a:lnTo>
                  <a:pt x="287" y="2135"/>
                </a:lnTo>
                <a:lnTo>
                  <a:pt x="308" y="2152"/>
                </a:lnTo>
                <a:lnTo>
                  <a:pt x="329" y="2167"/>
                </a:lnTo>
                <a:lnTo>
                  <a:pt x="350" y="2186"/>
                </a:lnTo>
                <a:lnTo>
                  <a:pt x="368" y="2207"/>
                </a:lnTo>
                <a:lnTo>
                  <a:pt x="384" y="2234"/>
                </a:lnTo>
                <a:lnTo>
                  <a:pt x="400" y="2263"/>
                </a:lnTo>
                <a:lnTo>
                  <a:pt x="424" y="2297"/>
                </a:lnTo>
                <a:lnTo>
                  <a:pt x="452" y="2335"/>
                </a:lnTo>
                <a:lnTo>
                  <a:pt x="482" y="2375"/>
                </a:lnTo>
                <a:lnTo>
                  <a:pt x="512" y="2415"/>
                </a:lnTo>
                <a:lnTo>
                  <a:pt x="540" y="2452"/>
                </a:lnTo>
                <a:lnTo>
                  <a:pt x="564" y="2486"/>
                </a:lnTo>
                <a:lnTo>
                  <a:pt x="582" y="2514"/>
                </a:lnTo>
                <a:lnTo>
                  <a:pt x="594" y="2536"/>
                </a:lnTo>
                <a:lnTo>
                  <a:pt x="611" y="2564"/>
                </a:lnTo>
                <a:lnTo>
                  <a:pt x="631" y="2598"/>
                </a:lnTo>
                <a:lnTo>
                  <a:pt x="653" y="2633"/>
                </a:lnTo>
                <a:lnTo>
                  <a:pt x="679" y="2673"/>
                </a:lnTo>
                <a:lnTo>
                  <a:pt x="705" y="2714"/>
                </a:lnTo>
                <a:lnTo>
                  <a:pt x="734" y="2757"/>
                </a:lnTo>
                <a:lnTo>
                  <a:pt x="765" y="2801"/>
                </a:lnTo>
                <a:lnTo>
                  <a:pt x="793" y="2844"/>
                </a:lnTo>
                <a:lnTo>
                  <a:pt x="822" y="2889"/>
                </a:lnTo>
                <a:lnTo>
                  <a:pt x="850" y="2930"/>
                </a:lnTo>
                <a:lnTo>
                  <a:pt x="876" y="2969"/>
                </a:lnTo>
                <a:lnTo>
                  <a:pt x="899" y="3005"/>
                </a:lnTo>
                <a:lnTo>
                  <a:pt x="919" y="3036"/>
                </a:lnTo>
                <a:lnTo>
                  <a:pt x="935" y="3065"/>
                </a:lnTo>
                <a:lnTo>
                  <a:pt x="948" y="3087"/>
                </a:lnTo>
                <a:lnTo>
                  <a:pt x="959" y="3089"/>
                </a:lnTo>
                <a:lnTo>
                  <a:pt x="969" y="3090"/>
                </a:lnTo>
                <a:lnTo>
                  <a:pt x="979" y="3092"/>
                </a:lnTo>
                <a:lnTo>
                  <a:pt x="989" y="3094"/>
                </a:lnTo>
                <a:lnTo>
                  <a:pt x="1000" y="3094"/>
                </a:lnTo>
                <a:lnTo>
                  <a:pt x="1011" y="3097"/>
                </a:lnTo>
                <a:lnTo>
                  <a:pt x="1020" y="3098"/>
                </a:lnTo>
                <a:lnTo>
                  <a:pt x="1031" y="3100"/>
                </a:lnTo>
                <a:lnTo>
                  <a:pt x="1033" y="3109"/>
                </a:lnTo>
                <a:lnTo>
                  <a:pt x="1036" y="3119"/>
                </a:lnTo>
                <a:lnTo>
                  <a:pt x="1038" y="3128"/>
                </a:lnTo>
                <a:lnTo>
                  <a:pt x="1040" y="3138"/>
                </a:lnTo>
                <a:lnTo>
                  <a:pt x="1050" y="3138"/>
                </a:lnTo>
                <a:lnTo>
                  <a:pt x="1058" y="3140"/>
                </a:lnTo>
                <a:lnTo>
                  <a:pt x="1067" y="3141"/>
                </a:lnTo>
                <a:lnTo>
                  <a:pt x="1077" y="3142"/>
                </a:lnTo>
                <a:lnTo>
                  <a:pt x="1085" y="3145"/>
                </a:lnTo>
                <a:lnTo>
                  <a:pt x="1095" y="3146"/>
                </a:lnTo>
                <a:lnTo>
                  <a:pt x="1105" y="3147"/>
                </a:lnTo>
                <a:lnTo>
                  <a:pt x="1113" y="3148"/>
                </a:lnTo>
                <a:lnTo>
                  <a:pt x="1130" y="3159"/>
                </a:lnTo>
                <a:lnTo>
                  <a:pt x="1148" y="3169"/>
                </a:lnTo>
                <a:lnTo>
                  <a:pt x="1164" y="3177"/>
                </a:lnTo>
                <a:lnTo>
                  <a:pt x="1179" y="3186"/>
                </a:lnTo>
                <a:lnTo>
                  <a:pt x="1196" y="3196"/>
                </a:lnTo>
                <a:lnTo>
                  <a:pt x="1213" y="3204"/>
                </a:lnTo>
                <a:lnTo>
                  <a:pt x="1231" y="3213"/>
                </a:lnTo>
                <a:lnTo>
                  <a:pt x="1246" y="3221"/>
                </a:lnTo>
                <a:lnTo>
                  <a:pt x="1258" y="3222"/>
                </a:lnTo>
                <a:lnTo>
                  <a:pt x="1269" y="3223"/>
                </a:lnTo>
                <a:lnTo>
                  <a:pt x="1281" y="3225"/>
                </a:lnTo>
                <a:lnTo>
                  <a:pt x="1292" y="3227"/>
                </a:lnTo>
                <a:lnTo>
                  <a:pt x="1304" y="3227"/>
                </a:lnTo>
                <a:lnTo>
                  <a:pt x="1315" y="3228"/>
                </a:lnTo>
                <a:lnTo>
                  <a:pt x="1328" y="3229"/>
                </a:lnTo>
                <a:lnTo>
                  <a:pt x="1340" y="3229"/>
                </a:lnTo>
                <a:lnTo>
                  <a:pt x="1348" y="3240"/>
                </a:lnTo>
                <a:lnTo>
                  <a:pt x="1357" y="3252"/>
                </a:lnTo>
                <a:lnTo>
                  <a:pt x="1367" y="3264"/>
                </a:lnTo>
                <a:lnTo>
                  <a:pt x="1375" y="3273"/>
                </a:lnTo>
                <a:lnTo>
                  <a:pt x="1395" y="3275"/>
                </a:lnTo>
                <a:lnTo>
                  <a:pt x="1416" y="3277"/>
                </a:lnTo>
                <a:lnTo>
                  <a:pt x="1436" y="3279"/>
                </a:lnTo>
                <a:lnTo>
                  <a:pt x="1456" y="3279"/>
                </a:lnTo>
                <a:lnTo>
                  <a:pt x="1478" y="3281"/>
                </a:lnTo>
                <a:lnTo>
                  <a:pt x="1497" y="3281"/>
                </a:lnTo>
                <a:lnTo>
                  <a:pt x="1518" y="3282"/>
                </a:lnTo>
                <a:lnTo>
                  <a:pt x="1537" y="3283"/>
                </a:lnTo>
                <a:lnTo>
                  <a:pt x="1562" y="3296"/>
                </a:lnTo>
                <a:lnTo>
                  <a:pt x="1584" y="3310"/>
                </a:lnTo>
                <a:lnTo>
                  <a:pt x="1609" y="3323"/>
                </a:lnTo>
                <a:lnTo>
                  <a:pt x="1633" y="3336"/>
                </a:lnTo>
                <a:lnTo>
                  <a:pt x="1658" y="3352"/>
                </a:lnTo>
                <a:lnTo>
                  <a:pt x="1682" y="3365"/>
                </a:lnTo>
                <a:lnTo>
                  <a:pt x="1707" y="3379"/>
                </a:lnTo>
                <a:lnTo>
                  <a:pt x="1732" y="3392"/>
                </a:lnTo>
                <a:lnTo>
                  <a:pt x="1742" y="3392"/>
                </a:lnTo>
                <a:lnTo>
                  <a:pt x="1752" y="3392"/>
                </a:lnTo>
                <a:lnTo>
                  <a:pt x="1762" y="3392"/>
                </a:lnTo>
                <a:lnTo>
                  <a:pt x="1773" y="3392"/>
                </a:lnTo>
                <a:lnTo>
                  <a:pt x="1784" y="3392"/>
                </a:lnTo>
                <a:lnTo>
                  <a:pt x="1793" y="3392"/>
                </a:lnTo>
                <a:lnTo>
                  <a:pt x="1803" y="3392"/>
                </a:lnTo>
                <a:lnTo>
                  <a:pt x="1814" y="3392"/>
                </a:lnTo>
                <a:lnTo>
                  <a:pt x="1822" y="3400"/>
                </a:lnTo>
                <a:lnTo>
                  <a:pt x="1833" y="3406"/>
                </a:lnTo>
                <a:lnTo>
                  <a:pt x="1842" y="3412"/>
                </a:lnTo>
                <a:lnTo>
                  <a:pt x="1852" y="3419"/>
                </a:lnTo>
                <a:lnTo>
                  <a:pt x="1860" y="3425"/>
                </a:lnTo>
                <a:lnTo>
                  <a:pt x="1869" y="3429"/>
                </a:lnTo>
                <a:lnTo>
                  <a:pt x="1879" y="3434"/>
                </a:lnTo>
                <a:lnTo>
                  <a:pt x="1887" y="3439"/>
                </a:lnTo>
                <a:lnTo>
                  <a:pt x="1915" y="3446"/>
                </a:lnTo>
                <a:lnTo>
                  <a:pt x="1934" y="3448"/>
                </a:lnTo>
                <a:lnTo>
                  <a:pt x="1946" y="3445"/>
                </a:lnTo>
                <a:lnTo>
                  <a:pt x="1950" y="3438"/>
                </a:lnTo>
                <a:lnTo>
                  <a:pt x="1950" y="3429"/>
                </a:lnTo>
                <a:lnTo>
                  <a:pt x="1944" y="3416"/>
                </a:lnTo>
                <a:lnTo>
                  <a:pt x="1936" y="3401"/>
                </a:lnTo>
                <a:lnTo>
                  <a:pt x="1928" y="3387"/>
                </a:lnTo>
                <a:lnTo>
                  <a:pt x="1921" y="3371"/>
                </a:lnTo>
                <a:lnTo>
                  <a:pt x="1912" y="3357"/>
                </a:lnTo>
                <a:lnTo>
                  <a:pt x="1908" y="3345"/>
                </a:lnTo>
                <a:lnTo>
                  <a:pt x="1907" y="3333"/>
                </a:lnTo>
                <a:lnTo>
                  <a:pt x="1911" y="3327"/>
                </a:lnTo>
                <a:lnTo>
                  <a:pt x="1922" y="3323"/>
                </a:lnTo>
                <a:lnTo>
                  <a:pt x="1941" y="3325"/>
                </a:lnTo>
                <a:lnTo>
                  <a:pt x="1968" y="3332"/>
                </a:lnTo>
                <a:lnTo>
                  <a:pt x="1981" y="3310"/>
                </a:lnTo>
                <a:lnTo>
                  <a:pt x="1993" y="3289"/>
                </a:lnTo>
                <a:lnTo>
                  <a:pt x="2003" y="3271"/>
                </a:lnTo>
                <a:lnTo>
                  <a:pt x="2012" y="3251"/>
                </a:lnTo>
                <a:lnTo>
                  <a:pt x="2022" y="3233"/>
                </a:lnTo>
                <a:lnTo>
                  <a:pt x="2032" y="3211"/>
                </a:lnTo>
                <a:lnTo>
                  <a:pt x="2042" y="3191"/>
                </a:lnTo>
                <a:lnTo>
                  <a:pt x="2055" y="3167"/>
                </a:lnTo>
                <a:lnTo>
                  <a:pt x="2056" y="3154"/>
                </a:lnTo>
                <a:lnTo>
                  <a:pt x="2061" y="3138"/>
                </a:lnTo>
                <a:lnTo>
                  <a:pt x="2067" y="3122"/>
                </a:lnTo>
                <a:lnTo>
                  <a:pt x="2075" y="3103"/>
                </a:lnTo>
                <a:lnTo>
                  <a:pt x="2083" y="3085"/>
                </a:lnTo>
                <a:lnTo>
                  <a:pt x="2089" y="3067"/>
                </a:lnTo>
                <a:lnTo>
                  <a:pt x="2093" y="3052"/>
                </a:lnTo>
                <a:lnTo>
                  <a:pt x="2095" y="3039"/>
                </a:lnTo>
                <a:lnTo>
                  <a:pt x="2108" y="3019"/>
                </a:lnTo>
                <a:lnTo>
                  <a:pt x="2121" y="2998"/>
                </a:lnTo>
                <a:lnTo>
                  <a:pt x="2134" y="2980"/>
                </a:lnTo>
                <a:lnTo>
                  <a:pt x="2146" y="2960"/>
                </a:lnTo>
                <a:lnTo>
                  <a:pt x="2157" y="2942"/>
                </a:lnTo>
                <a:lnTo>
                  <a:pt x="2169" y="2923"/>
                </a:lnTo>
                <a:lnTo>
                  <a:pt x="2180" y="2905"/>
                </a:lnTo>
                <a:lnTo>
                  <a:pt x="2193" y="2885"/>
                </a:lnTo>
                <a:lnTo>
                  <a:pt x="2199" y="2832"/>
                </a:lnTo>
                <a:lnTo>
                  <a:pt x="2211" y="2790"/>
                </a:lnTo>
                <a:lnTo>
                  <a:pt x="2222" y="2749"/>
                </a:lnTo>
                <a:lnTo>
                  <a:pt x="2225" y="2695"/>
                </a:lnTo>
                <a:lnTo>
                  <a:pt x="2239" y="2687"/>
                </a:lnTo>
                <a:lnTo>
                  <a:pt x="2254" y="2675"/>
                </a:lnTo>
                <a:lnTo>
                  <a:pt x="2269" y="2662"/>
                </a:lnTo>
                <a:lnTo>
                  <a:pt x="2285" y="2649"/>
                </a:lnTo>
                <a:lnTo>
                  <a:pt x="2301" y="2636"/>
                </a:lnTo>
                <a:lnTo>
                  <a:pt x="2317" y="2622"/>
                </a:lnTo>
                <a:lnTo>
                  <a:pt x="2330" y="2611"/>
                </a:lnTo>
                <a:lnTo>
                  <a:pt x="2344" y="2602"/>
                </a:lnTo>
                <a:lnTo>
                  <a:pt x="2353" y="2549"/>
                </a:lnTo>
                <a:lnTo>
                  <a:pt x="2358" y="2508"/>
                </a:lnTo>
                <a:lnTo>
                  <a:pt x="2364" y="2467"/>
                </a:lnTo>
                <a:lnTo>
                  <a:pt x="2375" y="2413"/>
                </a:lnTo>
                <a:lnTo>
                  <a:pt x="2386" y="2403"/>
                </a:lnTo>
                <a:lnTo>
                  <a:pt x="2402" y="2391"/>
                </a:lnTo>
                <a:lnTo>
                  <a:pt x="2422" y="2378"/>
                </a:lnTo>
                <a:lnTo>
                  <a:pt x="2445" y="2364"/>
                </a:lnTo>
                <a:lnTo>
                  <a:pt x="2469" y="2348"/>
                </a:lnTo>
                <a:lnTo>
                  <a:pt x="2489" y="2335"/>
                </a:lnTo>
                <a:lnTo>
                  <a:pt x="2506" y="2324"/>
                </a:lnTo>
                <a:lnTo>
                  <a:pt x="2515" y="2314"/>
                </a:lnTo>
                <a:lnTo>
                  <a:pt x="2513" y="2300"/>
                </a:lnTo>
                <a:lnTo>
                  <a:pt x="2513" y="2286"/>
                </a:lnTo>
                <a:lnTo>
                  <a:pt x="2518" y="2274"/>
                </a:lnTo>
                <a:lnTo>
                  <a:pt x="2521" y="2261"/>
                </a:lnTo>
                <a:lnTo>
                  <a:pt x="2526" y="2247"/>
                </a:lnTo>
                <a:lnTo>
                  <a:pt x="2529" y="2234"/>
                </a:lnTo>
                <a:lnTo>
                  <a:pt x="2531" y="2219"/>
                </a:lnTo>
                <a:lnTo>
                  <a:pt x="2529" y="2205"/>
                </a:lnTo>
                <a:lnTo>
                  <a:pt x="2541" y="2203"/>
                </a:lnTo>
                <a:lnTo>
                  <a:pt x="2552" y="2199"/>
                </a:lnTo>
                <a:lnTo>
                  <a:pt x="2564" y="2196"/>
                </a:lnTo>
                <a:lnTo>
                  <a:pt x="2576" y="2192"/>
                </a:lnTo>
                <a:lnTo>
                  <a:pt x="2588" y="2188"/>
                </a:lnTo>
                <a:lnTo>
                  <a:pt x="2598" y="2185"/>
                </a:lnTo>
                <a:lnTo>
                  <a:pt x="2610" y="2180"/>
                </a:lnTo>
                <a:lnTo>
                  <a:pt x="2621" y="2177"/>
                </a:lnTo>
                <a:lnTo>
                  <a:pt x="2626" y="2156"/>
                </a:lnTo>
                <a:lnTo>
                  <a:pt x="2634" y="2136"/>
                </a:lnTo>
                <a:lnTo>
                  <a:pt x="2641" y="2117"/>
                </a:lnTo>
                <a:lnTo>
                  <a:pt x="2651" y="2095"/>
                </a:lnTo>
                <a:lnTo>
                  <a:pt x="2659" y="2100"/>
                </a:lnTo>
                <a:lnTo>
                  <a:pt x="2665" y="2102"/>
                </a:lnTo>
                <a:lnTo>
                  <a:pt x="2673" y="2105"/>
                </a:lnTo>
                <a:lnTo>
                  <a:pt x="2680" y="2107"/>
                </a:lnTo>
                <a:lnTo>
                  <a:pt x="2687" y="2110"/>
                </a:lnTo>
                <a:lnTo>
                  <a:pt x="2697" y="2112"/>
                </a:lnTo>
                <a:lnTo>
                  <a:pt x="2705" y="2115"/>
                </a:lnTo>
                <a:lnTo>
                  <a:pt x="2713" y="2117"/>
                </a:lnTo>
                <a:lnTo>
                  <a:pt x="2721" y="2100"/>
                </a:lnTo>
                <a:lnTo>
                  <a:pt x="2727" y="2082"/>
                </a:lnTo>
                <a:lnTo>
                  <a:pt x="2731" y="2065"/>
                </a:lnTo>
                <a:lnTo>
                  <a:pt x="2736" y="2048"/>
                </a:lnTo>
                <a:lnTo>
                  <a:pt x="2742" y="2043"/>
                </a:lnTo>
                <a:lnTo>
                  <a:pt x="2747" y="2038"/>
                </a:lnTo>
                <a:lnTo>
                  <a:pt x="2753" y="2034"/>
                </a:lnTo>
                <a:lnTo>
                  <a:pt x="2758" y="2027"/>
                </a:lnTo>
                <a:lnTo>
                  <a:pt x="2765" y="2022"/>
                </a:lnTo>
                <a:lnTo>
                  <a:pt x="2770" y="2017"/>
                </a:lnTo>
                <a:lnTo>
                  <a:pt x="2776" y="2011"/>
                </a:lnTo>
                <a:lnTo>
                  <a:pt x="2780" y="2006"/>
                </a:lnTo>
                <a:lnTo>
                  <a:pt x="2791" y="1990"/>
                </a:lnTo>
                <a:lnTo>
                  <a:pt x="2801" y="1974"/>
                </a:lnTo>
                <a:lnTo>
                  <a:pt x="2813" y="1958"/>
                </a:lnTo>
                <a:lnTo>
                  <a:pt x="2825" y="1942"/>
                </a:lnTo>
                <a:lnTo>
                  <a:pt x="2837" y="1926"/>
                </a:lnTo>
                <a:lnTo>
                  <a:pt x="2849" y="1910"/>
                </a:lnTo>
                <a:lnTo>
                  <a:pt x="2864" y="1893"/>
                </a:lnTo>
                <a:lnTo>
                  <a:pt x="2878" y="1877"/>
                </a:lnTo>
                <a:lnTo>
                  <a:pt x="2902" y="1857"/>
                </a:lnTo>
                <a:lnTo>
                  <a:pt x="2927" y="1836"/>
                </a:lnTo>
                <a:lnTo>
                  <a:pt x="2951" y="1815"/>
                </a:lnTo>
                <a:lnTo>
                  <a:pt x="2975" y="1795"/>
                </a:lnTo>
                <a:lnTo>
                  <a:pt x="2999" y="1774"/>
                </a:lnTo>
                <a:lnTo>
                  <a:pt x="3023" y="1752"/>
                </a:lnTo>
                <a:lnTo>
                  <a:pt x="3045" y="1730"/>
                </a:lnTo>
                <a:lnTo>
                  <a:pt x="3069" y="1708"/>
                </a:lnTo>
                <a:lnTo>
                  <a:pt x="3091" y="1685"/>
                </a:lnTo>
                <a:lnTo>
                  <a:pt x="3115" y="1664"/>
                </a:lnTo>
                <a:lnTo>
                  <a:pt x="3140" y="1640"/>
                </a:lnTo>
                <a:lnTo>
                  <a:pt x="3163" y="1617"/>
                </a:lnTo>
                <a:lnTo>
                  <a:pt x="3186" y="1593"/>
                </a:lnTo>
                <a:lnTo>
                  <a:pt x="3210" y="1569"/>
                </a:lnTo>
                <a:lnTo>
                  <a:pt x="3235" y="1547"/>
                </a:lnTo>
                <a:lnTo>
                  <a:pt x="3259" y="1522"/>
                </a:lnTo>
                <a:lnTo>
                  <a:pt x="3284" y="1496"/>
                </a:lnTo>
                <a:lnTo>
                  <a:pt x="3310" y="1474"/>
                </a:lnTo>
                <a:lnTo>
                  <a:pt x="3336" y="1449"/>
                </a:lnTo>
                <a:lnTo>
                  <a:pt x="3363" y="1425"/>
                </a:lnTo>
                <a:lnTo>
                  <a:pt x="3390" y="1399"/>
                </a:lnTo>
                <a:lnTo>
                  <a:pt x="3418" y="1374"/>
                </a:lnTo>
                <a:lnTo>
                  <a:pt x="3448" y="1350"/>
                </a:lnTo>
                <a:lnTo>
                  <a:pt x="3478" y="1325"/>
                </a:lnTo>
                <a:lnTo>
                  <a:pt x="3509" y="1299"/>
                </a:lnTo>
                <a:lnTo>
                  <a:pt x="3541" y="1274"/>
                </a:lnTo>
                <a:lnTo>
                  <a:pt x="3572" y="1249"/>
                </a:lnTo>
                <a:lnTo>
                  <a:pt x="3607" y="1222"/>
                </a:lnTo>
                <a:lnTo>
                  <a:pt x="3641" y="1199"/>
                </a:lnTo>
                <a:lnTo>
                  <a:pt x="3677" y="1172"/>
                </a:lnTo>
                <a:lnTo>
                  <a:pt x="3714" y="1147"/>
                </a:lnTo>
                <a:lnTo>
                  <a:pt x="3753" y="1121"/>
                </a:lnTo>
                <a:lnTo>
                  <a:pt x="3770" y="1110"/>
                </a:lnTo>
                <a:lnTo>
                  <a:pt x="3788" y="1099"/>
                </a:lnTo>
                <a:lnTo>
                  <a:pt x="3805" y="1089"/>
                </a:lnTo>
                <a:lnTo>
                  <a:pt x="3822" y="1077"/>
                </a:lnTo>
                <a:lnTo>
                  <a:pt x="3840" y="1068"/>
                </a:lnTo>
                <a:lnTo>
                  <a:pt x="3858" y="1057"/>
                </a:lnTo>
                <a:lnTo>
                  <a:pt x="3876" y="1046"/>
                </a:lnTo>
                <a:lnTo>
                  <a:pt x="3896" y="1037"/>
                </a:lnTo>
                <a:lnTo>
                  <a:pt x="3905" y="1031"/>
                </a:lnTo>
                <a:lnTo>
                  <a:pt x="3916" y="1027"/>
                </a:lnTo>
                <a:lnTo>
                  <a:pt x="3927" y="1022"/>
                </a:lnTo>
                <a:lnTo>
                  <a:pt x="3937" y="1018"/>
                </a:lnTo>
                <a:lnTo>
                  <a:pt x="3948" y="1012"/>
                </a:lnTo>
                <a:lnTo>
                  <a:pt x="3958" y="1007"/>
                </a:lnTo>
                <a:lnTo>
                  <a:pt x="3969" y="1000"/>
                </a:lnTo>
                <a:lnTo>
                  <a:pt x="3980" y="995"/>
                </a:lnTo>
                <a:lnTo>
                  <a:pt x="3999" y="984"/>
                </a:lnTo>
                <a:lnTo>
                  <a:pt x="4018" y="972"/>
                </a:lnTo>
                <a:lnTo>
                  <a:pt x="4037" y="962"/>
                </a:lnTo>
                <a:lnTo>
                  <a:pt x="4056" y="949"/>
                </a:lnTo>
                <a:lnTo>
                  <a:pt x="4075" y="939"/>
                </a:lnTo>
                <a:lnTo>
                  <a:pt x="4093" y="925"/>
                </a:lnTo>
                <a:lnTo>
                  <a:pt x="4112" y="915"/>
                </a:lnTo>
                <a:lnTo>
                  <a:pt x="4131" y="903"/>
                </a:lnTo>
                <a:lnTo>
                  <a:pt x="4144" y="894"/>
                </a:lnTo>
                <a:lnTo>
                  <a:pt x="4156" y="884"/>
                </a:lnTo>
                <a:lnTo>
                  <a:pt x="4168" y="875"/>
                </a:lnTo>
                <a:lnTo>
                  <a:pt x="4182" y="866"/>
                </a:lnTo>
                <a:lnTo>
                  <a:pt x="4195" y="856"/>
                </a:lnTo>
                <a:lnTo>
                  <a:pt x="4209" y="847"/>
                </a:lnTo>
                <a:lnTo>
                  <a:pt x="4221" y="839"/>
                </a:lnTo>
                <a:lnTo>
                  <a:pt x="4235" y="829"/>
                </a:lnTo>
                <a:lnTo>
                  <a:pt x="4240" y="816"/>
                </a:lnTo>
                <a:lnTo>
                  <a:pt x="4245" y="805"/>
                </a:lnTo>
                <a:lnTo>
                  <a:pt x="4251" y="795"/>
                </a:lnTo>
                <a:lnTo>
                  <a:pt x="4255" y="786"/>
                </a:lnTo>
                <a:lnTo>
                  <a:pt x="4264" y="777"/>
                </a:lnTo>
                <a:lnTo>
                  <a:pt x="4271" y="772"/>
                </a:lnTo>
                <a:lnTo>
                  <a:pt x="4280" y="764"/>
                </a:lnTo>
                <a:lnTo>
                  <a:pt x="4289" y="758"/>
                </a:lnTo>
                <a:lnTo>
                  <a:pt x="4298" y="751"/>
                </a:lnTo>
                <a:lnTo>
                  <a:pt x="4307" y="744"/>
                </a:lnTo>
                <a:lnTo>
                  <a:pt x="4315" y="737"/>
                </a:lnTo>
                <a:lnTo>
                  <a:pt x="4325" y="731"/>
                </a:lnTo>
                <a:lnTo>
                  <a:pt x="4328" y="737"/>
                </a:lnTo>
                <a:lnTo>
                  <a:pt x="4331" y="743"/>
                </a:lnTo>
                <a:lnTo>
                  <a:pt x="4334" y="750"/>
                </a:lnTo>
                <a:lnTo>
                  <a:pt x="4336" y="756"/>
                </a:lnTo>
                <a:lnTo>
                  <a:pt x="4350" y="746"/>
                </a:lnTo>
                <a:lnTo>
                  <a:pt x="4363" y="740"/>
                </a:lnTo>
                <a:lnTo>
                  <a:pt x="4377" y="731"/>
                </a:lnTo>
                <a:lnTo>
                  <a:pt x="4391" y="723"/>
                </a:lnTo>
                <a:lnTo>
                  <a:pt x="4404" y="716"/>
                </a:lnTo>
                <a:lnTo>
                  <a:pt x="4419" y="706"/>
                </a:lnTo>
                <a:lnTo>
                  <a:pt x="4433" y="699"/>
                </a:lnTo>
                <a:lnTo>
                  <a:pt x="4444" y="692"/>
                </a:lnTo>
                <a:lnTo>
                  <a:pt x="4455" y="678"/>
                </a:lnTo>
                <a:lnTo>
                  <a:pt x="4464" y="660"/>
                </a:lnTo>
                <a:lnTo>
                  <a:pt x="4474" y="644"/>
                </a:lnTo>
                <a:lnTo>
                  <a:pt x="4482" y="629"/>
                </a:lnTo>
                <a:lnTo>
                  <a:pt x="4493" y="619"/>
                </a:lnTo>
                <a:lnTo>
                  <a:pt x="4506" y="610"/>
                </a:lnTo>
                <a:lnTo>
                  <a:pt x="4519" y="602"/>
                </a:lnTo>
                <a:lnTo>
                  <a:pt x="4531" y="593"/>
                </a:lnTo>
                <a:lnTo>
                  <a:pt x="4543" y="585"/>
                </a:lnTo>
                <a:lnTo>
                  <a:pt x="4555" y="576"/>
                </a:lnTo>
                <a:lnTo>
                  <a:pt x="4566" y="566"/>
                </a:lnTo>
                <a:lnTo>
                  <a:pt x="4576" y="557"/>
                </a:lnTo>
                <a:lnTo>
                  <a:pt x="4581" y="543"/>
                </a:lnTo>
                <a:lnTo>
                  <a:pt x="4586" y="528"/>
                </a:lnTo>
                <a:lnTo>
                  <a:pt x="4590" y="513"/>
                </a:lnTo>
                <a:lnTo>
                  <a:pt x="4597" y="497"/>
                </a:lnTo>
                <a:lnTo>
                  <a:pt x="4608" y="489"/>
                </a:lnTo>
                <a:lnTo>
                  <a:pt x="4621" y="480"/>
                </a:lnTo>
                <a:lnTo>
                  <a:pt x="4633" y="473"/>
                </a:lnTo>
                <a:lnTo>
                  <a:pt x="4645" y="464"/>
                </a:lnTo>
                <a:lnTo>
                  <a:pt x="4657" y="456"/>
                </a:lnTo>
                <a:lnTo>
                  <a:pt x="4669" y="446"/>
                </a:lnTo>
                <a:lnTo>
                  <a:pt x="4680" y="439"/>
                </a:lnTo>
                <a:lnTo>
                  <a:pt x="4690" y="431"/>
                </a:lnTo>
                <a:lnTo>
                  <a:pt x="4705" y="427"/>
                </a:lnTo>
                <a:lnTo>
                  <a:pt x="4719" y="423"/>
                </a:lnTo>
                <a:lnTo>
                  <a:pt x="4732" y="419"/>
                </a:lnTo>
                <a:lnTo>
                  <a:pt x="4745" y="415"/>
                </a:lnTo>
                <a:lnTo>
                  <a:pt x="4758" y="409"/>
                </a:lnTo>
                <a:lnTo>
                  <a:pt x="4771" y="406"/>
                </a:lnTo>
                <a:lnTo>
                  <a:pt x="4783" y="401"/>
                </a:lnTo>
                <a:lnTo>
                  <a:pt x="4797" y="398"/>
                </a:lnTo>
                <a:lnTo>
                  <a:pt x="4803" y="390"/>
                </a:lnTo>
                <a:lnTo>
                  <a:pt x="4810" y="381"/>
                </a:lnTo>
                <a:lnTo>
                  <a:pt x="4816" y="374"/>
                </a:lnTo>
                <a:lnTo>
                  <a:pt x="4822" y="364"/>
                </a:lnTo>
                <a:lnTo>
                  <a:pt x="4829" y="356"/>
                </a:lnTo>
                <a:lnTo>
                  <a:pt x="4835" y="347"/>
                </a:lnTo>
                <a:lnTo>
                  <a:pt x="4841" y="339"/>
                </a:lnTo>
                <a:lnTo>
                  <a:pt x="4847" y="329"/>
                </a:lnTo>
                <a:lnTo>
                  <a:pt x="4858" y="323"/>
                </a:lnTo>
                <a:lnTo>
                  <a:pt x="4868" y="316"/>
                </a:lnTo>
                <a:lnTo>
                  <a:pt x="4878" y="310"/>
                </a:lnTo>
                <a:lnTo>
                  <a:pt x="4887" y="303"/>
                </a:lnTo>
                <a:lnTo>
                  <a:pt x="4898" y="295"/>
                </a:lnTo>
                <a:lnTo>
                  <a:pt x="4907" y="288"/>
                </a:lnTo>
                <a:lnTo>
                  <a:pt x="4916" y="281"/>
                </a:lnTo>
                <a:lnTo>
                  <a:pt x="4925" y="273"/>
                </a:lnTo>
                <a:lnTo>
                  <a:pt x="4931" y="278"/>
                </a:lnTo>
                <a:lnTo>
                  <a:pt x="4938" y="283"/>
                </a:lnTo>
                <a:lnTo>
                  <a:pt x="4946" y="289"/>
                </a:lnTo>
                <a:lnTo>
                  <a:pt x="4950" y="294"/>
                </a:lnTo>
                <a:lnTo>
                  <a:pt x="4960" y="286"/>
                </a:lnTo>
                <a:lnTo>
                  <a:pt x="4972" y="278"/>
                </a:lnTo>
                <a:lnTo>
                  <a:pt x="4981" y="270"/>
                </a:lnTo>
                <a:lnTo>
                  <a:pt x="4992" y="262"/>
                </a:lnTo>
                <a:lnTo>
                  <a:pt x="5001" y="251"/>
                </a:lnTo>
                <a:lnTo>
                  <a:pt x="5012" y="242"/>
                </a:lnTo>
                <a:lnTo>
                  <a:pt x="5023" y="234"/>
                </a:lnTo>
                <a:lnTo>
                  <a:pt x="5033" y="226"/>
                </a:lnTo>
                <a:lnTo>
                  <a:pt x="5021" y="231"/>
                </a:lnTo>
                <a:lnTo>
                  <a:pt x="5010" y="237"/>
                </a:lnTo>
                <a:lnTo>
                  <a:pt x="4997" y="244"/>
                </a:lnTo>
                <a:lnTo>
                  <a:pt x="4983" y="248"/>
                </a:lnTo>
                <a:lnTo>
                  <a:pt x="4972" y="254"/>
                </a:lnTo>
                <a:lnTo>
                  <a:pt x="4960" y="259"/>
                </a:lnTo>
                <a:lnTo>
                  <a:pt x="4948" y="265"/>
                </a:lnTo>
                <a:lnTo>
                  <a:pt x="4936" y="270"/>
                </a:lnTo>
                <a:lnTo>
                  <a:pt x="4947" y="244"/>
                </a:lnTo>
                <a:lnTo>
                  <a:pt x="4956" y="221"/>
                </a:lnTo>
                <a:lnTo>
                  <a:pt x="4963" y="197"/>
                </a:lnTo>
                <a:lnTo>
                  <a:pt x="4968" y="173"/>
                </a:lnTo>
                <a:lnTo>
                  <a:pt x="4959" y="180"/>
                </a:lnTo>
                <a:lnTo>
                  <a:pt x="4950" y="190"/>
                </a:lnTo>
                <a:lnTo>
                  <a:pt x="4941" y="198"/>
                </a:lnTo>
                <a:lnTo>
                  <a:pt x="4930" y="206"/>
                </a:lnTo>
                <a:lnTo>
                  <a:pt x="4921" y="214"/>
                </a:lnTo>
                <a:lnTo>
                  <a:pt x="4910" y="223"/>
                </a:lnTo>
                <a:lnTo>
                  <a:pt x="4899" y="231"/>
                </a:lnTo>
                <a:lnTo>
                  <a:pt x="4889" y="240"/>
                </a:lnTo>
                <a:lnTo>
                  <a:pt x="4882" y="250"/>
                </a:lnTo>
                <a:lnTo>
                  <a:pt x="4872" y="259"/>
                </a:lnTo>
                <a:lnTo>
                  <a:pt x="4865" y="270"/>
                </a:lnTo>
                <a:lnTo>
                  <a:pt x="4858" y="281"/>
                </a:lnTo>
                <a:lnTo>
                  <a:pt x="4850" y="292"/>
                </a:lnTo>
                <a:lnTo>
                  <a:pt x="4842" y="303"/>
                </a:lnTo>
                <a:lnTo>
                  <a:pt x="4835" y="314"/>
                </a:lnTo>
                <a:lnTo>
                  <a:pt x="4827" y="325"/>
                </a:lnTo>
                <a:lnTo>
                  <a:pt x="4820" y="329"/>
                </a:lnTo>
                <a:lnTo>
                  <a:pt x="4813" y="334"/>
                </a:lnTo>
                <a:lnTo>
                  <a:pt x="4805" y="341"/>
                </a:lnTo>
                <a:lnTo>
                  <a:pt x="4799" y="346"/>
                </a:lnTo>
                <a:lnTo>
                  <a:pt x="4791" y="351"/>
                </a:lnTo>
                <a:lnTo>
                  <a:pt x="4785" y="356"/>
                </a:lnTo>
                <a:lnTo>
                  <a:pt x="4778" y="360"/>
                </a:lnTo>
                <a:lnTo>
                  <a:pt x="4771" y="365"/>
                </a:lnTo>
                <a:lnTo>
                  <a:pt x="4766" y="364"/>
                </a:lnTo>
                <a:lnTo>
                  <a:pt x="4760" y="363"/>
                </a:lnTo>
                <a:lnTo>
                  <a:pt x="4756" y="360"/>
                </a:lnTo>
                <a:lnTo>
                  <a:pt x="4752" y="359"/>
                </a:lnTo>
                <a:lnTo>
                  <a:pt x="4747" y="358"/>
                </a:lnTo>
                <a:lnTo>
                  <a:pt x="4743" y="356"/>
                </a:lnTo>
                <a:lnTo>
                  <a:pt x="4736" y="354"/>
                </a:lnTo>
                <a:lnTo>
                  <a:pt x="4732" y="354"/>
                </a:lnTo>
                <a:lnTo>
                  <a:pt x="4709" y="371"/>
                </a:lnTo>
                <a:lnTo>
                  <a:pt x="4688" y="390"/>
                </a:lnTo>
                <a:lnTo>
                  <a:pt x="4666" y="408"/>
                </a:lnTo>
                <a:lnTo>
                  <a:pt x="4644" y="427"/>
                </a:lnTo>
                <a:lnTo>
                  <a:pt x="4621" y="445"/>
                </a:lnTo>
                <a:lnTo>
                  <a:pt x="4597" y="464"/>
                </a:lnTo>
                <a:lnTo>
                  <a:pt x="4575" y="483"/>
                </a:lnTo>
                <a:lnTo>
                  <a:pt x="4551" y="502"/>
                </a:lnTo>
                <a:lnTo>
                  <a:pt x="4541" y="507"/>
                </a:lnTo>
                <a:lnTo>
                  <a:pt x="4531" y="513"/>
                </a:lnTo>
                <a:lnTo>
                  <a:pt x="4521" y="517"/>
                </a:lnTo>
                <a:lnTo>
                  <a:pt x="4511" y="524"/>
                </a:lnTo>
                <a:lnTo>
                  <a:pt x="4501" y="528"/>
                </a:lnTo>
                <a:lnTo>
                  <a:pt x="4492" y="533"/>
                </a:lnTo>
                <a:lnTo>
                  <a:pt x="4482" y="539"/>
                </a:lnTo>
                <a:lnTo>
                  <a:pt x="4474" y="544"/>
                </a:lnTo>
                <a:lnTo>
                  <a:pt x="4467" y="542"/>
                </a:lnTo>
                <a:lnTo>
                  <a:pt x="4461" y="539"/>
                </a:lnTo>
                <a:lnTo>
                  <a:pt x="4455" y="537"/>
                </a:lnTo>
                <a:lnTo>
                  <a:pt x="4451" y="533"/>
                </a:lnTo>
                <a:lnTo>
                  <a:pt x="4443" y="531"/>
                </a:lnTo>
                <a:lnTo>
                  <a:pt x="4439" y="528"/>
                </a:lnTo>
                <a:lnTo>
                  <a:pt x="4433" y="526"/>
                </a:lnTo>
                <a:lnTo>
                  <a:pt x="4427" y="524"/>
                </a:lnTo>
                <a:lnTo>
                  <a:pt x="4401" y="542"/>
                </a:lnTo>
                <a:lnTo>
                  <a:pt x="4376" y="558"/>
                </a:lnTo>
                <a:lnTo>
                  <a:pt x="4350" y="577"/>
                </a:lnTo>
                <a:lnTo>
                  <a:pt x="4325" y="594"/>
                </a:lnTo>
                <a:lnTo>
                  <a:pt x="4301" y="612"/>
                </a:lnTo>
                <a:lnTo>
                  <a:pt x="4274" y="630"/>
                </a:lnTo>
                <a:lnTo>
                  <a:pt x="4248" y="648"/>
                </a:lnTo>
                <a:lnTo>
                  <a:pt x="4223" y="665"/>
                </a:lnTo>
                <a:lnTo>
                  <a:pt x="4197" y="683"/>
                </a:lnTo>
                <a:lnTo>
                  <a:pt x="4172" y="702"/>
                </a:lnTo>
                <a:lnTo>
                  <a:pt x="4147" y="719"/>
                </a:lnTo>
                <a:lnTo>
                  <a:pt x="4121" y="737"/>
                </a:lnTo>
                <a:lnTo>
                  <a:pt x="4096" y="755"/>
                </a:lnTo>
                <a:lnTo>
                  <a:pt x="4069" y="773"/>
                </a:lnTo>
                <a:lnTo>
                  <a:pt x="4044" y="792"/>
                </a:lnTo>
                <a:lnTo>
                  <a:pt x="4018" y="810"/>
                </a:lnTo>
                <a:lnTo>
                  <a:pt x="4012" y="802"/>
                </a:lnTo>
                <a:lnTo>
                  <a:pt x="4005" y="795"/>
                </a:lnTo>
                <a:lnTo>
                  <a:pt x="3999" y="784"/>
                </a:lnTo>
                <a:lnTo>
                  <a:pt x="3995" y="774"/>
                </a:lnTo>
                <a:lnTo>
                  <a:pt x="4005" y="767"/>
                </a:lnTo>
                <a:lnTo>
                  <a:pt x="4014" y="760"/>
                </a:lnTo>
                <a:lnTo>
                  <a:pt x="4024" y="751"/>
                </a:lnTo>
                <a:lnTo>
                  <a:pt x="4033" y="742"/>
                </a:lnTo>
                <a:lnTo>
                  <a:pt x="4043" y="733"/>
                </a:lnTo>
                <a:lnTo>
                  <a:pt x="4053" y="725"/>
                </a:lnTo>
                <a:lnTo>
                  <a:pt x="4063" y="716"/>
                </a:lnTo>
                <a:lnTo>
                  <a:pt x="4074" y="707"/>
                </a:lnTo>
                <a:lnTo>
                  <a:pt x="4081" y="705"/>
                </a:lnTo>
                <a:lnTo>
                  <a:pt x="4088" y="702"/>
                </a:lnTo>
                <a:lnTo>
                  <a:pt x="4096" y="702"/>
                </a:lnTo>
                <a:lnTo>
                  <a:pt x="4105" y="699"/>
                </a:lnTo>
                <a:lnTo>
                  <a:pt x="4112" y="696"/>
                </a:lnTo>
                <a:lnTo>
                  <a:pt x="4120" y="694"/>
                </a:lnTo>
                <a:lnTo>
                  <a:pt x="4129" y="691"/>
                </a:lnTo>
                <a:lnTo>
                  <a:pt x="4136" y="689"/>
                </a:lnTo>
                <a:lnTo>
                  <a:pt x="4141" y="682"/>
                </a:lnTo>
                <a:lnTo>
                  <a:pt x="4146" y="675"/>
                </a:lnTo>
                <a:lnTo>
                  <a:pt x="4151" y="668"/>
                </a:lnTo>
                <a:lnTo>
                  <a:pt x="4156" y="661"/>
                </a:lnTo>
                <a:lnTo>
                  <a:pt x="4160" y="654"/>
                </a:lnTo>
                <a:lnTo>
                  <a:pt x="4166" y="647"/>
                </a:lnTo>
                <a:lnTo>
                  <a:pt x="4172" y="639"/>
                </a:lnTo>
                <a:lnTo>
                  <a:pt x="4177" y="631"/>
                </a:lnTo>
                <a:lnTo>
                  <a:pt x="4188" y="627"/>
                </a:lnTo>
                <a:lnTo>
                  <a:pt x="4196" y="621"/>
                </a:lnTo>
                <a:lnTo>
                  <a:pt x="4207" y="616"/>
                </a:lnTo>
                <a:lnTo>
                  <a:pt x="4217" y="610"/>
                </a:lnTo>
                <a:lnTo>
                  <a:pt x="4225" y="605"/>
                </a:lnTo>
                <a:lnTo>
                  <a:pt x="4235" y="600"/>
                </a:lnTo>
                <a:lnTo>
                  <a:pt x="4245" y="593"/>
                </a:lnTo>
                <a:lnTo>
                  <a:pt x="4255" y="588"/>
                </a:lnTo>
                <a:lnTo>
                  <a:pt x="4262" y="575"/>
                </a:lnTo>
                <a:lnTo>
                  <a:pt x="4269" y="562"/>
                </a:lnTo>
                <a:lnTo>
                  <a:pt x="4276" y="548"/>
                </a:lnTo>
                <a:lnTo>
                  <a:pt x="4284" y="533"/>
                </a:lnTo>
                <a:lnTo>
                  <a:pt x="4290" y="526"/>
                </a:lnTo>
                <a:lnTo>
                  <a:pt x="4298" y="519"/>
                </a:lnTo>
                <a:lnTo>
                  <a:pt x="4305" y="513"/>
                </a:lnTo>
                <a:lnTo>
                  <a:pt x="4311" y="507"/>
                </a:lnTo>
                <a:lnTo>
                  <a:pt x="4319" y="501"/>
                </a:lnTo>
                <a:lnTo>
                  <a:pt x="4327" y="495"/>
                </a:lnTo>
                <a:lnTo>
                  <a:pt x="4335" y="489"/>
                </a:lnTo>
                <a:lnTo>
                  <a:pt x="4343" y="482"/>
                </a:lnTo>
                <a:lnTo>
                  <a:pt x="4336" y="480"/>
                </a:lnTo>
                <a:lnTo>
                  <a:pt x="4331" y="477"/>
                </a:lnTo>
                <a:lnTo>
                  <a:pt x="4325" y="475"/>
                </a:lnTo>
                <a:lnTo>
                  <a:pt x="4319" y="471"/>
                </a:lnTo>
                <a:lnTo>
                  <a:pt x="4313" y="469"/>
                </a:lnTo>
                <a:lnTo>
                  <a:pt x="4307" y="465"/>
                </a:lnTo>
                <a:lnTo>
                  <a:pt x="4302" y="462"/>
                </a:lnTo>
                <a:lnTo>
                  <a:pt x="4296" y="458"/>
                </a:lnTo>
                <a:lnTo>
                  <a:pt x="4307" y="450"/>
                </a:lnTo>
                <a:lnTo>
                  <a:pt x="4318" y="440"/>
                </a:lnTo>
                <a:lnTo>
                  <a:pt x="4329" y="432"/>
                </a:lnTo>
                <a:lnTo>
                  <a:pt x="4342" y="423"/>
                </a:lnTo>
                <a:lnTo>
                  <a:pt x="4353" y="415"/>
                </a:lnTo>
                <a:lnTo>
                  <a:pt x="4365" y="406"/>
                </a:lnTo>
                <a:lnTo>
                  <a:pt x="4376" y="398"/>
                </a:lnTo>
                <a:lnTo>
                  <a:pt x="4388" y="389"/>
                </a:lnTo>
                <a:lnTo>
                  <a:pt x="4393" y="383"/>
                </a:lnTo>
                <a:lnTo>
                  <a:pt x="4401" y="378"/>
                </a:lnTo>
                <a:lnTo>
                  <a:pt x="4410" y="371"/>
                </a:lnTo>
                <a:lnTo>
                  <a:pt x="4415" y="364"/>
                </a:lnTo>
                <a:lnTo>
                  <a:pt x="4424" y="354"/>
                </a:lnTo>
                <a:lnTo>
                  <a:pt x="4435" y="343"/>
                </a:lnTo>
                <a:lnTo>
                  <a:pt x="4442" y="331"/>
                </a:lnTo>
                <a:lnTo>
                  <a:pt x="4451" y="320"/>
                </a:lnTo>
                <a:lnTo>
                  <a:pt x="4460" y="309"/>
                </a:lnTo>
                <a:lnTo>
                  <a:pt x="4468" y="298"/>
                </a:lnTo>
                <a:lnTo>
                  <a:pt x="4478" y="286"/>
                </a:lnTo>
                <a:lnTo>
                  <a:pt x="4486" y="275"/>
                </a:lnTo>
                <a:lnTo>
                  <a:pt x="4464" y="285"/>
                </a:lnTo>
                <a:lnTo>
                  <a:pt x="4444" y="294"/>
                </a:lnTo>
                <a:lnTo>
                  <a:pt x="4423" y="304"/>
                </a:lnTo>
                <a:lnTo>
                  <a:pt x="4403" y="313"/>
                </a:lnTo>
                <a:lnTo>
                  <a:pt x="4381" y="323"/>
                </a:lnTo>
                <a:lnTo>
                  <a:pt x="4360" y="332"/>
                </a:lnTo>
                <a:lnTo>
                  <a:pt x="4338" y="344"/>
                </a:lnTo>
                <a:lnTo>
                  <a:pt x="4318" y="354"/>
                </a:lnTo>
                <a:lnTo>
                  <a:pt x="4313" y="351"/>
                </a:lnTo>
                <a:lnTo>
                  <a:pt x="4309" y="348"/>
                </a:lnTo>
                <a:lnTo>
                  <a:pt x="4304" y="347"/>
                </a:lnTo>
                <a:lnTo>
                  <a:pt x="4300" y="345"/>
                </a:lnTo>
                <a:lnTo>
                  <a:pt x="4293" y="344"/>
                </a:lnTo>
                <a:lnTo>
                  <a:pt x="4289" y="341"/>
                </a:lnTo>
                <a:lnTo>
                  <a:pt x="4285" y="341"/>
                </a:lnTo>
                <a:lnTo>
                  <a:pt x="4280" y="340"/>
                </a:lnTo>
                <a:lnTo>
                  <a:pt x="4286" y="333"/>
                </a:lnTo>
                <a:lnTo>
                  <a:pt x="4293" y="327"/>
                </a:lnTo>
                <a:lnTo>
                  <a:pt x="4300" y="321"/>
                </a:lnTo>
                <a:lnTo>
                  <a:pt x="4305" y="314"/>
                </a:lnTo>
                <a:lnTo>
                  <a:pt x="4311" y="308"/>
                </a:lnTo>
                <a:lnTo>
                  <a:pt x="4318" y="302"/>
                </a:lnTo>
                <a:lnTo>
                  <a:pt x="4325" y="295"/>
                </a:lnTo>
                <a:lnTo>
                  <a:pt x="4333" y="289"/>
                </a:lnTo>
                <a:lnTo>
                  <a:pt x="4352" y="275"/>
                </a:lnTo>
                <a:lnTo>
                  <a:pt x="4374" y="256"/>
                </a:lnTo>
                <a:lnTo>
                  <a:pt x="4399" y="237"/>
                </a:lnTo>
                <a:lnTo>
                  <a:pt x="4427" y="217"/>
                </a:lnTo>
                <a:lnTo>
                  <a:pt x="4455" y="198"/>
                </a:lnTo>
                <a:lnTo>
                  <a:pt x="4480" y="179"/>
                </a:lnTo>
                <a:lnTo>
                  <a:pt x="4503" y="164"/>
                </a:lnTo>
                <a:lnTo>
                  <a:pt x="4520" y="149"/>
                </a:lnTo>
                <a:lnTo>
                  <a:pt x="4524" y="125"/>
                </a:lnTo>
                <a:lnTo>
                  <a:pt x="4521" y="114"/>
                </a:lnTo>
                <a:lnTo>
                  <a:pt x="4513" y="114"/>
                </a:lnTo>
                <a:lnTo>
                  <a:pt x="4504" y="120"/>
                </a:lnTo>
                <a:lnTo>
                  <a:pt x="4491" y="128"/>
                </a:lnTo>
                <a:lnTo>
                  <a:pt x="4480" y="136"/>
                </a:lnTo>
                <a:lnTo>
                  <a:pt x="4471" y="141"/>
                </a:lnTo>
                <a:lnTo>
                  <a:pt x="4464" y="140"/>
                </a:lnTo>
                <a:lnTo>
                  <a:pt x="4455" y="148"/>
                </a:lnTo>
                <a:lnTo>
                  <a:pt x="4441" y="154"/>
                </a:lnTo>
                <a:lnTo>
                  <a:pt x="4425" y="162"/>
                </a:lnTo>
                <a:lnTo>
                  <a:pt x="4410" y="167"/>
                </a:lnTo>
                <a:lnTo>
                  <a:pt x="4393" y="175"/>
                </a:lnTo>
                <a:lnTo>
                  <a:pt x="4377" y="180"/>
                </a:lnTo>
                <a:lnTo>
                  <a:pt x="4363" y="190"/>
                </a:lnTo>
                <a:lnTo>
                  <a:pt x="4352" y="197"/>
                </a:lnTo>
                <a:lnTo>
                  <a:pt x="4348" y="206"/>
                </a:lnTo>
                <a:lnTo>
                  <a:pt x="4345" y="216"/>
                </a:lnTo>
                <a:lnTo>
                  <a:pt x="4342" y="227"/>
                </a:lnTo>
                <a:lnTo>
                  <a:pt x="4338" y="237"/>
                </a:lnTo>
                <a:lnTo>
                  <a:pt x="4333" y="242"/>
                </a:lnTo>
                <a:lnTo>
                  <a:pt x="4328" y="248"/>
                </a:lnTo>
                <a:lnTo>
                  <a:pt x="4322" y="254"/>
                </a:lnTo>
                <a:lnTo>
                  <a:pt x="4315" y="259"/>
                </a:lnTo>
                <a:lnTo>
                  <a:pt x="4307" y="266"/>
                </a:lnTo>
                <a:lnTo>
                  <a:pt x="4302" y="271"/>
                </a:lnTo>
                <a:lnTo>
                  <a:pt x="4293" y="277"/>
                </a:lnTo>
                <a:lnTo>
                  <a:pt x="4286" y="282"/>
                </a:lnTo>
                <a:lnTo>
                  <a:pt x="4280" y="275"/>
                </a:lnTo>
                <a:lnTo>
                  <a:pt x="4276" y="268"/>
                </a:lnTo>
                <a:lnTo>
                  <a:pt x="4269" y="262"/>
                </a:lnTo>
                <a:lnTo>
                  <a:pt x="4262" y="254"/>
                </a:lnTo>
                <a:lnTo>
                  <a:pt x="4257" y="247"/>
                </a:lnTo>
                <a:lnTo>
                  <a:pt x="4248" y="241"/>
                </a:lnTo>
                <a:lnTo>
                  <a:pt x="4242" y="235"/>
                </a:lnTo>
                <a:lnTo>
                  <a:pt x="4237" y="229"/>
                </a:lnTo>
                <a:lnTo>
                  <a:pt x="4245" y="215"/>
                </a:lnTo>
                <a:lnTo>
                  <a:pt x="4253" y="203"/>
                </a:lnTo>
                <a:lnTo>
                  <a:pt x="4260" y="190"/>
                </a:lnTo>
                <a:lnTo>
                  <a:pt x="4269" y="175"/>
                </a:lnTo>
                <a:lnTo>
                  <a:pt x="4280" y="169"/>
                </a:lnTo>
                <a:lnTo>
                  <a:pt x="4288" y="162"/>
                </a:lnTo>
                <a:lnTo>
                  <a:pt x="4297" y="154"/>
                </a:lnTo>
                <a:lnTo>
                  <a:pt x="4305" y="146"/>
                </a:lnTo>
                <a:lnTo>
                  <a:pt x="4314" y="138"/>
                </a:lnTo>
                <a:lnTo>
                  <a:pt x="4323" y="131"/>
                </a:lnTo>
                <a:lnTo>
                  <a:pt x="4331" y="124"/>
                </a:lnTo>
                <a:lnTo>
                  <a:pt x="4338" y="117"/>
                </a:lnTo>
                <a:lnTo>
                  <a:pt x="4346" y="107"/>
                </a:lnTo>
                <a:lnTo>
                  <a:pt x="4350" y="100"/>
                </a:lnTo>
                <a:lnTo>
                  <a:pt x="4356" y="91"/>
                </a:lnTo>
                <a:lnTo>
                  <a:pt x="4362" y="83"/>
                </a:lnTo>
                <a:lnTo>
                  <a:pt x="4368" y="74"/>
                </a:lnTo>
                <a:lnTo>
                  <a:pt x="4373" y="65"/>
                </a:lnTo>
                <a:lnTo>
                  <a:pt x="4379" y="55"/>
                </a:lnTo>
                <a:lnTo>
                  <a:pt x="4386" y="47"/>
                </a:lnTo>
                <a:lnTo>
                  <a:pt x="4376" y="48"/>
                </a:lnTo>
                <a:lnTo>
                  <a:pt x="4366" y="50"/>
                </a:lnTo>
                <a:lnTo>
                  <a:pt x="4356" y="52"/>
                </a:lnTo>
                <a:lnTo>
                  <a:pt x="4346" y="52"/>
                </a:lnTo>
                <a:lnTo>
                  <a:pt x="4335" y="55"/>
                </a:lnTo>
                <a:lnTo>
                  <a:pt x="4325" y="56"/>
                </a:lnTo>
                <a:lnTo>
                  <a:pt x="4314" y="59"/>
                </a:lnTo>
                <a:lnTo>
                  <a:pt x="4304" y="60"/>
                </a:lnTo>
                <a:lnTo>
                  <a:pt x="4307" y="44"/>
                </a:lnTo>
                <a:lnTo>
                  <a:pt x="4311" y="29"/>
                </a:lnTo>
                <a:lnTo>
                  <a:pt x="4313" y="15"/>
                </a:lnTo>
                <a:lnTo>
                  <a:pt x="4315" y="0"/>
                </a:lnTo>
                <a:lnTo>
                  <a:pt x="4305" y="6"/>
                </a:lnTo>
                <a:lnTo>
                  <a:pt x="4296" y="12"/>
                </a:lnTo>
                <a:lnTo>
                  <a:pt x="4285" y="18"/>
                </a:lnTo>
                <a:lnTo>
                  <a:pt x="4276" y="25"/>
                </a:lnTo>
                <a:lnTo>
                  <a:pt x="4266" y="32"/>
                </a:lnTo>
                <a:lnTo>
                  <a:pt x="4257" y="41"/>
                </a:lnTo>
                <a:lnTo>
                  <a:pt x="4248" y="48"/>
                </a:lnTo>
                <a:lnTo>
                  <a:pt x="4238" y="55"/>
                </a:lnTo>
                <a:lnTo>
                  <a:pt x="4233" y="63"/>
                </a:lnTo>
                <a:lnTo>
                  <a:pt x="4227" y="74"/>
                </a:lnTo>
                <a:lnTo>
                  <a:pt x="4221" y="83"/>
                </a:lnTo>
                <a:lnTo>
                  <a:pt x="4217" y="93"/>
                </a:lnTo>
                <a:lnTo>
                  <a:pt x="4211" y="103"/>
                </a:lnTo>
                <a:lnTo>
                  <a:pt x="4205" y="114"/>
                </a:lnTo>
                <a:lnTo>
                  <a:pt x="4199" y="124"/>
                </a:lnTo>
                <a:lnTo>
                  <a:pt x="4195" y="135"/>
                </a:lnTo>
                <a:lnTo>
                  <a:pt x="4186" y="135"/>
                </a:lnTo>
                <a:lnTo>
                  <a:pt x="4177" y="135"/>
                </a:lnTo>
                <a:lnTo>
                  <a:pt x="4168" y="135"/>
                </a:lnTo>
                <a:lnTo>
                  <a:pt x="4160" y="135"/>
                </a:lnTo>
                <a:lnTo>
                  <a:pt x="4151" y="135"/>
                </a:lnTo>
                <a:lnTo>
                  <a:pt x="4144" y="135"/>
                </a:lnTo>
                <a:lnTo>
                  <a:pt x="4134" y="135"/>
                </a:lnTo>
                <a:lnTo>
                  <a:pt x="4126" y="134"/>
                </a:lnTo>
                <a:lnTo>
                  <a:pt x="4111" y="144"/>
                </a:lnTo>
                <a:lnTo>
                  <a:pt x="4096" y="156"/>
                </a:lnTo>
                <a:lnTo>
                  <a:pt x="4081" y="167"/>
                </a:lnTo>
                <a:lnTo>
                  <a:pt x="4066" y="177"/>
                </a:lnTo>
                <a:lnTo>
                  <a:pt x="4051" y="189"/>
                </a:lnTo>
                <a:lnTo>
                  <a:pt x="4035" y="200"/>
                </a:lnTo>
                <a:lnTo>
                  <a:pt x="4021" y="210"/>
                </a:lnTo>
                <a:lnTo>
                  <a:pt x="4003" y="221"/>
                </a:lnTo>
                <a:lnTo>
                  <a:pt x="3955" y="254"/>
                </a:lnTo>
                <a:lnTo>
                  <a:pt x="3906" y="284"/>
                </a:lnTo>
                <a:lnTo>
                  <a:pt x="3858" y="312"/>
                </a:lnTo>
                <a:lnTo>
                  <a:pt x="3809" y="337"/>
                </a:lnTo>
                <a:lnTo>
                  <a:pt x="3759" y="362"/>
                </a:lnTo>
                <a:lnTo>
                  <a:pt x="3711" y="387"/>
                </a:lnTo>
                <a:lnTo>
                  <a:pt x="3662" y="412"/>
                </a:lnTo>
                <a:lnTo>
                  <a:pt x="3614" y="435"/>
                </a:lnTo>
                <a:lnTo>
                  <a:pt x="3566" y="463"/>
                </a:lnTo>
                <a:lnTo>
                  <a:pt x="3518" y="493"/>
                </a:lnTo>
                <a:lnTo>
                  <a:pt x="3469" y="525"/>
                </a:lnTo>
                <a:lnTo>
                  <a:pt x="3421" y="558"/>
                </a:lnTo>
                <a:lnTo>
                  <a:pt x="3374" y="600"/>
                </a:lnTo>
                <a:lnTo>
                  <a:pt x="3327" y="644"/>
                </a:lnTo>
                <a:lnTo>
                  <a:pt x="3279" y="693"/>
                </a:lnTo>
                <a:lnTo>
                  <a:pt x="3231" y="749"/>
                </a:lnTo>
                <a:lnTo>
                  <a:pt x="3186" y="777"/>
                </a:lnTo>
                <a:lnTo>
                  <a:pt x="3151" y="800"/>
                </a:lnTo>
                <a:lnTo>
                  <a:pt x="3125" y="816"/>
                </a:lnTo>
                <a:lnTo>
                  <a:pt x="3108" y="826"/>
                </a:lnTo>
                <a:lnTo>
                  <a:pt x="3100" y="829"/>
                </a:lnTo>
                <a:lnTo>
                  <a:pt x="3098" y="828"/>
                </a:lnTo>
                <a:lnTo>
                  <a:pt x="3100" y="822"/>
                </a:lnTo>
                <a:lnTo>
                  <a:pt x="3107" y="813"/>
                </a:lnTo>
                <a:lnTo>
                  <a:pt x="3116" y="804"/>
                </a:lnTo>
                <a:lnTo>
                  <a:pt x="3128" y="792"/>
                </a:lnTo>
                <a:lnTo>
                  <a:pt x="3143" y="779"/>
                </a:lnTo>
                <a:lnTo>
                  <a:pt x="3156" y="767"/>
                </a:lnTo>
                <a:lnTo>
                  <a:pt x="3168" y="756"/>
                </a:lnTo>
                <a:lnTo>
                  <a:pt x="3178" y="744"/>
                </a:lnTo>
                <a:lnTo>
                  <a:pt x="3186" y="737"/>
                </a:lnTo>
                <a:lnTo>
                  <a:pt x="3188" y="733"/>
                </a:lnTo>
                <a:lnTo>
                  <a:pt x="3211" y="722"/>
                </a:lnTo>
                <a:lnTo>
                  <a:pt x="3230" y="712"/>
                </a:lnTo>
                <a:lnTo>
                  <a:pt x="3242" y="702"/>
                </a:lnTo>
                <a:lnTo>
                  <a:pt x="3251" y="696"/>
                </a:lnTo>
                <a:lnTo>
                  <a:pt x="3256" y="693"/>
                </a:lnTo>
                <a:lnTo>
                  <a:pt x="3259" y="689"/>
                </a:lnTo>
                <a:lnTo>
                  <a:pt x="3256" y="687"/>
                </a:lnTo>
                <a:lnTo>
                  <a:pt x="3253" y="686"/>
                </a:lnTo>
                <a:lnTo>
                  <a:pt x="3248" y="686"/>
                </a:lnTo>
                <a:lnTo>
                  <a:pt x="3244" y="686"/>
                </a:lnTo>
                <a:lnTo>
                  <a:pt x="3239" y="685"/>
                </a:lnTo>
                <a:lnTo>
                  <a:pt x="3235" y="683"/>
                </a:lnTo>
                <a:lnTo>
                  <a:pt x="3233" y="681"/>
                </a:lnTo>
                <a:lnTo>
                  <a:pt x="3233" y="678"/>
                </a:lnTo>
                <a:lnTo>
                  <a:pt x="3235" y="671"/>
                </a:lnTo>
                <a:lnTo>
                  <a:pt x="3240" y="665"/>
                </a:lnTo>
                <a:lnTo>
                  <a:pt x="3248" y="656"/>
                </a:lnTo>
                <a:lnTo>
                  <a:pt x="3261" y="644"/>
                </a:lnTo>
                <a:lnTo>
                  <a:pt x="3279" y="630"/>
                </a:lnTo>
                <a:lnTo>
                  <a:pt x="3302" y="613"/>
                </a:lnTo>
                <a:lnTo>
                  <a:pt x="3330" y="593"/>
                </a:lnTo>
                <a:lnTo>
                  <a:pt x="3366" y="570"/>
                </a:lnTo>
                <a:lnTo>
                  <a:pt x="3407" y="542"/>
                </a:lnTo>
                <a:lnTo>
                  <a:pt x="3456" y="511"/>
                </a:lnTo>
                <a:lnTo>
                  <a:pt x="3513" y="473"/>
                </a:lnTo>
                <a:lnTo>
                  <a:pt x="3578" y="433"/>
                </a:lnTo>
                <a:lnTo>
                  <a:pt x="3654" y="389"/>
                </a:lnTo>
                <a:lnTo>
                  <a:pt x="3738" y="337"/>
                </a:lnTo>
                <a:lnTo>
                  <a:pt x="3833" y="282"/>
                </a:lnTo>
                <a:lnTo>
                  <a:pt x="3941" y="219"/>
                </a:lnTo>
                <a:lnTo>
                  <a:pt x="4057" y="152"/>
                </a:lnTo>
                <a:lnTo>
                  <a:pt x="4084" y="134"/>
                </a:lnTo>
                <a:lnTo>
                  <a:pt x="4107" y="117"/>
                </a:lnTo>
                <a:lnTo>
                  <a:pt x="4125" y="100"/>
                </a:lnTo>
                <a:lnTo>
                  <a:pt x="4138" y="85"/>
                </a:lnTo>
                <a:lnTo>
                  <a:pt x="4147" y="71"/>
                </a:lnTo>
                <a:lnTo>
                  <a:pt x="4151" y="61"/>
                </a:lnTo>
                <a:lnTo>
                  <a:pt x="4151" y="54"/>
                </a:lnTo>
                <a:lnTo>
                  <a:pt x="4147" y="52"/>
                </a:lnTo>
                <a:lnTo>
                  <a:pt x="4121" y="56"/>
                </a:lnTo>
                <a:lnTo>
                  <a:pt x="4093" y="69"/>
                </a:lnTo>
                <a:lnTo>
                  <a:pt x="4066" y="89"/>
                </a:lnTo>
                <a:lnTo>
                  <a:pt x="4038" y="107"/>
                </a:lnTo>
                <a:lnTo>
                  <a:pt x="4014" y="127"/>
                </a:lnTo>
                <a:lnTo>
                  <a:pt x="3992" y="140"/>
                </a:lnTo>
                <a:lnTo>
                  <a:pt x="3975" y="144"/>
                </a:lnTo>
                <a:lnTo>
                  <a:pt x="3963" y="134"/>
                </a:lnTo>
                <a:lnTo>
                  <a:pt x="3949" y="156"/>
                </a:lnTo>
                <a:lnTo>
                  <a:pt x="3947" y="164"/>
                </a:lnTo>
                <a:lnTo>
                  <a:pt x="3949" y="162"/>
                </a:lnTo>
                <a:lnTo>
                  <a:pt x="3952" y="153"/>
                </a:lnTo>
                <a:lnTo>
                  <a:pt x="3950" y="144"/>
                </a:lnTo>
                <a:lnTo>
                  <a:pt x="3936" y="144"/>
                </a:lnTo>
                <a:lnTo>
                  <a:pt x="3904" y="154"/>
                </a:lnTo>
                <a:lnTo>
                  <a:pt x="3848" y="179"/>
                </a:lnTo>
                <a:lnTo>
                  <a:pt x="3831" y="190"/>
                </a:lnTo>
                <a:lnTo>
                  <a:pt x="3811" y="200"/>
                </a:lnTo>
                <a:lnTo>
                  <a:pt x="3790" y="211"/>
                </a:lnTo>
                <a:lnTo>
                  <a:pt x="3766" y="226"/>
                </a:lnTo>
                <a:lnTo>
                  <a:pt x="3743" y="240"/>
                </a:lnTo>
                <a:lnTo>
                  <a:pt x="3716" y="254"/>
                </a:lnTo>
                <a:lnTo>
                  <a:pt x="3689" y="271"/>
                </a:lnTo>
                <a:lnTo>
                  <a:pt x="3662" y="288"/>
                </a:lnTo>
                <a:lnTo>
                  <a:pt x="3633" y="306"/>
                </a:lnTo>
                <a:lnTo>
                  <a:pt x="3603" y="323"/>
                </a:lnTo>
                <a:lnTo>
                  <a:pt x="3574" y="343"/>
                </a:lnTo>
                <a:lnTo>
                  <a:pt x="3543" y="362"/>
                </a:lnTo>
                <a:lnTo>
                  <a:pt x="3512" y="381"/>
                </a:lnTo>
                <a:lnTo>
                  <a:pt x="3481" y="401"/>
                </a:lnTo>
                <a:lnTo>
                  <a:pt x="3448" y="422"/>
                </a:lnTo>
                <a:lnTo>
                  <a:pt x="3417" y="442"/>
                </a:lnTo>
                <a:lnTo>
                  <a:pt x="3386" y="463"/>
                </a:lnTo>
                <a:lnTo>
                  <a:pt x="3352" y="483"/>
                </a:lnTo>
                <a:lnTo>
                  <a:pt x="3322" y="504"/>
                </a:lnTo>
                <a:lnTo>
                  <a:pt x="3290" y="525"/>
                </a:lnTo>
                <a:lnTo>
                  <a:pt x="3260" y="544"/>
                </a:lnTo>
                <a:lnTo>
                  <a:pt x="3230" y="566"/>
                </a:lnTo>
                <a:lnTo>
                  <a:pt x="3201" y="583"/>
                </a:lnTo>
                <a:lnTo>
                  <a:pt x="3172" y="604"/>
                </a:lnTo>
                <a:lnTo>
                  <a:pt x="3145" y="621"/>
                </a:lnTo>
                <a:lnTo>
                  <a:pt x="3119" y="639"/>
                </a:lnTo>
                <a:lnTo>
                  <a:pt x="3093" y="656"/>
                </a:lnTo>
                <a:lnTo>
                  <a:pt x="3069" y="671"/>
                </a:lnTo>
                <a:lnTo>
                  <a:pt x="3045" y="689"/>
                </a:lnTo>
                <a:lnTo>
                  <a:pt x="3025" y="702"/>
                </a:lnTo>
                <a:lnTo>
                  <a:pt x="3005" y="716"/>
                </a:lnTo>
                <a:lnTo>
                  <a:pt x="2988" y="727"/>
                </a:lnTo>
                <a:lnTo>
                  <a:pt x="2937" y="762"/>
                </a:lnTo>
                <a:lnTo>
                  <a:pt x="2886" y="797"/>
                </a:lnTo>
                <a:lnTo>
                  <a:pt x="2837" y="830"/>
                </a:lnTo>
                <a:lnTo>
                  <a:pt x="2788" y="862"/>
                </a:lnTo>
                <a:lnTo>
                  <a:pt x="2738" y="894"/>
                </a:lnTo>
                <a:lnTo>
                  <a:pt x="2690" y="925"/>
                </a:lnTo>
                <a:lnTo>
                  <a:pt x="2642" y="956"/>
                </a:lnTo>
                <a:lnTo>
                  <a:pt x="2596" y="987"/>
                </a:lnTo>
                <a:lnTo>
                  <a:pt x="2550" y="1018"/>
                </a:lnTo>
                <a:lnTo>
                  <a:pt x="2505" y="1049"/>
                </a:lnTo>
                <a:lnTo>
                  <a:pt x="2459" y="1078"/>
                </a:lnTo>
                <a:lnTo>
                  <a:pt x="2415" y="1108"/>
                </a:lnTo>
                <a:lnTo>
                  <a:pt x="2371" y="1137"/>
                </a:lnTo>
                <a:lnTo>
                  <a:pt x="2327" y="1168"/>
                </a:lnTo>
                <a:lnTo>
                  <a:pt x="2285" y="1199"/>
                </a:lnTo>
                <a:lnTo>
                  <a:pt x="2243" y="1227"/>
                </a:lnTo>
                <a:lnTo>
                  <a:pt x="2219" y="1249"/>
                </a:lnTo>
                <a:lnTo>
                  <a:pt x="2197" y="1270"/>
                </a:lnTo>
                <a:lnTo>
                  <a:pt x="2175" y="1293"/>
                </a:lnTo>
                <a:lnTo>
                  <a:pt x="2154" y="1316"/>
                </a:lnTo>
                <a:lnTo>
                  <a:pt x="2134" y="1339"/>
                </a:lnTo>
                <a:lnTo>
                  <a:pt x="2114" y="1362"/>
                </a:lnTo>
                <a:lnTo>
                  <a:pt x="2097" y="1385"/>
                </a:lnTo>
                <a:lnTo>
                  <a:pt x="2078" y="1408"/>
                </a:lnTo>
                <a:lnTo>
                  <a:pt x="2058" y="1432"/>
                </a:lnTo>
                <a:lnTo>
                  <a:pt x="2041" y="1455"/>
                </a:lnTo>
                <a:lnTo>
                  <a:pt x="2022" y="1479"/>
                </a:lnTo>
                <a:lnTo>
                  <a:pt x="2003" y="1501"/>
                </a:lnTo>
                <a:lnTo>
                  <a:pt x="1985" y="1524"/>
                </a:lnTo>
                <a:lnTo>
                  <a:pt x="1966" y="1545"/>
                </a:lnTo>
                <a:lnTo>
                  <a:pt x="1946" y="1566"/>
                </a:lnTo>
                <a:lnTo>
                  <a:pt x="1926" y="1587"/>
                </a:lnTo>
                <a:lnTo>
                  <a:pt x="1903" y="1608"/>
                </a:lnTo>
                <a:lnTo>
                  <a:pt x="1879" y="1635"/>
                </a:lnTo>
                <a:lnTo>
                  <a:pt x="1854" y="1666"/>
                </a:lnTo>
                <a:lnTo>
                  <a:pt x="1829" y="1701"/>
                </a:lnTo>
                <a:lnTo>
                  <a:pt x="1803" y="1734"/>
                </a:lnTo>
                <a:lnTo>
                  <a:pt x="1779" y="1765"/>
                </a:lnTo>
                <a:lnTo>
                  <a:pt x="1757" y="1791"/>
                </a:lnTo>
                <a:lnTo>
                  <a:pt x="1737" y="1811"/>
                </a:lnTo>
                <a:lnTo>
                  <a:pt x="1709" y="1831"/>
                </a:lnTo>
                <a:lnTo>
                  <a:pt x="1690" y="1846"/>
                </a:lnTo>
                <a:lnTo>
                  <a:pt x="1677" y="1855"/>
                </a:lnTo>
                <a:lnTo>
                  <a:pt x="1667" y="1862"/>
                </a:lnTo>
                <a:lnTo>
                  <a:pt x="1657" y="1868"/>
                </a:lnTo>
                <a:lnTo>
                  <a:pt x="1645" y="1879"/>
                </a:lnTo>
                <a:lnTo>
                  <a:pt x="1631" y="1892"/>
                </a:lnTo>
                <a:lnTo>
                  <a:pt x="1609" y="1914"/>
                </a:lnTo>
                <a:lnTo>
                  <a:pt x="1587" y="1947"/>
                </a:lnTo>
                <a:lnTo>
                  <a:pt x="1568" y="1981"/>
                </a:lnTo>
                <a:lnTo>
                  <a:pt x="1550" y="2018"/>
                </a:lnTo>
                <a:lnTo>
                  <a:pt x="1534" y="2057"/>
                </a:lnTo>
                <a:lnTo>
                  <a:pt x="1518" y="2093"/>
                </a:lnTo>
                <a:lnTo>
                  <a:pt x="1501" y="2130"/>
                </a:lnTo>
                <a:lnTo>
                  <a:pt x="1486" y="2166"/>
                </a:lnTo>
                <a:lnTo>
                  <a:pt x="1469" y="2199"/>
                </a:lnTo>
                <a:lnTo>
                  <a:pt x="1454" y="2170"/>
                </a:lnTo>
                <a:lnTo>
                  <a:pt x="1435" y="2142"/>
                </a:lnTo>
                <a:lnTo>
                  <a:pt x="1416" y="2112"/>
                </a:lnTo>
                <a:lnTo>
                  <a:pt x="1395" y="2082"/>
                </a:lnTo>
                <a:lnTo>
                  <a:pt x="1372" y="2054"/>
                </a:lnTo>
                <a:lnTo>
                  <a:pt x="1350" y="2025"/>
                </a:lnTo>
                <a:lnTo>
                  <a:pt x="1327" y="1996"/>
                </a:lnTo>
                <a:lnTo>
                  <a:pt x="1304" y="1967"/>
                </a:lnTo>
                <a:lnTo>
                  <a:pt x="1281" y="1937"/>
                </a:lnTo>
                <a:lnTo>
                  <a:pt x="1259" y="1907"/>
                </a:lnTo>
                <a:lnTo>
                  <a:pt x="1239" y="1880"/>
                </a:lnTo>
                <a:lnTo>
                  <a:pt x="1220" y="1850"/>
                </a:lnTo>
                <a:lnTo>
                  <a:pt x="1202" y="1821"/>
                </a:lnTo>
                <a:lnTo>
                  <a:pt x="1187" y="1792"/>
                </a:lnTo>
                <a:lnTo>
                  <a:pt x="1173" y="1763"/>
                </a:lnTo>
                <a:lnTo>
                  <a:pt x="1164" y="1735"/>
                </a:lnTo>
                <a:lnTo>
                  <a:pt x="1148" y="1695"/>
                </a:lnTo>
                <a:lnTo>
                  <a:pt x="1131" y="1653"/>
                </a:lnTo>
                <a:lnTo>
                  <a:pt x="1112" y="1608"/>
                </a:lnTo>
                <a:lnTo>
                  <a:pt x="1093" y="1564"/>
                </a:lnTo>
                <a:lnTo>
                  <a:pt x="1075" y="1519"/>
                </a:lnTo>
                <a:lnTo>
                  <a:pt x="1057" y="1475"/>
                </a:lnTo>
                <a:lnTo>
                  <a:pt x="1040" y="1432"/>
                </a:lnTo>
                <a:lnTo>
                  <a:pt x="1026" y="1391"/>
                </a:lnTo>
                <a:lnTo>
                  <a:pt x="1002" y="1400"/>
                </a:lnTo>
                <a:lnTo>
                  <a:pt x="980" y="1410"/>
                </a:lnTo>
                <a:lnTo>
                  <a:pt x="957" y="1418"/>
                </a:lnTo>
                <a:lnTo>
                  <a:pt x="935" y="1428"/>
                </a:lnTo>
                <a:lnTo>
                  <a:pt x="912" y="1436"/>
                </a:lnTo>
                <a:lnTo>
                  <a:pt x="890" y="1443"/>
                </a:lnTo>
                <a:lnTo>
                  <a:pt x="867" y="1451"/>
                </a:lnTo>
                <a:lnTo>
                  <a:pt x="844" y="1460"/>
                </a:lnTo>
                <a:lnTo>
                  <a:pt x="828" y="1469"/>
                </a:lnTo>
                <a:lnTo>
                  <a:pt x="809" y="1476"/>
                </a:lnTo>
                <a:lnTo>
                  <a:pt x="791" y="1485"/>
                </a:lnTo>
                <a:lnTo>
                  <a:pt x="773" y="1493"/>
                </a:lnTo>
                <a:lnTo>
                  <a:pt x="755" y="1501"/>
                </a:lnTo>
                <a:lnTo>
                  <a:pt x="739" y="1510"/>
                </a:lnTo>
                <a:lnTo>
                  <a:pt x="721" y="1517"/>
                </a:lnTo>
                <a:lnTo>
                  <a:pt x="703" y="1525"/>
                </a:lnTo>
                <a:lnTo>
                  <a:pt x="685" y="1533"/>
                </a:lnTo>
                <a:lnTo>
                  <a:pt x="667" y="1542"/>
                </a:lnTo>
                <a:lnTo>
                  <a:pt x="651" y="1549"/>
                </a:lnTo>
                <a:lnTo>
                  <a:pt x="634" y="1558"/>
                </a:lnTo>
                <a:lnTo>
                  <a:pt x="616" y="1564"/>
                </a:lnTo>
                <a:lnTo>
                  <a:pt x="600" y="1573"/>
                </a:lnTo>
                <a:lnTo>
                  <a:pt x="582" y="1581"/>
                </a:lnTo>
                <a:lnTo>
                  <a:pt x="566" y="1589"/>
                </a:lnTo>
                <a:lnTo>
                  <a:pt x="563" y="1589"/>
                </a:lnTo>
                <a:lnTo>
                  <a:pt x="554" y="1589"/>
                </a:lnTo>
                <a:lnTo>
                  <a:pt x="540" y="1591"/>
                </a:lnTo>
                <a:lnTo>
                  <a:pt x="523" y="1595"/>
                </a:lnTo>
                <a:lnTo>
                  <a:pt x="503" y="1599"/>
                </a:lnTo>
                <a:lnTo>
                  <a:pt x="480" y="1605"/>
                </a:lnTo>
                <a:lnTo>
                  <a:pt x="456" y="1613"/>
                </a:lnTo>
                <a:lnTo>
                  <a:pt x="431" y="1620"/>
                </a:lnTo>
                <a:lnTo>
                  <a:pt x="406" y="1626"/>
                </a:lnTo>
                <a:lnTo>
                  <a:pt x="381" y="1633"/>
                </a:lnTo>
                <a:lnTo>
                  <a:pt x="359" y="1640"/>
                </a:lnTo>
                <a:lnTo>
                  <a:pt x="341" y="1644"/>
                </a:lnTo>
                <a:lnTo>
                  <a:pt x="323" y="1648"/>
                </a:lnTo>
                <a:lnTo>
                  <a:pt x="311" y="1653"/>
                </a:lnTo>
                <a:lnTo>
                  <a:pt x="304" y="1653"/>
                </a:lnTo>
                <a:lnTo>
                  <a:pt x="301" y="1651"/>
                </a:lnTo>
                <a:lnTo>
                  <a:pt x="281" y="1662"/>
                </a:lnTo>
                <a:lnTo>
                  <a:pt x="262" y="1672"/>
                </a:lnTo>
                <a:lnTo>
                  <a:pt x="242" y="1683"/>
                </a:lnTo>
                <a:lnTo>
                  <a:pt x="224" y="1695"/>
                </a:lnTo>
                <a:lnTo>
                  <a:pt x="203" y="1705"/>
                </a:lnTo>
                <a:lnTo>
                  <a:pt x="185" y="1715"/>
                </a:lnTo>
                <a:lnTo>
                  <a:pt x="165" y="1726"/>
                </a:lnTo>
                <a:lnTo>
                  <a:pt x="146" y="1737"/>
                </a:lnTo>
                <a:lnTo>
                  <a:pt x="127" y="1748"/>
                </a:lnTo>
                <a:lnTo>
                  <a:pt x="108" y="1759"/>
                </a:lnTo>
                <a:lnTo>
                  <a:pt x="89" y="1770"/>
                </a:lnTo>
                <a:lnTo>
                  <a:pt x="72" y="1781"/>
                </a:lnTo>
                <a:lnTo>
                  <a:pt x="54" y="1791"/>
                </a:lnTo>
                <a:lnTo>
                  <a:pt x="36" y="1803"/>
                </a:lnTo>
                <a:lnTo>
                  <a:pt x="18" y="1813"/>
                </a:lnTo>
                <a:lnTo>
                  <a:pt x="0" y="1824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96" name="그룹 95"/>
          <p:cNvGrpSpPr/>
          <p:nvPr/>
        </p:nvGrpSpPr>
        <p:grpSpPr>
          <a:xfrm>
            <a:off x="312127" y="2619983"/>
            <a:ext cx="2186071" cy="2967086"/>
            <a:chOff x="398385" y="1686050"/>
            <a:chExt cx="2727330" cy="3807596"/>
          </a:xfrm>
        </p:grpSpPr>
        <p:sp>
          <p:nvSpPr>
            <p:cNvPr id="97" name="Text Box 3"/>
            <p:cNvSpPr txBox="1">
              <a:spLocks noChangeArrowheads="1"/>
            </p:cNvSpPr>
            <p:nvPr/>
          </p:nvSpPr>
          <p:spPr bwMode="gray">
            <a:xfrm>
              <a:off x="541626" y="1721393"/>
              <a:ext cx="2447937" cy="6714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>
              <a:spAutoFit/>
            </a:bodyPr>
            <a:lstStyle/>
            <a:p>
              <a:pPr algn="ctr" latinLnBrk="0"/>
              <a:r>
                <a:rPr lang="en-US" altLang="ko-KR" sz="1400" i="1" u="sng" dirty="0">
                  <a:solidFill>
                    <a:srgbClr val="000000"/>
                  </a:solidFill>
                  <a:latin typeface="맑은 고딕"/>
                  <a:ea typeface="맑은 고딕"/>
                </a:rPr>
                <a:t>Phase 1. </a:t>
              </a:r>
              <a:r>
                <a:rPr lang="ko-KR" altLang="en-US" sz="14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시스템</a:t>
              </a:r>
              <a:r>
                <a:rPr lang="en-US" altLang="ko-KR" sz="14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4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4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aster Planning</a:t>
              </a:r>
              <a:endParaRPr lang="ko-KR" altLang="en-US" sz="1400" i="1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AutoShape 6"/>
            <p:cNvSpPr>
              <a:spLocks noChangeArrowheads="1"/>
            </p:cNvSpPr>
            <p:nvPr/>
          </p:nvSpPr>
          <p:spPr bwMode="gray">
            <a:xfrm>
              <a:off x="398385" y="1714488"/>
              <a:ext cx="2727330" cy="3779158"/>
            </a:xfrm>
            <a:prstGeom prst="rect">
              <a:avLst/>
            </a:prstGeom>
            <a:noFill/>
            <a:ln w="12700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000" rIns="540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endParaRPr lang="ko-KR" altLang="en-US" sz="120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1" name="Rectangle 9"/>
            <p:cNvSpPr>
              <a:spLocks noChangeArrowheads="1"/>
            </p:cNvSpPr>
            <p:nvPr/>
          </p:nvSpPr>
          <p:spPr bwMode="gray">
            <a:xfrm>
              <a:off x="502050" y="3030861"/>
              <a:ext cx="2520000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및 </a:t>
              </a: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 과제</a:t>
              </a:r>
            </a:p>
          </p:txBody>
        </p:sp>
        <p:sp>
          <p:nvSpPr>
            <p:cNvPr id="102" name="Rectangle 10"/>
            <p:cNvSpPr>
              <a:spLocks noChangeArrowheads="1"/>
            </p:cNvSpPr>
            <p:nvPr/>
          </p:nvSpPr>
          <p:spPr bwMode="gray">
            <a:xfrm>
              <a:off x="502050" y="3666335"/>
              <a:ext cx="2520000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ko-KR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수립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3" name="Rectangle 43"/>
            <p:cNvSpPr>
              <a:spLocks noChangeArrowheads="1"/>
            </p:cNvSpPr>
            <p:nvPr/>
          </p:nvSpPr>
          <p:spPr bwMode="gray">
            <a:xfrm>
              <a:off x="502050" y="2395387"/>
              <a:ext cx="2520000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략적 방향 결정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4" name="AutoShape 44"/>
            <p:cNvCxnSpPr>
              <a:cxnSpLocks noChangeShapeType="1"/>
              <a:stCxn id="103" idx="2"/>
              <a:endCxn id="101" idx="0"/>
            </p:cNvCxnSpPr>
            <p:nvPr/>
          </p:nvCxnSpPr>
          <p:spPr bwMode="gray">
            <a:xfrm rot="5400000">
              <a:off x="1660313" y="2929124"/>
              <a:ext cx="20347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AutoShape 44"/>
            <p:cNvCxnSpPr>
              <a:cxnSpLocks noChangeShapeType="1"/>
              <a:stCxn id="101" idx="2"/>
              <a:endCxn id="102" idx="0"/>
            </p:cNvCxnSpPr>
            <p:nvPr/>
          </p:nvCxnSpPr>
          <p:spPr bwMode="gray">
            <a:xfrm rot="5400000">
              <a:off x="1660313" y="3564598"/>
              <a:ext cx="20347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" name="Rectangle 10"/>
            <p:cNvSpPr>
              <a:spLocks noChangeArrowheads="1"/>
            </p:cNvSpPr>
            <p:nvPr/>
          </p:nvSpPr>
          <p:spPr bwMode="gray">
            <a:xfrm>
              <a:off x="502050" y="4301809"/>
              <a:ext cx="2520000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시스템 구축 방안 수립 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Rectangle 10"/>
            <p:cNvSpPr>
              <a:spLocks noChangeArrowheads="1"/>
            </p:cNvSpPr>
            <p:nvPr/>
          </p:nvSpPr>
          <p:spPr bwMode="gray">
            <a:xfrm>
              <a:off x="502050" y="4937282"/>
              <a:ext cx="2520000" cy="43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defTabSz="785813" eaLnBrk="0" latinLnBrk="0" hangingPunct="0">
                <a:lnSpc>
                  <a:spcPct val="95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ko-KR" altLang="en-US" sz="105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시스템 </a:t>
              </a:r>
              <a:r>
                <a:rPr lang="ko-KR" altLang="en-US" sz="105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구축 방침 확정</a:t>
              </a:r>
              <a:endParaRPr lang="en-US" altLang="ko-KR" sz="10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0" name="AutoShape 44"/>
            <p:cNvCxnSpPr>
              <a:cxnSpLocks noChangeShapeType="1"/>
              <a:stCxn id="102" idx="2"/>
              <a:endCxn id="108" idx="0"/>
            </p:cNvCxnSpPr>
            <p:nvPr/>
          </p:nvCxnSpPr>
          <p:spPr bwMode="gray">
            <a:xfrm rot="5400000">
              <a:off x="1660313" y="4200072"/>
              <a:ext cx="203474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AutoShape 44"/>
            <p:cNvCxnSpPr>
              <a:cxnSpLocks noChangeShapeType="1"/>
              <a:stCxn id="108" idx="2"/>
              <a:endCxn id="109" idx="0"/>
            </p:cNvCxnSpPr>
            <p:nvPr/>
          </p:nvCxnSpPr>
          <p:spPr bwMode="gray">
            <a:xfrm rot="5400000">
              <a:off x="1660314" y="4835545"/>
              <a:ext cx="203473" cy="1588"/>
            </a:xfrm>
            <a:prstGeom prst="straightConnector1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2" name="Freeform 6"/>
            <p:cNvSpPr>
              <a:spLocks/>
            </p:cNvSpPr>
            <p:nvPr/>
          </p:nvSpPr>
          <p:spPr bwMode="auto">
            <a:xfrm>
              <a:off x="640577" y="1736023"/>
              <a:ext cx="17697" cy="18594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Freeform 7"/>
            <p:cNvSpPr>
              <a:spLocks/>
            </p:cNvSpPr>
            <p:nvPr/>
          </p:nvSpPr>
          <p:spPr bwMode="auto">
            <a:xfrm>
              <a:off x="708049" y="1699996"/>
              <a:ext cx="9955" cy="11621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Freeform 8"/>
            <p:cNvSpPr>
              <a:spLocks/>
            </p:cNvSpPr>
            <p:nvPr/>
          </p:nvSpPr>
          <p:spPr bwMode="auto">
            <a:xfrm>
              <a:off x="659381" y="1696510"/>
              <a:ext cx="19910" cy="1975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Freeform 9"/>
            <p:cNvSpPr>
              <a:spLocks/>
            </p:cNvSpPr>
            <p:nvPr/>
          </p:nvSpPr>
          <p:spPr bwMode="auto">
            <a:xfrm>
              <a:off x="638365" y="1686050"/>
              <a:ext cx="35395" cy="32540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6" name="TextBox 115"/>
          <p:cNvSpPr txBox="1"/>
          <p:nvPr/>
        </p:nvSpPr>
        <p:spPr bwMode="auto">
          <a:xfrm>
            <a:off x="294710" y="5699227"/>
            <a:ext cx="2786082" cy="68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세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PI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를 위한 개선 과제 도출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차세대시스템 구축 전반을 망라하는 실행 계획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(Master Plan)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수립</a:t>
            </a:r>
          </a:p>
        </p:txBody>
      </p:sp>
      <p:sp>
        <p:nvSpPr>
          <p:cNvPr id="120" name="TextBox 119"/>
          <p:cNvSpPr txBox="1"/>
          <p:nvPr/>
        </p:nvSpPr>
        <p:spPr bwMode="auto">
          <a:xfrm>
            <a:off x="7953396" y="1412776"/>
            <a:ext cx="1785950" cy="16054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MP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단계의 개선 과제를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 및 실제 업무에 적용할 수 있도록 상세화함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기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설계를 통해서 도출된 전산 개발 요건을 확정한 후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아키텍처를 현행화함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978514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수행</a:t>
            </a:r>
            <a:r>
              <a:rPr lang="en-US" altLang="ko-KR" dirty="0"/>
              <a:t> </a:t>
            </a:r>
            <a:r>
              <a:rPr lang="ko-KR" altLang="en-US" dirty="0"/>
              <a:t>방안 개요 </a:t>
            </a:r>
            <a:r>
              <a:rPr lang="en-US" altLang="ko-KR" dirty="0"/>
              <a:t>(2/5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글로벌 방법론</a:t>
            </a:r>
            <a:r>
              <a:rPr lang="en-US" altLang="ko-KR" dirty="0" smtClean="0"/>
              <a:t>,</a:t>
            </a:r>
            <a:r>
              <a:rPr lang="ko-KR" altLang="en-US" dirty="0" smtClean="0"/>
              <a:t> 타 카드사 차세대 프로젝트 경험</a:t>
            </a:r>
            <a:r>
              <a:rPr lang="en-US" altLang="ko-KR" dirty="0" smtClean="0"/>
              <a:t>, NH</a:t>
            </a:r>
            <a:r>
              <a:rPr lang="ko-KR" altLang="en-US" dirty="0" smtClean="0"/>
              <a:t>농협카드의 현황을 고려하여 본 프로젝트 방법론을 정의하였음</a:t>
            </a:r>
            <a:endParaRPr lang="ko-KR" altLang="en-US" dirty="0"/>
          </a:p>
        </p:txBody>
      </p:sp>
      <p:sp>
        <p:nvSpPr>
          <p:cNvPr id="12" name="사각형 설명선 11"/>
          <p:cNvSpPr/>
          <p:nvPr/>
        </p:nvSpPr>
        <p:spPr bwMode="auto">
          <a:xfrm>
            <a:off x="524035" y="2220686"/>
            <a:ext cx="2556705" cy="825790"/>
          </a:xfrm>
          <a:prstGeom prst="wedgeRectCallout">
            <a:avLst>
              <a:gd name="adj1" fmla="val -57785"/>
              <a:gd name="adj2" fmla="val 14190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짧은 시간 내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현황 및 </a:t>
            </a:r>
            <a:r>
              <a:rPr kumimoji="1"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세 개선 </a:t>
            </a: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건을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완료할 수 있는 방법은 무엇인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사각형 설명선 12"/>
          <p:cNvSpPr/>
          <p:nvPr/>
        </p:nvSpPr>
        <p:spPr bwMode="auto">
          <a:xfrm>
            <a:off x="524035" y="3248190"/>
            <a:ext cx="2556705" cy="825790"/>
          </a:xfrm>
          <a:prstGeom prst="wedgeRectCallout">
            <a:avLst>
              <a:gd name="adj1" fmla="val -58266"/>
              <a:gd name="adj2" fmla="val 21292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한된 인력을 효율적으로 운영하면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nsight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를 도출할 수 있는 방법은 무엇인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사각형 설명선 13"/>
          <p:cNvSpPr/>
          <p:nvPr/>
        </p:nvSpPr>
        <p:spPr bwMode="auto">
          <a:xfrm>
            <a:off x="524035" y="4275694"/>
            <a:ext cx="2556705" cy="825790"/>
          </a:xfrm>
          <a:prstGeom prst="wedgeRectCallout">
            <a:avLst>
              <a:gd name="adj1" fmla="val -59225"/>
              <a:gd name="adj2" fmla="val 583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I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립 후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가적으로 이어지는 과제별 요건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으로 연계성을 극대화 하는 방법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사각형 설명선 14"/>
          <p:cNvSpPr/>
          <p:nvPr/>
        </p:nvSpPr>
        <p:spPr bwMode="auto">
          <a:xfrm>
            <a:off x="524035" y="5303197"/>
            <a:ext cx="2556705" cy="825790"/>
          </a:xfrm>
          <a:prstGeom prst="wedgeRectCallout">
            <a:avLst>
              <a:gd name="adj1" fmla="val -58265"/>
              <a:gd name="adj2" fmla="val -822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즈니스 관점의 고민과 어려움을 빠짐 없이 도출 할 수 있을까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?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416370" y="1556740"/>
            <a:ext cx="2664370" cy="5035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>PI </a:t>
            </a:r>
            <a:r>
              <a:rPr lang="ko-KR" altLang="en-US" sz="1400" i="1" dirty="0">
                <a:solidFill>
                  <a:srgbClr val="000000"/>
                </a:solidFill>
                <a:latin typeface="맑은 고딕"/>
                <a:ea typeface="맑은 고딕"/>
              </a:rPr>
              <a:t>프로젝트의 성공을 위한 고려사항은</a:t>
            </a:r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>…</a:t>
            </a:r>
            <a:endParaRPr lang="ko-KR" altLang="en-US" sz="14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50" name="오각형 49"/>
          <p:cNvSpPr/>
          <p:nvPr/>
        </p:nvSpPr>
        <p:spPr bwMode="auto">
          <a:xfrm>
            <a:off x="3656820" y="3528114"/>
            <a:ext cx="3168440" cy="1313881"/>
          </a:xfrm>
          <a:prstGeom prst="homePlate">
            <a:avLst>
              <a:gd name="adj" fmla="val 15737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NH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농협카드에 대한 이해</a:t>
            </a:r>
          </a:p>
        </p:txBody>
      </p:sp>
      <p:sp>
        <p:nvSpPr>
          <p:cNvPr id="51" name="오각형 50"/>
          <p:cNvSpPr/>
          <p:nvPr/>
        </p:nvSpPr>
        <p:spPr bwMode="auto">
          <a:xfrm>
            <a:off x="3656820" y="4923407"/>
            <a:ext cx="3168440" cy="1313881"/>
          </a:xfrm>
          <a:prstGeom prst="homePlate">
            <a:avLst>
              <a:gd name="adj" fmla="val 14354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산화된 카드 참조 모델 활용</a:t>
            </a:r>
            <a:endParaRPr kumimoji="1"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오각형 51"/>
          <p:cNvSpPr/>
          <p:nvPr/>
        </p:nvSpPr>
        <p:spPr bwMode="auto">
          <a:xfrm>
            <a:off x="3656820" y="2132820"/>
            <a:ext cx="3168440" cy="1313881"/>
          </a:xfrm>
          <a:prstGeom prst="homePlate">
            <a:avLst>
              <a:gd name="adj" fmla="val 16791"/>
            </a:avLst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t"/>
          <a:lstStyle/>
          <a:p>
            <a:pPr algn="ctr"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표준화된 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PI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방법론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Toolkit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auto">
          <a:xfrm>
            <a:off x="3753750" y="2606523"/>
            <a:ext cx="2836037" cy="822378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82563" indent="-182563" latinLnBrk="0">
              <a:buFont typeface="Wingdings" panose="05000000000000000000" pitchFamily="2" charset="2"/>
              <a:buChar char="§"/>
            </a:pPr>
            <a:r>
              <a:rPr kumimoji="1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lobal KPMG </a:t>
            </a: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유의 표준화 방법론들을 기반으로 최적화</a:t>
            </a:r>
            <a:endParaRPr kumimoji="1" lang="en-US" altLang="ko-KR" sz="1300" b="0" kern="0" baseline="30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Rectangle 5"/>
          <p:cNvSpPr>
            <a:spLocks noChangeArrowheads="1"/>
          </p:cNvSpPr>
          <p:nvPr/>
        </p:nvSpPr>
        <p:spPr bwMode="auto">
          <a:xfrm>
            <a:off x="3753750" y="3939227"/>
            <a:ext cx="2836037" cy="806944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82563" indent="-182563" latinLnBrk="0">
              <a:buFont typeface="Wingdings" panose="05000000000000000000" pitchFamily="2" charset="2"/>
              <a:buChar char="§"/>
            </a:pP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 문화에 대한 이해 </a:t>
            </a:r>
          </a:p>
          <a:p>
            <a:pPr marL="182563" indent="-182563" latinLnBrk="0">
              <a:buFont typeface="Wingdings" panose="05000000000000000000" pitchFamily="2" charset="2"/>
              <a:buChar char="§"/>
            </a:pP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산업에 대한 충분한 경험</a:t>
            </a:r>
          </a:p>
          <a:p>
            <a:pPr marL="182563" indent="-182563" latinLnBrk="0">
              <a:buFont typeface="Wingdings" panose="05000000000000000000" pitchFamily="2" charset="2"/>
              <a:buChar char="§"/>
            </a:pPr>
            <a:r>
              <a:rPr kumimoji="1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조직 구성에 대한 특성 이해</a:t>
            </a:r>
          </a:p>
        </p:txBody>
      </p:sp>
      <p:sp>
        <p:nvSpPr>
          <p:cNvPr id="56" name="Rectangle 5"/>
          <p:cNvSpPr>
            <a:spLocks noChangeArrowheads="1"/>
          </p:cNvSpPr>
          <p:nvPr/>
        </p:nvSpPr>
        <p:spPr bwMode="auto">
          <a:xfrm>
            <a:off x="3753750" y="5444835"/>
            <a:ext cx="2836037" cy="698209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82563" indent="-182563" latinLnBrk="0">
              <a:buFont typeface="Wingdings" panose="05000000000000000000" pitchFamily="2" charset="2"/>
              <a:buChar char="§"/>
              <a:defRPr/>
            </a:pP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신 카드사 </a:t>
            </a:r>
            <a:r>
              <a:rPr kumimoji="1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</a:t>
            </a: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도출된 다양한 과제를 </a:t>
            </a:r>
            <a:r>
              <a:rPr kumimoji="1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se</a:t>
            </a:r>
            <a:r>
              <a:rPr kumimoji="1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로 정리</a:t>
            </a:r>
          </a:p>
        </p:txBody>
      </p:sp>
      <p:sp>
        <p:nvSpPr>
          <p:cNvPr id="18" name="TextBox 17"/>
          <p:cNvSpPr txBox="1"/>
          <p:nvPr/>
        </p:nvSpPr>
        <p:spPr bwMode="auto">
          <a:xfrm>
            <a:off x="3639186" y="1556740"/>
            <a:ext cx="3203708" cy="5035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>NH</a:t>
            </a:r>
            <a:r>
              <a:rPr lang="ko-KR" altLang="en-US" sz="1400" i="1" dirty="0">
                <a:solidFill>
                  <a:srgbClr val="000000"/>
                </a:solidFill>
                <a:latin typeface="맑은 고딕"/>
                <a:ea typeface="맑은 고딕"/>
              </a:rPr>
              <a:t>농협카드 프로젝트에 </a:t>
            </a:r>
            <a: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400" i="1" dirty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400" i="1" dirty="0">
                <a:solidFill>
                  <a:srgbClr val="000000"/>
                </a:solidFill>
                <a:latin typeface="맑은 고딕"/>
                <a:ea typeface="맑은 고딕"/>
              </a:rPr>
              <a:t>최적화된 방법론 </a:t>
            </a:r>
            <a:r>
              <a:rPr lang="ko-KR" altLang="en-US" sz="1400" i="1" dirty="0" smtClean="0">
                <a:solidFill>
                  <a:srgbClr val="000000"/>
                </a:solidFill>
                <a:latin typeface="맑은 고딕"/>
                <a:ea typeface="맑은 고딕"/>
              </a:rPr>
              <a:t>마련</a:t>
            </a:r>
            <a:endParaRPr lang="ko-KR" altLang="en-US" sz="1400" i="1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8" name="직선 연결선 7"/>
          <p:cNvCxnSpPr/>
          <p:nvPr/>
        </p:nvCxnSpPr>
        <p:spPr bwMode="auto">
          <a:xfrm>
            <a:off x="6600850" y="2118966"/>
            <a:ext cx="936130" cy="79211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24" name="직선 연결선 23"/>
          <p:cNvCxnSpPr/>
          <p:nvPr/>
        </p:nvCxnSpPr>
        <p:spPr bwMode="auto">
          <a:xfrm flipV="1">
            <a:off x="6600850" y="5445280"/>
            <a:ext cx="936130" cy="79211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35" name="Oval 15"/>
          <p:cNvSpPr/>
          <p:nvPr/>
        </p:nvSpPr>
        <p:spPr>
          <a:xfrm>
            <a:off x="7473350" y="3304477"/>
            <a:ext cx="2129044" cy="597844"/>
          </a:xfrm>
          <a:prstGeom prst="ellipse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noAutofit/>
          </a:bodyPr>
          <a:lstStyle/>
          <a:p>
            <a:pPr algn="ctr"/>
            <a:r>
              <a:rPr lang="en-US" altLang="ko-KR" sz="1400" i="1" dirty="0">
                <a:solidFill>
                  <a:srgbClr val="1D1F6F"/>
                </a:solidFill>
                <a:latin typeface="맑은 고딕" pitchFamily="50" charset="-127"/>
                <a:ea typeface="맑은 고딕" pitchFamily="50" charset="-127"/>
              </a:rPr>
              <a:t>NH</a:t>
            </a:r>
            <a:r>
              <a:rPr lang="ko-KR" altLang="en-US" sz="1400" i="1" dirty="0">
                <a:solidFill>
                  <a:srgbClr val="1D1F6F"/>
                </a:solidFill>
                <a:latin typeface="맑은 고딕" pitchFamily="50" charset="-127"/>
                <a:ea typeface="맑은 고딕" pitchFamily="50" charset="-127"/>
              </a:rPr>
              <a:t>농협카드에 최적화된</a:t>
            </a:r>
            <a:endParaRPr lang="en-US" altLang="ko-KR" sz="1400" i="1" dirty="0">
              <a:solidFill>
                <a:srgbClr val="1D1F6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400" i="1" dirty="0">
                <a:solidFill>
                  <a:srgbClr val="1D1F6F"/>
                </a:solidFill>
                <a:latin typeface="맑은 고딕" pitchFamily="50" charset="-127"/>
                <a:ea typeface="맑은 고딕" pitchFamily="50" charset="-127"/>
              </a:rPr>
              <a:t>방법론</a:t>
            </a:r>
            <a:r>
              <a:rPr lang="en-US" altLang="ko-KR" sz="1400" i="1" dirty="0">
                <a:solidFill>
                  <a:srgbClr val="1D1F6F"/>
                </a:solidFill>
                <a:latin typeface="맑은 고딕" pitchFamily="50" charset="-127"/>
                <a:ea typeface="맑은 고딕" pitchFamily="50" charset="-127"/>
              </a:rPr>
              <a:t>/Toolkit</a:t>
            </a:r>
          </a:p>
        </p:txBody>
      </p:sp>
      <p:pic>
        <p:nvPicPr>
          <p:cNvPr id="20" name="Picture 2" descr="C:\Users\hkim14\Desktop\cyber_symbol.gif"/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737" y="3955304"/>
            <a:ext cx="850271" cy="1059873"/>
          </a:xfrm>
          <a:prstGeom prst="rect">
            <a:avLst/>
          </a:prstGeom>
          <a:noFill/>
        </p:spPr>
      </p:pic>
      <p:cxnSp>
        <p:nvCxnSpPr>
          <p:cNvPr id="10" name="직선 연결선 9"/>
          <p:cNvCxnSpPr/>
          <p:nvPr/>
        </p:nvCxnSpPr>
        <p:spPr bwMode="auto">
          <a:xfrm>
            <a:off x="7545360" y="3152077"/>
            <a:ext cx="201628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7" name="직선 연결선 26"/>
          <p:cNvCxnSpPr/>
          <p:nvPr/>
        </p:nvCxnSpPr>
        <p:spPr bwMode="auto">
          <a:xfrm>
            <a:off x="7545360" y="5230259"/>
            <a:ext cx="201628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19" name="이등변 삼각형 18"/>
          <p:cNvSpPr/>
          <p:nvPr/>
        </p:nvSpPr>
        <p:spPr bwMode="auto">
          <a:xfrm rot="5400000">
            <a:off x="1920602" y="3918223"/>
            <a:ext cx="2858280" cy="31773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94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수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방안 개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글로벌 방법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Toolk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기반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I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usines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방향성 이해를 토대로 프로세스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을 분석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관점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요건 </a:t>
            </a:r>
            <a:r>
              <a:rPr lang="ko-KR" altLang="en-US" dirty="0" smtClean="0"/>
              <a:t>정의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한 가이드를 제공함</a:t>
            </a:r>
          </a:p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283416" y="2141253"/>
            <a:ext cx="3238500" cy="1802950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3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283416" y="1717389"/>
            <a:ext cx="3238500" cy="4064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3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IT Strategy Services</a:t>
            </a:r>
          </a:p>
        </p:txBody>
      </p:sp>
      <p:sp>
        <p:nvSpPr>
          <p:cNvPr id="6" name="직사각형 24"/>
          <p:cNvSpPr>
            <a:spLocks noChangeArrowheads="1"/>
          </p:cNvSpPr>
          <p:nvPr/>
        </p:nvSpPr>
        <p:spPr bwMode="auto">
          <a:xfrm>
            <a:off x="1227978" y="2173253"/>
            <a:ext cx="229393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>
            <a:spAutoFit/>
          </a:bodyPr>
          <a:lstStyle>
            <a:lvl1pPr marL="93663" indent="-93663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174625" indent="-174625" eaLnBrk="1" latinLnBrk="0" hangingPunct="1">
              <a:buFont typeface="Wingdings" panose="05000000000000000000" pitchFamily="2" charset="2"/>
              <a:buChar char="§"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 분석 및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 달성을 위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과 필요자원 도출 방법론</a:t>
            </a:r>
          </a:p>
          <a:p>
            <a:pPr marL="174625" indent="-174625" eaLnBrk="1" latinLnBrk="0" hangingPunct="1">
              <a:buFont typeface="Wingdings" panose="05000000000000000000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의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을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전략에 연계시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지원의 성과를 극대화</a:t>
            </a:r>
          </a:p>
          <a:p>
            <a:pPr marL="174625" indent="-174625" eaLnBrk="1" latinLnBrk="0" hangingPunct="1">
              <a:buFont typeface="Wingdings" panose="05000000000000000000" pitchFamily="2" charset="2"/>
              <a:buChar char="§"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의 순환적 전략 연계 기여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83416" y="4611007"/>
            <a:ext cx="3238500" cy="1517097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3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283416" y="4185556"/>
            <a:ext cx="3238500" cy="406400"/>
          </a:xfrm>
          <a:prstGeom prst="rect">
            <a:avLst/>
          </a:prstGeom>
          <a:solidFill>
            <a:srgbClr val="161753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ko-KR" sz="130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Value Delivery Framework</a:t>
            </a:r>
            <a:endParaRPr lang="ko-KR" altLang="en-US" sz="130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19" y="4768010"/>
            <a:ext cx="861359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24"/>
          <p:cNvSpPr>
            <a:spLocks noChangeArrowheads="1"/>
          </p:cNvSpPr>
          <p:nvPr/>
        </p:nvSpPr>
        <p:spPr bwMode="auto">
          <a:xfrm>
            <a:off x="1250204" y="4593994"/>
            <a:ext cx="227171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양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 Case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분석 기반 </a:t>
            </a:r>
            <a:r>
              <a:rPr kumimoji="1" lang="en-US" altLang="ko-KR" sz="1200" b="0" spc="-7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lue Management </a:t>
            </a:r>
            <a:r>
              <a:rPr kumimoji="1" lang="ko-KR" altLang="en-US" sz="1200" b="0" spc="-7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 분석 </a:t>
            </a:r>
          </a:p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드맵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디자인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행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0" spc="-5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 등 체계적 프로세스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을 통한 이슈 해결안 제시</a:t>
            </a:r>
          </a:p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/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화에 대한 능동적 대응 가능</a:t>
            </a:r>
          </a:p>
        </p:txBody>
      </p:sp>
      <p:pic>
        <p:nvPicPr>
          <p:cNvPr id="11" name="Picture 40" descr="ITstrategy_cyc3_lar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78" y="2247334"/>
            <a:ext cx="947738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AutoShape 45"/>
          <p:cNvSpPr>
            <a:spLocks noChangeArrowheads="1"/>
          </p:cNvSpPr>
          <p:nvPr/>
        </p:nvSpPr>
        <p:spPr bwMode="auto">
          <a:xfrm>
            <a:off x="3904519" y="3402106"/>
            <a:ext cx="2106612" cy="576080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 </a:t>
            </a: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성에 대한 명확한 이해 및 </a:t>
            </a:r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영</a:t>
            </a:r>
          </a:p>
        </p:txBody>
      </p:sp>
      <p:sp>
        <p:nvSpPr>
          <p:cNvPr id="13" name="AutoShape 46"/>
          <p:cNvSpPr>
            <a:spLocks noChangeArrowheads="1"/>
          </p:cNvSpPr>
          <p:nvPr/>
        </p:nvSpPr>
        <p:spPr bwMode="auto">
          <a:xfrm>
            <a:off x="3904519" y="4048604"/>
            <a:ext cx="2106612" cy="576080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lue </a:t>
            </a: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 관점의</a:t>
            </a:r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기회 도출</a:t>
            </a:r>
          </a:p>
        </p:txBody>
      </p:sp>
      <p:sp>
        <p:nvSpPr>
          <p:cNvPr id="14" name="AutoShape 47"/>
          <p:cNvSpPr>
            <a:spLocks noChangeArrowheads="1"/>
          </p:cNvSpPr>
          <p:nvPr/>
        </p:nvSpPr>
        <p:spPr bwMode="auto">
          <a:xfrm>
            <a:off x="3904519" y="4695102"/>
            <a:ext cx="2106612" cy="576080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행 </a:t>
            </a:r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에 대한 </a:t>
            </a:r>
            <a:b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확한 진단 및 시사점 도출</a:t>
            </a:r>
          </a:p>
        </p:txBody>
      </p:sp>
      <p:sp>
        <p:nvSpPr>
          <p:cNvPr id="15" name="AutoShape 48"/>
          <p:cNvSpPr>
            <a:spLocks noChangeArrowheads="1"/>
          </p:cNvSpPr>
          <p:nvPr/>
        </p:nvSpPr>
        <p:spPr bwMode="auto">
          <a:xfrm>
            <a:off x="3904519" y="5341601"/>
            <a:ext cx="2106612" cy="576080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에 따른</a:t>
            </a:r>
            <a: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확한 관리체계 수립 지원</a:t>
            </a:r>
          </a:p>
        </p:txBody>
      </p:sp>
      <p:sp>
        <p:nvSpPr>
          <p:cNvPr id="16" name="Text Box 54"/>
          <p:cNvSpPr txBox="1">
            <a:spLocks noChangeArrowheads="1"/>
          </p:cNvSpPr>
          <p:nvPr/>
        </p:nvSpPr>
        <p:spPr bwMode="auto">
          <a:xfrm>
            <a:off x="4165522" y="3049213"/>
            <a:ext cx="15664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법론 주요 특징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6375305" y="2126965"/>
            <a:ext cx="3238500" cy="918087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3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6375305" y="1717389"/>
            <a:ext cx="3238500" cy="4064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3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Target Operating Model</a:t>
            </a:r>
          </a:p>
        </p:txBody>
      </p:sp>
      <p:sp>
        <p:nvSpPr>
          <p:cNvPr id="19" name="직사각형 24"/>
          <p:cNvSpPr>
            <a:spLocks noChangeArrowheads="1"/>
          </p:cNvSpPr>
          <p:nvPr/>
        </p:nvSpPr>
        <p:spPr bwMode="auto">
          <a:xfrm>
            <a:off x="7292571" y="2278599"/>
            <a:ext cx="231308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전략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 구현을 위한 프로세스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 측면의 운영방식 정의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912" y="2183342"/>
            <a:ext cx="826730" cy="839032"/>
          </a:xfrm>
          <a:prstGeom prst="rect">
            <a:avLst/>
          </a:prstGeom>
        </p:spPr>
      </p:pic>
      <p:sp>
        <p:nvSpPr>
          <p:cNvPr id="21" name="AutoShape 4"/>
          <p:cNvSpPr>
            <a:spLocks noChangeArrowheads="1"/>
          </p:cNvSpPr>
          <p:nvPr/>
        </p:nvSpPr>
        <p:spPr bwMode="gray">
          <a:xfrm>
            <a:off x="283417" y="1320297"/>
            <a:ext cx="32385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ctr"/>
          <a:lstStyle/>
          <a:p>
            <a:pPr algn="ctr">
              <a:lnSpc>
                <a:spcPct val="80000"/>
              </a:lnSpc>
            </a:pP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KPMG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글로벌 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ethodology</a:t>
            </a:r>
            <a:endParaRPr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gray">
          <a:xfrm>
            <a:off x="6375305" y="1322034"/>
            <a:ext cx="325764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ctr"/>
          <a:lstStyle/>
          <a:p>
            <a:pPr algn="ctr">
              <a:lnSpc>
                <a:spcPct val="80000"/>
              </a:lnSpc>
            </a:pP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KPMG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글로벌 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olkit</a:t>
            </a:r>
            <a:endParaRPr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6375305" y="3679040"/>
            <a:ext cx="3238500" cy="918087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3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13"/>
          <p:cNvSpPr>
            <a:spLocks noChangeArrowheads="1"/>
          </p:cNvSpPr>
          <p:nvPr/>
        </p:nvSpPr>
        <p:spPr bwMode="auto">
          <a:xfrm>
            <a:off x="6375305" y="3269464"/>
            <a:ext cx="3238500" cy="4064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3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IT Asset Management</a:t>
            </a:r>
          </a:p>
        </p:txBody>
      </p:sp>
      <p:sp>
        <p:nvSpPr>
          <p:cNvPr id="25" name="직사각형 24"/>
          <p:cNvSpPr>
            <a:spLocks noChangeArrowheads="1"/>
          </p:cNvSpPr>
          <p:nvPr/>
        </p:nvSpPr>
        <p:spPr bwMode="auto">
          <a:xfrm>
            <a:off x="7203671" y="3740018"/>
            <a:ext cx="241674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적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산 관리에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화 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ol</a:t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ITAM</a:t>
            </a:r>
            <a:r>
              <a:rPr kumimoji="1" lang="en-US" altLang="ko-KR" sz="1200" b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숙도 진단 및 역할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RACI</a:t>
            </a:r>
            <a:r>
              <a:rPr kumimoji="1" lang="en-US" altLang="ko-KR" sz="1200" b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)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트릭스 등</a:t>
            </a: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816" y="3743335"/>
            <a:ext cx="826826" cy="826826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6375305" y="5231116"/>
            <a:ext cx="3238500" cy="918087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3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6375305" y="4821540"/>
            <a:ext cx="3238500" cy="4064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buFont typeface="Wingdings" pitchFamily="2" charset="2"/>
              <a:buNone/>
            </a:pPr>
            <a:r>
              <a:rPr lang="en-US" altLang="ko-KR" sz="13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IT Capability Assessment Model</a:t>
            </a:r>
          </a:p>
        </p:txBody>
      </p:sp>
      <p:sp>
        <p:nvSpPr>
          <p:cNvPr id="29" name="직사각형 24"/>
          <p:cNvSpPr>
            <a:spLocks noChangeArrowheads="1"/>
          </p:cNvSpPr>
          <p:nvPr/>
        </p:nvSpPr>
        <p:spPr bwMode="auto">
          <a:xfrm>
            <a:off x="7292571" y="5372776"/>
            <a:ext cx="231308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>
            <a:spAutoFit/>
          </a:bodyPr>
          <a:lstStyle/>
          <a:p>
            <a:pPr marL="174625" indent="-174625" latinLnBrk="0">
              <a:buFont typeface="Wingdings" panose="05000000000000000000" pitchFamily="2" charset="2"/>
              <a:buChar char="§"/>
            </a:pPr>
            <a:r>
              <a:rPr kumimoji="1" lang="ko-KR" altLang="en-US" sz="1200" b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사업 영역 내 </a:t>
            </a:r>
            <a:r>
              <a:rPr kumimoji="1" lang="en-US" altLang="ko-KR" sz="1200" b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spc="-3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역에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과적으로 관리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해야 하는 전반적인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역량을 정의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018" y="5339808"/>
            <a:ext cx="875849" cy="742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1" name="그룹 30"/>
          <p:cNvGrpSpPr/>
          <p:nvPr/>
        </p:nvGrpSpPr>
        <p:grpSpPr>
          <a:xfrm>
            <a:off x="3499692" y="1717389"/>
            <a:ext cx="364174" cy="4431814"/>
            <a:chOff x="3499691" y="1717389"/>
            <a:chExt cx="386399" cy="4431814"/>
          </a:xfrm>
        </p:grpSpPr>
        <p:cxnSp>
          <p:nvCxnSpPr>
            <p:cNvPr id="32" name="직선 연결선 31"/>
            <p:cNvCxnSpPr/>
            <p:nvPr/>
          </p:nvCxnSpPr>
          <p:spPr bwMode="auto">
            <a:xfrm>
              <a:off x="3499691" y="1717389"/>
              <a:ext cx="386399" cy="1684717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3" name="직선 연결선 32"/>
            <p:cNvCxnSpPr/>
            <p:nvPr/>
          </p:nvCxnSpPr>
          <p:spPr bwMode="auto">
            <a:xfrm flipV="1">
              <a:off x="3544141" y="4624684"/>
              <a:ext cx="341949" cy="1524519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34" name="그룹 33"/>
          <p:cNvGrpSpPr/>
          <p:nvPr/>
        </p:nvGrpSpPr>
        <p:grpSpPr>
          <a:xfrm>
            <a:off x="6058947" y="1717390"/>
            <a:ext cx="316358" cy="4426140"/>
            <a:chOff x="6029560" y="1717390"/>
            <a:chExt cx="345745" cy="4426140"/>
          </a:xfrm>
        </p:grpSpPr>
        <p:cxnSp>
          <p:nvCxnSpPr>
            <p:cNvPr id="35" name="직선 연결선 34"/>
            <p:cNvCxnSpPr/>
            <p:nvPr/>
          </p:nvCxnSpPr>
          <p:spPr bwMode="auto">
            <a:xfrm flipV="1">
              <a:off x="6029560" y="1717390"/>
              <a:ext cx="345745" cy="2977712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6033356" y="5912420"/>
              <a:ext cx="341949" cy="23111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38" name="그룹 37"/>
          <p:cNvGrpSpPr/>
          <p:nvPr/>
        </p:nvGrpSpPr>
        <p:grpSpPr>
          <a:xfrm>
            <a:off x="3962965" y="2003056"/>
            <a:ext cx="1980069" cy="802242"/>
            <a:chOff x="3962965" y="2204830"/>
            <a:chExt cx="1980069" cy="802242"/>
          </a:xfrm>
        </p:grpSpPr>
        <p:grpSp>
          <p:nvGrpSpPr>
            <p:cNvPr id="39" name="그룹 38"/>
            <p:cNvGrpSpPr/>
            <p:nvPr/>
          </p:nvGrpSpPr>
          <p:grpSpPr>
            <a:xfrm>
              <a:off x="3962965" y="2208949"/>
              <a:ext cx="1980069" cy="798123"/>
              <a:chOff x="992449" y="1567344"/>
              <a:chExt cx="3600466" cy="1709061"/>
            </a:xfrm>
          </p:grpSpPr>
          <p:sp>
            <p:nvSpPr>
              <p:cNvPr id="44" name="직사각형 43"/>
              <p:cNvSpPr/>
              <p:nvPr/>
            </p:nvSpPr>
            <p:spPr bwMode="auto">
              <a:xfrm>
                <a:off x="992449" y="1567345"/>
                <a:ext cx="3600466" cy="170906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rgbClr val="C0C0C0"/>
                  </a:buClr>
                </a:pPr>
                <a:endPara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pic>
            <p:nvPicPr>
              <p:cNvPr id="45" name="그림 44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" b="-7771"/>
              <a:stretch/>
            </p:blipFill>
            <p:spPr>
              <a:xfrm>
                <a:off x="992451" y="1567344"/>
                <a:ext cx="2420690" cy="288000"/>
              </a:xfrm>
              <a:prstGeom prst="rect">
                <a:avLst/>
              </a:prstGeom>
            </p:spPr>
          </p:pic>
          <p:pic>
            <p:nvPicPr>
              <p:cNvPr id="46" name="그림 45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-1196"/>
              <a:stretch/>
            </p:blipFill>
            <p:spPr>
              <a:xfrm>
                <a:off x="2864711" y="1567345"/>
                <a:ext cx="1604869" cy="266400"/>
              </a:xfrm>
              <a:prstGeom prst="rect">
                <a:avLst/>
              </a:prstGeom>
            </p:spPr>
          </p:pic>
        </p:grpSp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67" y="2334506"/>
              <a:ext cx="1176278" cy="106888"/>
            </a:xfrm>
            <a:prstGeom prst="rect">
              <a:avLst/>
            </a:prstGeom>
          </p:spPr>
        </p:pic>
        <p:pic>
          <p:nvPicPr>
            <p:cNvPr id="41" name="그림 40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02568" y="2429533"/>
              <a:ext cx="1821680" cy="397536"/>
            </a:xfrm>
            <a:prstGeom prst="rect">
              <a:avLst/>
            </a:prstGeom>
          </p:spPr>
        </p:pic>
        <p:pic>
          <p:nvPicPr>
            <p:cNvPr id="42" name="그림 41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16870" y="2837837"/>
              <a:ext cx="1807378" cy="159103"/>
            </a:xfrm>
            <a:prstGeom prst="rect">
              <a:avLst/>
            </a:prstGeom>
          </p:spPr>
        </p:pic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2296" y="2204830"/>
              <a:ext cx="90738" cy="802242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</p:pic>
      </p:grpSp>
      <p:sp>
        <p:nvSpPr>
          <p:cNvPr id="47" name="직사각형 46"/>
          <p:cNvSpPr/>
          <p:nvPr/>
        </p:nvSpPr>
        <p:spPr bwMode="auto">
          <a:xfrm>
            <a:off x="3814488" y="1669541"/>
            <a:ext cx="2290378" cy="305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4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PMG GDB</a:t>
            </a:r>
            <a:r>
              <a:rPr kumimoji="1" lang="en-US" altLang="ko-KR" sz="1200" b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</a:t>
            </a:r>
            <a:endParaRPr kumimoji="1" lang="ko-KR" altLang="en-US" sz="1200" b="0" baseline="30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이등변 삼각형 47"/>
          <p:cNvSpPr/>
          <p:nvPr/>
        </p:nvSpPr>
        <p:spPr bwMode="auto">
          <a:xfrm rot="10800000">
            <a:off x="4490293" y="2933912"/>
            <a:ext cx="942228" cy="1077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Freeform 76"/>
          <p:cNvSpPr>
            <a:spLocks/>
          </p:cNvSpPr>
          <p:nvPr/>
        </p:nvSpPr>
        <p:spPr bwMode="gray">
          <a:xfrm rot="5400000" flipH="1">
            <a:off x="3602531" y="1739729"/>
            <a:ext cx="637423" cy="730799"/>
          </a:xfrm>
          <a:custGeom>
            <a:avLst/>
            <a:gdLst>
              <a:gd name="T0" fmla="*/ 2147483647 w 1645"/>
              <a:gd name="T1" fmla="*/ 0 h 823"/>
              <a:gd name="T2" fmla="*/ 2147483647 w 1645"/>
              <a:gd name="T3" fmla="*/ 0 h 823"/>
              <a:gd name="T4" fmla="*/ 2147483647 w 1645"/>
              <a:gd name="T5" fmla="*/ 2147483647 h 823"/>
              <a:gd name="T6" fmla="*/ 2147483647 w 1645"/>
              <a:gd name="T7" fmla="*/ 2147483647 h 823"/>
              <a:gd name="T8" fmla="*/ 2147483647 w 1645"/>
              <a:gd name="T9" fmla="*/ 2147483647 h 823"/>
              <a:gd name="T10" fmla="*/ 2147483647 w 1645"/>
              <a:gd name="T11" fmla="*/ 2147483647 h 823"/>
              <a:gd name="T12" fmla="*/ 2147483647 w 1645"/>
              <a:gd name="T13" fmla="*/ 2147483647 h 823"/>
              <a:gd name="T14" fmla="*/ 2147483647 w 1645"/>
              <a:gd name="T15" fmla="*/ 2147483647 h 823"/>
              <a:gd name="T16" fmla="*/ 2147483647 w 1645"/>
              <a:gd name="T17" fmla="*/ 2147483647 h 823"/>
              <a:gd name="T18" fmla="*/ 2147483647 w 1645"/>
              <a:gd name="T19" fmla="*/ 2147483647 h 823"/>
              <a:gd name="T20" fmla="*/ 2147483647 w 1645"/>
              <a:gd name="T21" fmla="*/ 2147483647 h 823"/>
              <a:gd name="T22" fmla="*/ 2147483647 w 1645"/>
              <a:gd name="T23" fmla="*/ 2147483647 h 823"/>
              <a:gd name="T24" fmla="*/ 2147483647 w 1645"/>
              <a:gd name="T25" fmla="*/ 2147483647 h 823"/>
              <a:gd name="T26" fmla="*/ 2147483647 w 1645"/>
              <a:gd name="T27" fmla="*/ 2147483647 h 823"/>
              <a:gd name="T28" fmla="*/ 2147483647 w 1645"/>
              <a:gd name="T29" fmla="*/ 2147483647 h 823"/>
              <a:gd name="T30" fmla="*/ 2147483647 w 1645"/>
              <a:gd name="T31" fmla="*/ 2147483647 h 823"/>
              <a:gd name="T32" fmla="*/ 2147483647 w 1645"/>
              <a:gd name="T33" fmla="*/ 2147483647 h 823"/>
              <a:gd name="T34" fmla="*/ 2147483647 w 1645"/>
              <a:gd name="T35" fmla="*/ 2147483647 h 823"/>
              <a:gd name="T36" fmla="*/ 2147483647 w 1645"/>
              <a:gd name="T37" fmla="*/ 2147483647 h 823"/>
              <a:gd name="T38" fmla="*/ 2147483647 w 1645"/>
              <a:gd name="T39" fmla="*/ 2147483647 h 823"/>
              <a:gd name="T40" fmla="*/ 2147483647 w 1645"/>
              <a:gd name="T41" fmla="*/ 2147483647 h 823"/>
              <a:gd name="T42" fmla="*/ 2147483647 w 1645"/>
              <a:gd name="T43" fmla="*/ 2147483647 h 823"/>
              <a:gd name="T44" fmla="*/ 2147483647 w 1645"/>
              <a:gd name="T45" fmla="*/ 2147483647 h 823"/>
              <a:gd name="T46" fmla="*/ 2147483647 w 1645"/>
              <a:gd name="T47" fmla="*/ 2147483647 h 823"/>
              <a:gd name="T48" fmla="*/ 2147483647 w 1645"/>
              <a:gd name="T49" fmla="*/ 2147483647 h 823"/>
              <a:gd name="T50" fmla="*/ 2147483647 w 1645"/>
              <a:gd name="T51" fmla="*/ 2147483647 h 823"/>
              <a:gd name="T52" fmla="*/ 2147483647 w 1645"/>
              <a:gd name="T53" fmla="*/ 2147483647 h 823"/>
              <a:gd name="T54" fmla="*/ 2147483647 w 1645"/>
              <a:gd name="T55" fmla="*/ 2147483647 h 823"/>
              <a:gd name="T56" fmla="*/ 2147483647 w 1645"/>
              <a:gd name="T57" fmla="*/ 2147483647 h 823"/>
              <a:gd name="T58" fmla="*/ 2147483647 w 1645"/>
              <a:gd name="T59" fmla="*/ 2147483647 h 823"/>
              <a:gd name="T60" fmla="*/ 2147483647 w 1645"/>
              <a:gd name="T61" fmla="*/ 2147483647 h 823"/>
              <a:gd name="T62" fmla="*/ 2147483647 w 1645"/>
              <a:gd name="T63" fmla="*/ 2147483647 h 823"/>
              <a:gd name="T64" fmla="*/ 2147483647 w 1645"/>
              <a:gd name="T65" fmla="*/ 2147483647 h 823"/>
              <a:gd name="T66" fmla="*/ 2147483647 w 1645"/>
              <a:gd name="T67" fmla="*/ 2147483647 h 823"/>
              <a:gd name="T68" fmla="*/ 2147483647 w 1645"/>
              <a:gd name="T69" fmla="*/ 2147483647 h 823"/>
              <a:gd name="T70" fmla="*/ 2147483647 w 1645"/>
              <a:gd name="T71" fmla="*/ 2147483647 h 823"/>
              <a:gd name="T72" fmla="*/ 2147483647 w 1645"/>
              <a:gd name="T73" fmla="*/ 2147483647 h 823"/>
              <a:gd name="T74" fmla="*/ 2147483647 w 1645"/>
              <a:gd name="T75" fmla="*/ 2147483647 h 823"/>
              <a:gd name="T76" fmla="*/ 2147483647 w 1645"/>
              <a:gd name="T77" fmla="*/ 2147483647 h 823"/>
              <a:gd name="T78" fmla="*/ 2147483647 w 1645"/>
              <a:gd name="T79" fmla="*/ 2147483647 h 823"/>
              <a:gd name="T80" fmla="*/ 2147483647 w 1645"/>
              <a:gd name="T81" fmla="*/ 2147483647 h 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645"/>
              <a:gd name="T124" fmla="*/ 0 h 823"/>
              <a:gd name="T125" fmla="*/ 1645 w 1645"/>
              <a:gd name="T126" fmla="*/ 823 h 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645" h="823">
                <a:moveTo>
                  <a:pt x="0" y="6"/>
                </a:moveTo>
                <a:lnTo>
                  <a:pt x="90" y="0"/>
                </a:lnTo>
                <a:lnTo>
                  <a:pt x="135" y="0"/>
                </a:lnTo>
                <a:lnTo>
                  <a:pt x="189" y="0"/>
                </a:lnTo>
                <a:lnTo>
                  <a:pt x="240" y="3"/>
                </a:lnTo>
                <a:lnTo>
                  <a:pt x="291" y="6"/>
                </a:lnTo>
                <a:lnTo>
                  <a:pt x="341" y="12"/>
                </a:lnTo>
                <a:lnTo>
                  <a:pt x="386" y="21"/>
                </a:lnTo>
                <a:lnTo>
                  <a:pt x="436" y="30"/>
                </a:lnTo>
                <a:lnTo>
                  <a:pt x="496" y="45"/>
                </a:lnTo>
                <a:lnTo>
                  <a:pt x="550" y="63"/>
                </a:lnTo>
                <a:lnTo>
                  <a:pt x="601" y="78"/>
                </a:lnTo>
                <a:lnTo>
                  <a:pt x="658" y="99"/>
                </a:lnTo>
                <a:lnTo>
                  <a:pt x="712" y="123"/>
                </a:lnTo>
                <a:lnTo>
                  <a:pt x="766" y="147"/>
                </a:lnTo>
                <a:lnTo>
                  <a:pt x="811" y="170"/>
                </a:lnTo>
                <a:lnTo>
                  <a:pt x="862" y="194"/>
                </a:lnTo>
                <a:lnTo>
                  <a:pt x="905" y="217"/>
                </a:lnTo>
                <a:lnTo>
                  <a:pt x="953" y="244"/>
                </a:lnTo>
                <a:lnTo>
                  <a:pt x="1001" y="271"/>
                </a:lnTo>
                <a:lnTo>
                  <a:pt x="1049" y="304"/>
                </a:lnTo>
                <a:lnTo>
                  <a:pt x="1091" y="331"/>
                </a:lnTo>
                <a:lnTo>
                  <a:pt x="1136" y="367"/>
                </a:lnTo>
                <a:lnTo>
                  <a:pt x="1178" y="400"/>
                </a:lnTo>
                <a:lnTo>
                  <a:pt x="1217" y="433"/>
                </a:lnTo>
                <a:lnTo>
                  <a:pt x="1249" y="469"/>
                </a:lnTo>
                <a:lnTo>
                  <a:pt x="1276" y="500"/>
                </a:lnTo>
                <a:lnTo>
                  <a:pt x="1297" y="533"/>
                </a:lnTo>
                <a:lnTo>
                  <a:pt x="1645" y="489"/>
                </a:lnTo>
                <a:lnTo>
                  <a:pt x="1596" y="512"/>
                </a:lnTo>
                <a:lnTo>
                  <a:pt x="1539" y="536"/>
                </a:lnTo>
                <a:lnTo>
                  <a:pt x="1494" y="557"/>
                </a:lnTo>
                <a:lnTo>
                  <a:pt x="1460" y="573"/>
                </a:lnTo>
                <a:lnTo>
                  <a:pt x="1423" y="593"/>
                </a:lnTo>
                <a:lnTo>
                  <a:pt x="1393" y="611"/>
                </a:lnTo>
                <a:lnTo>
                  <a:pt x="1364" y="630"/>
                </a:lnTo>
                <a:lnTo>
                  <a:pt x="1335" y="653"/>
                </a:lnTo>
                <a:lnTo>
                  <a:pt x="1307" y="676"/>
                </a:lnTo>
                <a:lnTo>
                  <a:pt x="1273" y="705"/>
                </a:lnTo>
                <a:lnTo>
                  <a:pt x="1240" y="736"/>
                </a:lnTo>
                <a:lnTo>
                  <a:pt x="1211" y="762"/>
                </a:lnTo>
                <a:lnTo>
                  <a:pt x="1178" y="796"/>
                </a:lnTo>
                <a:lnTo>
                  <a:pt x="1151" y="823"/>
                </a:lnTo>
                <a:lnTo>
                  <a:pt x="1124" y="811"/>
                </a:lnTo>
                <a:lnTo>
                  <a:pt x="1097" y="796"/>
                </a:lnTo>
                <a:lnTo>
                  <a:pt x="1068" y="783"/>
                </a:lnTo>
                <a:lnTo>
                  <a:pt x="1034" y="769"/>
                </a:lnTo>
                <a:lnTo>
                  <a:pt x="999" y="755"/>
                </a:lnTo>
                <a:lnTo>
                  <a:pt x="967" y="744"/>
                </a:lnTo>
                <a:lnTo>
                  <a:pt x="936" y="735"/>
                </a:lnTo>
                <a:lnTo>
                  <a:pt x="901" y="724"/>
                </a:lnTo>
                <a:lnTo>
                  <a:pt x="864" y="715"/>
                </a:lnTo>
                <a:lnTo>
                  <a:pt x="826" y="705"/>
                </a:lnTo>
                <a:lnTo>
                  <a:pt x="791" y="696"/>
                </a:lnTo>
                <a:lnTo>
                  <a:pt x="757" y="687"/>
                </a:lnTo>
                <a:lnTo>
                  <a:pt x="720" y="681"/>
                </a:lnTo>
                <a:lnTo>
                  <a:pt x="685" y="673"/>
                </a:lnTo>
                <a:lnTo>
                  <a:pt x="652" y="666"/>
                </a:lnTo>
                <a:lnTo>
                  <a:pt x="613" y="658"/>
                </a:lnTo>
                <a:lnTo>
                  <a:pt x="560" y="652"/>
                </a:lnTo>
                <a:lnTo>
                  <a:pt x="920" y="590"/>
                </a:lnTo>
                <a:lnTo>
                  <a:pt x="896" y="542"/>
                </a:lnTo>
                <a:lnTo>
                  <a:pt x="868" y="506"/>
                </a:lnTo>
                <a:lnTo>
                  <a:pt x="817" y="439"/>
                </a:lnTo>
                <a:lnTo>
                  <a:pt x="787" y="409"/>
                </a:lnTo>
                <a:lnTo>
                  <a:pt x="757" y="379"/>
                </a:lnTo>
                <a:lnTo>
                  <a:pt x="703" y="328"/>
                </a:lnTo>
                <a:lnTo>
                  <a:pt x="670" y="298"/>
                </a:lnTo>
                <a:lnTo>
                  <a:pt x="631" y="262"/>
                </a:lnTo>
                <a:lnTo>
                  <a:pt x="595" y="235"/>
                </a:lnTo>
                <a:lnTo>
                  <a:pt x="565" y="211"/>
                </a:lnTo>
                <a:lnTo>
                  <a:pt x="535" y="188"/>
                </a:lnTo>
                <a:lnTo>
                  <a:pt x="499" y="164"/>
                </a:lnTo>
                <a:lnTo>
                  <a:pt x="460" y="141"/>
                </a:lnTo>
                <a:lnTo>
                  <a:pt x="421" y="123"/>
                </a:lnTo>
                <a:lnTo>
                  <a:pt x="383" y="102"/>
                </a:lnTo>
                <a:lnTo>
                  <a:pt x="335" y="84"/>
                </a:lnTo>
                <a:lnTo>
                  <a:pt x="291" y="69"/>
                </a:lnTo>
                <a:lnTo>
                  <a:pt x="240" y="57"/>
                </a:lnTo>
                <a:lnTo>
                  <a:pt x="192" y="45"/>
                </a:lnTo>
                <a:lnTo>
                  <a:pt x="141" y="33"/>
                </a:lnTo>
                <a:lnTo>
                  <a:pt x="87" y="24"/>
                </a:lnTo>
                <a:lnTo>
                  <a:pt x="0" y="6"/>
                </a:lnTo>
                <a:close/>
              </a:path>
            </a:pathLst>
          </a:custGeom>
          <a:solidFill>
            <a:srgbClr val="002060">
              <a:alpha val="70000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50" name="Freeform 76"/>
          <p:cNvSpPr>
            <a:spLocks/>
          </p:cNvSpPr>
          <p:nvPr/>
        </p:nvSpPr>
        <p:spPr bwMode="gray">
          <a:xfrm rot="16200000">
            <a:off x="5709089" y="1739730"/>
            <a:ext cx="637423" cy="730799"/>
          </a:xfrm>
          <a:custGeom>
            <a:avLst/>
            <a:gdLst>
              <a:gd name="T0" fmla="*/ 2147483647 w 1645"/>
              <a:gd name="T1" fmla="*/ 0 h 823"/>
              <a:gd name="T2" fmla="*/ 2147483647 w 1645"/>
              <a:gd name="T3" fmla="*/ 0 h 823"/>
              <a:gd name="T4" fmla="*/ 2147483647 w 1645"/>
              <a:gd name="T5" fmla="*/ 2147483647 h 823"/>
              <a:gd name="T6" fmla="*/ 2147483647 w 1645"/>
              <a:gd name="T7" fmla="*/ 2147483647 h 823"/>
              <a:gd name="T8" fmla="*/ 2147483647 w 1645"/>
              <a:gd name="T9" fmla="*/ 2147483647 h 823"/>
              <a:gd name="T10" fmla="*/ 2147483647 w 1645"/>
              <a:gd name="T11" fmla="*/ 2147483647 h 823"/>
              <a:gd name="T12" fmla="*/ 2147483647 w 1645"/>
              <a:gd name="T13" fmla="*/ 2147483647 h 823"/>
              <a:gd name="T14" fmla="*/ 2147483647 w 1645"/>
              <a:gd name="T15" fmla="*/ 2147483647 h 823"/>
              <a:gd name="T16" fmla="*/ 2147483647 w 1645"/>
              <a:gd name="T17" fmla="*/ 2147483647 h 823"/>
              <a:gd name="T18" fmla="*/ 2147483647 w 1645"/>
              <a:gd name="T19" fmla="*/ 2147483647 h 823"/>
              <a:gd name="T20" fmla="*/ 2147483647 w 1645"/>
              <a:gd name="T21" fmla="*/ 2147483647 h 823"/>
              <a:gd name="T22" fmla="*/ 2147483647 w 1645"/>
              <a:gd name="T23" fmla="*/ 2147483647 h 823"/>
              <a:gd name="T24" fmla="*/ 2147483647 w 1645"/>
              <a:gd name="T25" fmla="*/ 2147483647 h 823"/>
              <a:gd name="T26" fmla="*/ 2147483647 w 1645"/>
              <a:gd name="T27" fmla="*/ 2147483647 h 823"/>
              <a:gd name="T28" fmla="*/ 2147483647 w 1645"/>
              <a:gd name="T29" fmla="*/ 2147483647 h 823"/>
              <a:gd name="T30" fmla="*/ 2147483647 w 1645"/>
              <a:gd name="T31" fmla="*/ 2147483647 h 823"/>
              <a:gd name="T32" fmla="*/ 2147483647 w 1645"/>
              <a:gd name="T33" fmla="*/ 2147483647 h 823"/>
              <a:gd name="T34" fmla="*/ 2147483647 w 1645"/>
              <a:gd name="T35" fmla="*/ 2147483647 h 823"/>
              <a:gd name="T36" fmla="*/ 2147483647 w 1645"/>
              <a:gd name="T37" fmla="*/ 2147483647 h 823"/>
              <a:gd name="T38" fmla="*/ 2147483647 w 1645"/>
              <a:gd name="T39" fmla="*/ 2147483647 h 823"/>
              <a:gd name="T40" fmla="*/ 2147483647 w 1645"/>
              <a:gd name="T41" fmla="*/ 2147483647 h 823"/>
              <a:gd name="T42" fmla="*/ 2147483647 w 1645"/>
              <a:gd name="T43" fmla="*/ 2147483647 h 823"/>
              <a:gd name="T44" fmla="*/ 2147483647 w 1645"/>
              <a:gd name="T45" fmla="*/ 2147483647 h 823"/>
              <a:gd name="T46" fmla="*/ 2147483647 w 1645"/>
              <a:gd name="T47" fmla="*/ 2147483647 h 823"/>
              <a:gd name="T48" fmla="*/ 2147483647 w 1645"/>
              <a:gd name="T49" fmla="*/ 2147483647 h 823"/>
              <a:gd name="T50" fmla="*/ 2147483647 w 1645"/>
              <a:gd name="T51" fmla="*/ 2147483647 h 823"/>
              <a:gd name="T52" fmla="*/ 2147483647 w 1645"/>
              <a:gd name="T53" fmla="*/ 2147483647 h 823"/>
              <a:gd name="T54" fmla="*/ 2147483647 w 1645"/>
              <a:gd name="T55" fmla="*/ 2147483647 h 823"/>
              <a:gd name="T56" fmla="*/ 2147483647 w 1645"/>
              <a:gd name="T57" fmla="*/ 2147483647 h 823"/>
              <a:gd name="T58" fmla="*/ 2147483647 w 1645"/>
              <a:gd name="T59" fmla="*/ 2147483647 h 823"/>
              <a:gd name="T60" fmla="*/ 2147483647 w 1645"/>
              <a:gd name="T61" fmla="*/ 2147483647 h 823"/>
              <a:gd name="T62" fmla="*/ 2147483647 w 1645"/>
              <a:gd name="T63" fmla="*/ 2147483647 h 823"/>
              <a:gd name="T64" fmla="*/ 2147483647 w 1645"/>
              <a:gd name="T65" fmla="*/ 2147483647 h 823"/>
              <a:gd name="T66" fmla="*/ 2147483647 w 1645"/>
              <a:gd name="T67" fmla="*/ 2147483647 h 823"/>
              <a:gd name="T68" fmla="*/ 2147483647 w 1645"/>
              <a:gd name="T69" fmla="*/ 2147483647 h 823"/>
              <a:gd name="T70" fmla="*/ 2147483647 w 1645"/>
              <a:gd name="T71" fmla="*/ 2147483647 h 823"/>
              <a:gd name="T72" fmla="*/ 2147483647 w 1645"/>
              <a:gd name="T73" fmla="*/ 2147483647 h 823"/>
              <a:gd name="T74" fmla="*/ 2147483647 w 1645"/>
              <a:gd name="T75" fmla="*/ 2147483647 h 823"/>
              <a:gd name="T76" fmla="*/ 2147483647 w 1645"/>
              <a:gd name="T77" fmla="*/ 2147483647 h 823"/>
              <a:gd name="T78" fmla="*/ 2147483647 w 1645"/>
              <a:gd name="T79" fmla="*/ 2147483647 h 823"/>
              <a:gd name="T80" fmla="*/ 2147483647 w 1645"/>
              <a:gd name="T81" fmla="*/ 2147483647 h 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645"/>
              <a:gd name="T124" fmla="*/ 0 h 823"/>
              <a:gd name="T125" fmla="*/ 1645 w 1645"/>
              <a:gd name="T126" fmla="*/ 823 h 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645" h="823">
                <a:moveTo>
                  <a:pt x="0" y="6"/>
                </a:moveTo>
                <a:lnTo>
                  <a:pt x="90" y="0"/>
                </a:lnTo>
                <a:lnTo>
                  <a:pt x="135" y="0"/>
                </a:lnTo>
                <a:lnTo>
                  <a:pt x="189" y="0"/>
                </a:lnTo>
                <a:lnTo>
                  <a:pt x="240" y="3"/>
                </a:lnTo>
                <a:lnTo>
                  <a:pt x="291" y="6"/>
                </a:lnTo>
                <a:lnTo>
                  <a:pt x="341" y="12"/>
                </a:lnTo>
                <a:lnTo>
                  <a:pt x="386" y="21"/>
                </a:lnTo>
                <a:lnTo>
                  <a:pt x="436" y="30"/>
                </a:lnTo>
                <a:lnTo>
                  <a:pt x="496" y="45"/>
                </a:lnTo>
                <a:lnTo>
                  <a:pt x="550" y="63"/>
                </a:lnTo>
                <a:lnTo>
                  <a:pt x="601" y="78"/>
                </a:lnTo>
                <a:lnTo>
                  <a:pt x="658" y="99"/>
                </a:lnTo>
                <a:lnTo>
                  <a:pt x="712" y="123"/>
                </a:lnTo>
                <a:lnTo>
                  <a:pt x="766" y="147"/>
                </a:lnTo>
                <a:lnTo>
                  <a:pt x="811" y="170"/>
                </a:lnTo>
                <a:lnTo>
                  <a:pt x="862" y="194"/>
                </a:lnTo>
                <a:lnTo>
                  <a:pt x="905" y="217"/>
                </a:lnTo>
                <a:lnTo>
                  <a:pt x="953" y="244"/>
                </a:lnTo>
                <a:lnTo>
                  <a:pt x="1001" y="271"/>
                </a:lnTo>
                <a:lnTo>
                  <a:pt x="1049" y="304"/>
                </a:lnTo>
                <a:lnTo>
                  <a:pt x="1091" y="331"/>
                </a:lnTo>
                <a:lnTo>
                  <a:pt x="1136" y="367"/>
                </a:lnTo>
                <a:lnTo>
                  <a:pt x="1178" y="400"/>
                </a:lnTo>
                <a:lnTo>
                  <a:pt x="1217" y="433"/>
                </a:lnTo>
                <a:lnTo>
                  <a:pt x="1249" y="469"/>
                </a:lnTo>
                <a:lnTo>
                  <a:pt x="1276" y="500"/>
                </a:lnTo>
                <a:lnTo>
                  <a:pt x="1297" y="533"/>
                </a:lnTo>
                <a:lnTo>
                  <a:pt x="1645" y="489"/>
                </a:lnTo>
                <a:lnTo>
                  <a:pt x="1596" y="512"/>
                </a:lnTo>
                <a:lnTo>
                  <a:pt x="1539" y="536"/>
                </a:lnTo>
                <a:lnTo>
                  <a:pt x="1494" y="557"/>
                </a:lnTo>
                <a:lnTo>
                  <a:pt x="1460" y="573"/>
                </a:lnTo>
                <a:lnTo>
                  <a:pt x="1423" y="593"/>
                </a:lnTo>
                <a:lnTo>
                  <a:pt x="1393" y="611"/>
                </a:lnTo>
                <a:lnTo>
                  <a:pt x="1364" y="630"/>
                </a:lnTo>
                <a:lnTo>
                  <a:pt x="1335" y="653"/>
                </a:lnTo>
                <a:lnTo>
                  <a:pt x="1307" y="676"/>
                </a:lnTo>
                <a:lnTo>
                  <a:pt x="1273" y="705"/>
                </a:lnTo>
                <a:lnTo>
                  <a:pt x="1240" y="736"/>
                </a:lnTo>
                <a:lnTo>
                  <a:pt x="1211" y="762"/>
                </a:lnTo>
                <a:lnTo>
                  <a:pt x="1178" y="796"/>
                </a:lnTo>
                <a:lnTo>
                  <a:pt x="1151" y="823"/>
                </a:lnTo>
                <a:lnTo>
                  <a:pt x="1124" y="811"/>
                </a:lnTo>
                <a:lnTo>
                  <a:pt x="1097" y="796"/>
                </a:lnTo>
                <a:lnTo>
                  <a:pt x="1068" y="783"/>
                </a:lnTo>
                <a:lnTo>
                  <a:pt x="1034" y="769"/>
                </a:lnTo>
                <a:lnTo>
                  <a:pt x="999" y="755"/>
                </a:lnTo>
                <a:lnTo>
                  <a:pt x="967" y="744"/>
                </a:lnTo>
                <a:lnTo>
                  <a:pt x="936" y="735"/>
                </a:lnTo>
                <a:lnTo>
                  <a:pt x="901" y="724"/>
                </a:lnTo>
                <a:lnTo>
                  <a:pt x="864" y="715"/>
                </a:lnTo>
                <a:lnTo>
                  <a:pt x="826" y="705"/>
                </a:lnTo>
                <a:lnTo>
                  <a:pt x="791" y="696"/>
                </a:lnTo>
                <a:lnTo>
                  <a:pt x="757" y="687"/>
                </a:lnTo>
                <a:lnTo>
                  <a:pt x="720" y="681"/>
                </a:lnTo>
                <a:lnTo>
                  <a:pt x="685" y="673"/>
                </a:lnTo>
                <a:lnTo>
                  <a:pt x="652" y="666"/>
                </a:lnTo>
                <a:lnTo>
                  <a:pt x="613" y="658"/>
                </a:lnTo>
                <a:lnTo>
                  <a:pt x="560" y="652"/>
                </a:lnTo>
                <a:lnTo>
                  <a:pt x="920" y="590"/>
                </a:lnTo>
                <a:lnTo>
                  <a:pt x="896" y="542"/>
                </a:lnTo>
                <a:lnTo>
                  <a:pt x="868" y="506"/>
                </a:lnTo>
                <a:lnTo>
                  <a:pt x="817" y="439"/>
                </a:lnTo>
                <a:lnTo>
                  <a:pt x="787" y="409"/>
                </a:lnTo>
                <a:lnTo>
                  <a:pt x="757" y="379"/>
                </a:lnTo>
                <a:lnTo>
                  <a:pt x="703" y="328"/>
                </a:lnTo>
                <a:lnTo>
                  <a:pt x="670" y="298"/>
                </a:lnTo>
                <a:lnTo>
                  <a:pt x="631" y="262"/>
                </a:lnTo>
                <a:lnTo>
                  <a:pt x="595" y="235"/>
                </a:lnTo>
                <a:lnTo>
                  <a:pt x="565" y="211"/>
                </a:lnTo>
                <a:lnTo>
                  <a:pt x="535" y="188"/>
                </a:lnTo>
                <a:lnTo>
                  <a:pt x="499" y="164"/>
                </a:lnTo>
                <a:lnTo>
                  <a:pt x="460" y="141"/>
                </a:lnTo>
                <a:lnTo>
                  <a:pt x="421" y="123"/>
                </a:lnTo>
                <a:lnTo>
                  <a:pt x="383" y="102"/>
                </a:lnTo>
                <a:lnTo>
                  <a:pt x="335" y="84"/>
                </a:lnTo>
                <a:lnTo>
                  <a:pt x="291" y="69"/>
                </a:lnTo>
                <a:lnTo>
                  <a:pt x="240" y="57"/>
                </a:lnTo>
                <a:lnTo>
                  <a:pt x="192" y="45"/>
                </a:lnTo>
                <a:lnTo>
                  <a:pt x="141" y="33"/>
                </a:lnTo>
                <a:lnTo>
                  <a:pt x="87" y="24"/>
                </a:lnTo>
                <a:lnTo>
                  <a:pt x="0" y="6"/>
                </a:lnTo>
                <a:close/>
              </a:path>
            </a:pathLst>
          </a:custGeom>
          <a:solidFill>
            <a:srgbClr val="002060">
              <a:alpha val="70000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 sz="1100" dirty="0">
              <a:solidFill>
                <a:srgbClr val="FFFFFF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52" name="Text Box 4"/>
          <p:cNvSpPr txBox="1">
            <a:spLocks noChangeArrowheads="1"/>
          </p:cNvSpPr>
          <p:nvPr/>
        </p:nvSpPr>
        <p:spPr bwMode="gray">
          <a:xfrm>
            <a:off x="349565" y="6199378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1) GDB(Global Delivery Backbone), ITAM(IT Asset Management), 3)RACI(R : Responsibility, A : Accountability, C : Consulting, I : Informed) 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570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그림 24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184371" y="2115841"/>
            <a:ext cx="5144400" cy="3218400"/>
          </a:xfrm>
          <a:prstGeom prst="rect">
            <a:avLst/>
          </a:prstGeom>
        </p:spPr>
      </p:pic>
      <p:sp>
        <p:nvSpPr>
          <p:cNvPr id="5" name="직사각형 4"/>
          <p:cNvSpPr/>
          <p:nvPr/>
        </p:nvSpPr>
        <p:spPr bwMode="auto">
          <a:xfrm>
            <a:off x="2092201" y="1932792"/>
            <a:ext cx="5328740" cy="358449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endParaRPr kumimoji="1" lang="ko-KR" altLang="en-US" sz="1200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수행</a:t>
            </a:r>
            <a:r>
              <a:rPr lang="en-US" altLang="ko-KR" dirty="0"/>
              <a:t> </a:t>
            </a:r>
            <a:r>
              <a:rPr lang="ko-KR" altLang="en-US" dirty="0"/>
              <a:t>방안 개요 </a:t>
            </a:r>
            <a:r>
              <a:rPr lang="en-US" altLang="ko-KR" dirty="0"/>
              <a:t>(4/5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/>
              <a:t>KPMG</a:t>
            </a:r>
            <a:r>
              <a:rPr lang="ko-KR" altLang="en-US" dirty="0"/>
              <a:t>의 글로벌 방법론과 여러 선행 프로젝트를 통해 검증된 방법론을 종합하여 </a:t>
            </a:r>
            <a:r>
              <a:rPr lang="en-US" altLang="ko-KR" dirty="0"/>
              <a:t>NH</a:t>
            </a:r>
            <a:r>
              <a:rPr lang="ko-KR" altLang="en-US" dirty="0"/>
              <a:t>농협카드에 </a:t>
            </a:r>
            <a:r>
              <a:rPr lang="ko-KR" altLang="en-US" dirty="0" smtClean="0"/>
              <a:t>최적화 하였음</a:t>
            </a:r>
            <a:endParaRPr lang="ko-KR" altLang="en-US" dirty="0"/>
          </a:p>
        </p:txBody>
      </p:sp>
      <p:pic>
        <p:nvPicPr>
          <p:cNvPr id="9" name="Picture 40" descr="ITstrategy_cyc3_larg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24" y="1798166"/>
            <a:ext cx="581944" cy="583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273051" y="1422096"/>
            <a:ext cx="1367490" cy="3118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square" lIns="36000" tIns="36000" rIns="36000" bIns="3600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T Strategy Services</a:t>
            </a:r>
          </a:p>
        </p:txBody>
      </p:sp>
      <p:sp>
        <p:nvSpPr>
          <p:cNvPr id="17" name="직사각형 16"/>
          <p:cNvSpPr/>
          <p:nvPr/>
        </p:nvSpPr>
        <p:spPr bwMode="auto">
          <a:xfrm>
            <a:off x="7891763" y="5085257"/>
            <a:ext cx="1747281" cy="647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0" bIns="36000" rtlCol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r>
              <a:rPr kumimoji="1" lang="en-US" altLang="ko-KR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Point 5: </a:t>
            </a:r>
            <a:r>
              <a:rPr kumimoji="1" lang="en-US" altLang="ko-KR" sz="1101" kern="1200" spc="-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r>
              <a:rPr kumimoji="1" lang="ko-KR" altLang="en-US" sz="1101" kern="1200" spc="-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중요도를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감안한 </a:t>
            </a:r>
            <a:r>
              <a:rPr kumimoji="1" lang="ko-KR" altLang="en-US" sz="1101" kern="1200" spc="-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비용 효율적 </a:t>
            </a:r>
            <a:r>
              <a:rPr kumimoji="1" lang="ko-KR" altLang="en-US" sz="1101" spc="-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r>
              <a:rPr kumimoji="1" lang="ko-KR" altLang="en-US" sz="1101" kern="1200" spc="-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101" kern="1200" spc="-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계획 수립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7891763" y="1805528"/>
            <a:ext cx="1747281" cy="647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0" bIns="36000" rtlCol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r>
              <a:rPr kumimoji="1" lang="en-US" altLang="ko-KR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Point 1: 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nd-to-End </a:t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프로세스 연계 관점의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각 </a:t>
            </a:r>
            <a:r>
              <a:rPr kumimoji="1" lang="ko-KR" altLang="en-US" sz="110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</a:t>
            </a:r>
            <a:r>
              <a:rPr kumimoji="1" lang="ko-KR" altLang="en-US" sz="1101" kern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별 </a:t>
            </a: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이슈 분석</a:t>
            </a:r>
          </a:p>
        </p:txBody>
      </p:sp>
      <p:sp>
        <p:nvSpPr>
          <p:cNvPr id="19" name="TextBox 18"/>
          <p:cNvSpPr txBox="1"/>
          <p:nvPr/>
        </p:nvSpPr>
        <p:spPr bwMode="auto">
          <a:xfrm>
            <a:off x="7747744" y="1584526"/>
            <a:ext cx="360049" cy="503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1443" indent="-171443" algn="l" rtl="0" fontAlgn="base">
              <a:spcBef>
                <a:spcPct val="3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ko-KR" sz="2799" kern="120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2799" kern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7891763" y="2616523"/>
            <a:ext cx="1747281" cy="647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0" bIns="36000" rtlCol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r>
              <a:rPr kumimoji="1" lang="en-US" altLang="ko-KR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Point 2: </a:t>
            </a:r>
            <a:r>
              <a:rPr kumimoji="1" lang="ko-KR" altLang="en-US" sz="110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황 분석 및 타사 경험을 토대로 개선   기회 분석</a:t>
            </a:r>
            <a:endParaRPr kumimoji="1" lang="ko-KR" altLang="en-US" sz="110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7747744" y="2397242"/>
            <a:ext cx="360049" cy="503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1443" indent="-171443" algn="l" rtl="0" fontAlgn="base">
              <a:spcBef>
                <a:spcPct val="3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ko-KR" sz="2799" kern="120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2799" kern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7891763" y="3427518"/>
            <a:ext cx="1747281" cy="647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0" bIns="36000" rtlCol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r>
              <a:rPr kumimoji="1" lang="en-US" altLang="ko-KR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Point 3: </a:t>
            </a: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사</a:t>
            </a:r>
            <a:r>
              <a:rPr kumimoji="1" lang="ko-KR" altLang="en-US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시스템을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kern="1200" spc="-2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려한 통합 아키텍처 설계</a:t>
            </a:r>
          </a:p>
        </p:txBody>
      </p:sp>
      <p:sp>
        <p:nvSpPr>
          <p:cNvPr id="23" name="TextBox 22"/>
          <p:cNvSpPr txBox="1"/>
          <p:nvPr/>
        </p:nvSpPr>
        <p:spPr bwMode="auto">
          <a:xfrm>
            <a:off x="7747744" y="3209960"/>
            <a:ext cx="360049" cy="503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1443" indent="-171443" algn="l" rtl="0" fontAlgn="base">
              <a:spcBef>
                <a:spcPct val="3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ko-KR" sz="2799" kern="120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2799" kern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7891763" y="4274262"/>
            <a:ext cx="1747281" cy="647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36000" rIns="0" bIns="36000" rtlCol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C0C0C0"/>
              </a:buClr>
            </a:pPr>
            <a:r>
              <a:rPr kumimoji="1" lang="en-US" altLang="ko-KR" sz="1101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Point 4: </a:t>
            </a: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목표 시스템을 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최적으로 운영할 수 있는</a:t>
            </a:r>
            <a: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요소 검토</a:t>
            </a:r>
            <a:endParaRPr kumimoji="1" lang="ko-KR" altLang="en-US" sz="110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7747744" y="4060151"/>
            <a:ext cx="360049" cy="503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1443" indent="-171443" algn="l" rtl="0" fontAlgn="base">
              <a:spcBef>
                <a:spcPct val="3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ko-KR" sz="2799" kern="120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2799" kern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7747744" y="4872867"/>
            <a:ext cx="360049" cy="503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1443" indent="-171443" algn="l" rtl="0" fontAlgn="base">
              <a:spcBef>
                <a:spcPct val="3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ko-KR" sz="2799" kern="120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2799" kern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7896" y="5781330"/>
            <a:ext cx="537800" cy="455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24" y="2806565"/>
            <a:ext cx="574144" cy="575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273051" y="2437823"/>
            <a:ext cx="1367490" cy="3118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square" lIns="36000" tIns="36000" rIns="36000" bIns="36000" anchor="ctr"/>
          <a:lstStyle/>
          <a:p>
            <a:pPr algn="ctr" rtl="0" fontAlgn="base" latinLnBrk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0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Value Delivery Framework</a:t>
            </a:r>
            <a:endParaRPr lang="ko-KR" altLang="en-US" sz="10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02976" y="3855118"/>
            <a:ext cx="507640" cy="515194"/>
          </a:xfrm>
          <a:prstGeom prst="rect">
            <a:avLst/>
          </a:prstGeom>
        </p:spPr>
      </p:pic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273051" y="3498807"/>
            <a:ext cx="1367490" cy="3118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square" lIns="36000" tIns="36000" rIns="36000" bIns="3600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arget Operating Model</a:t>
            </a: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36831" y="4761104"/>
            <a:ext cx="507698" cy="507698"/>
          </a:xfrm>
          <a:prstGeom prst="rect">
            <a:avLst/>
          </a:prstGeom>
        </p:spPr>
      </p:pic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306935" y="4423651"/>
            <a:ext cx="1367490" cy="3118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square" lIns="36000" tIns="36000" rIns="36000" bIns="3600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T Asset Management</a:t>
            </a:r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273051" y="5393984"/>
            <a:ext cx="1367490" cy="3118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wrap="square" lIns="36000" tIns="36000" rIns="36000" bIns="3600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T Capability Assessment Model</a:t>
            </a:r>
          </a:p>
        </p:txBody>
      </p:sp>
      <p:cxnSp>
        <p:nvCxnSpPr>
          <p:cNvPr id="29" name="직선 화살표 연결선 28"/>
          <p:cNvCxnSpPr>
            <a:stCxn id="16" idx="3"/>
          </p:cNvCxnSpPr>
          <p:nvPr/>
        </p:nvCxnSpPr>
        <p:spPr bwMode="auto">
          <a:xfrm flipV="1">
            <a:off x="1225696" y="4130797"/>
            <a:ext cx="2389868" cy="187851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32" name="직선 화살표 연결선 31"/>
          <p:cNvCxnSpPr>
            <a:stCxn id="11" idx="3"/>
          </p:cNvCxnSpPr>
          <p:nvPr/>
        </p:nvCxnSpPr>
        <p:spPr bwMode="auto">
          <a:xfrm>
            <a:off x="1210616" y="4112715"/>
            <a:ext cx="1188985" cy="35973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35" name="직선 화살표 연결선 34"/>
          <p:cNvCxnSpPr>
            <a:stCxn id="13" idx="3"/>
          </p:cNvCxnSpPr>
          <p:nvPr/>
        </p:nvCxnSpPr>
        <p:spPr bwMode="auto">
          <a:xfrm flipV="1">
            <a:off x="1244529" y="4119486"/>
            <a:ext cx="2386115" cy="89546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42" name="직선 화살표 연결선 41"/>
          <p:cNvCxnSpPr>
            <a:stCxn id="7" idx="3"/>
          </p:cNvCxnSpPr>
          <p:nvPr/>
        </p:nvCxnSpPr>
        <p:spPr bwMode="auto">
          <a:xfrm>
            <a:off x="1243868" y="3094125"/>
            <a:ext cx="1155733" cy="50228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47" name="직선 화살표 연결선 46"/>
          <p:cNvCxnSpPr>
            <a:stCxn id="9" idx="3"/>
          </p:cNvCxnSpPr>
          <p:nvPr/>
        </p:nvCxnSpPr>
        <p:spPr bwMode="auto">
          <a:xfrm>
            <a:off x="1247768" y="2090112"/>
            <a:ext cx="2307567" cy="174614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7" name="직선 화살표 연결선 66"/>
          <p:cNvCxnSpPr>
            <a:stCxn id="11" idx="3"/>
          </p:cNvCxnSpPr>
          <p:nvPr/>
        </p:nvCxnSpPr>
        <p:spPr bwMode="auto">
          <a:xfrm flipV="1">
            <a:off x="1210616" y="3151647"/>
            <a:ext cx="1116833" cy="96106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71" name="직선 화살표 연결선 70"/>
          <p:cNvCxnSpPr>
            <a:stCxn id="9" idx="3"/>
          </p:cNvCxnSpPr>
          <p:nvPr/>
        </p:nvCxnSpPr>
        <p:spPr bwMode="auto">
          <a:xfrm>
            <a:off x="1247768" y="2090112"/>
            <a:ext cx="2307567" cy="9860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0" name="직선 화살표 연결선 59"/>
          <p:cNvCxnSpPr>
            <a:stCxn id="16" idx="3"/>
          </p:cNvCxnSpPr>
          <p:nvPr/>
        </p:nvCxnSpPr>
        <p:spPr bwMode="auto">
          <a:xfrm flipV="1">
            <a:off x="1225696" y="4452558"/>
            <a:ext cx="4264292" cy="155675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3" name="직선 화살표 연결선 62"/>
          <p:cNvCxnSpPr>
            <a:stCxn id="11" idx="3"/>
          </p:cNvCxnSpPr>
          <p:nvPr/>
        </p:nvCxnSpPr>
        <p:spPr bwMode="auto">
          <a:xfrm>
            <a:off x="1210616" y="4112715"/>
            <a:ext cx="2420028" cy="677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69" name="직선 화살표 연결선 68"/>
          <p:cNvCxnSpPr>
            <a:stCxn id="16" idx="3"/>
          </p:cNvCxnSpPr>
          <p:nvPr/>
        </p:nvCxnSpPr>
        <p:spPr bwMode="auto">
          <a:xfrm flipV="1">
            <a:off x="1225696" y="4814758"/>
            <a:ext cx="4573002" cy="119455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76" name="직선 화살표 연결선 75"/>
          <p:cNvCxnSpPr>
            <a:stCxn id="7" idx="3"/>
          </p:cNvCxnSpPr>
          <p:nvPr/>
        </p:nvCxnSpPr>
        <p:spPr bwMode="auto">
          <a:xfrm>
            <a:off x="1243868" y="3094125"/>
            <a:ext cx="2311467" cy="76748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dash"/>
            <a:round/>
            <a:headEnd type="oval" w="med" len="med"/>
            <a:tailEnd type="oval" w="med" len="med"/>
          </a:ln>
          <a:effectLst/>
        </p:spPr>
      </p:cxnSp>
      <p:sp>
        <p:nvSpPr>
          <p:cNvPr id="31" name="TextBox 30"/>
          <p:cNvSpPr txBox="1"/>
          <p:nvPr/>
        </p:nvSpPr>
        <p:spPr bwMode="auto">
          <a:xfrm rot="20640951">
            <a:off x="3846419" y="3674572"/>
            <a:ext cx="457731" cy="1538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l" rtl="0" fontAlgn="base">
              <a:spcBef>
                <a:spcPct val="30000"/>
              </a:spcBef>
              <a:spcAft>
                <a:spcPct val="0"/>
              </a:spcAft>
            </a:pPr>
            <a:r>
              <a:rPr lang="en-US" altLang="ko-KR" sz="1000" b="1" i="1" kern="1200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Point 2</a:t>
            </a:r>
            <a:endParaRPr lang="ko-KR" altLang="en-US" sz="1000" b="1" i="1" kern="1200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 rot="20640951">
            <a:off x="2533111" y="3623524"/>
            <a:ext cx="457731" cy="1538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l" rtl="0" fontAlgn="base">
              <a:spcBef>
                <a:spcPct val="30000"/>
              </a:spcBef>
              <a:spcAft>
                <a:spcPct val="0"/>
              </a:spcAft>
            </a:pPr>
            <a:r>
              <a:rPr lang="en-US" altLang="ko-KR" sz="1000" b="1" i="1" kern="1200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Point 1</a:t>
            </a:r>
            <a:endParaRPr lang="ko-KR" altLang="en-US" sz="1000" b="1" i="1" kern="1200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 rot="20640951">
            <a:off x="5275017" y="4209129"/>
            <a:ext cx="457731" cy="1538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l" rtl="0" fontAlgn="base">
              <a:spcBef>
                <a:spcPct val="30000"/>
              </a:spcBef>
              <a:spcAft>
                <a:spcPct val="0"/>
              </a:spcAft>
            </a:pPr>
            <a:r>
              <a:rPr lang="en-US" altLang="ko-KR" sz="1000" b="1" i="1" kern="1200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Point 3</a:t>
            </a:r>
            <a:endParaRPr lang="ko-KR" altLang="en-US" sz="1000" b="1" i="1" kern="1200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 rot="20640951">
            <a:off x="5811038" y="4779674"/>
            <a:ext cx="457731" cy="1538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l" rtl="0" fontAlgn="base">
              <a:spcBef>
                <a:spcPct val="30000"/>
              </a:spcBef>
              <a:spcAft>
                <a:spcPct val="0"/>
              </a:spcAft>
            </a:pPr>
            <a:r>
              <a:rPr lang="en-US" altLang="ko-KR" sz="1000" b="1" i="1" kern="1200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Point 4</a:t>
            </a:r>
            <a:endParaRPr lang="ko-KR" altLang="en-US" sz="1000" b="1" i="1" kern="1200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 bwMode="auto">
          <a:xfrm rot="20640951">
            <a:off x="6297233" y="4392259"/>
            <a:ext cx="457731" cy="1538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l" rtl="0" fontAlgn="base">
              <a:spcBef>
                <a:spcPct val="30000"/>
              </a:spcBef>
              <a:spcAft>
                <a:spcPct val="0"/>
              </a:spcAft>
            </a:pPr>
            <a:r>
              <a:rPr lang="en-US" altLang="ko-KR" sz="1000" b="1" i="1" kern="1200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Point 5</a:t>
            </a:r>
            <a:endParaRPr lang="ko-KR" altLang="en-US" sz="1000" b="1" i="1" kern="1200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292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수행</a:t>
            </a:r>
            <a:r>
              <a:rPr lang="en-US" altLang="ko-KR" dirty="0"/>
              <a:t> </a:t>
            </a:r>
            <a:r>
              <a:rPr lang="ko-KR" altLang="en-US" dirty="0"/>
              <a:t>방안 개요 </a:t>
            </a:r>
            <a:r>
              <a:rPr lang="en-US" altLang="ko-KR" dirty="0"/>
              <a:t>(5/5)</a:t>
            </a:r>
            <a:endParaRPr lang="ko-KR" altLang="en-US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전체 </a:t>
            </a:r>
            <a:r>
              <a:rPr lang="en-US" altLang="ko-KR" dirty="0"/>
              <a:t>9</a:t>
            </a:r>
            <a:r>
              <a:rPr lang="ko-KR" altLang="en-US" dirty="0"/>
              <a:t>개월간 </a:t>
            </a:r>
            <a:r>
              <a:rPr lang="en-US" altLang="ko-KR" dirty="0" smtClean="0"/>
              <a:t>As-Is </a:t>
            </a:r>
            <a:r>
              <a:rPr lang="ko-KR" altLang="en-US" dirty="0" smtClean="0"/>
              <a:t>현황분석</a:t>
            </a:r>
            <a:r>
              <a:rPr lang="en-US" altLang="ko-KR" dirty="0"/>
              <a:t>, </a:t>
            </a:r>
            <a:r>
              <a:rPr lang="ko-KR" altLang="en-US" dirty="0" smtClean="0"/>
              <a:t>과제</a:t>
            </a:r>
            <a:r>
              <a:rPr lang="en-US" altLang="ko-KR" dirty="0"/>
              <a:t> </a:t>
            </a:r>
            <a:r>
              <a:rPr lang="ko-KR" altLang="en-US" dirty="0" smtClean="0"/>
              <a:t>상세화</a:t>
            </a:r>
            <a:r>
              <a:rPr lang="en-US" altLang="ko-KR" dirty="0" smtClean="0"/>
              <a:t>, To-Be </a:t>
            </a:r>
            <a:r>
              <a:rPr lang="ko-KR" altLang="en-US" dirty="0" smtClean="0"/>
              <a:t>설계 및 개발계획 수립의 </a:t>
            </a:r>
            <a:r>
              <a:rPr lang="en-US" altLang="ko-KR" dirty="0" smtClean="0"/>
              <a:t>3</a:t>
            </a:r>
            <a:r>
              <a:rPr lang="ko-KR" altLang="en-US" dirty="0" smtClean="0"/>
              <a:t>단계로 진행함</a:t>
            </a:r>
            <a:endParaRPr lang="ko-KR" altLang="en-US" dirty="0"/>
          </a:p>
        </p:txBody>
      </p:sp>
      <p:sp>
        <p:nvSpPr>
          <p:cNvPr id="29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273049" y="1382999"/>
            <a:ext cx="9363273" cy="4918463"/>
            <a:chOff x="273049" y="1537071"/>
            <a:chExt cx="9363273" cy="4764391"/>
          </a:xfrm>
        </p:grpSpPr>
        <p:sp>
          <p:nvSpPr>
            <p:cNvPr id="180" name="TextBox 179"/>
            <p:cNvSpPr txBox="1"/>
            <p:nvPr>
              <p:custDataLst>
                <p:tags r:id="rId1"/>
              </p:custDataLst>
            </p:nvPr>
          </p:nvSpPr>
          <p:spPr>
            <a:xfrm>
              <a:off x="273049" y="5670006"/>
              <a:ext cx="684564" cy="622668"/>
            </a:xfrm>
            <a:prstGeom prst="rect">
              <a:avLst/>
            </a:prstGeom>
            <a:solidFill>
              <a:srgbClr val="800000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>
              <a:defPPr>
                <a:defRPr lang="en-US"/>
              </a:defPPr>
              <a:lvl1pPr algn="ctr" latinLnBrk="0">
                <a:spcBef>
                  <a:spcPct val="50000"/>
                </a:spcBef>
                <a:buClr>
                  <a:srgbClr val="C0C0C0"/>
                </a:buClr>
                <a:defRPr sz="1400"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r>
                <a:rPr lang="en-US" altLang="ko-KR" dirty="0"/>
                <a:t>Mile-</a:t>
              </a:r>
              <a:br>
                <a:rPr lang="en-US" altLang="ko-KR" dirty="0"/>
              </a:br>
              <a:r>
                <a:rPr lang="en-US" altLang="ko-KR" dirty="0"/>
                <a:t>stone</a:t>
              </a:r>
              <a:endParaRPr lang="ko-KR" altLang="en-US" dirty="0"/>
            </a:p>
          </p:txBody>
        </p:sp>
        <p:sp>
          <p:nvSpPr>
            <p:cNvPr id="181" name="TextBox 180"/>
            <p:cNvSpPr txBox="1"/>
            <p:nvPr>
              <p:custDataLst>
                <p:tags r:id="rId2"/>
              </p:custDataLst>
            </p:nvPr>
          </p:nvSpPr>
          <p:spPr>
            <a:xfrm>
              <a:off x="273049" y="2024184"/>
              <a:ext cx="684564" cy="2843548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>
              <a:defPPr>
                <a:defRPr lang="en-US"/>
              </a:defPPr>
              <a:lvl1pPr algn="ctr" latinLnBrk="0">
                <a:spcBef>
                  <a:spcPct val="50000"/>
                </a:spcBef>
                <a:buClr>
                  <a:srgbClr val="C0C0C0"/>
                </a:buClr>
                <a:defRPr kumimoji="1" sz="14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r>
                <a:rPr lang="en-US" altLang="ko-KR" dirty="0"/>
                <a:t>Biz</a:t>
              </a:r>
              <a:endParaRPr lang="ko-KR" altLang="en-US" dirty="0"/>
            </a:p>
          </p:txBody>
        </p:sp>
        <p:sp>
          <p:nvSpPr>
            <p:cNvPr id="182" name="TextBox 181"/>
            <p:cNvSpPr txBox="1"/>
            <p:nvPr>
              <p:custDataLst>
                <p:tags r:id="rId3"/>
              </p:custDataLst>
            </p:nvPr>
          </p:nvSpPr>
          <p:spPr>
            <a:xfrm>
              <a:off x="273049" y="4912929"/>
              <a:ext cx="684564" cy="71188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36000" rIns="0" bIns="36000" rtlCol="0" anchor="ctr"/>
            <a:lstStyle>
              <a:defPPr>
                <a:defRPr lang="en-US"/>
              </a:defPPr>
              <a:lvl1pPr algn="ctr" latinLnBrk="0">
                <a:spcBef>
                  <a:spcPct val="50000"/>
                </a:spcBef>
                <a:buClr>
                  <a:srgbClr val="C0C0C0"/>
                </a:buClr>
                <a:defRPr kumimoji="1" sz="1400"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r>
                <a:rPr lang="en-US" altLang="ko-KR" dirty="0" smtClean="0"/>
                <a:t>IT</a:t>
              </a:r>
              <a:endParaRPr lang="ko-KR" altLang="en-US" dirty="0"/>
            </a:p>
          </p:txBody>
        </p:sp>
        <p:sp>
          <p:nvSpPr>
            <p:cNvPr id="183" name="TextBox 182"/>
            <p:cNvSpPr txBox="1"/>
            <p:nvPr>
              <p:custDataLst>
                <p:tags r:id="rId4"/>
              </p:custDataLst>
            </p:nvPr>
          </p:nvSpPr>
          <p:spPr>
            <a:xfrm>
              <a:off x="1033087" y="5670005"/>
              <a:ext cx="8536944" cy="622669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-17780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4" name="Text Box 25"/>
            <p:cNvSpPr txBox="1">
              <a:spLocks noChangeArrowheads="1"/>
            </p:cNvSpPr>
            <p:nvPr/>
          </p:nvSpPr>
          <p:spPr bwMode="auto">
            <a:xfrm>
              <a:off x="848544" y="5872987"/>
              <a:ext cx="917308" cy="4015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algn="ctr" defTabSz="939800" fontAlgn="b">
                <a:lnSpc>
                  <a:spcPts val="1260"/>
                </a:lnSpc>
              </a:pP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Kick-off</a:t>
              </a:r>
              <a:b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고</a:t>
              </a:r>
            </a:p>
          </p:txBody>
        </p:sp>
        <p:sp>
          <p:nvSpPr>
            <p:cNvPr id="185" name="AutoShape 69"/>
            <p:cNvSpPr>
              <a:spLocks noChangeArrowheads="1"/>
            </p:cNvSpPr>
            <p:nvPr/>
          </p:nvSpPr>
          <p:spPr bwMode="auto">
            <a:xfrm>
              <a:off x="1232252" y="5723576"/>
              <a:ext cx="160286" cy="131928"/>
            </a:xfrm>
            <a:prstGeom prst="triangle">
              <a:avLst>
                <a:gd name="adj" fmla="val 50000"/>
              </a:avLst>
            </a:prstGeom>
            <a:solidFill>
              <a:srgbClr val="990000"/>
            </a:solidFill>
            <a:ln w="12700" algn="ctr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ko-KR" altLang="en-US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6" name="Text Box 25"/>
            <p:cNvSpPr txBox="1">
              <a:spLocks noChangeArrowheads="1"/>
            </p:cNvSpPr>
            <p:nvPr/>
          </p:nvSpPr>
          <p:spPr bwMode="auto">
            <a:xfrm>
              <a:off x="3806968" y="5872987"/>
              <a:ext cx="917308" cy="4284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algn="ctr" defTabSz="939800" fontAlgn="b">
                <a:lnSpc>
                  <a:spcPts val="1260"/>
                </a:lnSpc>
              </a:pP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차 보고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50" i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분석 결과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AutoShape 69"/>
            <p:cNvSpPr>
              <a:spLocks noChangeArrowheads="1"/>
            </p:cNvSpPr>
            <p:nvPr/>
          </p:nvSpPr>
          <p:spPr bwMode="auto">
            <a:xfrm>
              <a:off x="4190676" y="5723576"/>
              <a:ext cx="160286" cy="131928"/>
            </a:xfrm>
            <a:prstGeom prst="triangle">
              <a:avLst>
                <a:gd name="adj" fmla="val 50000"/>
              </a:avLst>
            </a:prstGeom>
            <a:solidFill>
              <a:srgbClr val="990000"/>
            </a:solidFill>
            <a:ln w="12700" algn="ctr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ko-KR" altLang="en-US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8" name="Text Box 25"/>
            <p:cNvSpPr txBox="1">
              <a:spLocks noChangeArrowheads="1"/>
            </p:cNvSpPr>
            <p:nvPr/>
          </p:nvSpPr>
          <p:spPr bwMode="auto">
            <a:xfrm>
              <a:off x="5265766" y="5872987"/>
              <a:ext cx="1512834" cy="4284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algn="ctr" defTabSz="939800" fontAlgn="b">
                <a:lnSpc>
                  <a:spcPts val="1260"/>
                </a:lnSpc>
              </a:pP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차 보고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50" i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50" i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AutoShape 69"/>
            <p:cNvSpPr>
              <a:spLocks noChangeArrowheads="1"/>
            </p:cNvSpPr>
            <p:nvPr/>
          </p:nvSpPr>
          <p:spPr bwMode="auto">
            <a:xfrm>
              <a:off x="5947388" y="5723576"/>
              <a:ext cx="160286" cy="131928"/>
            </a:xfrm>
            <a:prstGeom prst="triangle">
              <a:avLst>
                <a:gd name="adj" fmla="val 50000"/>
              </a:avLst>
            </a:prstGeom>
            <a:solidFill>
              <a:srgbClr val="990000"/>
            </a:solidFill>
            <a:ln w="12700" algn="ctr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ko-KR" altLang="en-US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0" name="Text Box 25"/>
            <p:cNvSpPr txBox="1">
              <a:spLocks noChangeArrowheads="1"/>
            </p:cNvSpPr>
            <p:nvPr/>
          </p:nvSpPr>
          <p:spPr bwMode="auto">
            <a:xfrm>
              <a:off x="6781350" y="5872987"/>
              <a:ext cx="2000774" cy="4284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algn="ctr" defTabSz="939800" fontAlgn="b">
                <a:lnSpc>
                  <a:spcPts val="1260"/>
                </a:lnSpc>
              </a:pP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차 보고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50" i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To-Be </a:t>
              </a: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아키텍처</a:t>
              </a:r>
              <a:r>
                <a:rPr lang="en-US" altLang="ko-KR" sz="1050" i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1" name="AutoShape 69"/>
            <p:cNvSpPr>
              <a:spLocks noChangeArrowheads="1"/>
            </p:cNvSpPr>
            <p:nvPr/>
          </p:nvSpPr>
          <p:spPr bwMode="auto">
            <a:xfrm>
              <a:off x="7760885" y="5723576"/>
              <a:ext cx="160286" cy="131928"/>
            </a:xfrm>
            <a:prstGeom prst="triangle">
              <a:avLst>
                <a:gd name="adj" fmla="val 50000"/>
              </a:avLst>
            </a:prstGeom>
            <a:solidFill>
              <a:srgbClr val="990000"/>
            </a:solidFill>
            <a:ln w="12700" algn="ctr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ko-KR" altLang="en-US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2" name="AutoShape 69"/>
            <p:cNvSpPr>
              <a:spLocks noChangeArrowheads="1"/>
            </p:cNvSpPr>
            <p:nvPr/>
          </p:nvSpPr>
          <p:spPr bwMode="auto">
            <a:xfrm>
              <a:off x="9221286" y="5723576"/>
              <a:ext cx="160286" cy="131928"/>
            </a:xfrm>
            <a:prstGeom prst="triangle">
              <a:avLst>
                <a:gd name="adj" fmla="val 50000"/>
              </a:avLst>
            </a:prstGeom>
            <a:solidFill>
              <a:srgbClr val="990000"/>
            </a:solidFill>
            <a:ln w="12700" algn="ctr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ko-KR" altLang="en-US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3" name="TextBox 192"/>
            <p:cNvSpPr txBox="1"/>
            <p:nvPr>
              <p:custDataLst>
                <p:tags r:id="rId5"/>
              </p:custDataLst>
            </p:nvPr>
          </p:nvSpPr>
          <p:spPr>
            <a:xfrm>
              <a:off x="1037798" y="2024185"/>
              <a:ext cx="3136659" cy="3600625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4" name="Chevron 21"/>
            <p:cNvSpPr/>
            <p:nvPr>
              <p:custDataLst>
                <p:tags r:id="rId6"/>
              </p:custDataLst>
            </p:nvPr>
          </p:nvSpPr>
          <p:spPr>
            <a:xfrm>
              <a:off x="1023965" y="1537071"/>
              <a:ext cx="3245662" cy="432540"/>
            </a:xfrm>
            <a:prstGeom prst="homePlate">
              <a:avLst>
                <a:gd name="adj" fmla="val 28453"/>
              </a:avLst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r>
                <a:rPr kumimoji="1" lang="en-US" altLang="en-US" sz="140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4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분석</a:t>
              </a:r>
              <a:endParaRPr kumimoji="1" lang="en-US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5" name="Rectangle 4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319063" y="2148375"/>
              <a:ext cx="2475137" cy="4685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 분류</a:t>
              </a:r>
            </a:p>
          </p:txBody>
        </p:sp>
        <p:sp>
          <p:nvSpPr>
            <p:cNvPr id="196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669149" y="3759358"/>
              <a:ext cx="1125051" cy="90112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슈 및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기회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분석</a:t>
              </a:r>
            </a:p>
          </p:txBody>
        </p:sp>
        <p:cxnSp>
          <p:nvCxnSpPr>
            <p:cNvPr id="197" name="직선 화살표 연결선 196"/>
            <p:cNvCxnSpPr>
              <a:stCxn id="195" idx="2"/>
              <a:endCxn id="232" idx="0"/>
            </p:cNvCxnSpPr>
            <p:nvPr/>
          </p:nvCxnSpPr>
          <p:spPr bwMode="auto">
            <a:xfrm>
              <a:off x="2556632" y="2616959"/>
              <a:ext cx="0" cy="20311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198" name="직선 화살표 연결선 211"/>
            <p:cNvCxnSpPr>
              <a:endCxn id="196" idx="0"/>
            </p:cNvCxnSpPr>
            <p:nvPr/>
          </p:nvCxnSpPr>
          <p:spPr bwMode="auto">
            <a:xfrm>
              <a:off x="3231675" y="3054878"/>
              <a:ext cx="0" cy="70448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199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319063" y="3759358"/>
              <a:ext cx="1125051" cy="90112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타사 사례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검토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0" name="직선 화살표 연결선 199"/>
            <p:cNvCxnSpPr>
              <a:stCxn id="199" idx="3"/>
              <a:endCxn id="196" idx="1"/>
            </p:cNvCxnSpPr>
            <p:nvPr/>
          </p:nvCxnSpPr>
          <p:spPr bwMode="auto">
            <a:xfrm>
              <a:off x="2444114" y="4209922"/>
              <a:ext cx="225035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01" name="TextBox 200"/>
            <p:cNvSpPr txBox="1"/>
            <p:nvPr>
              <p:custDataLst>
                <p:tags r:id="rId10"/>
              </p:custDataLst>
            </p:nvPr>
          </p:nvSpPr>
          <p:spPr>
            <a:xfrm>
              <a:off x="4342239" y="4913342"/>
              <a:ext cx="1610829" cy="723951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2" name="Chevron 21"/>
            <p:cNvSpPr/>
            <p:nvPr>
              <p:custDataLst>
                <p:tags r:id="rId11"/>
              </p:custDataLst>
            </p:nvPr>
          </p:nvSpPr>
          <p:spPr>
            <a:xfrm>
              <a:off x="4327795" y="1537071"/>
              <a:ext cx="1666808" cy="432540"/>
            </a:xfrm>
            <a:prstGeom prst="homePlate">
              <a:avLst>
                <a:gd name="adj" fmla="val 23383"/>
              </a:avLst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r>
                <a:rPr kumimoji="1" lang="ko-KR" altLang="en-US" sz="14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과제 상세화</a:t>
              </a:r>
              <a:endParaRPr kumimoji="1" lang="en-US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3" name="TextBox 202"/>
            <p:cNvSpPr txBox="1"/>
            <p:nvPr>
              <p:custDataLst>
                <p:tags r:id="rId12"/>
              </p:custDataLst>
            </p:nvPr>
          </p:nvSpPr>
          <p:spPr>
            <a:xfrm>
              <a:off x="4340556" y="2024185"/>
              <a:ext cx="1610829" cy="2843955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Rectangle 4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510424" y="2099173"/>
              <a:ext cx="1271092" cy="5669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Biz)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도출</a:t>
              </a:r>
            </a:p>
          </p:txBody>
        </p:sp>
        <p:sp>
          <p:nvSpPr>
            <p:cNvPr id="205" name="Rectangle 4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510424" y="3363103"/>
              <a:ext cx="1271092" cy="5669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Biz)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완</a:t>
              </a:r>
            </a:p>
          </p:txBody>
        </p:sp>
        <p:cxnSp>
          <p:nvCxnSpPr>
            <p:cNvPr id="206" name="직선 화살표 연결선 205"/>
            <p:cNvCxnSpPr>
              <a:stCxn id="204" idx="2"/>
              <a:endCxn id="205" idx="0"/>
            </p:cNvCxnSpPr>
            <p:nvPr/>
          </p:nvCxnSpPr>
          <p:spPr bwMode="auto">
            <a:xfrm>
              <a:off x="5145970" y="2666161"/>
              <a:ext cx="0" cy="69694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07" name="Rectangle 4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097016" y="5001045"/>
              <a:ext cx="789248" cy="56388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T)</a:t>
              </a:r>
            </a:p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확정 및 상세화</a:t>
              </a:r>
              <a:endParaRPr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8" name="연결선: 꺾임 180"/>
            <p:cNvCxnSpPr>
              <a:stCxn id="196" idx="3"/>
              <a:endCxn id="207" idx="0"/>
            </p:cNvCxnSpPr>
            <p:nvPr/>
          </p:nvCxnSpPr>
          <p:spPr bwMode="auto">
            <a:xfrm>
              <a:off x="3794200" y="4209922"/>
              <a:ext cx="1697440" cy="791123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09" name="TextBox 208"/>
            <p:cNvSpPr txBox="1"/>
            <p:nvPr>
              <p:custDataLst>
                <p:tags r:id="rId16"/>
              </p:custDataLst>
            </p:nvPr>
          </p:nvSpPr>
          <p:spPr>
            <a:xfrm>
              <a:off x="6085355" y="4912929"/>
              <a:ext cx="1706872" cy="711882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0" name="Chevron 21"/>
            <p:cNvSpPr/>
            <p:nvPr>
              <p:custDataLst>
                <p:tags r:id="rId17"/>
              </p:custDataLst>
            </p:nvPr>
          </p:nvSpPr>
          <p:spPr>
            <a:xfrm>
              <a:off x="6064053" y="1537071"/>
              <a:ext cx="3505974" cy="432540"/>
            </a:xfrm>
            <a:prstGeom prst="homePlate">
              <a:avLst>
                <a:gd name="adj" fmla="val 28453"/>
              </a:avLst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r>
                <a:rPr kumimoji="1" lang="en-US" altLang="en-US" sz="140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kumimoji="1" lang="ko-KR" altLang="en-US" sz="14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설계 및 </a:t>
              </a:r>
              <a:r>
                <a:rPr kumimoji="1" lang="ko-KR" altLang="en-US" sz="1400" dirty="0" smtClean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개발계획 수립</a:t>
              </a:r>
              <a:endParaRPr kumimoji="1" lang="en-US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1" name="TextBox 210"/>
            <p:cNvSpPr txBox="1"/>
            <p:nvPr>
              <p:custDataLst>
                <p:tags r:id="rId18"/>
              </p:custDataLst>
            </p:nvPr>
          </p:nvSpPr>
          <p:spPr>
            <a:xfrm>
              <a:off x="6083572" y="2024184"/>
              <a:ext cx="3486454" cy="2843955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2" name="TextBox 211"/>
            <p:cNvSpPr txBox="1"/>
            <p:nvPr>
              <p:custDataLst>
                <p:tags r:id="rId19"/>
              </p:custDataLst>
            </p:nvPr>
          </p:nvSpPr>
          <p:spPr>
            <a:xfrm>
              <a:off x="7863155" y="4670469"/>
              <a:ext cx="1706872" cy="954342"/>
            </a:xfrm>
            <a:prstGeom prst="rect">
              <a:avLst/>
            </a:prstGeom>
            <a:solidFill>
              <a:srgbClr val="D5D5D5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t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endParaRPr kumimoji="1" lang="ko-KR" alt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3" name="Rectangle 4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243160" y="2099173"/>
              <a:ext cx="1346879" cy="5669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체계 정의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4" name="Rectangle 4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243160" y="3363103"/>
              <a:ext cx="1346879" cy="5669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 작성 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기술서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5" name="Rectangle 43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815826" y="2780339"/>
              <a:ext cx="1542914" cy="4685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요건 정의</a:t>
              </a:r>
            </a:p>
          </p:txBody>
        </p:sp>
        <p:cxnSp>
          <p:nvCxnSpPr>
            <p:cNvPr id="216" name="직선 화살표 연결선 215"/>
            <p:cNvCxnSpPr>
              <a:stCxn id="213" idx="2"/>
              <a:endCxn id="214" idx="0"/>
            </p:cNvCxnSpPr>
            <p:nvPr/>
          </p:nvCxnSpPr>
          <p:spPr bwMode="auto">
            <a:xfrm>
              <a:off x="6916600" y="2666161"/>
              <a:ext cx="0" cy="69694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17" name="연결선: 꺾임 173"/>
            <p:cNvCxnSpPr>
              <a:stCxn id="205" idx="3"/>
              <a:endCxn id="213" idx="1"/>
            </p:cNvCxnSpPr>
            <p:nvPr/>
          </p:nvCxnSpPr>
          <p:spPr bwMode="auto">
            <a:xfrm flipV="1">
              <a:off x="5781516" y="2382667"/>
              <a:ext cx="461644" cy="126393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18" name="Rectangle 43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6243161" y="5309384"/>
              <a:ext cx="1346879" cy="29095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100" kern="0" spc="-15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100" kern="0" spc="-15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술요소 검토</a:t>
              </a:r>
              <a:endParaRPr lang="en-US" altLang="ko-KR" sz="110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9" name="Rectangle 4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245174" y="4939466"/>
              <a:ext cx="1346879" cy="29095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050" kern="0" spc="-15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o-Be </a:t>
              </a:r>
              <a:r>
                <a:rPr lang="ko-KR" altLang="en-US" sz="1050" kern="0" spc="-15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아키텍처 설계</a:t>
              </a:r>
              <a:r>
                <a:rPr lang="en-US" altLang="ko-KR" sz="1050" kern="0" spc="-15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50" kern="0" spc="-15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050" kern="0" spc="-15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AA/DA/TA/SA)</a:t>
              </a:r>
              <a:endParaRPr lang="ko-KR" altLang="en-US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20" name="연결선: 꺾임 188"/>
            <p:cNvCxnSpPr>
              <a:stCxn id="215" idx="2"/>
              <a:endCxn id="222" idx="0"/>
            </p:cNvCxnSpPr>
            <p:nvPr/>
          </p:nvCxnSpPr>
          <p:spPr bwMode="auto">
            <a:xfrm>
              <a:off x="8587283" y="3248925"/>
              <a:ext cx="1" cy="26079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21" name="Rectangle 4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8051593" y="4580153"/>
              <a:ext cx="1071381" cy="356642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프라 용량산정</a:t>
              </a:r>
              <a:endPara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2" name="Rectangle 4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8051593" y="3509720"/>
              <a:ext cx="1071381" cy="3566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발범위 정의</a:t>
              </a:r>
            </a:p>
          </p:txBody>
        </p:sp>
        <p:sp>
          <p:nvSpPr>
            <p:cNvPr id="223" name="Rectangle 4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051593" y="4044937"/>
              <a:ext cx="1071381" cy="3566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발일정 수립</a:t>
              </a:r>
            </a:p>
          </p:txBody>
        </p:sp>
        <p:sp>
          <p:nvSpPr>
            <p:cNvPr id="224" name="Rectangle 4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8051593" y="5115368"/>
              <a:ext cx="1071381" cy="356642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발비용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산정</a:t>
              </a:r>
            </a:p>
          </p:txBody>
        </p:sp>
        <p:sp>
          <p:nvSpPr>
            <p:cNvPr id="225" name="Rectangle 4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9196097" y="3509721"/>
              <a:ext cx="262608" cy="196229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발계획</a:t>
              </a: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수립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26" name="직선 화살표 연결선 225"/>
            <p:cNvCxnSpPr>
              <a:stCxn id="222" idx="2"/>
              <a:endCxn id="223" idx="0"/>
            </p:cNvCxnSpPr>
            <p:nvPr/>
          </p:nvCxnSpPr>
          <p:spPr bwMode="auto">
            <a:xfrm>
              <a:off x="8587284" y="3866363"/>
              <a:ext cx="0" cy="17857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27" name="직선 화살표 연결선 226"/>
            <p:cNvCxnSpPr>
              <a:stCxn id="223" idx="2"/>
              <a:endCxn id="221" idx="0"/>
            </p:cNvCxnSpPr>
            <p:nvPr/>
          </p:nvCxnSpPr>
          <p:spPr bwMode="auto">
            <a:xfrm>
              <a:off x="8587284" y="4401579"/>
              <a:ext cx="0" cy="17857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28" name="직선 화살표 연결선 227"/>
            <p:cNvCxnSpPr>
              <a:stCxn id="221" idx="2"/>
              <a:endCxn id="224" idx="0"/>
            </p:cNvCxnSpPr>
            <p:nvPr/>
          </p:nvCxnSpPr>
          <p:spPr bwMode="auto">
            <a:xfrm>
              <a:off x="8587284" y="4936795"/>
              <a:ext cx="0" cy="17857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29" name="직선 화살표 연결선 228"/>
            <p:cNvCxnSpPr>
              <a:stCxn id="219" idx="2"/>
              <a:endCxn id="218" idx="0"/>
            </p:cNvCxnSpPr>
            <p:nvPr/>
          </p:nvCxnSpPr>
          <p:spPr bwMode="auto">
            <a:xfrm flipH="1">
              <a:off x="6916601" y="5230421"/>
              <a:ext cx="2013" cy="7896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30" name="연결선: 꺾임 196"/>
            <p:cNvCxnSpPr>
              <a:stCxn id="218" idx="3"/>
              <a:endCxn id="221" idx="1"/>
            </p:cNvCxnSpPr>
            <p:nvPr/>
          </p:nvCxnSpPr>
          <p:spPr bwMode="auto">
            <a:xfrm flipV="1">
              <a:off x="7590040" y="4758474"/>
              <a:ext cx="461553" cy="69638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31" name="연결선: 꺾임 172"/>
            <p:cNvCxnSpPr>
              <a:stCxn id="196" idx="3"/>
              <a:endCxn id="204" idx="1"/>
            </p:cNvCxnSpPr>
            <p:nvPr/>
          </p:nvCxnSpPr>
          <p:spPr bwMode="auto">
            <a:xfrm flipV="1">
              <a:off x="3794200" y="2382667"/>
              <a:ext cx="716224" cy="1827255"/>
            </a:xfrm>
            <a:prstGeom prst="bentConnector3">
              <a:avLst>
                <a:gd name="adj1" fmla="val 61102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32" name="Rectangle 4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319063" y="2820077"/>
              <a:ext cx="2475137" cy="4685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프로세스 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성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기술서</a:t>
              </a: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3" name="Rectangle 4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224808" y="5048694"/>
              <a:ext cx="1690552" cy="4685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square" lIns="72000" rIns="72000" anchor="ctr"/>
            <a:lstStyle/>
            <a:p>
              <a:pPr algn="ctr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lang="ko-KR" altLang="en-US" sz="12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아키텍처 분석</a:t>
              </a:r>
            </a:p>
          </p:txBody>
        </p:sp>
        <p:cxnSp>
          <p:nvCxnSpPr>
            <p:cNvPr id="234" name="연결선: 꺾임 180"/>
            <p:cNvCxnSpPr>
              <a:stCxn id="214" idx="3"/>
              <a:endCxn id="215" idx="1"/>
            </p:cNvCxnSpPr>
            <p:nvPr/>
          </p:nvCxnSpPr>
          <p:spPr bwMode="auto">
            <a:xfrm flipV="1">
              <a:off x="7590039" y="3014632"/>
              <a:ext cx="225787" cy="63196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235" name="직선 화살표 연결선 234"/>
            <p:cNvCxnSpPr>
              <a:stCxn id="233" idx="3"/>
              <a:endCxn id="207" idx="1"/>
            </p:cNvCxnSpPr>
            <p:nvPr/>
          </p:nvCxnSpPr>
          <p:spPr bwMode="auto">
            <a:xfrm>
              <a:off x="4915360" y="5282987"/>
              <a:ext cx="181656" cy="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36" name="Text Box 25"/>
            <p:cNvSpPr txBox="1">
              <a:spLocks noChangeArrowheads="1"/>
            </p:cNvSpPr>
            <p:nvPr/>
          </p:nvSpPr>
          <p:spPr bwMode="auto">
            <a:xfrm>
              <a:off x="8864937" y="5872987"/>
              <a:ext cx="771385" cy="23436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algn="ctr" defTabSz="939800" fontAlgn="b">
                <a:lnSpc>
                  <a:spcPts val="1260"/>
                </a:lnSpc>
              </a:pPr>
              <a:r>
                <a:rPr lang="ko-KR" altLang="en-US" sz="1050" i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최종 보고</a:t>
              </a:r>
              <a:endPara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37" name="직선 화살표 연결선 236"/>
            <p:cNvCxnSpPr>
              <a:endCxn id="219" idx="1"/>
            </p:cNvCxnSpPr>
            <p:nvPr/>
          </p:nvCxnSpPr>
          <p:spPr bwMode="auto">
            <a:xfrm>
              <a:off x="5886264" y="5084943"/>
              <a:ext cx="358910" cy="1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2080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2703445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304798" y="2640660"/>
            <a:ext cx="4328154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lang="en-US" altLang="ko-KR" sz="2000" dirty="0" smtClean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설계 및 개발계획 수립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조직 및 일정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V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0870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금융 비즈니스 영역 별 참조 모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자료와 담당자 인터뷰를 통해 현행 업무 기능을 분석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Decomposition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방법론 기준으로 현행 업무의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Major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Sub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를 검토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 수행 관련 조직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I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인프라 지원 관점에서의 이슈 파악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담당자 인터뷰와 </a:t>
            </a:r>
            <a:r>
              <a:rPr lang="ko-KR" altLang="en-US" sz="1200" b="0" kern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서베이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필요 시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를 통해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농협카드 업무 처리 현황과 비즈니스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Pain Point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이슈를 정리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체계정의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4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9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비즈니스 현황 자료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As-Is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기능 조사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조직 별 직무정의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b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규정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매뉴얼 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를 근간으로 초안 작성</a:t>
            </a:r>
          </a:p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현업과의 인터뷰를 통한 프로세스 체계 정의 및 내용 검증</a:t>
            </a:r>
          </a:p>
        </p:txBody>
      </p:sp>
      <p:sp>
        <p:nvSpPr>
          <p:cNvPr id="513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algn="ctr" defTabSz="723900" latinLnBrk="0" hangingPunct="0">
              <a:lnSpc>
                <a:spcPct val="120000"/>
              </a:lnSpc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분해 및 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0" indent="-82550" algn="ctr" defTabSz="723900" latinLnBrk="0" hangingPunct="0">
              <a:lnSpc>
                <a:spcPct val="120000"/>
              </a:lnSpc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체계 정의</a:t>
            </a: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단위 별 해당 프로세스를 검증할 수 있는 현업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Key User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인터뷰 수행 </a:t>
            </a:r>
          </a:p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s-Is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별 주요 이슈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amp;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선 요구사항 수집</a:t>
            </a: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algn="ctr" defTabSz="723900" latinLnBrk="0" hangingPunct="0">
              <a:lnSpc>
                <a:spcPct val="120000"/>
              </a:lnSpc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처리 현황 및 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0" indent="-82550" algn="ctr" defTabSz="723900" latinLnBrk="0" hangingPunct="0">
              <a:lnSpc>
                <a:spcPct val="120000"/>
              </a:lnSpc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이슈 정리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</a:t>
            </a:r>
            <a:r>
              <a:rPr lang="en-US" altLang="ko-KR" sz="1400" kern="0" dirty="0" smtClean="0">
                <a:solidFill>
                  <a:srgbClr val="FFFFFF"/>
                </a:solidFill>
              </a:rPr>
              <a:t>.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프로젝트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분석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771834" y="1804313"/>
            <a:ext cx="886438" cy="146395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2701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 방법론 기준으로 자료 조사 또는 담당자 인터뷰를 수행하고 현행 프로세스 구조를 확인 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ajor/Sub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를 정의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613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해 및 체계 정의</a:t>
            </a: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처리 현황 및 이슈 정리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23" name="그룹 12"/>
          <p:cNvGrpSpPr>
            <a:grpSpLocks/>
          </p:cNvGrpSpPr>
          <p:nvPr/>
        </p:nvGrpSpPr>
        <p:grpSpPr bwMode="auto">
          <a:xfrm>
            <a:off x="8193087" y="1412776"/>
            <a:ext cx="1439863" cy="288925"/>
            <a:chOff x="8127790" y="1594840"/>
            <a:chExt cx="1440200" cy="289699"/>
          </a:xfrm>
        </p:grpSpPr>
        <p:cxnSp>
          <p:nvCxnSpPr>
            <p:cNvPr id="26" name="직선 연결선 13"/>
            <p:cNvCxnSpPr>
              <a:cxnSpLocks noChangeShapeType="1"/>
            </p:cNvCxnSpPr>
            <p:nvPr/>
          </p:nvCxnSpPr>
          <p:spPr bwMode="auto">
            <a:xfrm>
              <a:off x="8127790" y="1594840"/>
              <a:ext cx="1440200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직선 연결선 14"/>
            <p:cNvCxnSpPr>
              <a:cxnSpLocks noChangeShapeType="1"/>
            </p:cNvCxnSpPr>
            <p:nvPr/>
          </p:nvCxnSpPr>
          <p:spPr bwMode="auto">
            <a:xfrm>
              <a:off x="8127790" y="1628750"/>
              <a:ext cx="1440200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직선 연결선 15"/>
            <p:cNvCxnSpPr>
              <a:cxnSpLocks noChangeShapeType="1"/>
            </p:cNvCxnSpPr>
            <p:nvPr/>
          </p:nvCxnSpPr>
          <p:spPr bwMode="auto">
            <a:xfrm>
              <a:off x="8127790" y="1848970"/>
              <a:ext cx="1440200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직선 연결선 16"/>
            <p:cNvCxnSpPr>
              <a:cxnSpLocks noChangeShapeType="1"/>
            </p:cNvCxnSpPr>
            <p:nvPr/>
          </p:nvCxnSpPr>
          <p:spPr bwMode="auto">
            <a:xfrm>
              <a:off x="8127790" y="1882880"/>
              <a:ext cx="1440200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" name="TextBox 17"/>
            <p:cNvSpPr txBox="1">
              <a:spLocks noChangeArrowheads="1"/>
            </p:cNvSpPr>
            <p:nvPr/>
          </p:nvSpPr>
          <p:spPr bwMode="auto">
            <a:xfrm>
              <a:off x="8127790" y="1607540"/>
              <a:ext cx="144020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90488" indent="-90488" eaLnBrk="0" hangingPunct="0"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bg1"/>
                  </a:solidFill>
                  <a:latin typeface="Optima" panose="00000400000000000000" pitchFamily="2" charset="2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>
                <a:spcBef>
                  <a:spcPct val="30000"/>
                </a:spcBef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llustrative</a:t>
              </a:r>
              <a:endPara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89" name="그림 8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105" y="2403935"/>
            <a:ext cx="1709348" cy="7815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90" name="Text Box 7"/>
          <p:cNvSpPr txBox="1">
            <a:spLocks noChangeArrowheads="1"/>
          </p:cNvSpPr>
          <p:nvPr/>
        </p:nvSpPr>
        <p:spPr bwMode="auto">
          <a:xfrm>
            <a:off x="6230608" y="1988840"/>
            <a:ext cx="273459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업무흐름 관점의 프로세스 체계 정의</a:t>
            </a:r>
          </a:p>
        </p:txBody>
      </p:sp>
      <p:sp>
        <p:nvSpPr>
          <p:cNvPr id="91" name="Text Box 83"/>
          <p:cNvSpPr txBox="1">
            <a:spLocks noChangeArrowheads="1"/>
          </p:cNvSpPr>
          <p:nvPr/>
        </p:nvSpPr>
        <p:spPr bwMode="auto">
          <a:xfrm>
            <a:off x="2083544" y="1988923"/>
            <a:ext cx="294936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NH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농협카드 프로세스 모델 검토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2" name="Rectangle 95"/>
          <p:cNvSpPr>
            <a:spLocks noChangeArrowheads="1"/>
          </p:cNvSpPr>
          <p:nvPr/>
        </p:nvSpPr>
        <p:spPr bwMode="auto">
          <a:xfrm>
            <a:off x="5813021" y="3049475"/>
            <a:ext cx="3539899" cy="1803296"/>
          </a:xfrm>
          <a:prstGeom prst="rect">
            <a:avLst/>
          </a:prstGeom>
          <a:solidFill>
            <a:srgbClr val="FFFFCC"/>
          </a:solidFill>
          <a:ln w="19050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eaLnBrk="0" latinLnBrk="0" hangingPunct="0">
              <a:defRPr/>
            </a:pPr>
            <a:endParaRPr kumimoji="1"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Line 9"/>
          <p:cNvSpPr>
            <a:spLocks noChangeShapeType="1"/>
          </p:cNvSpPr>
          <p:nvPr/>
        </p:nvSpPr>
        <p:spPr bwMode="auto">
          <a:xfrm>
            <a:off x="6029123" y="2261024"/>
            <a:ext cx="3137566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endParaRPr lang="ko-KR" altLang="en-US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AutoShape 13"/>
          <p:cNvSpPr>
            <a:spLocks noChangeArrowheads="1"/>
          </p:cNvSpPr>
          <p:nvPr/>
        </p:nvSpPr>
        <p:spPr bwMode="gray">
          <a:xfrm>
            <a:off x="5989539" y="2374789"/>
            <a:ext cx="3072365" cy="2270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85725" indent="-85725" algn="ctr" defTabSz="528638" eaLnBrk="0" latinLnBrk="0" hangingPunct="0">
              <a:spcBef>
                <a:spcPct val="50000"/>
              </a:spcBef>
              <a:defRPr/>
            </a:pPr>
            <a:r>
              <a:rPr kumimoji="1" lang="en-US" altLang="ko-KR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Mega </a:t>
            </a:r>
            <a:r>
              <a:rPr kumimoji="1" lang="ko-KR" altLang="en-US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</a:t>
            </a:r>
            <a:endParaRPr kumimoji="1" lang="en-US" altLang="ko-KR" sz="1400" dirty="0">
              <a:solidFill>
                <a:prstClr val="black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Text Box 16"/>
          <p:cNvSpPr txBox="1">
            <a:spLocks noChangeArrowheads="1"/>
          </p:cNvSpPr>
          <p:nvPr/>
        </p:nvSpPr>
        <p:spPr bwMode="gray">
          <a:xfrm>
            <a:off x="5879811" y="2609806"/>
            <a:ext cx="3461772" cy="4420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marL="85725" indent="-85725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생하는 비즈니스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fe Cycle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순차적 단계로 기업 내 대규모 업무 기능의 동적 흐름을 나타냄</a:t>
            </a:r>
          </a:p>
        </p:txBody>
      </p:sp>
      <p:sp>
        <p:nvSpPr>
          <p:cNvPr id="96" name="Text Box 26"/>
          <p:cNvSpPr txBox="1">
            <a:spLocks noChangeArrowheads="1"/>
          </p:cNvSpPr>
          <p:nvPr/>
        </p:nvSpPr>
        <p:spPr bwMode="gray">
          <a:xfrm>
            <a:off x="5879811" y="3337431"/>
            <a:ext cx="3461772" cy="4420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marL="88900" indent="-88900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위 수준의 프로세스로서 유사한 단위기능을 그룹으로 분류한 집합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AutoShape 28"/>
          <p:cNvSpPr>
            <a:spLocks noChangeArrowheads="1"/>
          </p:cNvSpPr>
          <p:nvPr/>
        </p:nvSpPr>
        <p:spPr bwMode="gray">
          <a:xfrm>
            <a:off x="5989539" y="3738421"/>
            <a:ext cx="3072365" cy="22837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85725" indent="-85725" algn="ctr" defTabSz="528638" eaLnBrk="0" latinLnBrk="0" hangingPunct="0">
              <a:spcBef>
                <a:spcPct val="50000"/>
              </a:spcBef>
              <a:defRPr/>
            </a:pPr>
            <a:r>
              <a:rPr kumimoji="1" lang="en-US" altLang="ko-KR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Sub </a:t>
            </a:r>
            <a:r>
              <a:rPr kumimoji="1" lang="ko-KR" altLang="en-US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</a:t>
            </a:r>
            <a:endParaRPr kumimoji="1" lang="en-US" altLang="ko-KR" sz="1400" dirty="0">
              <a:solidFill>
                <a:prstClr val="black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 Box 31"/>
          <p:cNvSpPr txBox="1">
            <a:spLocks noChangeArrowheads="1"/>
          </p:cNvSpPr>
          <p:nvPr/>
        </p:nvSpPr>
        <p:spPr bwMode="gray">
          <a:xfrm>
            <a:off x="5879811" y="3960161"/>
            <a:ext cx="3461772" cy="848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marL="88900" indent="-88900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고객에게 가치 있는 결과를 산출하기 위해서 수행되는 단위기능으로서 업무</a:t>
            </a:r>
            <a:r>
              <a:rPr lang="ko-KR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Activity</a:t>
            </a:r>
            <a:r>
              <a:rPr lang="ko-KR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들의 집합 </a:t>
            </a:r>
          </a:p>
          <a:p>
            <a:pPr marL="88900" indent="-88900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시작과 끝을 가지며 서로 연결된 활동으로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구성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AutoShape 33"/>
          <p:cNvSpPr>
            <a:spLocks noChangeArrowheads="1"/>
          </p:cNvSpPr>
          <p:nvPr/>
        </p:nvSpPr>
        <p:spPr bwMode="gray">
          <a:xfrm>
            <a:off x="5976817" y="3121003"/>
            <a:ext cx="3099399" cy="22837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85725" indent="-85725" algn="ctr" defTabSz="528638" eaLnBrk="0" latinLnBrk="0" hangingPunct="0">
              <a:spcBef>
                <a:spcPct val="50000"/>
              </a:spcBef>
              <a:defRPr/>
            </a:pPr>
            <a:r>
              <a:rPr kumimoji="1" lang="en-US" altLang="ko-KR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Major </a:t>
            </a:r>
            <a:r>
              <a:rPr kumimoji="1" lang="ko-KR" altLang="en-US" sz="14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</a:t>
            </a:r>
            <a:endParaRPr kumimoji="1" lang="en-US" altLang="ko-KR" sz="1400" dirty="0">
              <a:solidFill>
                <a:prstClr val="black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Text Box 36"/>
          <p:cNvSpPr txBox="1">
            <a:spLocks noChangeArrowheads="1"/>
          </p:cNvSpPr>
          <p:nvPr/>
        </p:nvSpPr>
        <p:spPr bwMode="gray">
          <a:xfrm>
            <a:off x="5970456" y="5489613"/>
            <a:ext cx="3376413" cy="47896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marL="88900" indent="-88900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통상 하나의 팀 내에서 수행되는 단위업무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</a:p>
          <a:p>
            <a:pPr marL="88900" indent="-88900" defTabSz="528638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하나의 분리된 산출물을 생성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하는 </a:t>
            </a:r>
            <a:r>
              <a:rPr lang="ko-KR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단위</a:t>
            </a:r>
          </a:p>
        </p:txBody>
      </p:sp>
      <p:sp>
        <p:nvSpPr>
          <p:cNvPr id="101" name="Text Box 47"/>
          <p:cNvSpPr txBox="1">
            <a:spLocks noChangeArrowheads="1"/>
          </p:cNvSpPr>
          <p:nvPr/>
        </p:nvSpPr>
        <p:spPr bwMode="auto">
          <a:xfrm>
            <a:off x="1938302" y="3652116"/>
            <a:ext cx="3607080" cy="241912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A.  Major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확인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</a:t>
            </a: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KPMG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참조모델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참고하여 전사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Major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확정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2900" indent="-342900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B. 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기능 연계 확인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 </a:t>
            </a: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수행 단위의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Plan-Do-Se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사이클 검토 </a:t>
            </a: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상품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서비스 단위의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Plan-Do-Se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사이클 검토  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2900" indent="-342900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C. 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 간 연계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관계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확인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 </a:t>
            </a:r>
          </a:p>
          <a:p>
            <a:pPr marL="182563" indent="-90488" latinLnBrk="0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간 연계 정보 확인</a:t>
            </a:r>
          </a:p>
        </p:txBody>
      </p:sp>
      <p:sp>
        <p:nvSpPr>
          <p:cNvPr id="102" name="Line 84"/>
          <p:cNvSpPr>
            <a:spLocks noChangeShapeType="1"/>
          </p:cNvSpPr>
          <p:nvPr/>
        </p:nvSpPr>
        <p:spPr bwMode="auto">
          <a:xfrm>
            <a:off x="2080089" y="2250102"/>
            <a:ext cx="2956276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endParaRPr lang="ko-KR" altLang="en-US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Oval 92"/>
          <p:cNvSpPr>
            <a:spLocks noChangeArrowheads="1"/>
          </p:cNvSpPr>
          <p:nvPr/>
        </p:nvSpPr>
        <p:spPr bwMode="auto">
          <a:xfrm>
            <a:off x="1978466" y="3689825"/>
            <a:ext cx="225816" cy="172612"/>
          </a:xfrm>
          <a:prstGeom prst="ellipse">
            <a:avLst/>
          </a:prstGeom>
          <a:solidFill>
            <a:srgbClr val="000000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</a:t>
            </a:r>
          </a:p>
        </p:txBody>
      </p:sp>
      <p:sp>
        <p:nvSpPr>
          <p:cNvPr id="104" name="Oval 93"/>
          <p:cNvSpPr>
            <a:spLocks noChangeArrowheads="1"/>
          </p:cNvSpPr>
          <p:nvPr/>
        </p:nvSpPr>
        <p:spPr bwMode="auto">
          <a:xfrm>
            <a:off x="1976877" y="4619866"/>
            <a:ext cx="225816" cy="172612"/>
          </a:xfrm>
          <a:prstGeom prst="ellipse">
            <a:avLst/>
          </a:prstGeom>
          <a:solidFill>
            <a:srgbClr val="000000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105" name="Oval 94"/>
          <p:cNvSpPr>
            <a:spLocks noChangeArrowheads="1"/>
          </p:cNvSpPr>
          <p:nvPr/>
        </p:nvSpPr>
        <p:spPr bwMode="auto">
          <a:xfrm>
            <a:off x="1967335" y="5579823"/>
            <a:ext cx="225816" cy="171284"/>
          </a:xfrm>
          <a:prstGeom prst="ellipse">
            <a:avLst/>
          </a:prstGeom>
          <a:solidFill>
            <a:srgbClr val="000000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5757362" y="4925394"/>
            <a:ext cx="3872261" cy="26161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>
            <a:spAutoFit/>
          </a:bodyPr>
          <a:lstStyle/>
          <a:p>
            <a:pPr algn="ctr" latinLnBrk="0">
              <a:defRPr/>
            </a:pPr>
            <a:r>
              <a:rPr kumimoji="1" lang="en-US" altLang="ko-KR" sz="1100" i="1" dirty="0">
                <a:solidFill>
                  <a:srgbClr val="FF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As-Is </a:t>
            </a:r>
            <a:r>
              <a:rPr kumimoji="1" lang="ko-KR" altLang="en-US" sz="1100" i="1" dirty="0" smtClean="0">
                <a:solidFill>
                  <a:srgbClr val="FF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체계는 </a:t>
            </a:r>
            <a:r>
              <a:rPr kumimoji="1" lang="en-US" altLang="ko-KR" sz="1100" i="1" dirty="0">
                <a:solidFill>
                  <a:srgbClr val="FF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L3</a:t>
            </a:r>
            <a:r>
              <a:rPr kumimoji="1" lang="ko-KR" altLang="en-US" sz="1100" i="1" dirty="0">
                <a:solidFill>
                  <a:srgbClr val="FF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까지 확인</a:t>
            </a:r>
          </a:p>
        </p:txBody>
      </p:sp>
      <p:sp>
        <p:nvSpPr>
          <p:cNvPr id="107" name="AutoShape 18"/>
          <p:cNvSpPr>
            <a:spLocks noChangeArrowheads="1"/>
          </p:cNvSpPr>
          <p:nvPr/>
        </p:nvSpPr>
        <p:spPr bwMode="gray">
          <a:xfrm>
            <a:off x="5991129" y="5213434"/>
            <a:ext cx="3069184" cy="22837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85725" indent="-85725" algn="ctr" defTabSz="528638" eaLnBrk="0" latinLnBrk="0" hangingPunct="0">
              <a:spcBef>
                <a:spcPct val="50000"/>
              </a:spcBef>
              <a:defRPr/>
            </a:pPr>
            <a:r>
              <a:rPr kumimoji="1"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</a:t>
            </a:r>
          </a:p>
        </p:txBody>
      </p:sp>
      <p:sp>
        <p:nvSpPr>
          <p:cNvPr id="108" name="Oval 14"/>
          <p:cNvSpPr>
            <a:spLocks noChangeAspect="1" noChangeArrowheads="1"/>
          </p:cNvSpPr>
          <p:nvPr/>
        </p:nvSpPr>
        <p:spPr bwMode="gray">
          <a:xfrm>
            <a:off x="5843236" y="2376116"/>
            <a:ext cx="402333" cy="227051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85725" indent="-85725" algn="ctr" defTabSz="528638" eaLnBrk="0" latinLnBrk="0" hangingPunct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1</a:t>
            </a:r>
          </a:p>
        </p:txBody>
      </p:sp>
      <p:sp>
        <p:nvSpPr>
          <p:cNvPr id="109" name="Oval 19"/>
          <p:cNvSpPr>
            <a:spLocks noChangeAspect="1" noChangeArrowheads="1"/>
          </p:cNvSpPr>
          <p:nvPr/>
        </p:nvSpPr>
        <p:spPr bwMode="gray">
          <a:xfrm>
            <a:off x="5843236" y="5214762"/>
            <a:ext cx="418236" cy="228379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85725" indent="-85725" algn="ctr" defTabSz="528638" eaLnBrk="0" latinLnBrk="0" hangingPunct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4</a:t>
            </a:r>
          </a:p>
        </p:txBody>
      </p:sp>
      <p:sp>
        <p:nvSpPr>
          <p:cNvPr id="110" name="Oval 29"/>
          <p:cNvSpPr>
            <a:spLocks noChangeAspect="1" noChangeArrowheads="1"/>
          </p:cNvSpPr>
          <p:nvPr/>
        </p:nvSpPr>
        <p:spPr bwMode="gray">
          <a:xfrm>
            <a:off x="5848006" y="3739750"/>
            <a:ext cx="380070" cy="228379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85725" indent="-85725" algn="ctr" defTabSz="528638" eaLnBrk="0" latinLnBrk="0" hangingPunct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3</a:t>
            </a:r>
          </a:p>
        </p:txBody>
      </p:sp>
      <p:sp>
        <p:nvSpPr>
          <p:cNvPr id="111" name="Oval 34"/>
          <p:cNvSpPr>
            <a:spLocks noChangeAspect="1" noChangeArrowheads="1"/>
          </p:cNvSpPr>
          <p:nvPr/>
        </p:nvSpPr>
        <p:spPr bwMode="gray">
          <a:xfrm>
            <a:off x="5819382" y="3113036"/>
            <a:ext cx="383251" cy="227050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85725" indent="-85725" algn="ctr" defTabSz="528638" eaLnBrk="0" latinLnBrk="0" hangingPunct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2</a:t>
            </a:r>
          </a:p>
        </p:txBody>
      </p:sp>
      <p:pic>
        <p:nvPicPr>
          <p:cNvPr id="112" name="그림 1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069" y="2623606"/>
            <a:ext cx="1882054" cy="8432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3" name="직사각형 112"/>
          <p:cNvSpPr/>
          <p:nvPr/>
        </p:nvSpPr>
        <p:spPr bwMode="auto">
          <a:xfrm>
            <a:off x="1938642" y="2368149"/>
            <a:ext cx="1845941" cy="115518"/>
          </a:xfrm>
          <a:prstGeom prst="rect">
            <a:avLst/>
          </a:prstGeom>
          <a:noFill/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Oval 72"/>
          <p:cNvSpPr>
            <a:spLocks noChangeArrowheads="1"/>
          </p:cNvSpPr>
          <p:nvPr/>
        </p:nvSpPr>
        <p:spPr bwMode="auto">
          <a:xfrm>
            <a:off x="3715638" y="2276140"/>
            <a:ext cx="178673" cy="135526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</a:t>
            </a:r>
          </a:p>
        </p:txBody>
      </p:sp>
      <p:sp>
        <p:nvSpPr>
          <p:cNvPr id="115" name="직사각형 114"/>
          <p:cNvSpPr/>
          <p:nvPr/>
        </p:nvSpPr>
        <p:spPr bwMode="auto">
          <a:xfrm>
            <a:off x="1976808" y="2499599"/>
            <a:ext cx="1249597" cy="713019"/>
          </a:xfrm>
          <a:prstGeom prst="rect">
            <a:avLst/>
          </a:prstGeom>
          <a:noFill/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250600" y="2662916"/>
            <a:ext cx="371779" cy="1394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Oval 72"/>
          <p:cNvSpPr>
            <a:spLocks noChangeArrowheads="1"/>
          </p:cNvSpPr>
          <p:nvPr/>
        </p:nvSpPr>
        <p:spPr bwMode="auto">
          <a:xfrm>
            <a:off x="1859815" y="3144510"/>
            <a:ext cx="178673" cy="135526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3250600" y="2905901"/>
            <a:ext cx="371779" cy="1155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3703822" y="2662916"/>
            <a:ext cx="371779" cy="1394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3703822" y="2905900"/>
            <a:ext cx="371779" cy="1394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703822" y="3113034"/>
            <a:ext cx="371779" cy="1394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703822" y="3348051"/>
            <a:ext cx="371779" cy="99586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214292" y="2905900"/>
            <a:ext cx="371779" cy="139418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758158" y="2905900"/>
            <a:ext cx="371779" cy="239003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3260141" y="3348051"/>
            <a:ext cx="371779" cy="99586"/>
          </a:xfrm>
          <a:prstGeom prst="rect">
            <a:avLst/>
          </a:prstGeom>
          <a:solidFill>
            <a:srgbClr val="FFC000">
              <a:alpha val="30000"/>
            </a:srgbClr>
          </a:solidFill>
          <a:ln w="158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Oval 72"/>
          <p:cNvSpPr>
            <a:spLocks noChangeArrowheads="1"/>
          </p:cNvSpPr>
          <p:nvPr/>
        </p:nvSpPr>
        <p:spPr bwMode="auto">
          <a:xfrm>
            <a:off x="5003741" y="2845759"/>
            <a:ext cx="178673" cy="135526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</a:t>
            </a:r>
          </a:p>
        </p:txBody>
      </p:sp>
      <p:cxnSp>
        <p:nvCxnSpPr>
          <p:cNvPr id="127" name="구부러진 연결선 126"/>
          <p:cNvCxnSpPr>
            <a:stCxn id="126" idx="6"/>
            <a:endCxn id="110" idx="2"/>
          </p:cNvCxnSpPr>
          <p:nvPr/>
        </p:nvCxnSpPr>
        <p:spPr bwMode="auto">
          <a:xfrm>
            <a:off x="5182414" y="2913522"/>
            <a:ext cx="665592" cy="94041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8" name="구부러진 연결선 127"/>
          <p:cNvCxnSpPr>
            <a:stCxn id="117" idx="5"/>
            <a:endCxn id="111" idx="3"/>
          </p:cNvCxnSpPr>
          <p:nvPr/>
        </p:nvCxnSpPr>
        <p:spPr bwMode="auto">
          <a:xfrm rot="16200000" flipH="1">
            <a:off x="3920592" y="1351919"/>
            <a:ext cx="46646" cy="3863186"/>
          </a:xfrm>
          <a:prstGeom prst="curvedConnector3">
            <a:avLst>
              <a:gd name="adj1" fmla="val 661358"/>
            </a:avLst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9" name="구부러진 연결선 128"/>
          <p:cNvCxnSpPr>
            <a:stCxn id="114" idx="6"/>
            <a:endCxn id="108" idx="1"/>
          </p:cNvCxnSpPr>
          <p:nvPr/>
        </p:nvCxnSpPr>
        <p:spPr bwMode="auto">
          <a:xfrm>
            <a:off x="3894311" y="2343903"/>
            <a:ext cx="2007845" cy="65464"/>
          </a:xfrm>
          <a:prstGeom prst="curvedConnector2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sm" len="sm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25977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 후 주요 사용자 인터뷰 및 요구사항 수집을 통해 프로세스 별 다양한 이슈를 도출함</a:t>
            </a:r>
          </a:p>
        </p:txBody>
      </p:sp>
      <p:sp>
        <p:nvSpPr>
          <p:cNvPr id="5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해 및 체계 정의</a:t>
            </a: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처리 현황 및 이슈 정리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6249180" y="2103051"/>
            <a:ext cx="3257677" cy="10559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 프로세스 </a:t>
            </a:r>
            <a:r>
              <a:rPr lang="ko-KR" altLang="en-US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분석을 위한 </a:t>
            </a: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emplate </a:t>
            </a:r>
            <a:r>
              <a:rPr lang="ko-KR" altLang="en-US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확정</a:t>
            </a: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</a:t>
            </a:r>
          </a:p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-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목표 및 범위를 고려하여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As-Is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Inventory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의 정보 목록 및 </a:t>
            </a:r>
            <a:r>
              <a:rPr lang="en-US" altLang="ko-KR" sz="1200" b="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Level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을 조정하여 확정함  </a:t>
            </a:r>
          </a:p>
        </p:txBody>
      </p:sp>
      <p:sp>
        <p:nvSpPr>
          <p:cNvPr id="35" name="Rectangle 87"/>
          <p:cNvSpPr>
            <a:spLocks noChangeArrowheads="1"/>
          </p:cNvSpPr>
          <p:nvPr/>
        </p:nvSpPr>
        <p:spPr bwMode="auto">
          <a:xfrm>
            <a:off x="2006755" y="2167950"/>
            <a:ext cx="1193056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</a:t>
            </a:r>
          </a:p>
        </p:txBody>
      </p:sp>
      <p:sp>
        <p:nvSpPr>
          <p:cNvPr id="36" name="Rectangle 89"/>
          <p:cNvSpPr>
            <a:spLocks noChangeArrowheads="1"/>
          </p:cNvSpPr>
          <p:nvPr/>
        </p:nvSpPr>
        <p:spPr bwMode="auto">
          <a:xfrm>
            <a:off x="2004108" y="2583393"/>
            <a:ext cx="1198351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조직 </a:t>
            </a:r>
            <a:r>
              <a:rPr lang="en-US" altLang="ko-KR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사용자</a:t>
            </a:r>
          </a:p>
        </p:txBody>
      </p:sp>
      <p:sp>
        <p:nvSpPr>
          <p:cNvPr id="37" name="Rectangle 92"/>
          <p:cNvSpPr>
            <a:spLocks noChangeArrowheads="1"/>
          </p:cNvSpPr>
          <p:nvPr/>
        </p:nvSpPr>
        <p:spPr bwMode="auto">
          <a:xfrm>
            <a:off x="2004108" y="2998835"/>
            <a:ext cx="1198351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선</a:t>
            </a:r>
            <a:r>
              <a:rPr lang="en-US" altLang="ko-KR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후행 프로세스</a:t>
            </a:r>
          </a:p>
        </p:txBody>
      </p:sp>
      <p:sp>
        <p:nvSpPr>
          <p:cNvPr id="38" name="Rectangle 94"/>
          <p:cNvSpPr>
            <a:spLocks noChangeArrowheads="1"/>
          </p:cNvSpPr>
          <p:nvPr/>
        </p:nvSpPr>
        <p:spPr bwMode="auto">
          <a:xfrm>
            <a:off x="2004108" y="3414278"/>
            <a:ext cx="1198350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en-US" altLang="ko-KR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put &amp; Output</a:t>
            </a:r>
          </a:p>
        </p:txBody>
      </p:sp>
      <p:sp>
        <p:nvSpPr>
          <p:cNvPr id="39" name="Rectangle 96"/>
          <p:cNvSpPr>
            <a:spLocks noChangeArrowheads="1"/>
          </p:cNvSpPr>
          <p:nvPr/>
        </p:nvSpPr>
        <p:spPr bwMode="auto">
          <a:xfrm>
            <a:off x="2004108" y="3829720"/>
            <a:ext cx="1198351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시스템</a:t>
            </a:r>
          </a:p>
        </p:txBody>
      </p:sp>
      <p:sp>
        <p:nvSpPr>
          <p:cNvPr id="40" name="Rectangle 98"/>
          <p:cNvSpPr>
            <a:spLocks noChangeArrowheads="1"/>
          </p:cNvSpPr>
          <p:nvPr/>
        </p:nvSpPr>
        <p:spPr bwMode="auto">
          <a:xfrm>
            <a:off x="2004108" y="4245162"/>
            <a:ext cx="1198351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보</a:t>
            </a:r>
          </a:p>
        </p:txBody>
      </p:sp>
      <p:sp>
        <p:nvSpPr>
          <p:cNvPr id="41" name="Rectangle 100"/>
          <p:cNvSpPr>
            <a:spLocks noChangeArrowheads="1"/>
          </p:cNvSpPr>
          <p:nvPr/>
        </p:nvSpPr>
        <p:spPr bwMode="auto">
          <a:xfrm>
            <a:off x="2004108" y="4660604"/>
            <a:ext cx="1198350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 &amp; Control</a:t>
            </a:r>
          </a:p>
        </p:txBody>
      </p:sp>
      <p:sp>
        <p:nvSpPr>
          <p:cNvPr id="42" name="Rectangle 102"/>
          <p:cNvSpPr>
            <a:spLocks noChangeArrowheads="1"/>
          </p:cNvSpPr>
          <p:nvPr/>
        </p:nvSpPr>
        <p:spPr bwMode="auto">
          <a:xfrm>
            <a:off x="2004108" y="5076047"/>
            <a:ext cx="1198350" cy="36083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규정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지침</a:t>
            </a:r>
          </a:p>
        </p:txBody>
      </p:sp>
      <p:sp>
        <p:nvSpPr>
          <p:cNvPr id="43" name="Rectangle 115"/>
          <p:cNvSpPr>
            <a:spLocks noChangeArrowheads="1"/>
          </p:cNvSpPr>
          <p:nvPr/>
        </p:nvSpPr>
        <p:spPr bwMode="auto">
          <a:xfrm>
            <a:off x="1950646" y="2143925"/>
            <a:ext cx="1318363" cy="3354254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latinLnBrk="0">
              <a:defRPr/>
            </a:pPr>
            <a:endParaRPr lang="ko-KR" altLang="en-US" sz="12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Oval 116"/>
          <p:cNvSpPr>
            <a:spLocks noChangeArrowheads="1"/>
          </p:cNvSpPr>
          <p:nvPr/>
        </p:nvSpPr>
        <p:spPr bwMode="auto">
          <a:xfrm>
            <a:off x="4386574" y="1988840"/>
            <a:ext cx="222353" cy="198917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45" name="Rectangle 119"/>
          <p:cNvSpPr>
            <a:spLocks noChangeArrowheads="1"/>
          </p:cNvSpPr>
          <p:nvPr/>
        </p:nvSpPr>
        <p:spPr bwMode="auto">
          <a:xfrm>
            <a:off x="2006457" y="5600336"/>
            <a:ext cx="1198350" cy="308742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이슈 </a:t>
            </a:r>
            <a:r>
              <a:rPr lang="en-US" altLang="ko-KR" sz="12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2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요구사항</a:t>
            </a:r>
          </a:p>
        </p:txBody>
      </p:sp>
      <p:sp>
        <p:nvSpPr>
          <p:cNvPr id="46" name="Rectangle 117"/>
          <p:cNvSpPr>
            <a:spLocks noChangeArrowheads="1"/>
          </p:cNvSpPr>
          <p:nvPr/>
        </p:nvSpPr>
        <p:spPr bwMode="auto">
          <a:xfrm>
            <a:off x="3318836" y="2135486"/>
            <a:ext cx="2614443" cy="3362694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latinLnBrk="0">
              <a:defRPr/>
            </a:pPr>
            <a:endParaRPr lang="ko-KR" altLang="en-US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Rectangle 88"/>
          <p:cNvSpPr>
            <a:spLocks noChangeArrowheads="1"/>
          </p:cNvSpPr>
          <p:nvPr/>
        </p:nvSpPr>
        <p:spPr bwMode="auto">
          <a:xfrm>
            <a:off x="3408299" y="2189207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위 프로세스 정보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명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+ID,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정의</a:t>
            </a:r>
          </a:p>
        </p:txBody>
      </p:sp>
      <p:sp>
        <p:nvSpPr>
          <p:cNvPr id="48" name="Rectangle 90"/>
          <p:cNvSpPr>
            <a:spLocks noChangeArrowheads="1"/>
          </p:cNvSpPr>
          <p:nvPr/>
        </p:nvSpPr>
        <p:spPr bwMode="auto">
          <a:xfrm>
            <a:off x="3408299" y="2603160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주관조직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 수행 주체</a:t>
            </a:r>
          </a:p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유관조직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;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정보공유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협업 대상 </a:t>
            </a:r>
          </a:p>
        </p:txBody>
      </p:sp>
      <p:sp>
        <p:nvSpPr>
          <p:cNvPr id="49" name="Rectangle 93"/>
          <p:cNvSpPr>
            <a:spLocks noChangeArrowheads="1"/>
          </p:cNvSpPr>
          <p:nvPr/>
        </p:nvSpPr>
        <p:spPr bwMode="auto">
          <a:xfrm>
            <a:off x="3408299" y="3017113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의 선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후행 연계 포인트 </a:t>
            </a:r>
          </a:p>
        </p:txBody>
      </p:sp>
      <p:sp>
        <p:nvSpPr>
          <p:cNvPr id="50" name="Rectangle 95"/>
          <p:cNvSpPr>
            <a:spLocks noChangeArrowheads="1"/>
          </p:cNvSpPr>
          <p:nvPr/>
        </p:nvSpPr>
        <p:spPr bwMode="auto">
          <a:xfrm>
            <a:off x="3408299" y="3431065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수행을 위한 필수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입력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</a:br>
            <a:r>
              <a:rPr lang="ko-KR" altLang="en-US" sz="10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정보 </a:t>
            </a:r>
            <a:r>
              <a:rPr lang="ko-KR" altLang="en-US" sz="10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및 산출물 정보</a:t>
            </a:r>
          </a:p>
        </p:txBody>
      </p:sp>
      <p:sp>
        <p:nvSpPr>
          <p:cNvPr id="51" name="Rectangle 97"/>
          <p:cNvSpPr>
            <a:spLocks noChangeArrowheads="1"/>
          </p:cNvSpPr>
          <p:nvPr/>
        </p:nvSpPr>
        <p:spPr bwMode="auto">
          <a:xfrm>
            <a:off x="3408299" y="3845018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업무처리 시스템 명 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입력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조회</a:t>
            </a:r>
            <a:r>
              <a:rPr lang="en-US" altLang="ko-KR" sz="1000" b="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52" name="Rectangle 99"/>
          <p:cNvSpPr>
            <a:spLocks noChangeArrowheads="1"/>
          </p:cNvSpPr>
          <p:nvPr/>
        </p:nvSpPr>
        <p:spPr bwMode="auto">
          <a:xfrm>
            <a:off x="3408299" y="4258971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en-US" altLang="ko-KR" sz="10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requency, Lead Time, Transaction Volume</a:t>
            </a:r>
          </a:p>
        </p:txBody>
      </p:sp>
      <p:sp>
        <p:nvSpPr>
          <p:cNvPr id="53" name="Rectangle 101"/>
          <p:cNvSpPr>
            <a:spLocks noChangeArrowheads="1"/>
          </p:cNvSpPr>
          <p:nvPr/>
        </p:nvSpPr>
        <p:spPr bwMode="auto">
          <a:xfrm>
            <a:off x="3408299" y="4672922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리스크</a:t>
            </a:r>
            <a:r>
              <a:rPr lang="ko-KR" altLang="en-US" sz="10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관점의 관련 리스크 및 통제체계</a:t>
            </a:r>
          </a:p>
        </p:txBody>
      </p:sp>
      <p:sp>
        <p:nvSpPr>
          <p:cNvPr id="54" name="Rectangle 103"/>
          <p:cNvSpPr>
            <a:spLocks noChangeArrowheads="1"/>
          </p:cNvSpPr>
          <p:nvPr/>
        </p:nvSpPr>
        <p:spPr bwMode="auto">
          <a:xfrm>
            <a:off x="3408299" y="5086878"/>
            <a:ext cx="2376451" cy="3515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련 업무 규정 및 지침 정보</a:t>
            </a:r>
          </a:p>
        </p:txBody>
      </p:sp>
      <p:sp>
        <p:nvSpPr>
          <p:cNvPr id="55" name="Rectangle 120"/>
          <p:cNvSpPr>
            <a:spLocks noChangeArrowheads="1"/>
          </p:cNvSpPr>
          <p:nvPr/>
        </p:nvSpPr>
        <p:spPr bwMode="auto">
          <a:xfrm>
            <a:off x="3410905" y="5621595"/>
            <a:ext cx="2376451" cy="28748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atinLnBrk="0">
              <a:defRPr/>
            </a:pP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별 이슈 및 요구사항 정리</a:t>
            </a:r>
            <a:endParaRPr lang="ko-KR" altLang="en-US" sz="10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Oval 118"/>
          <p:cNvSpPr>
            <a:spLocks noChangeArrowheads="1"/>
          </p:cNvSpPr>
          <p:nvPr/>
        </p:nvSpPr>
        <p:spPr bwMode="auto">
          <a:xfrm>
            <a:off x="3249836" y="5472641"/>
            <a:ext cx="222353" cy="198916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</a:t>
            </a:r>
          </a:p>
        </p:txBody>
      </p:sp>
      <p:sp>
        <p:nvSpPr>
          <p:cNvPr id="57" name="Rectangle 121"/>
          <p:cNvSpPr>
            <a:spLocks noChangeArrowheads="1"/>
          </p:cNvSpPr>
          <p:nvPr/>
        </p:nvSpPr>
        <p:spPr bwMode="auto">
          <a:xfrm>
            <a:off x="1949161" y="5553354"/>
            <a:ext cx="3995737" cy="423966"/>
          </a:xfrm>
          <a:prstGeom prst="rect">
            <a:avLst/>
          </a:prstGeom>
          <a:noFill/>
          <a:ln w="635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latinLnBrk="0">
              <a:defRPr/>
            </a:pPr>
            <a:endParaRPr lang="ko-KR" altLang="en-US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Oval 111"/>
          <p:cNvSpPr>
            <a:spLocks noChangeArrowheads="1"/>
          </p:cNvSpPr>
          <p:nvPr/>
        </p:nvSpPr>
        <p:spPr bwMode="auto">
          <a:xfrm>
            <a:off x="2468852" y="1990293"/>
            <a:ext cx="222353" cy="198916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6249180" y="3471241"/>
            <a:ext cx="3257677" cy="10559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 As-Is </a:t>
            </a:r>
            <a:r>
              <a:rPr lang="ko-KR" altLang="en-US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</a:t>
            </a: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Inventory </a:t>
            </a:r>
            <a:r>
              <a:rPr lang="ko-KR" altLang="en-US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작성</a:t>
            </a: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 </a:t>
            </a:r>
          </a:p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- </a:t>
            </a:r>
            <a:r>
              <a:rPr lang="ko-KR" altLang="en-US" sz="1200" b="0" dirty="0" err="1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고객사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비즈니스 현황 자료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As-Is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기능 조사서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조직 별 직무정의서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규정</a:t>
            </a:r>
            <a:r>
              <a:rPr lang="en-US" altLang="ko-KR" sz="1200" b="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/ 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매뉴얼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등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를 근간으로 초안 작성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6249180" y="4790096"/>
            <a:ext cx="3257677" cy="10559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 현업 </a:t>
            </a:r>
            <a:r>
              <a:rPr lang="ko-KR" altLang="en-US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인터뷰를 통한 검증 및 이슈 확인</a:t>
            </a: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: </a:t>
            </a:r>
          </a:p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20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-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전체 업무 관점에서 해당 프로세스를 검증할 수 있는 현업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Key User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인터뷰 수행 </a:t>
            </a:r>
          </a:p>
          <a:p>
            <a:pPr marL="180975" indent="-180975" latinLnBrk="0">
              <a:spcBef>
                <a:spcPct val="20000"/>
              </a:spcBef>
              <a:buFont typeface="Wingdings" pitchFamily="2" charset="2"/>
              <a:buNone/>
            </a:pP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- As-Is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정의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내용 검증 및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주요 이슈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&amp;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요구사항 수집 정리</a:t>
            </a:r>
          </a:p>
        </p:txBody>
      </p:sp>
      <p:sp>
        <p:nvSpPr>
          <p:cNvPr id="61" name="Oval 126"/>
          <p:cNvSpPr>
            <a:spLocks noChangeArrowheads="1"/>
          </p:cNvSpPr>
          <p:nvPr/>
        </p:nvSpPr>
        <p:spPr bwMode="auto">
          <a:xfrm>
            <a:off x="6124804" y="2015711"/>
            <a:ext cx="222353" cy="198917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</a:t>
            </a:r>
          </a:p>
        </p:txBody>
      </p:sp>
      <p:sp>
        <p:nvSpPr>
          <p:cNvPr id="62" name="Oval 127"/>
          <p:cNvSpPr>
            <a:spLocks noChangeArrowheads="1"/>
          </p:cNvSpPr>
          <p:nvPr/>
        </p:nvSpPr>
        <p:spPr bwMode="auto">
          <a:xfrm>
            <a:off x="6112104" y="3377977"/>
            <a:ext cx="222353" cy="198917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63" name="Oval 128"/>
          <p:cNvSpPr>
            <a:spLocks noChangeArrowheads="1"/>
          </p:cNvSpPr>
          <p:nvPr/>
        </p:nvSpPr>
        <p:spPr bwMode="auto">
          <a:xfrm>
            <a:off x="6105124" y="4721497"/>
            <a:ext cx="222353" cy="198917"/>
          </a:xfrm>
          <a:prstGeom prst="ellipse">
            <a:avLst/>
          </a:prstGeom>
          <a:solidFill>
            <a:srgbClr val="000000"/>
          </a:solidFill>
          <a:ln w="6350" algn="ctr">
            <a:solidFill>
              <a:srgbClr val="777777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</a:t>
            </a:r>
          </a:p>
        </p:txBody>
      </p:sp>
      <p:grpSp>
        <p:nvGrpSpPr>
          <p:cNvPr id="64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5" name="TextBox 6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748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류를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를 작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분류 결과 도출된 단위업무별로 세부 업무 흐름을 도식화한 프로세스 흐름도를 작성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흐름도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기술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11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9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분류 작업을 통해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s-Is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위업무 및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위업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도출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흐름도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기술서는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단위업무별로 작성</a:t>
            </a:r>
          </a:p>
          <a:p>
            <a:pPr marL="185738" indent="-93663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ü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분류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Level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이 다층적이므로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작성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Level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은 적정 수준에서 결정해야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13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latinLnBrk="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작성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pic>
        <p:nvPicPr>
          <p:cNvPr id="22" name="그림 2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23" name="직사각형 22"/>
          <p:cNvSpPr/>
          <p:nvPr/>
        </p:nvSpPr>
        <p:spPr bwMode="auto">
          <a:xfrm>
            <a:off x="771834" y="2012965"/>
            <a:ext cx="886438" cy="146395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0765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I</a:t>
            </a:r>
            <a:r>
              <a:rPr lang="ko-KR" altLang="en-US" dirty="0"/>
              <a:t> 단계</a:t>
            </a:r>
            <a:r>
              <a:rPr lang="en-US" altLang="ko-KR" dirty="0"/>
              <a:t> </a:t>
            </a:r>
            <a:r>
              <a:rPr lang="ko-KR" altLang="en-US" dirty="0"/>
              <a:t>진행 로드맵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전체 </a:t>
            </a:r>
            <a:r>
              <a:rPr lang="en-US" altLang="ko-KR" dirty="0"/>
              <a:t>9</a:t>
            </a:r>
            <a:r>
              <a:rPr lang="ko-KR" altLang="en-US" dirty="0" smtClean="0"/>
              <a:t>개월 간 </a:t>
            </a:r>
            <a:r>
              <a:rPr lang="en-US" altLang="ko-KR" dirty="0" smtClean="0"/>
              <a:t>As-Is</a:t>
            </a:r>
            <a:r>
              <a:rPr lang="ko-KR" altLang="en-US" dirty="0" smtClean="0"/>
              <a:t> 분석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과제 </a:t>
            </a:r>
            <a:r>
              <a:rPr lang="ko-KR" altLang="en-US" dirty="0"/>
              <a:t>상세화</a:t>
            </a:r>
            <a:r>
              <a:rPr lang="en-US" altLang="ko-KR" dirty="0"/>
              <a:t>, </a:t>
            </a:r>
            <a:r>
              <a:rPr lang="en-US" altLang="ko-KR" dirty="0" smtClean="0"/>
              <a:t>To-Be </a:t>
            </a:r>
            <a:r>
              <a:rPr lang="ko-KR" altLang="en-US" dirty="0" smtClean="0"/>
              <a:t>설계 및</a:t>
            </a:r>
            <a:r>
              <a:rPr lang="en-US" altLang="ko-KR" dirty="0" smtClean="0"/>
              <a:t> </a:t>
            </a:r>
            <a:r>
              <a:rPr lang="ko-KR" altLang="en-US" dirty="0" smtClean="0"/>
              <a:t>개발계획 수립의 </a:t>
            </a:r>
            <a:r>
              <a:rPr lang="en-US" altLang="ko-KR" dirty="0"/>
              <a:t>3</a:t>
            </a:r>
            <a:r>
              <a:rPr lang="ko-KR" altLang="en-US" dirty="0" smtClean="0"/>
              <a:t>단계로 진행함</a:t>
            </a:r>
            <a:endParaRPr lang="ko-KR" altLang="en-US" dirty="0"/>
          </a:p>
        </p:txBody>
      </p:sp>
      <p:sp>
        <p:nvSpPr>
          <p:cNvPr id="87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진행 로드맵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70" name="왼쪽 대괄호 69"/>
          <p:cNvSpPr/>
          <p:nvPr/>
        </p:nvSpPr>
        <p:spPr bwMode="auto">
          <a:xfrm rot="5400000">
            <a:off x="5049827" y="689589"/>
            <a:ext cx="105574" cy="1549649"/>
          </a:xfrm>
          <a:prstGeom prst="leftBracke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>
            <a:off x="4827350" y="1274201"/>
            <a:ext cx="667697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왼쪽 대괄호 71"/>
          <p:cNvSpPr/>
          <p:nvPr/>
        </p:nvSpPr>
        <p:spPr bwMode="auto">
          <a:xfrm rot="5400000">
            <a:off x="7716279" y="-203473"/>
            <a:ext cx="105574" cy="3335772"/>
          </a:xfrm>
          <a:prstGeom prst="leftBracke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7451285" y="1274201"/>
            <a:ext cx="667697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5M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왼쪽 대괄호 73"/>
          <p:cNvSpPr/>
          <p:nvPr/>
        </p:nvSpPr>
        <p:spPr bwMode="auto">
          <a:xfrm rot="5400000">
            <a:off x="2540364" y="-82323"/>
            <a:ext cx="105574" cy="3093473"/>
          </a:xfrm>
          <a:prstGeom prst="leftBracke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2235550" y="1274201"/>
            <a:ext cx="667697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5M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TextBox 76"/>
          <p:cNvSpPr txBox="1"/>
          <p:nvPr>
            <p:custDataLst>
              <p:tags r:id="rId1"/>
            </p:custDataLst>
          </p:nvPr>
        </p:nvSpPr>
        <p:spPr>
          <a:xfrm>
            <a:off x="273049" y="5670006"/>
            <a:ext cx="684564" cy="622668"/>
          </a:xfrm>
          <a:prstGeom prst="rect">
            <a:avLst/>
          </a:prstGeom>
          <a:solidFill>
            <a:srgbClr val="800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Mile-</a:t>
            </a:r>
            <a:br>
              <a:rPr lang="en-US" altLang="ko-KR" dirty="0"/>
            </a:br>
            <a:r>
              <a:rPr lang="en-US" altLang="ko-KR" dirty="0"/>
              <a:t>stone</a:t>
            </a:r>
            <a:endParaRPr lang="ko-KR" altLang="en-US" dirty="0"/>
          </a:p>
        </p:txBody>
      </p:sp>
      <p:sp>
        <p:nvSpPr>
          <p:cNvPr id="78" name="TextBox 77"/>
          <p:cNvSpPr txBox="1"/>
          <p:nvPr>
            <p:custDataLst>
              <p:tags r:id="rId2"/>
            </p:custDataLst>
          </p:nvPr>
        </p:nvSpPr>
        <p:spPr>
          <a:xfrm>
            <a:off x="273049" y="2024184"/>
            <a:ext cx="684564" cy="2843548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kumimoji="1" sz="14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Biz</a:t>
            </a:r>
            <a:endParaRPr lang="ko-KR" altLang="en-US" dirty="0"/>
          </a:p>
        </p:txBody>
      </p:sp>
      <p:sp>
        <p:nvSpPr>
          <p:cNvPr id="79" name="TextBox 78"/>
          <p:cNvSpPr txBox="1"/>
          <p:nvPr>
            <p:custDataLst>
              <p:tags r:id="rId3"/>
            </p:custDataLst>
          </p:nvPr>
        </p:nvSpPr>
        <p:spPr>
          <a:xfrm>
            <a:off x="273049" y="4912929"/>
            <a:ext cx="684564" cy="711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kumimoji="1"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/>
              <a:t>IT</a:t>
            </a:r>
            <a:endParaRPr lang="ko-KR" altLang="en-US" dirty="0"/>
          </a:p>
        </p:txBody>
      </p:sp>
      <p:sp>
        <p:nvSpPr>
          <p:cNvPr id="80" name="TextBox 79"/>
          <p:cNvSpPr txBox="1"/>
          <p:nvPr>
            <p:custDataLst>
              <p:tags r:id="rId4"/>
            </p:custDataLst>
          </p:nvPr>
        </p:nvSpPr>
        <p:spPr>
          <a:xfrm>
            <a:off x="1033087" y="5670005"/>
            <a:ext cx="8536944" cy="622669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-17780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Text Box 25"/>
          <p:cNvSpPr txBox="1">
            <a:spLocks noChangeArrowheads="1"/>
          </p:cNvSpPr>
          <p:nvPr/>
        </p:nvSpPr>
        <p:spPr bwMode="auto">
          <a:xfrm>
            <a:off x="848544" y="5872987"/>
            <a:ext cx="917308" cy="42793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ick-off</a:t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</a:t>
            </a:r>
          </a:p>
        </p:txBody>
      </p:sp>
      <p:sp>
        <p:nvSpPr>
          <p:cNvPr id="83" name="AutoShape 69"/>
          <p:cNvSpPr>
            <a:spLocks noChangeArrowheads="1"/>
          </p:cNvSpPr>
          <p:nvPr/>
        </p:nvSpPr>
        <p:spPr bwMode="auto">
          <a:xfrm>
            <a:off x="1232252" y="5723576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Text Box 25"/>
          <p:cNvSpPr txBox="1">
            <a:spLocks noChangeArrowheads="1"/>
          </p:cNvSpPr>
          <p:nvPr/>
        </p:nvSpPr>
        <p:spPr bwMode="auto">
          <a:xfrm>
            <a:off x="3806968" y="5872987"/>
            <a:ext cx="917308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 결과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AutoShape 69"/>
          <p:cNvSpPr>
            <a:spLocks noChangeArrowheads="1"/>
          </p:cNvSpPr>
          <p:nvPr/>
        </p:nvSpPr>
        <p:spPr bwMode="auto">
          <a:xfrm>
            <a:off x="4190676" y="5723576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 Box 25"/>
          <p:cNvSpPr txBox="1">
            <a:spLocks noChangeArrowheads="1"/>
          </p:cNvSpPr>
          <p:nvPr/>
        </p:nvSpPr>
        <p:spPr bwMode="auto">
          <a:xfrm>
            <a:off x="5265766" y="5872987"/>
            <a:ext cx="1512834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AutoShape 69"/>
          <p:cNvSpPr>
            <a:spLocks noChangeArrowheads="1"/>
          </p:cNvSpPr>
          <p:nvPr/>
        </p:nvSpPr>
        <p:spPr bwMode="auto">
          <a:xfrm>
            <a:off x="5947388" y="5723576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Text Box 25"/>
          <p:cNvSpPr txBox="1">
            <a:spLocks noChangeArrowheads="1"/>
          </p:cNvSpPr>
          <p:nvPr/>
        </p:nvSpPr>
        <p:spPr bwMode="auto">
          <a:xfrm>
            <a:off x="6781350" y="5872987"/>
            <a:ext cx="2000774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To-Be 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AutoShape 69"/>
          <p:cNvSpPr>
            <a:spLocks noChangeArrowheads="1"/>
          </p:cNvSpPr>
          <p:nvPr/>
        </p:nvSpPr>
        <p:spPr bwMode="auto">
          <a:xfrm>
            <a:off x="7760885" y="5723576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AutoShape 69"/>
          <p:cNvSpPr>
            <a:spLocks noChangeArrowheads="1"/>
          </p:cNvSpPr>
          <p:nvPr/>
        </p:nvSpPr>
        <p:spPr bwMode="auto">
          <a:xfrm>
            <a:off x="9221286" y="5723576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TextBox 91"/>
          <p:cNvSpPr txBox="1"/>
          <p:nvPr>
            <p:custDataLst>
              <p:tags r:id="rId5"/>
            </p:custDataLst>
          </p:nvPr>
        </p:nvSpPr>
        <p:spPr>
          <a:xfrm>
            <a:off x="1037798" y="2024185"/>
            <a:ext cx="3136659" cy="360062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Chevron 21"/>
          <p:cNvSpPr/>
          <p:nvPr>
            <p:custDataLst>
              <p:tags r:id="rId6"/>
            </p:custDataLst>
          </p:nvPr>
        </p:nvSpPr>
        <p:spPr>
          <a:xfrm>
            <a:off x="1023965" y="1537071"/>
            <a:ext cx="3245662" cy="432540"/>
          </a:xfrm>
          <a:prstGeom prst="homePlate">
            <a:avLst>
              <a:gd name="adj" fmla="val 2845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en-US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Rectangle 4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9063" y="2148375"/>
            <a:ext cx="2475137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분류</a:t>
            </a:r>
          </a:p>
        </p:txBody>
      </p:sp>
      <p:sp>
        <p:nvSpPr>
          <p:cNvPr id="96" name="Rectangle 4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69149" y="3759358"/>
            <a:ext cx="1125051" cy="9011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 및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기회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cxnSp>
        <p:nvCxnSpPr>
          <p:cNvPr id="97" name="직선 화살표 연결선 96"/>
          <p:cNvCxnSpPr>
            <a:stCxn id="95" idx="2"/>
            <a:endCxn id="133" idx="0"/>
          </p:cNvCxnSpPr>
          <p:nvPr/>
        </p:nvCxnSpPr>
        <p:spPr bwMode="auto">
          <a:xfrm>
            <a:off x="2556632" y="2616959"/>
            <a:ext cx="0" cy="20311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8" name="직선 화살표 연결선 211"/>
          <p:cNvCxnSpPr>
            <a:endCxn id="96" idx="0"/>
          </p:cNvCxnSpPr>
          <p:nvPr/>
        </p:nvCxnSpPr>
        <p:spPr bwMode="auto">
          <a:xfrm>
            <a:off x="3231675" y="3054878"/>
            <a:ext cx="0" cy="70448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0" name="Rectangle 4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9063" y="3759358"/>
            <a:ext cx="1125051" cy="9011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사 사례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토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직선 화살표 연결선 100"/>
          <p:cNvCxnSpPr>
            <a:stCxn id="100" idx="3"/>
            <a:endCxn id="96" idx="1"/>
          </p:cNvCxnSpPr>
          <p:nvPr/>
        </p:nvCxnSpPr>
        <p:spPr bwMode="auto">
          <a:xfrm>
            <a:off x="2444114" y="4209922"/>
            <a:ext cx="22503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2" name="TextBox 101"/>
          <p:cNvSpPr txBox="1"/>
          <p:nvPr>
            <p:custDataLst>
              <p:tags r:id="rId10"/>
            </p:custDataLst>
          </p:nvPr>
        </p:nvSpPr>
        <p:spPr>
          <a:xfrm>
            <a:off x="4342239" y="4913342"/>
            <a:ext cx="1610829" cy="723951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Chevron 21"/>
          <p:cNvSpPr/>
          <p:nvPr>
            <p:custDataLst>
              <p:tags r:id="rId11"/>
            </p:custDataLst>
          </p:nvPr>
        </p:nvSpPr>
        <p:spPr>
          <a:xfrm>
            <a:off x="4327795" y="1537071"/>
            <a:ext cx="1666808" cy="432540"/>
          </a:xfrm>
          <a:prstGeom prst="homePlate">
            <a:avLst>
              <a:gd name="adj" fmla="val 2338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TextBox 103"/>
          <p:cNvSpPr txBox="1"/>
          <p:nvPr>
            <p:custDataLst>
              <p:tags r:id="rId12"/>
            </p:custDataLst>
          </p:nvPr>
        </p:nvSpPr>
        <p:spPr>
          <a:xfrm>
            <a:off x="4340556" y="2024185"/>
            <a:ext cx="1610829" cy="284395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Rectangle 4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10424" y="2099173"/>
            <a:ext cx="1271092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iz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</a:p>
        </p:txBody>
      </p:sp>
      <p:sp>
        <p:nvSpPr>
          <p:cNvPr id="106" name="Rectangle 4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10424" y="3363103"/>
            <a:ext cx="1271092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iz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완</a:t>
            </a:r>
          </a:p>
        </p:txBody>
      </p:sp>
      <p:cxnSp>
        <p:nvCxnSpPr>
          <p:cNvPr id="107" name="직선 화살표 연결선 106"/>
          <p:cNvCxnSpPr>
            <a:stCxn id="105" idx="2"/>
            <a:endCxn id="106" idx="0"/>
          </p:cNvCxnSpPr>
          <p:nvPr/>
        </p:nvCxnSpPr>
        <p:spPr bwMode="auto">
          <a:xfrm>
            <a:off x="5145970" y="2666161"/>
            <a:ext cx="0" cy="6969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8" name="Rectangle 4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97016" y="5001045"/>
            <a:ext cx="789248" cy="56388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IT)</a:t>
            </a:r>
          </a:p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정 및 상세화</a:t>
            </a: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9" name="연결선: 꺾임 180"/>
          <p:cNvCxnSpPr>
            <a:stCxn id="96" idx="3"/>
            <a:endCxn id="108" idx="0"/>
          </p:cNvCxnSpPr>
          <p:nvPr/>
        </p:nvCxnSpPr>
        <p:spPr bwMode="auto">
          <a:xfrm>
            <a:off x="3794200" y="4209922"/>
            <a:ext cx="1697440" cy="791123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10" name="TextBox 109"/>
          <p:cNvSpPr txBox="1"/>
          <p:nvPr>
            <p:custDataLst>
              <p:tags r:id="rId16"/>
            </p:custDataLst>
          </p:nvPr>
        </p:nvSpPr>
        <p:spPr>
          <a:xfrm>
            <a:off x="6085355" y="4912929"/>
            <a:ext cx="1706872" cy="711882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Chevron 21"/>
          <p:cNvSpPr/>
          <p:nvPr>
            <p:custDataLst>
              <p:tags r:id="rId17"/>
            </p:custDataLst>
          </p:nvPr>
        </p:nvSpPr>
        <p:spPr>
          <a:xfrm>
            <a:off x="6064053" y="1537071"/>
            <a:ext cx="3505974" cy="432540"/>
          </a:xfrm>
          <a:prstGeom prst="homePlate">
            <a:avLst>
              <a:gd name="adj" fmla="val 2845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en-US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설계 및 </a:t>
            </a:r>
            <a:r>
              <a:rPr kumimoji="1" lang="ko-KR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발계획 수립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TextBox 111"/>
          <p:cNvSpPr txBox="1"/>
          <p:nvPr>
            <p:custDataLst>
              <p:tags r:id="rId18"/>
            </p:custDataLst>
          </p:nvPr>
        </p:nvSpPr>
        <p:spPr>
          <a:xfrm>
            <a:off x="6083572" y="2024184"/>
            <a:ext cx="3486454" cy="284395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TextBox 112"/>
          <p:cNvSpPr txBox="1"/>
          <p:nvPr>
            <p:custDataLst>
              <p:tags r:id="rId19"/>
            </p:custDataLst>
          </p:nvPr>
        </p:nvSpPr>
        <p:spPr>
          <a:xfrm>
            <a:off x="7863155" y="4670469"/>
            <a:ext cx="1706872" cy="954342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Rectangle 4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243160" y="2099173"/>
            <a:ext cx="1346879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계 정의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Rectangle 4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243160" y="3363103"/>
            <a:ext cx="1346879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작성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기술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Rectangle 4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815826" y="2780339"/>
            <a:ext cx="1542914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건 정의</a:t>
            </a:r>
          </a:p>
        </p:txBody>
      </p:sp>
      <p:cxnSp>
        <p:nvCxnSpPr>
          <p:cNvPr id="117" name="직선 화살표 연결선 116"/>
          <p:cNvCxnSpPr>
            <a:stCxn id="114" idx="2"/>
            <a:endCxn id="115" idx="0"/>
          </p:cNvCxnSpPr>
          <p:nvPr/>
        </p:nvCxnSpPr>
        <p:spPr bwMode="auto">
          <a:xfrm>
            <a:off x="6916600" y="2666161"/>
            <a:ext cx="0" cy="6969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8" name="연결선: 꺾임 173"/>
          <p:cNvCxnSpPr>
            <a:stCxn id="106" idx="3"/>
            <a:endCxn id="114" idx="1"/>
          </p:cNvCxnSpPr>
          <p:nvPr/>
        </p:nvCxnSpPr>
        <p:spPr bwMode="auto">
          <a:xfrm flipV="1">
            <a:off x="5781516" y="2382667"/>
            <a:ext cx="461644" cy="126393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19" name="Rectangle 4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43161" y="5309384"/>
            <a:ext cx="1346879" cy="29095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10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요소 검토</a:t>
            </a:r>
            <a:endParaRPr lang="en-US" altLang="ko-KR" sz="110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Rectangle 4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45174" y="4939466"/>
            <a:ext cx="1346879" cy="29095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 설계</a:t>
            </a:r>
            <a: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AA/DA/TA/SA)</a:t>
            </a:r>
            <a:endParaRPr lang="ko-KR" altLang="en-US" sz="105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1" name="연결선: 꺾임 188"/>
          <p:cNvCxnSpPr>
            <a:stCxn id="116" idx="2"/>
            <a:endCxn id="123" idx="0"/>
          </p:cNvCxnSpPr>
          <p:nvPr/>
        </p:nvCxnSpPr>
        <p:spPr bwMode="auto">
          <a:xfrm>
            <a:off x="8587283" y="3248925"/>
            <a:ext cx="1" cy="26079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22" name="Rectangle 4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051593" y="4580153"/>
            <a:ext cx="1071381" cy="3566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프라 용량산정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Rectangle 4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051593" y="3509720"/>
            <a:ext cx="1071381" cy="35664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범위 정의</a:t>
            </a:r>
          </a:p>
        </p:txBody>
      </p:sp>
      <p:sp>
        <p:nvSpPr>
          <p:cNvPr id="124" name="Rectangle 4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051593" y="4044937"/>
            <a:ext cx="1071381" cy="35664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일정 수립</a:t>
            </a:r>
          </a:p>
        </p:txBody>
      </p:sp>
      <p:sp>
        <p:nvSpPr>
          <p:cNvPr id="125" name="Rectangle 4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051593" y="5115368"/>
            <a:ext cx="1071381" cy="3566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비용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정</a:t>
            </a:r>
          </a:p>
        </p:txBody>
      </p:sp>
      <p:sp>
        <p:nvSpPr>
          <p:cNvPr id="126" name="Rectangle 4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9196097" y="3509721"/>
            <a:ext cx="262608" cy="196229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계획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립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7" name="직선 화살표 연결선 126"/>
          <p:cNvCxnSpPr>
            <a:stCxn id="123" idx="2"/>
            <a:endCxn id="124" idx="0"/>
          </p:cNvCxnSpPr>
          <p:nvPr/>
        </p:nvCxnSpPr>
        <p:spPr bwMode="auto">
          <a:xfrm>
            <a:off x="8587284" y="3866363"/>
            <a:ext cx="0" cy="1785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8" name="직선 화살표 연결선 127"/>
          <p:cNvCxnSpPr>
            <a:stCxn id="124" idx="2"/>
            <a:endCxn id="122" idx="0"/>
          </p:cNvCxnSpPr>
          <p:nvPr/>
        </p:nvCxnSpPr>
        <p:spPr bwMode="auto">
          <a:xfrm>
            <a:off x="8587284" y="4401579"/>
            <a:ext cx="0" cy="1785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29" name="직선 화살표 연결선 128"/>
          <p:cNvCxnSpPr>
            <a:stCxn id="122" idx="2"/>
            <a:endCxn id="125" idx="0"/>
          </p:cNvCxnSpPr>
          <p:nvPr/>
        </p:nvCxnSpPr>
        <p:spPr bwMode="auto">
          <a:xfrm>
            <a:off x="8587284" y="4936795"/>
            <a:ext cx="0" cy="17857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0" name="직선 화살표 연결선 129"/>
          <p:cNvCxnSpPr>
            <a:stCxn id="120" idx="2"/>
            <a:endCxn id="119" idx="0"/>
          </p:cNvCxnSpPr>
          <p:nvPr/>
        </p:nvCxnSpPr>
        <p:spPr bwMode="auto">
          <a:xfrm flipH="1">
            <a:off x="6916601" y="5230421"/>
            <a:ext cx="2013" cy="7896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1" name="연결선: 꺾임 196"/>
          <p:cNvCxnSpPr>
            <a:stCxn id="119" idx="3"/>
            <a:endCxn id="122" idx="1"/>
          </p:cNvCxnSpPr>
          <p:nvPr/>
        </p:nvCxnSpPr>
        <p:spPr bwMode="auto">
          <a:xfrm flipV="1">
            <a:off x="7590040" y="4758474"/>
            <a:ext cx="461553" cy="69638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2" name="연결선: 꺾임 172"/>
          <p:cNvCxnSpPr>
            <a:stCxn id="96" idx="3"/>
            <a:endCxn id="105" idx="1"/>
          </p:cNvCxnSpPr>
          <p:nvPr/>
        </p:nvCxnSpPr>
        <p:spPr bwMode="auto">
          <a:xfrm flipV="1">
            <a:off x="3794200" y="2382667"/>
            <a:ext cx="716224" cy="1827255"/>
          </a:xfrm>
          <a:prstGeom prst="bentConnector3">
            <a:avLst>
              <a:gd name="adj1" fmla="val 61102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3" name="Rectangle 4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319063" y="2820077"/>
            <a:ext cx="2475137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작성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기술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Rectangle 4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224808" y="5048694"/>
            <a:ext cx="1690552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 분석</a:t>
            </a:r>
          </a:p>
        </p:txBody>
      </p:sp>
      <p:cxnSp>
        <p:nvCxnSpPr>
          <p:cNvPr id="135" name="연결선: 꺾임 180"/>
          <p:cNvCxnSpPr>
            <a:stCxn id="115" idx="3"/>
            <a:endCxn id="116" idx="1"/>
          </p:cNvCxnSpPr>
          <p:nvPr/>
        </p:nvCxnSpPr>
        <p:spPr bwMode="auto">
          <a:xfrm flipV="1">
            <a:off x="7590039" y="3014632"/>
            <a:ext cx="225787" cy="63196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6" name="직선 화살표 연결선 135"/>
          <p:cNvCxnSpPr>
            <a:stCxn id="134" idx="3"/>
            <a:endCxn id="108" idx="1"/>
          </p:cNvCxnSpPr>
          <p:nvPr/>
        </p:nvCxnSpPr>
        <p:spPr bwMode="auto">
          <a:xfrm>
            <a:off x="4915360" y="5282987"/>
            <a:ext cx="181656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7" name="Text Box 25"/>
          <p:cNvSpPr txBox="1">
            <a:spLocks noChangeArrowheads="1"/>
          </p:cNvSpPr>
          <p:nvPr/>
        </p:nvSpPr>
        <p:spPr bwMode="auto">
          <a:xfrm>
            <a:off x="8864937" y="5872987"/>
            <a:ext cx="771385" cy="26122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ko-KR" altLang="en-US" sz="105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보고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8" name="직선 화살표 연결선 137"/>
          <p:cNvCxnSpPr>
            <a:endCxn id="120" idx="1"/>
          </p:cNvCxnSpPr>
          <p:nvPr/>
        </p:nvCxnSpPr>
        <p:spPr bwMode="auto">
          <a:xfrm>
            <a:off x="5886264" y="5084943"/>
            <a:ext cx="358910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81780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의 주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ol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 프로세스 흐름도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기술서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작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4688" y="2249423"/>
            <a:ext cx="4446393" cy="1755641"/>
          </a:xfrm>
          <a:prstGeom prst="rect">
            <a:avLst/>
          </a:prstGeom>
        </p:spPr>
      </p:pic>
      <p:graphicFrame>
        <p:nvGraphicFramePr>
          <p:cNvPr id="34" name="내용 개체 틀 2"/>
          <p:cNvGraphicFramePr>
            <a:graphicFrameLocks/>
          </p:cNvGraphicFramePr>
          <p:nvPr>
            <p:extLst/>
          </p:nvPr>
        </p:nvGraphicFramePr>
        <p:xfrm>
          <a:off x="2216696" y="4607759"/>
          <a:ext cx="4374384" cy="1589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67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4679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7840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 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/</a:t>
                      </a: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 설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 조직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점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련 조직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)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 시스템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A, TA)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명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TR)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천 데이터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Input Data)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과 데이터</a:t>
                      </a: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Output Data)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 및</a:t>
                      </a:r>
                      <a: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기회</a:t>
                      </a:r>
                      <a: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</a:t>
                      </a:r>
                      <a: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  <a:r>
                        <a:rPr lang="en-US" altLang="ko-KR" sz="7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aseline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aseline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프라 관점</a:t>
                      </a:r>
                      <a:r>
                        <a:rPr lang="en-US" altLang="ko-KR" sz="700" baseline="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2892"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2892"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5" name="TextBox 34"/>
          <p:cNvSpPr txBox="1"/>
          <p:nvPr/>
        </p:nvSpPr>
        <p:spPr bwMode="auto">
          <a:xfrm>
            <a:off x="2792760" y="1916832"/>
            <a:ext cx="3312368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흐름도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2711700" y="4221088"/>
            <a:ext cx="3312368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기술서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6753200" y="2249423"/>
            <a:ext cx="2736304" cy="1476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단위업무의 세부 활동 흐름과 수행 주체를 시간 순서대로 작성</a:t>
            </a: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활동 분류 수준은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PI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및 시스템 구축 목적 수준으로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정함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프로세스 분석의 주요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Tool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로써 업무기술서와 동시 작성</a:t>
            </a:r>
            <a:b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</a:br>
            <a:endParaRPr lang="ko-KR" altLang="en-US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6753200" y="4607759"/>
            <a:ext cx="2736304" cy="1236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단위업무 내 각 활동 수행을 위한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/>
                <a:ea typeface="맑은 고딕"/>
              </a:rPr>
              <a:t>시스템명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(AA, TA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관점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),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/>
                <a:ea typeface="맑은 고딕"/>
              </a:rPr>
              <a:t>화면명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Input Data, Output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식별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단위업무별 이슈 및 개선기회를 종합 정리하여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MP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개선과제에 추가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보완하여 개선과제 확정</a:t>
            </a:r>
          </a:p>
        </p:txBody>
      </p:sp>
      <p:grpSp>
        <p:nvGrpSpPr>
          <p:cNvPr id="1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0" name="TextBox 1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7542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그림 22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사 사례 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 결과를 활용하여 벤치마킹 수행 영역을 정의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벤치마킹 대상 선정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벤치마킹 수행을 통해 개선 기회 도출을 지원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타사 사례분석 계획 수립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대상 업체 선정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Gap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결과를 영역 별 목표모델 설계에 반영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4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gray">
          <a:xfrm>
            <a:off x="7669212" y="3690938"/>
            <a:ext cx="1963737" cy="2546350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이슈 정의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Gap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반영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)</a:t>
            </a:r>
          </a:p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기회 정의서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Gap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반영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" name="Rectangle 32"/>
          <p:cNvSpPr>
            <a:spLocks noChangeArrowheads="1"/>
          </p:cNvSpPr>
          <p:nvPr/>
        </p:nvSpPr>
        <p:spPr bwMode="gray">
          <a:xfrm>
            <a:off x="2346325" y="5010141"/>
            <a:ext cx="5270500" cy="1227147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 anchor="ctr"/>
          <a:lstStyle/>
          <a:p>
            <a:pPr marL="82550" indent="-82550" defTabSz="760413" latin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타사사례 분석 결과와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NH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현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황 간 Gap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분석</a:t>
            </a:r>
          </a:p>
          <a:p>
            <a:pPr marL="82550" indent="-82550" defTabSz="760413" latin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타사사례 분석 결과 정리 및 시사점 도출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1" name="Rectangle 33"/>
          <p:cNvSpPr>
            <a:spLocks noChangeArrowheads="1"/>
          </p:cNvSpPr>
          <p:nvPr/>
        </p:nvSpPr>
        <p:spPr bwMode="gray">
          <a:xfrm>
            <a:off x="273050" y="5010141"/>
            <a:ext cx="2022475" cy="1227147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 anchor="ctr"/>
          <a:lstStyle/>
          <a:p>
            <a:pPr marL="82550" indent="-82550" algn="ctr" defTabSz="760413" latinLnBrk="0">
              <a:spcBef>
                <a:spcPts val="100"/>
              </a:spcBef>
              <a:spcAft>
                <a:spcPts val="10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타사 사례 결과 분석</a:t>
            </a:r>
          </a:p>
        </p:txBody>
      </p:sp>
      <p:sp>
        <p:nvSpPr>
          <p:cNvPr id="32" name="Rectangle 32"/>
          <p:cNvSpPr>
            <a:spLocks noChangeArrowheads="1"/>
          </p:cNvSpPr>
          <p:nvPr/>
        </p:nvSpPr>
        <p:spPr bwMode="gray">
          <a:xfrm>
            <a:off x="2346325" y="3690939"/>
            <a:ext cx="5270500" cy="1225286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 anchor="ctr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타사사례 분석 대상 및 목적을 정의하고 타사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 </a:t>
            </a:r>
            <a:r>
              <a:rPr lang="ko-KR" altLang="en-US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후보군을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 </a:t>
            </a:r>
            <a:r>
              <a:rPr lang="en-US" altLang="ko-KR" sz="120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조사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하고 대상을 확정함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3" name="Rectangle 33"/>
          <p:cNvSpPr>
            <a:spLocks noChangeArrowheads="1"/>
          </p:cNvSpPr>
          <p:nvPr/>
        </p:nvSpPr>
        <p:spPr bwMode="gray">
          <a:xfrm>
            <a:off x="273050" y="3693123"/>
            <a:ext cx="2022475" cy="1223102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 anchor="ctr"/>
          <a:lstStyle/>
          <a:p>
            <a:pPr marL="82550" indent="-82550" algn="ctr" defTabSz="760413" latinLnBrk="0">
              <a:spcBef>
                <a:spcPts val="100"/>
              </a:spcBef>
              <a:spcAft>
                <a:spcPts val="10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타사 사례 분석 준비 및 실행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757503" y="2313528"/>
            <a:ext cx="409435" cy="285284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9766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타사 사례 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 결과를 바탕으로 관련 시사점과 이슈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순서도: 페이지 연결자 3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사 사례 분석 준비 및 실행</a:t>
            </a:r>
          </a:p>
        </p:txBody>
      </p:sp>
      <p:sp>
        <p:nvSpPr>
          <p:cNvPr id="35" name="순서도: 페이지 연결자 34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사 사례 결과 분석</a:t>
            </a:r>
          </a:p>
        </p:txBody>
      </p:sp>
      <p:sp>
        <p:nvSpPr>
          <p:cNvPr id="36" name="TextBox 35"/>
          <p:cNvSpPr txBox="1"/>
          <p:nvPr/>
        </p:nvSpPr>
        <p:spPr bwMode="auto">
          <a:xfrm>
            <a:off x="6357134" y="2210472"/>
            <a:ext cx="2592360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선행 사례분석 결과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5866895" y="5661248"/>
            <a:ext cx="3744520" cy="497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타사분석 과제에 대한 세부 내용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비즈니스 및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IT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변화 포인트 정리</a:t>
            </a:r>
          </a:p>
        </p:txBody>
      </p:sp>
      <p:grpSp>
        <p:nvGrpSpPr>
          <p:cNvPr id="39" name="그룹 38"/>
          <p:cNvGrpSpPr/>
          <p:nvPr/>
        </p:nvGrpSpPr>
        <p:grpSpPr>
          <a:xfrm>
            <a:off x="5961140" y="2708901"/>
            <a:ext cx="3384348" cy="2664788"/>
            <a:chOff x="5961140" y="2708901"/>
            <a:chExt cx="3384348" cy="2664788"/>
          </a:xfrm>
        </p:grpSpPr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140" y="2708901"/>
              <a:ext cx="2956606" cy="175267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41" name="그림 4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110" y="3621014"/>
              <a:ext cx="2958378" cy="175267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</p:pic>
      </p:grpSp>
      <p:grpSp>
        <p:nvGrpSpPr>
          <p:cNvPr id="42" name="그룹 41"/>
          <p:cNvGrpSpPr/>
          <p:nvPr/>
        </p:nvGrpSpPr>
        <p:grpSpPr>
          <a:xfrm>
            <a:off x="2144688" y="2708274"/>
            <a:ext cx="3240360" cy="2665414"/>
            <a:chOff x="2144688" y="2708274"/>
            <a:chExt cx="3240360" cy="2665414"/>
          </a:xfrm>
        </p:grpSpPr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4688" y="2708274"/>
              <a:ext cx="2895972" cy="159090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44" name="그림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4809" y="3650846"/>
              <a:ext cx="2750239" cy="1722842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45" name="TextBox 44"/>
          <p:cNvSpPr txBox="1"/>
          <p:nvPr/>
        </p:nvSpPr>
        <p:spPr bwMode="auto">
          <a:xfrm>
            <a:off x="2196490" y="2210472"/>
            <a:ext cx="3136756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타사사례 분석 수행 대상 과제 목록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lang="ko-KR" altLang="en-US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1946059" y="5661248"/>
            <a:ext cx="3744520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타사분석 수행 대상과 해당 기업의 차세대 수행 사례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47" name="직선 연결선 46"/>
          <p:cNvCxnSpPr/>
          <p:nvPr/>
        </p:nvCxnSpPr>
        <p:spPr bwMode="auto">
          <a:xfrm>
            <a:off x="5744369" y="2057400"/>
            <a:ext cx="0" cy="410742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grpSp>
        <p:nvGrpSpPr>
          <p:cNvPr id="2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6" name="TextBox 2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0016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그림 4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기회 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1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현황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과</a:t>
            </a:r>
            <a:r>
              <a:rPr lang="en-US" altLang="ko-KR" dirty="0"/>
              <a:t> </a:t>
            </a:r>
            <a:r>
              <a:rPr lang="ko-KR" altLang="en-US" dirty="0" smtClean="0"/>
              <a:t>및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례 분석을 통해 도출된 시사점을 종합하여 이슈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근본원인을 파악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비즈니스 현황분석에서 도출한 이슈를 종합하고 재정리하여 근본원인을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파악</a:t>
            </a:r>
            <a:endParaRPr lang="en-US" altLang="ko-KR" sz="1200" b="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Biz/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현황분석 결과와 기 도출된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요구사항를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기반으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 차세대 시스템 개선과제 도출을 위한 기회와 차세대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 방향성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4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gray">
          <a:xfrm>
            <a:off x="7669212" y="3690938"/>
            <a:ext cx="1963737" cy="2546350"/>
          </a:xfrm>
          <a:prstGeom prst="rect">
            <a:avLst/>
          </a:prstGeom>
          <a:solidFill>
            <a:srgbClr val="FFFFFF">
              <a:alpha val="10196"/>
            </a:srgbClr>
          </a:solidFill>
          <a:ln w="317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90000" tIns="82800" rIns="90000" bIns="46800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슈 정의서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정의서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1246684" y="2314972"/>
            <a:ext cx="409435" cy="285284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33"/>
          <p:cNvSpPr>
            <a:spLocks noChangeArrowheads="1"/>
          </p:cNvSpPr>
          <p:nvPr/>
        </p:nvSpPr>
        <p:spPr bwMode="gray">
          <a:xfrm>
            <a:off x="269081" y="3706813"/>
            <a:ext cx="2030413" cy="741079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2000" eaLnBrk="0" latinLnBrk="0" hangingPunct="0">
              <a:lnSpc>
                <a:spcPct val="12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 도출 및 </a:t>
            </a:r>
            <a:r>
              <a:rPr lang="ko-KR" altLang="en-US" sz="12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재분류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6" name="Rectangle 33"/>
          <p:cNvSpPr>
            <a:spLocks noChangeArrowheads="1"/>
          </p:cNvSpPr>
          <p:nvPr/>
        </p:nvSpPr>
        <p:spPr bwMode="gray">
          <a:xfrm>
            <a:off x="269081" y="4488034"/>
            <a:ext cx="2030413" cy="92943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 원인 분석</a:t>
            </a:r>
          </a:p>
        </p:txBody>
      </p:sp>
      <p:sp>
        <p:nvSpPr>
          <p:cNvPr id="47" name="Rectangle 33"/>
          <p:cNvSpPr>
            <a:spLocks noChangeArrowheads="1"/>
          </p:cNvSpPr>
          <p:nvPr/>
        </p:nvSpPr>
        <p:spPr bwMode="gray">
          <a:xfrm>
            <a:off x="269081" y="5457612"/>
            <a:ext cx="2030413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기회 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8" name="Rectangle 32"/>
          <p:cNvSpPr>
            <a:spLocks noChangeArrowheads="1"/>
          </p:cNvSpPr>
          <p:nvPr/>
        </p:nvSpPr>
        <p:spPr bwMode="auto">
          <a:xfrm>
            <a:off x="2346325" y="3706813"/>
            <a:ext cx="5270500" cy="737991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비즈니스 및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현황분석에서 도출된 문제점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이슈 정의</a:t>
            </a:r>
          </a:p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문제점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이슈를 프로세스 별로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재그룹핑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9" name="Rectangle 32"/>
          <p:cNvSpPr>
            <a:spLocks noChangeArrowheads="1"/>
          </p:cNvSpPr>
          <p:nvPr/>
        </p:nvSpPr>
        <p:spPr bwMode="auto">
          <a:xfrm>
            <a:off x="2346325" y="4484946"/>
            <a:ext cx="5270500" cy="932524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조직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제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측면에서 정의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현업과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Brainstorming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을 통해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Cause Category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별 원인 분석</a:t>
            </a:r>
          </a:p>
        </p:txBody>
      </p:sp>
      <p:sp>
        <p:nvSpPr>
          <p:cNvPr id="50" name="Rectangle 32"/>
          <p:cNvSpPr>
            <a:spLocks noChangeArrowheads="1"/>
          </p:cNvSpPr>
          <p:nvPr/>
        </p:nvSpPr>
        <p:spPr bwMode="auto">
          <a:xfrm>
            <a:off x="2346325" y="5457612"/>
            <a:ext cx="5270500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도출을 위한 개선기회 분석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65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기회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변화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현황분석 등 각 분석영역에서 도출된 이슈를 종합하여 프로세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별로 재 분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Line 32"/>
          <p:cNvSpPr>
            <a:spLocks noChangeShapeType="1"/>
          </p:cNvSpPr>
          <p:nvPr/>
        </p:nvSpPr>
        <p:spPr bwMode="auto">
          <a:xfrm>
            <a:off x="2000590" y="3322638"/>
            <a:ext cx="585152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pPr latinLnBrk="0">
              <a:defRPr/>
            </a:pP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5" name="Line 33"/>
          <p:cNvSpPr>
            <a:spLocks noChangeShapeType="1"/>
          </p:cNvSpPr>
          <p:nvPr/>
        </p:nvSpPr>
        <p:spPr bwMode="auto">
          <a:xfrm>
            <a:off x="2000590" y="4789488"/>
            <a:ext cx="585152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pPr latinLnBrk="0">
              <a:defRPr/>
            </a:pP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6" name="AutoShape 11"/>
          <p:cNvSpPr>
            <a:spLocks noChangeArrowheads="1"/>
          </p:cNvSpPr>
          <p:nvPr/>
        </p:nvSpPr>
        <p:spPr bwMode="auto">
          <a:xfrm>
            <a:off x="1995488" y="2024063"/>
            <a:ext cx="979487" cy="12350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 latinLnBrk="0">
              <a:spcBef>
                <a:spcPts val="300"/>
              </a:spcBef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비즈니스 변화요건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latinLnBrk="0">
              <a:spcBef>
                <a:spcPts val="300"/>
              </a:spcBef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Top-Down)</a:t>
            </a:r>
          </a:p>
        </p:txBody>
      </p:sp>
      <p:sp>
        <p:nvSpPr>
          <p:cNvPr id="38" name="Text Box 12"/>
          <p:cNvSpPr txBox="1">
            <a:spLocks noChangeArrowheads="1"/>
          </p:cNvSpPr>
          <p:nvPr/>
        </p:nvSpPr>
        <p:spPr bwMode="auto">
          <a:xfrm>
            <a:off x="4883150" y="2125663"/>
            <a:ext cx="2767013" cy="904875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L="88900" indent="-88900" latinLnBrk="0">
              <a:lnSpc>
                <a:spcPct val="11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경영층 인터뷰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각종 내부 비즈니스 현황 분석 결과를 토대로 비즈니스 변화 요건에 전략적 대응을 위한 이슈 파악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9" name="AutoShape 17"/>
          <p:cNvSpPr>
            <a:spLocks noChangeArrowheads="1"/>
          </p:cNvSpPr>
          <p:nvPr/>
        </p:nvSpPr>
        <p:spPr bwMode="auto">
          <a:xfrm>
            <a:off x="2000250" y="3416300"/>
            <a:ext cx="979488" cy="12350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 latinLnBrk="0">
              <a:spcBef>
                <a:spcPts val="300"/>
              </a:spcBef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세스 효율화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Bottom-Up)</a:t>
            </a:r>
          </a:p>
        </p:txBody>
      </p:sp>
      <p:sp>
        <p:nvSpPr>
          <p:cNvPr id="40" name="Text Box 19"/>
          <p:cNvSpPr txBox="1">
            <a:spLocks noChangeArrowheads="1"/>
          </p:cNvSpPr>
          <p:nvPr/>
        </p:nvSpPr>
        <p:spPr bwMode="auto">
          <a:xfrm>
            <a:off x="4889500" y="3411538"/>
            <a:ext cx="2770188" cy="1108075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L="88900" indent="-88900" latinLnBrk="0">
              <a:lnSpc>
                <a:spcPct val="11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업 인터뷰 및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s-Is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세스 현황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을 통해 프로세스 별로 문제점을 파악하고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적 관점 및 조직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시스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규정 등의 통합적 관점에서 재조정함 </a:t>
            </a:r>
          </a:p>
        </p:txBody>
      </p:sp>
      <p:pic>
        <p:nvPicPr>
          <p:cNvPr id="41" name="Picture 38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3" y="2125663"/>
            <a:ext cx="1766887" cy="1031875"/>
          </a:xfrm>
          <a:prstGeom prst="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</p:spPr>
      </p:pic>
      <p:pic>
        <p:nvPicPr>
          <p:cNvPr id="42" name="Picture 40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3" y="3519488"/>
            <a:ext cx="1766887" cy="1028700"/>
          </a:xfrm>
          <a:prstGeom prst="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</p:spPr>
      </p:pic>
      <p:sp>
        <p:nvSpPr>
          <p:cNvPr id="43" name="AutoShape 17"/>
          <p:cNvSpPr>
            <a:spLocks noChangeArrowheads="1"/>
          </p:cNvSpPr>
          <p:nvPr/>
        </p:nvSpPr>
        <p:spPr bwMode="auto">
          <a:xfrm>
            <a:off x="2000250" y="4851400"/>
            <a:ext cx="979488" cy="12350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 latinLnBrk="0">
              <a:spcBef>
                <a:spcPts val="300"/>
              </a:spcBef>
              <a:defRPr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황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 요건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latinLnBrk="0">
              <a:spcBef>
                <a:spcPts val="300"/>
              </a:spcBef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Bottom-Up)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1013" y="4933950"/>
            <a:ext cx="1754187" cy="1069975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sp>
        <p:nvSpPr>
          <p:cNvPr id="45" name="Text Box 19"/>
          <p:cNvSpPr txBox="1">
            <a:spLocks noChangeArrowheads="1"/>
          </p:cNvSpPr>
          <p:nvPr/>
        </p:nvSpPr>
        <p:spPr bwMode="auto">
          <a:xfrm>
            <a:off x="4889500" y="5016500"/>
            <a:ext cx="2770188" cy="904875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L="88900" indent="-88900" latinLnBrk="0">
              <a:lnSpc>
                <a:spcPct val="11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업 인터뷰 및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T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황분석을 통해 어플리케이션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데이터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기술 영역의 문제점을 파악하고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적 관점에서 재조정함 </a:t>
            </a:r>
          </a:p>
        </p:txBody>
      </p:sp>
      <p:sp>
        <p:nvSpPr>
          <p:cNvPr id="46" name="AutoShape 28"/>
          <p:cNvSpPr>
            <a:spLocks noChangeArrowheads="1"/>
          </p:cNvSpPr>
          <p:nvPr/>
        </p:nvSpPr>
        <p:spPr bwMode="auto">
          <a:xfrm>
            <a:off x="7888288" y="4740275"/>
            <a:ext cx="1381125" cy="1431925"/>
          </a:xfrm>
          <a:prstGeom prst="downArrow">
            <a:avLst>
              <a:gd name="adj1" fmla="val 100000"/>
              <a:gd name="adj2" fmla="val 28968"/>
            </a:avLst>
          </a:prstGeom>
          <a:solidFill>
            <a:schemeClr val="bg1">
              <a:lumMod val="75000"/>
            </a:schemeClr>
          </a:solidFill>
          <a:ln w="22225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anchor="ctr"/>
          <a:lstStyle/>
          <a:p>
            <a:pPr algn="ctr"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kumimoji="1"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 종합 정리</a:t>
            </a:r>
          </a:p>
        </p:txBody>
      </p:sp>
      <p:sp>
        <p:nvSpPr>
          <p:cNvPr id="47" name="AutoShape 28"/>
          <p:cNvSpPr>
            <a:spLocks noChangeArrowheads="1"/>
          </p:cNvSpPr>
          <p:nvPr/>
        </p:nvSpPr>
        <p:spPr bwMode="auto">
          <a:xfrm>
            <a:off x="7888288" y="3422650"/>
            <a:ext cx="1381125" cy="1433513"/>
          </a:xfrm>
          <a:prstGeom prst="downArrow">
            <a:avLst>
              <a:gd name="adj1" fmla="val 100000"/>
              <a:gd name="adj2" fmla="val 28968"/>
            </a:avLst>
          </a:prstGeom>
          <a:solidFill>
            <a:schemeClr val="bg1">
              <a:lumMod val="85000"/>
            </a:schemeClr>
          </a:solidFill>
          <a:ln w="22225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anchor="ctr"/>
          <a:lstStyle/>
          <a:p>
            <a:pPr algn="ctr" latinLnBrk="0">
              <a:spcBef>
                <a:spcPts val="300"/>
              </a:spcBef>
              <a:defRPr/>
            </a:pPr>
            <a:r>
              <a:rPr kumimoji="1"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Value Chain </a:t>
            </a:r>
            <a:r>
              <a:rPr kumimoji="1"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별 이슈 재분류 </a:t>
            </a:r>
          </a:p>
        </p:txBody>
      </p:sp>
      <p:sp>
        <p:nvSpPr>
          <p:cNvPr id="48" name="AutoShape 28"/>
          <p:cNvSpPr>
            <a:spLocks noChangeArrowheads="1"/>
          </p:cNvSpPr>
          <p:nvPr/>
        </p:nvSpPr>
        <p:spPr bwMode="auto">
          <a:xfrm>
            <a:off x="7888288" y="2055813"/>
            <a:ext cx="1381125" cy="1431925"/>
          </a:xfrm>
          <a:prstGeom prst="downArrow">
            <a:avLst>
              <a:gd name="adj1" fmla="val 100000"/>
              <a:gd name="adj2" fmla="val 28968"/>
            </a:avLst>
          </a:prstGeom>
          <a:solidFill>
            <a:schemeClr val="bg1">
              <a:lumMod val="95000"/>
            </a:schemeClr>
          </a:solidFill>
          <a:ln w="22225" algn="ctr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anchor="ctr"/>
          <a:lstStyle/>
          <a:p>
            <a:pPr algn="ctr" latinLnBrk="0">
              <a:lnSpc>
                <a:spcPct val="110000"/>
              </a:lnSpc>
              <a:spcBef>
                <a:spcPts val="300"/>
              </a:spcBef>
              <a:defRPr/>
            </a:pPr>
            <a:r>
              <a:rPr kumimoji="1"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rack</a:t>
            </a:r>
            <a:r>
              <a:rPr kumimoji="1"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별 이슈 </a:t>
            </a:r>
            <a:r>
              <a:rPr kumimoji="1"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정리</a:t>
            </a:r>
          </a:p>
        </p:txBody>
      </p:sp>
      <p:grpSp>
        <p:nvGrpSpPr>
          <p:cNvPr id="2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9" name="TextBox 2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2" name="순서도: 페이지 연결자 5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도출 및 </a:t>
            </a:r>
            <a:r>
              <a:rPr lang="ko-KR" altLang="en-US" sz="1200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분류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순서도: 페이지 연결자 52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이슈 원인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4" name="순서도: 페이지 연결자 53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기회 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02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기회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종합 이슈 분석을 위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use Category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확정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wner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브레인스토밍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세션을 통해 영역별 원인을 도출하여 프로젝트 관점에서 공통 원인을 파악함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3" name="Text Box 116"/>
          <p:cNvSpPr txBox="1">
            <a:spLocks noChangeArrowheads="1"/>
          </p:cNvSpPr>
          <p:nvPr/>
        </p:nvSpPr>
        <p:spPr bwMode="auto">
          <a:xfrm>
            <a:off x="4770438" y="1868488"/>
            <a:ext cx="4791075" cy="869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85725" indent="-85725" latinLnBrk="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슈원인 분석을 위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Cause Category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를 확인함 </a:t>
            </a:r>
          </a:p>
          <a:p>
            <a:pPr marL="85725" indent="-85725" latinLnBrk="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별 이슈에 대한 원인을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Cause Category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별로 도출함 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Owner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와 컨설턴트의 브레인스토밍 세션을 통해 도출함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34" name="Text Box 117"/>
          <p:cNvSpPr txBox="1">
            <a:spLocks noChangeArrowheads="1"/>
          </p:cNvSpPr>
          <p:nvPr/>
        </p:nvSpPr>
        <p:spPr bwMode="auto">
          <a:xfrm>
            <a:off x="1936750" y="1835150"/>
            <a:ext cx="2882900" cy="278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세스 별 이슈 원인 분석 방법</a:t>
            </a:r>
          </a:p>
        </p:txBody>
      </p:sp>
      <p:sp>
        <p:nvSpPr>
          <p:cNvPr id="35" name="AutoShape 129"/>
          <p:cNvSpPr>
            <a:spLocks noChangeArrowheads="1"/>
          </p:cNvSpPr>
          <p:nvPr/>
        </p:nvSpPr>
        <p:spPr bwMode="auto">
          <a:xfrm>
            <a:off x="3517900" y="5594425"/>
            <a:ext cx="1887538" cy="43497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36000" tIns="36000" rIns="36000" bIns="36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kumimoji="1" lang="ko-KR" altLang="en-US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조직</a:t>
            </a: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Organization) </a:t>
            </a:r>
          </a:p>
        </p:txBody>
      </p:sp>
      <p:sp>
        <p:nvSpPr>
          <p:cNvPr id="36" name="AutoShape 130"/>
          <p:cNvSpPr>
            <a:spLocks noChangeArrowheads="1"/>
          </p:cNvSpPr>
          <p:nvPr/>
        </p:nvSpPr>
        <p:spPr bwMode="auto">
          <a:xfrm>
            <a:off x="7639050" y="5594425"/>
            <a:ext cx="1884363" cy="43497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36000" tIns="36000" rIns="36000" bIns="36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kumimoji="1" lang="ko-KR" altLang="en-US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외부 </a:t>
            </a:r>
            <a:r>
              <a:rPr kumimoji="1" lang="ko-KR" altLang="en-US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요인</a:t>
            </a: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Environment)</a:t>
            </a:r>
          </a:p>
        </p:txBody>
      </p:sp>
      <p:sp>
        <p:nvSpPr>
          <p:cNvPr id="38" name="AutoShape 131"/>
          <p:cNvSpPr>
            <a:spLocks noChangeArrowheads="1"/>
          </p:cNvSpPr>
          <p:nvPr/>
        </p:nvSpPr>
        <p:spPr bwMode="auto">
          <a:xfrm>
            <a:off x="5583238" y="5594425"/>
            <a:ext cx="1889125" cy="43497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36000" tIns="36000" rIns="36000" bIns="36000" anchor="ctr"/>
          <a:lstStyle/>
          <a:p>
            <a:pPr algn="ctr" latinLnBrk="0">
              <a:defRPr/>
            </a:pPr>
            <a:r>
              <a:rPr kumimoji="1" lang="ko-KR" altLang="en-US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제도</a:t>
            </a:r>
          </a:p>
          <a:p>
            <a:pPr algn="ctr" latinLnBrk="0">
              <a:defRPr/>
            </a:pP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Policy &amp; Regulation)</a:t>
            </a:r>
          </a:p>
        </p:txBody>
      </p:sp>
      <p:sp>
        <p:nvSpPr>
          <p:cNvPr id="39" name="Line 132"/>
          <p:cNvSpPr>
            <a:spLocks noChangeShapeType="1"/>
          </p:cNvSpPr>
          <p:nvPr/>
        </p:nvSpPr>
        <p:spPr bwMode="auto">
          <a:xfrm>
            <a:off x="3124200" y="4472062"/>
            <a:ext cx="4967288" cy="3175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0" name="Line 133"/>
          <p:cNvSpPr>
            <a:spLocks noChangeShapeType="1"/>
          </p:cNvSpPr>
          <p:nvPr/>
        </p:nvSpPr>
        <p:spPr bwMode="auto">
          <a:xfrm>
            <a:off x="3914775" y="3783087"/>
            <a:ext cx="946150" cy="3175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1" name="Rectangle 134"/>
          <p:cNvSpPr>
            <a:spLocks noChangeArrowheads="1"/>
          </p:cNvSpPr>
          <p:nvPr/>
        </p:nvSpPr>
        <p:spPr bwMode="auto">
          <a:xfrm>
            <a:off x="4283075" y="3310012"/>
            <a:ext cx="1895475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전사 통합 경영계획 수립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실행 관리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성과 모니터링 미흡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사업 별 개별 관리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42" name="Line 135"/>
          <p:cNvSpPr>
            <a:spLocks noChangeShapeType="1"/>
          </p:cNvSpPr>
          <p:nvPr/>
        </p:nvSpPr>
        <p:spPr bwMode="auto">
          <a:xfrm>
            <a:off x="3873500" y="4956250"/>
            <a:ext cx="947738" cy="1587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3" name="Rectangle 136"/>
          <p:cNvSpPr>
            <a:spLocks noChangeArrowheads="1"/>
          </p:cNvSpPr>
          <p:nvPr/>
        </p:nvSpPr>
        <p:spPr bwMode="auto">
          <a:xfrm>
            <a:off x="3990975" y="4665737"/>
            <a:ext cx="15430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업별 현안 직접 보고 관례화 </a:t>
            </a:r>
          </a:p>
        </p:txBody>
      </p:sp>
      <p:sp>
        <p:nvSpPr>
          <p:cNvPr id="44" name="Line 137"/>
          <p:cNvSpPr>
            <a:spLocks noChangeShapeType="1"/>
          </p:cNvSpPr>
          <p:nvPr/>
        </p:nvSpPr>
        <p:spPr bwMode="auto">
          <a:xfrm>
            <a:off x="6192838" y="3470350"/>
            <a:ext cx="963612" cy="4762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5" name="Rectangle 138"/>
          <p:cNvSpPr>
            <a:spLocks noChangeArrowheads="1"/>
          </p:cNvSpPr>
          <p:nvPr/>
        </p:nvSpPr>
        <p:spPr bwMode="auto">
          <a:xfrm>
            <a:off x="6392863" y="3179837"/>
            <a:ext cx="17002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주요 경영정보 요약 제공 화면 부재</a:t>
            </a:r>
          </a:p>
        </p:txBody>
      </p:sp>
      <p:sp>
        <p:nvSpPr>
          <p:cNvPr id="46" name="Line 139"/>
          <p:cNvSpPr>
            <a:spLocks noChangeShapeType="1"/>
          </p:cNvSpPr>
          <p:nvPr/>
        </p:nvSpPr>
        <p:spPr bwMode="auto">
          <a:xfrm flipV="1">
            <a:off x="5708650" y="4127575"/>
            <a:ext cx="1071563" cy="3175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7" name="Line 140"/>
          <p:cNvSpPr>
            <a:spLocks noChangeShapeType="1"/>
          </p:cNvSpPr>
          <p:nvPr/>
        </p:nvSpPr>
        <p:spPr bwMode="auto">
          <a:xfrm>
            <a:off x="7935913" y="3843412"/>
            <a:ext cx="803275" cy="3175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8" name="Line 141"/>
          <p:cNvSpPr>
            <a:spLocks noChangeShapeType="1"/>
          </p:cNvSpPr>
          <p:nvPr/>
        </p:nvSpPr>
        <p:spPr bwMode="auto">
          <a:xfrm>
            <a:off x="4329113" y="5410275"/>
            <a:ext cx="947737" cy="1587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9" name="Rectangle 142"/>
          <p:cNvSpPr>
            <a:spLocks noChangeArrowheads="1"/>
          </p:cNvSpPr>
          <p:nvPr/>
        </p:nvSpPr>
        <p:spPr bwMode="auto">
          <a:xfrm>
            <a:off x="4313238" y="5089600"/>
            <a:ext cx="18208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경영기획실의 전사 경영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보 통합 관리 역할 미흡 </a:t>
            </a:r>
          </a:p>
        </p:txBody>
      </p:sp>
      <p:sp>
        <p:nvSpPr>
          <p:cNvPr id="50" name="Line 143"/>
          <p:cNvSpPr>
            <a:spLocks noChangeShapeType="1"/>
          </p:cNvSpPr>
          <p:nvPr/>
        </p:nvSpPr>
        <p:spPr bwMode="auto">
          <a:xfrm>
            <a:off x="3543300" y="4318075"/>
            <a:ext cx="946150" cy="1587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  <a:effectLst/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Rectangle 144"/>
          <p:cNvSpPr>
            <a:spLocks noChangeArrowheads="1"/>
          </p:cNvSpPr>
          <p:nvPr/>
        </p:nvSpPr>
        <p:spPr bwMode="auto">
          <a:xfrm>
            <a:off x="3719513" y="4133925"/>
            <a:ext cx="18097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비효율적 결제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Step</a:t>
            </a:r>
          </a:p>
        </p:txBody>
      </p:sp>
      <p:sp>
        <p:nvSpPr>
          <p:cNvPr id="52" name="Rectangle 145"/>
          <p:cNvSpPr>
            <a:spLocks noChangeArrowheads="1"/>
          </p:cNvSpPr>
          <p:nvPr/>
        </p:nvSpPr>
        <p:spPr bwMode="auto">
          <a:xfrm>
            <a:off x="1981200" y="4160912"/>
            <a:ext cx="1246188" cy="728663"/>
          </a:xfrm>
          <a:prstGeom prst="rect">
            <a:avLst/>
          </a:prstGeom>
          <a:solidFill>
            <a:srgbClr val="FFFFFF"/>
          </a:solidFill>
          <a:ln w="1428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atinLnBrk="0">
              <a:spcBef>
                <a:spcPts val="300"/>
              </a:spcBef>
              <a:defRPr/>
            </a:pPr>
            <a:r>
              <a:rPr kumimoji="1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전사 차원의 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사업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조직 관리 정보 부족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의사결정 시간 지연  </a:t>
            </a:r>
          </a:p>
        </p:txBody>
      </p:sp>
      <p:sp>
        <p:nvSpPr>
          <p:cNvPr id="53" name="Rectangle 146"/>
          <p:cNvSpPr>
            <a:spLocks noChangeArrowheads="1"/>
          </p:cNvSpPr>
          <p:nvPr/>
        </p:nvSpPr>
        <p:spPr bwMode="auto">
          <a:xfrm>
            <a:off x="1981200" y="3841825"/>
            <a:ext cx="1246188" cy="303212"/>
          </a:xfrm>
          <a:prstGeom prst="rect">
            <a:avLst/>
          </a:prstGeom>
          <a:solidFill>
            <a:srgbClr val="1B3A87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defRPr/>
            </a:pPr>
            <a:r>
              <a:rPr kumimoji="1"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원인분석</a:t>
            </a:r>
          </a:p>
        </p:txBody>
      </p:sp>
      <p:sp>
        <p:nvSpPr>
          <p:cNvPr id="54" name="Rectangle 147"/>
          <p:cNvSpPr>
            <a:spLocks noChangeArrowheads="1"/>
          </p:cNvSpPr>
          <p:nvPr/>
        </p:nvSpPr>
        <p:spPr bwMode="auto">
          <a:xfrm>
            <a:off x="5888038" y="3786262"/>
            <a:ext cx="1600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사내 정보 분산으로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보 분석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가공이 어려움 </a:t>
            </a:r>
          </a:p>
        </p:txBody>
      </p:sp>
      <p:sp>
        <p:nvSpPr>
          <p:cNvPr id="55" name="Line 148"/>
          <p:cNvSpPr>
            <a:spLocks noChangeShapeType="1"/>
          </p:cNvSpPr>
          <p:nvPr/>
        </p:nvSpPr>
        <p:spPr bwMode="auto">
          <a:xfrm flipV="1">
            <a:off x="3406775" y="2905200"/>
            <a:ext cx="1089025" cy="1566862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6" name="Line 149"/>
          <p:cNvSpPr>
            <a:spLocks noChangeShapeType="1"/>
          </p:cNvSpPr>
          <p:nvPr/>
        </p:nvSpPr>
        <p:spPr bwMode="auto">
          <a:xfrm flipV="1">
            <a:off x="5472113" y="2905200"/>
            <a:ext cx="1089025" cy="1566862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7" name="Line 150"/>
          <p:cNvSpPr>
            <a:spLocks noChangeShapeType="1"/>
          </p:cNvSpPr>
          <p:nvPr/>
        </p:nvSpPr>
        <p:spPr bwMode="auto">
          <a:xfrm flipV="1">
            <a:off x="7491413" y="2905200"/>
            <a:ext cx="1087437" cy="1566862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Line 151"/>
          <p:cNvSpPr>
            <a:spLocks noChangeShapeType="1"/>
          </p:cNvSpPr>
          <p:nvPr/>
        </p:nvSpPr>
        <p:spPr bwMode="auto">
          <a:xfrm rot="5400000" flipV="1">
            <a:off x="3379788" y="4500637"/>
            <a:ext cx="1120775" cy="1057275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Line 152"/>
          <p:cNvSpPr>
            <a:spLocks noChangeShapeType="1"/>
          </p:cNvSpPr>
          <p:nvPr/>
        </p:nvSpPr>
        <p:spPr bwMode="auto">
          <a:xfrm rot="5400000" flipV="1">
            <a:off x="5453063" y="4494287"/>
            <a:ext cx="1108075" cy="1057275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4" name="Line 153"/>
          <p:cNvSpPr>
            <a:spLocks noChangeShapeType="1"/>
          </p:cNvSpPr>
          <p:nvPr/>
        </p:nvSpPr>
        <p:spPr bwMode="auto">
          <a:xfrm rot="5400000" flipV="1">
            <a:off x="7478713" y="4487937"/>
            <a:ext cx="1093788" cy="1055687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5" name="Line 154"/>
          <p:cNvSpPr>
            <a:spLocks noChangeShapeType="1"/>
          </p:cNvSpPr>
          <p:nvPr/>
        </p:nvSpPr>
        <p:spPr bwMode="auto">
          <a:xfrm>
            <a:off x="6199188" y="5162625"/>
            <a:ext cx="947737" cy="1587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6" name="Rectangle 155"/>
          <p:cNvSpPr>
            <a:spLocks noChangeArrowheads="1"/>
          </p:cNvSpPr>
          <p:nvPr/>
        </p:nvSpPr>
        <p:spPr bwMode="auto">
          <a:xfrm>
            <a:off x="6188075" y="4956250"/>
            <a:ext cx="15509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lnSpc>
                <a:spcPct val="9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성과관리 제도 미흡 </a:t>
            </a:r>
          </a:p>
        </p:txBody>
      </p:sp>
      <p:sp>
        <p:nvSpPr>
          <p:cNvPr id="67" name="Line 156"/>
          <p:cNvSpPr>
            <a:spLocks noChangeShapeType="1"/>
          </p:cNvSpPr>
          <p:nvPr/>
        </p:nvSpPr>
        <p:spPr bwMode="auto">
          <a:xfrm>
            <a:off x="8293100" y="5265812"/>
            <a:ext cx="946150" cy="0"/>
          </a:xfrm>
          <a:prstGeom prst="line">
            <a:avLst/>
          </a:prstGeom>
          <a:noFill/>
          <a:ln w="14351">
            <a:solidFill>
              <a:srgbClr val="000000"/>
            </a:solidFill>
            <a:round/>
            <a:headEnd type="triangle" w="sm" len="sm"/>
            <a:tailEnd/>
          </a:ln>
        </p:spPr>
        <p:txBody>
          <a:bodyPr/>
          <a:lstStyle/>
          <a:p>
            <a:pPr latinLnBrk="0">
              <a:defRPr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8" name="Rectangle 157"/>
          <p:cNvSpPr>
            <a:spLocks noChangeArrowheads="1"/>
          </p:cNvSpPr>
          <p:nvPr/>
        </p:nvSpPr>
        <p:spPr bwMode="auto">
          <a:xfrm>
            <a:off x="8153400" y="3611637"/>
            <a:ext cx="1371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N/A</a:t>
            </a:r>
          </a:p>
        </p:txBody>
      </p:sp>
      <p:sp>
        <p:nvSpPr>
          <p:cNvPr id="69" name="Rectangle 158"/>
          <p:cNvSpPr>
            <a:spLocks noChangeArrowheads="1"/>
          </p:cNvSpPr>
          <p:nvPr/>
        </p:nvSpPr>
        <p:spPr bwMode="auto">
          <a:xfrm>
            <a:off x="8272463" y="5088012"/>
            <a:ext cx="1371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0">
              <a:defRPr/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N/A</a:t>
            </a:r>
          </a:p>
        </p:txBody>
      </p:sp>
      <p:sp>
        <p:nvSpPr>
          <p:cNvPr id="70" name="AutoShape 126"/>
          <p:cNvSpPr>
            <a:spLocks noChangeArrowheads="1"/>
          </p:cNvSpPr>
          <p:nvPr/>
        </p:nvSpPr>
        <p:spPr bwMode="auto">
          <a:xfrm>
            <a:off x="3632200" y="2643262"/>
            <a:ext cx="1887538" cy="43656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36000" tIns="36000" rIns="36000" bIns="36000" anchor="ctr"/>
          <a:lstStyle/>
          <a:p>
            <a:pPr algn="ctr" latinLnBrk="0">
              <a:spcBef>
                <a:spcPct val="50000"/>
              </a:spcBef>
              <a:defRPr/>
            </a:pPr>
            <a:r>
              <a:rPr kumimoji="1" lang="ko-KR" altLang="en-US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 </a:t>
            </a:r>
            <a:r>
              <a:rPr kumimoji="1" lang="ko-KR" altLang="en-US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</a:t>
            </a: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00" i="1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Process)</a:t>
            </a:r>
          </a:p>
        </p:txBody>
      </p:sp>
      <p:sp>
        <p:nvSpPr>
          <p:cNvPr id="71" name="AutoShape 127"/>
          <p:cNvSpPr>
            <a:spLocks noChangeArrowheads="1"/>
          </p:cNvSpPr>
          <p:nvPr/>
        </p:nvSpPr>
        <p:spPr bwMode="auto">
          <a:xfrm>
            <a:off x="5616575" y="2643262"/>
            <a:ext cx="1889125" cy="43656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36000" tIns="36000" rIns="36000" bIns="36000" anchor="ctr"/>
          <a:lstStyle/>
          <a:p>
            <a:pPr algn="ctr" latinLnBrk="0">
              <a:defRPr/>
            </a:pPr>
            <a:r>
              <a:rPr kumimoji="1" lang="ko-KR" altLang="en-US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보 시스템 </a:t>
            </a:r>
            <a:endParaRPr kumimoji="1" lang="en-US" altLang="ko-KR" sz="100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latinLnBrk="0">
              <a:defRPr/>
            </a:pP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System &amp;  Information)</a:t>
            </a:r>
          </a:p>
        </p:txBody>
      </p:sp>
      <p:sp>
        <p:nvSpPr>
          <p:cNvPr id="72" name="AutoShape 128"/>
          <p:cNvSpPr>
            <a:spLocks noChangeArrowheads="1"/>
          </p:cNvSpPr>
          <p:nvPr/>
        </p:nvSpPr>
        <p:spPr bwMode="auto">
          <a:xfrm>
            <a:off x="7693025" y="2644850"/>
            <a:ext cx="1884363" cy="436562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6350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36000" tIns="36000" rIns="36000" bIns="36000" anchor="ctr"/>
          <a:lstStyle/>
          <a:p>
            <a:pPr algn="ctr" latinLnBrk="0">
              <a:defRPr/>
            </a:pPr>
            <a:r>
              <a:rPr kumimoji="1" lang="ko-KR" altLang="en-US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운영 통제 </a:t>
            </a:r>
          </a:p>
          <a:p>
            <a:pPr algn="ctr" latinLnBrk="0">
              <a:defRPr/>
            </a:pPr>
            <a:r>
              <a:rPr kumimoji="1" lang="en-US" altLang="ko-KR" sz="10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Risk &amp; Control)</a:t>
            </a:r>
          </a:p>
        </p:txBody>
      </p:sp>
      <p:sp>
        <p:nvSpPr>
          <p:cNvPr id="73" name="Text Box 162"/>
          <p:cNvSpPr txBox="1">
            <a:spLocks noChangeArrowheads="1"/>
          </p:cNvSpPr>
          <p:nvPr/>
        </p:nvSpPr>
        <p:spPr bwMode="auto">
          <a:xfrm>
            <a:off x="1807268" y="2636912"/>
            <a:ext cx="1938337" cy="3302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>
            <a:spAutoFit/>
          </a:bodyPr>
          <a:lstStyle/>
          <a:p>
            <a:pPr latinLnBrk="0">
              <a:spcBef>
                <a:spcPct val="50000"/>
              </a:spcBef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&lt;Fish-Bone Chart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용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&gt;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4" name="Text Box 163"/>
          <p:cNvSpPr txBox="1">
            <a:spLocks noChangeArrowheads="1"/>
          </p:cNvSpPr>
          <p:nvPr/>
        </p:nvSpPr>
        <p:spPr bwMode="auto">
          <a:xfrm>
            <a:off x="1866900" y="4957837"/>
            <a:ext cx="1889125" cy="1200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85725" indent="-85725" latinLnBrk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별 원인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분석 결과를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Cross-Functional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한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관점에서 재검토하여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협업이 필요한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공통 원인을 파악함 </a:t>
            </a:r>
          </a:p>
        </p:txBody>
      </p:sp>
      <p:sp>
        <p:nvSpPr>
          <p:cNvPr id="75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9" name="TextBox 5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5" name="순서도: 페이지 연결자 84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이슈 도출 및 </a:t>
            </a:r>
            <a:r>
              <a:rPr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분류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6" name="순서도: 페이지 연결자 85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원인 분석</a:t>
            </a:r>
          </a:p>
        </p:txBody>
      </p:sp>
      <p:sp>
        <p:nvSpPr>
          <p:cNvPr id="87" name="순서도: 페이지 연결자 86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기회 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38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개선기회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는 근본적인 해결방안과 비즈니스 요구사항의 충족 및 기술제약 사항을 고려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반영 개선기회와 비즈니스 추진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행시스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반영 대상으로 분류함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6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1" name="TextBox 2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TextBox 30"/>
          <p:cNvSpPr txBox="1"/>
          <p:nvPr/>
        </p:nvSpPr>
        <p:spPr>
          <a:xfrm>
            <a:off x="4175361" y="1899199"/>
            <a:ext cx="3138015" cy="325410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174625" indent="-174625"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  <a:cs typeface="Arial" pitchFamily="34" charset="0"/>
              </a:rPr>
              <a:t>K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  <a:cs typeface="Arial" pitchFamily="34" charset="0"/>
              </a:rPr>
              <a:t>사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  <a:cs typeface="Arial" pitchFamily="34" charset="0"/>
              </a:rPr>
              <a:t>개선기회 분류 사례</a:t>
            </a:r>
          </a:p>
        </p:txBody>
      </p:sp>
      <p:pic>
        <p:nvPicPr>
          <p:cNvPr id="33" name="Picture 6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95"/>
          <a:stretch/>
        </p:blipFill>
        <p:spPr bwMode="auto">
          <a:xfrm>
            <a:off x="1975425" y="2323584"/>
            <a:ext cx="7570145" cy="376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9" name="순서도: 페이지 연결자 28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이슈 도출 및 </a:t>
            </a:r>
            <a:r>
              <a:rPr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분류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0" name="순서도: 페이지 연결자 29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이슈 원인 분석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 분석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18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그림 30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1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시스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안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한 진단 항목을 정의하고 아키텍처와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에서 진단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국내외 기술동향 분석을 위해 조사 기관의 보고서 검토 및 적용 가능한 기술동향 시사점 제시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현황분석의 범위와 기준을 명확히 하기 위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현황분석 기준 정의 및 현황 분석 수행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현황분석 결과를 기반으로 명확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이슈 및 시사점을 도출</a:t>
            </a:r>
          </a:p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82550" marR="0" lvl="0" indent="-82550" defTabSz="760413" eaLnBrk="0" hangingPunct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6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24" name="Rectangle 36"/>
          <p:cNvSpPr>
            <a:spLocks noChangeArrowheads="1"/>
          </p:cNvSpPr>
          <p:nvPr/>
        </p:nvSpPr>
        <p:spPr bwMode="auto">
          <a:xfrm>
            <a:off x="7669212" y="5098634"/>
            <a:ext cx="1963737" cy="123926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defTabSz="762000" eaLnBrk="0" latinLnBrk="0" hangingPunct="0">
              <a:lnSpc>
                <a:spcPct val="110000"/>
              </a:lnSpc>
              <a:buClr>
                <a:srgbClr val="00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 IT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서</a:t>
            </a:r>
          </a:p>
          <a:p>
            <a:pPr marL="185738" indent="-185738" defTabSz="762000" eaLnBrk="0" latinLnBrk="0" hangingPunct="0">
              <a:lnSpc>
                <a:spcPct val="110000"/>
              </a:lnSpc>
              <a:buClr>
                <a:srgbClr val="00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문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터뷰 결과서</a:t>
            </a:r>
          </a:p>
        </p:txBody>
      </p:sp>
      <p:sp>
        <p:nvSpPr>
          <p:cNvPr id="3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331914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defTabSz="760413" eaLnBrk="0" latinLnBrk="0" hangingPunct="0">
              <a:lnSpc>
                <a:spcPct val="110000"/>
              </a:lnSpc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외 정보기술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향 및 선진사례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85738" defTabSz="760413" eaLnBrk="0" latinLnBrk="0" hangingPunct="0">
              <a:lnSpc>
                <a:spcPct val="110000"/>
              </a:lnSpc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규제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책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85738" defTabSz="760413" eaLnBrk="0" latinLnBrk="0" hangingPunct="0">
              <a:lnSpc>
                <a:spcPct val="110000"/>
              </a:lnSpc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환경 시사점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331914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0" marR="0" lvl="0" indent="0" algn="ctr" defTabSz="723900" eaLnBrk="1" hangingPunct="0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환경 분석</a:t>
            </a: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2346325" y="5105492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행 시스템 환경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 설문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터뷰 수행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이슈 및 요구사항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33"/>
          <p:cNvSpPr>
            <a:spLocks noChangeArrowheads="1"/>
          </p:cNvSpPr>
          <p:nvPr/>
        </p:nvSpPr>
        <p:spPr bwMode="auto">
          <a:xfrm>
            <a:off x="273050" y="5105492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현황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36" name="Rectangle 36"/>
          <p:cNvSpPr>
            <a:spLocks noChangeArrowheads="1"/>
          </p:cNvSpPr>
          <p:nvPr/>
        </p:nvSpPr>
        <p:spPr bwMode="auto">
          <a:xfrm>
            <a:off x="7669212" y="3716336"/>
            <a:ext cx="1963737" cy="1339327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defTabSz="762000" eaLnBrk="0" latinLnBrk="0" hangingPunct="0">
              <a:lnSpc>
                <a:spcPct val="110000"/>
              </a:lnSpc>
              <a:buClr>
                <a:srgbClr val="00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 IT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서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1456294" y="2725829"/>
            <a:ext cx="611505" cy="161035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97824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기술 동향 및 선진사례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규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책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부 환경 시사점 도출의 과정을 통하여 외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환경 분석을 수행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분석</a:t>
            </a: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32" name="Pentagon 90"/>
          <p:cNvSpPr/>
          <p:nvPr/>
        </p:nvSpPr>
        <p:spPr>
          <a:xfrm flipH="1">
            <a:off x="4304928" y="2307452"/>
            <a:ext cx="449952" cy="3870539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928664" y="1905948"/>
            <a:ext cx="2357637" cy="3077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4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928664" y="2325684"/>
            <a:ext cx="2357639" cy="3783016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보기술 동향 및 선진사례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Gartner, IDC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기술동향 분석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한국정보화진흥원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한국정보산업연합회 기술동향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선진사례 분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법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규제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책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보보안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개인정보 보호법 등 이슈가 되는 법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규제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책 등을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석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외부 환경 시사점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도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NH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농협카드의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IT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환경 및 사업계획을 고려한 시사점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제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346075" marR="0" lvl="1" indent="-165100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charset="0"/>
              <a:buChar char="–"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990788" y="1905948"/>
            <a:ext cx="4570529" cy="3077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4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41" name="Picture 9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1228" y="2704820"/>
            <a:ext cx="1656037" cy="987050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2" name="Picture 9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984" y="4339970"/>
            <a:ext cx="2565741" cy="1341136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3" name="Picture 9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5895" y="2796255"/>
            <a:ext cx="1573883" cy="951036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4" name="Picture 9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2521" y="2849312"/>
            <a:ext cx="1573663" cy="93972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5" name="Picture 9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0405" y="4452751"/>
            <a:ext cx="2164217" cy="156482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6" name="타원 21"/>
          <p:cNvSpPr>
            <a:spLocks noChangeAspect="1"/>
          </p:cNvSpPr>
          <p:nvPr/>
        </p:nvSpPr>
        <p:spPr bwMode="auto">
          <a:xfrm>
            <a:off x="5121228" y="2448895"/>
            <a:ext cx="1851250" cy="25327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rIns="0" anchor="ctr">
            <a:spAutoFit/>
          </a:bodyPr>
          <a:lstStyle/>
          <a:p>
            <a:pPr algn="ctr" eaLnBrk="0" latinLnBrk="0" hangingPunct="0">
              <a:buSzPct val="100000"/>
              <a:buFont typeface="Wingdings" pitchFamily="2" charset="2"/>
              <a:buNone/>
              <a:defRPr/>
            </a:pP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정보기술 동향 및 선진사례 분석</a:t>
            </a:r>
          </a:p>
        </p:txBody>
      </p:sp>
      <p:sp>
        <p:nvSpPr>
          <p:cNvPr id="58" name="타원 21"/>
          <p:cNvSpPr>
            <a:spLocks noChangeAspect="1"/>
          </p:cNvSpPr>
          <p:nvPr/>
        </p:nvSpPr>
        <p:spPr bwMode="auto">
          <a:xfrm>
            <a:off x="5131925" y="4076821"/>
            <a:ext cx="1066832" cy="25327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rIns="0" anchor="ctr">
            <a:spAutoFit/>
          </a:bodyPr>
          <a:lstStyle/>
          <a:p>
            <a:pPr algn="ctr" eaLnBrk="0" latinLnBrk="0" hangingPunct="0">
              <a:buSzPct val="100000"/>
              <a:buFont typeface="Wingdings" pitchFamily="2" charset="2"/>
              <a:buNone/>
              <a:defRPr/>
            </a:pP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법</a:t>
            </a:r>
            <a:r>
              <a: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/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규제</a:t>
            </a:r>
            <a:r>
              <a: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/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정책 분석</a:t>
            </a:r>
          </a:p>
        </p:txBody>
      </p:sp>
      <p:sp>
        <p:nvSpPr>
          <p:cNvPr id="59" name="타원 21"/>
          <p:cNvSpPr>
            <a:spLocks noChangeAspect="1"/>
          </p:cNvSpPr>
          <p:nvPr/>
        </p:nvSpPr>
        <p:spPr bwMode="auto">
          <a:xfrm>
            <a:off x="7621310" y="4077072"/>
            <a:ext cx="1292130" cy="25327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rIns="0" anchor="ctr">
            <a:spAutoFit/>
          </a:bodyPr>
          <a:lstStyle/>
          <a:p>
            <a:pPr algn="ctr" eaLnBrk="0" latinLnBrk="0" hangingPunct="0">
              <a:buSzPct val="100000"/>
              <a:buFont typeface="Wingdings" pitchFamily="2" charset="2"/>
              <a:buNone/>
              <a:defRPr/>
            </a:pP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외부 환경 시사점 도출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5360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국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 동향 분석 선진사례 검토 결과와 현황 검토 등을 통해 신기술 적용 시사점을 도출하고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Quick Win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및 차세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적용 방안과 고려사항을 정의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분석</a:t>
            </a: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8" name="Picture 5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3213" y="2685982"/>
            <a:ext cx="3391835" cy="3047274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pic>
        <p:nvPicPr>
          <p:cNvPr id="29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5128" y="2694945"/>
            <a:ext cx="3387395" cy="3029723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50" name="TextBox 49"/>
          <p:cNvSpPr txBox="1"/>
          <p:nvPr/>
        </p:nvSpPr>
        <p:spPr>
          <a:xfrm>
            <a:off x="2811895" y="1941283"/>
            <a:ext cx="5813508" cy="3077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 latinLnBrk="1">
              <a:defRPr/>
            </a:pPr>
            <a:r>
              <a:rPr kumimoji="1"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기술 검토 시사점 및 적용방안 정의 </a:t>
            </a:r>
            <a:r>
              <a:rPr kumimoji="1"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오각형 62"/>
          <p:cNvSpPr/>
          <p:nvPr/>
        </p:nvSpPr>
        <p:spPr>
          <a:xfrm>
            <a:off x="5601659" y="3192931"/>
            <a:ext cx="135236" cy="2097790"/>
          </a:xfrm>
          <a:prstGeom prst="homePlate">
            <a:avLst>
              <a:gd name="adj" fmla="val 100000"/>
            </a:avLst>
          </a:prstGeom>
          <a:solidFill>
            <a:schemeClr val="tx1">
              <a:lumMod val="40000"/>
              <a:lumOff val="60000"/>
            </a:schemeClr>
          </a:solidFill>
          <a:ln w="3175" algn="ctr">
            <a:solidFill>
              <a:schemeClr val="tx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defRPr/>
            </a:pPr>
            <a:endParaRPr lang="ko-KR" altLang="en-US" sz="1400" b="1" kern="0" dirty="0" smtClean="0">
              <a:solidFill>
                <a:srgbClr val="000000"/>
              </a:solidFill>
              <a:latin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7882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4071248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배경 및 목적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범위 및 추진 전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진행 로드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의 특장점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1380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 시스템 환경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직 설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뷰 수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이슈 및 요구사항 도출을 통해 내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을 분석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Pentagon 90"/>
          <p:cNvSpPr/>
          <p:nvPr/>
        </p:nvSpPr>
        <p:spPr>
          <a:xfrm flipH="1">
            <a:off x="4304928" y="2307452"/>
            <a:ext cx="449952" cy="3870539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28664" y="1905948"/>
            <a:ext cx="2357637" cy="3077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4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928664" y="2325684"/>
            <a:ext cx="2357639" cy="3846516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및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조직 설문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인터뷰 수행 </a:t>
            </a:r>
            <a:endParaRPr lang="en-US" altLang="ko-KR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AA/DA/TA/SA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현황분석 및 비교 검토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NH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농협카드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내부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현황 분석 및 비교 검토를 위한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설문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인터뷰 수행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현황 이슈 및 요구사항 도출</a:t>
            </a:r>
            <a:endParaRPr lang="en-US" altLang="ko-KR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IT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아키텍처 영역의 이슈와 외부환경 시사점 고려한 개선기회 도출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현황분석 기준에 의해 실시한 현황분석 결과를 바탕으로 이슈 및 시사점을 도출하고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해당 이슈 및 시사점에 대한 상세설명을 작성함</a:t>
            </a: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endParaRPr lang="ko-KR" altLang="en-US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90788" y="1905948"/>
            <a:ext cx="4570529" cy="3077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4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4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32" name="Group 1"/>
          <p:cNvGrpSpPr/>
          <p:nvPr/>
        </p:nvGrpSpPr>
        <p:grpSpPr>
          <a:xfrm>
            <a:off x="5025008" y="2564904"/>
            <a:ext cx="4496201" cy="3520871"/>
            <a:chOff x="4697173" y="2265090"/>
            <a:chExt cx="5440403" cy="4260254"/>
          </a:xfrm>
        </p:grpSpPr>
        <p:pic>
          <p:nvPicPr>
            <p:cNvPr id="33" name="Picture 82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rgbClr val="F0F0F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697173" y="4268310"/>
              <a:ext cx="2562237" cy="1933117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34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5415" y="4924509"/>
              <a:ext cx="3202161" cy="160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8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97173" y="2265090"/>
              <a:ext cx="2670302" cy="1769931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36" name="Picture 8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46485" y="2825243"/>
              <a:ext cx="2776322" cy="16973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19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행 어플리케이션 진단을 위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riteria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요건 및 선진 사례에 근거한 기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heck Lis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을 활용하여 어플리케이션 현황 분석을 수행함</a:t>
            </a: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A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Pentagon 90"/>
          <p:cNvSpPr/>
          <p:nvPr/>
        </p:nvSpPr>
        <p:spPr>
          <a:xfrm flipH="1">
            <a:off x="4333503" y="2686173"/>
            <a:ext cx="449952" cy="3430147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928664" y="2315447"/>
            <a:ext cx="2357637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928664" y="2704405"/>
            <a:ext cx="2357639" cy="3433671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현행 어플리케이션 구조 분석 및 진단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현황 분석 범위 및 기준 확정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제안사의 카드사 관련 참조모델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및 타사 모델 검토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지급결제 중심 어플리케이션 모델 반영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신기술 기반 플랫폼서비스를 지향하는 비즈니스의 어플리케이션 구조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검토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진단 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Criteria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기능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체크리스트를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활용하여 전사 어플리케이션 맵 및 기능 정의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이슈 분석 등 어플리케이션 기능 현황 분석서 작성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990788" y="2315447"/>
            <a:ext cx="4570529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47" name="Group 1"/>
          <p:cNvGrpSpPr/>
          <p:nvPr/>
        </p:nvGrpSpPr>
        <p:grpSpPr>
          <a:xfrm>
            <a:off x="4880992" y="2729583"/>
            <a:ext cx="4669408" cy="3408493"/>
            <a:chOff x="4782774" y="2720494"/>
            <a:chExt cx="5642834" cy="3732842"/>
          </a:xfrm>
        </p:grpSpPr>
        <p:sp>
          <p:nvSpPr>
            <p:cNvPr id="48" name="Rounded Rectangle 56"/>
            <p:cNvSpPr/>
            <p:nvPr/>
          </p:nvSpPr>
          <p:spPr>
            <a:xfrm>
              <a:off x="4782774" y="2720494"/>
              <a:ext cx="1800000" cy="432000"/>
            </a:xfrm>
            <a:prstGeom prst="roundRect">
              <a:avLst/>
            </a:prstGeom>
            <a:solidFill>
              <a:srgbClr val="F0F0F0">
                <a:lumMod val="25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-215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어플리케이션 진단 </a:t>
              </a: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Criteria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49" name="Rounded Rectangle 56"/>
            <p:cNvSpPr/>
            <p:nvPr/>
          </p:nvSpPr>
          <p:spPr>
            <a:xfrm>
              <a:off x="6712541" y="2720494"/>
              <a:ext cx="1800000" cy="432000"/>
            </a:xfrm>
            <a:prstGeom prst="roundRect">
              <a:avLst/>
            </a:prstGeom>
            <a:solidFill>
              <a:srgbClr val="F0F0F0">
                <a:lumMod val="25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-215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어플리케이션 기능 </a:t>
              </a: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Check List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0" name="Rounded Rectangle 56"/>
            <p:cNvSpPr/>
            <p:nvPr/>
          </p:nvSpPr>
          <p:spPr>
            <a:xfrm>
              <a:off x="8625608" y="2720494"/>
              <a:ext cx="1800000" cy="432000"/>
            </a:xfrm>
            <a:prstGeom prst="roundRect">
              <a:avLst/>
            </a:prstGeom>
            <a:solidFill>
              <a:srgbClr val="F0F0F0">
                <a:lumMod val="25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-215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어플리케이션 기능 현황 분석서</a:t>
              </a:r>
            </a:p>
          </p:txBody>
        </p:sp>
        <p:sp>
          <p:nvSpPr>
            <p:cNvPr id="51" name="Rectangle 3"/>
            <p:cNvSpPr>
              <a:spLocks noChangeArrowheads="1"/>
            </p:cNvSpPr>
            <p:nvPr/>
          </p:nvSpPr>
          <p:spPr bwMode="auto">
            <a:xfrm>
              <a:off x="4782774" y="3179482"/>
              <a:ext cx="1800000" cy="3273854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6615" rIns="16615" anchor="ctr"/>
            <a:lstStyle>
              <a:lvl1pPr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9pPr>
            </a:lstStyle>
            <a:p>
              <a:pPr algn="ctr" latinLnBrk="0"/>
              <a:endParaRPr kumimoji="0" lang="en-US" altLang="en-US" sz="923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2" name="Rectangle 3"/>
            <p:cNvSpPr>
              <a:spLocks noChangeArrowheads="1"/>
            </p:cNvSpPr>
            <p:nvPr/>
          </p:nvSpPr>
          <p:spPr bwMode="auto">
            <a:xfrm>
              <a:off x="6712541" y="3179482"/>
              <a:ext cx="1800000" cy="3273854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6615" rIns="16615" anchor="ctr"/>
            <a:lstStyle>
              <a:lvl1pPr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9pPr>
            </a:lstStyle>
            <a:p>
              <a:pPr algn="ctr" latinLnBrk="0"/>
              <a:endParaRPr kumimoji="0" lang="en-US" altLang="en-US" sz="923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3" name="Rectangle 3"/>
            <p:cNvSpPr>
              <a:spLocks noChangeArrowheads="1"/>
            </p:cNvSpPr>
            <p:nvPr/>
          </p:nvSpPr>
          <p:spPr bwMode="auto">
            <a:xfrm>
              <a:off x="8619439" y="3179482"/>
              <a:ext cx="1800000" cy="3273854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6615" rIns="16615" anchor="ctr"/>
            <a:lstStyle>
              <a:lvl1pPr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1pPr>
              <a:lvl2pPr marL="742950" indent="-28575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2pPr>
              <a:lvl3pPr marL="11430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3pPr>
              <a:lvl4pPr marL="16002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4pPr>
              <a:lvl5pPr marL="2057400" indent="-228600" eaLnBrk="0" hangingPunct="0"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30000"/>
                </a:spcAft>
                <a:defRPr kumimoji="1" sz="1000" b="1">
                  <a:solidFill>
                    <a:schemeClr val="tx1"/>
                  </a:solidFill>
                  <a:latin typeface="Arial" charset="0"/>
                  <a:ea typeface="가는각진제목체" pitchFamily="18" charset="-127"/>
                </a:defRPr>
              </a:lvl9pPr>
            </a:lstStyle>
            <a:p>
              <a:pPr algn="ctr" latinLnBrk="0"/>
              <a:endParaRPr kumimoji="0" lang="en-US" altLang="en-US" sz="923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4" name="Picture 4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1206" y="3314262"/>
              <a:ext cx="1512000" cy="104519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  <a:extLst/>
          </p:spPr>
        </p:pic>
        <p:pic>
          <p:nvPicPr>
            <p:cNvPr id="55" name="Picture 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9971" y="3281590"/>
              <a:ext cx="1512000" cy="1052809"/>
            </a:xfrm>
            <a:prstGeom prst="rect">
              <a:avLst/>
            </a:prstGeom>
            <a:noFill/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</p:pic>
        <p:pic>
          <p:nvPicPr>
            <p:cNvPr id="56" name="Picture 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58719" y="3295992"/>
              <a:ext cx="1512000" cy="1063462"/>
            </a:xfrm>
            <a:prstGeom prst="rect">
              <a:avLst/>
            </a:prstGeom>
            <a:ln>
              <a:solidFill>
                <a:srgbClr val="FFFFFF">
                  <a:lumMod val="50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7" name="Rectangle 7"/>
            <p:cNvSpPr>
              <a:spLocks noChangeArrowheads="1"/>
            </p:cNvSpPr>
            <p:nvPr/>
          </p:nvSpPr>
          <p:spPr bwMode="auto">
            <a:xfrm>
              <a:off x="4857561" y="4481093"/>
              <a:ext cx="1615645" cy="1887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 marL="85725" indent="-857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1pPr>
              <a:lvl2pPr marL="455613" indent="-2254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–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2pPr>
              <a:lvl3pPr marL="684213" indent="-227013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3pPr>
              <a:lvl4pPr marL="1092200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4pPr>
              <a:lvl5pPr marL="1500188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5pPr>
              <a:lvl6pPr marL="19573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6pPr>
              <a:lvl7pPr marL="24145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7pPr>
              <a:lvl8pPr marL="28717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8pPr>
              <a:lvl9pPr marL="33289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9pPr>
            </a:lstStyle>
            <a:p>
              <a:pPr latinLnBrk="0">
                <a:lnSpc>
                  <a:spcPct val="120000"/>
                </a:lnSpc>
                <a:spcBef>
                  <a:spcPct val="30000"/>
                </a:spcBef>
                <a:buClrTx/>
                <a:buSzPct val="110000"/>
                <a:buFont typeface="Wingdings" panose="05000000000000000000" pitchFamily="2" charset="2"/>
                <a:buChar char="§"/>
                <a:defRPr/>
              </a:pPr>
              <a:r>
                <a:rPr kumimoji="0" lang="ko-KR" altLang="en-US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플리케이션 진단 </a:t>
              </a:r>
              <a:r>
                <a:rPr kumimoji="0" lang="en-US" altLang="ko-KR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Criteria</a:t>
              </a:r>
              <a:r>
                <a:rPr kumimoji="0" lang="ko-KR" altLang="en-US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는 보다 세부적인 </a:t>
              </a:r>
              <a:r>
                <a:rPr kumimoji="0" lang="en-US" altLang="ko-KR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ub Criteria</a:t>
              </a:r>
              <a:r>
                <a:rPr kumimoji="0" lang="ko-KR" altLang="en-US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로 구분되며 각 </a:t>
              </a:r>
              <a:r>
                <a:rPr kumimoji="0" lang="en-US" altLang="ko-KR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ub Criteria</a:t>
              </a:r>
              <a:r>
                <a:rPr kumimoji="0" lang="ko-KR" altLang="en-US" sz="1108" b="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별로 진단 척도를 제시함</a:t>
              </a:r>
            </a:p>
          </p:txBody>
        </p:sp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6819971" y="4481093"/>
              <a:ext cx="1615645" cy="1887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 marL="85725" indent="-857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1pPr>
              <a:lvl2pPr marL="455613" indent="-2254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–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2pPr>
              <a:lvl3pPr marL="684213" indent="-227013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3pPr>
              <a:lvl4pPr marL="1092200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4pPr>
              <a:lvl5pPr marL="1500188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5pPr>
              <a:lvl6pPr marL="19573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6pPr>
              <a:lvl7pPr marL="24145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7pPr>
              <a:lvl8pPr marL="28717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8pPr>
              <a:lvl9pPr marL="33289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9pPr>
            </a:lstStyle>
            <a:p>
              <a:pPr latinLnBrk="0">
                <a:lnSpc>
                  <a:spcPct val="120000"/>
                </a:lnSpc>
                <a:spcBef>
                  <a:spcPct val="30000"/>
                </a:spcBef>
                <a:buClrTx/>
                <a:buSzPct val="110000"/>
                <a:buFont typeface="Wingdings" panose="05000000000000000000" pitchFamily="2" charset="2"/>
                <a:buChar char="§"/>
                <a:defRPr/>
              </a:pPr>
              <a:r>
                <a:rPr kumimoji="0" lang="ko-KR" altLang="en-US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플리케이션 그룹 구분의 적정성</a:t>
              </a:r>
              <a:r>
                <a:rPr kumimoji="0" lang="en-US" altLang="ko-KR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0" lang="ko-KR" altLang="en-US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능 중복 여부</a:t>
              </a:r>
              <a:r>
                <a:rPr kumimoji="0" lang="en-US" altLang="ko-KR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0" lang="ko-KR" altLang="en-US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필요 어플리케이션 누락 여부 검토</a:t>
              </a:r>
              <a:endParaRPr kumimoji="0" lang="ko-KR" altLang="en-US" sz="1108" b="0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8749119" y="4481093"/>
              <a:ext cx="1615645" cy="1887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 marL="85725" indent="-857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1pPr>
              <a:lvl2pPr marL="455613" indent="-225425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–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2pPr>
              <a:lvl3pPr marL="684213" indent="-227013" eaLnBrk="0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kumimoji="1" sz="1200">
                  <a:solidFill>
                    <a:srgbClr val="000000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3pPr>
              <a:lvl4pPr marL="1092200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4pPr>
              <a:lvl5pPr marL="1500188" indent="-228600" eaLnBrk="0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5pPr>
              <a:lvl6pPr marL="19573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6pPr>
              <a:lvl7pPr marL="24145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7pPr>
              <a:lvl8pPr marL="28717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8pPr>
              <a:lvl9pPr marL="3328988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1200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  <a:cs typeface="Arial" charset="0"/>
                </a:defRPr>
              </a:lvl9pPr>
            </a:lstStyle>
            <a:p>
              <a:pPr latinLnBrk="0">
                <a:lnSpc>
                  <a:spcPct val="120000"/>
                </a:lnSpc>
                <a:spcBef>
                  <a:spcPct val="30000"/>
                </a:spcBef>
                <a:buClrTx/>
                <a:buSzPct val="110000"/>
                <a:buFont typeface="Wingdings" panose="05000000000000000000" pitchFamily="2" charset="2"/>
                <a:buChar char="§"/>
                <a:defRPr/>
              </a:pPr>
              <a:r>
                <a:rPr kumimoji="0" lang="ko-KR" altLang="en-US" sz="1108" b="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플리케이션 아키텍처 영역별 현황 분석 결과 정리</a:t>
              </a:r>
              <a:endParaRPr kumimoji="0" lang="ko-KR" altLang="en-US" sz="1108" b="0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301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의 비즈니스 특수성을 감안하여 일반 카드사 어플리케이션 모델 뿐만 아니라 신기술 기반 플랫폼 서비스를 지향하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조를 검토함</a:t>
            </a: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A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421211" y="2315447"/>
            <a:ext cx="4594367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 eaLnBrk="0" latinLnBrk="0" hangingPunct="0">
              <a:buSzPct val="100000"/>
              <a:buFont typeface="Wingdings" pitchFamily="2" charset="2"/>
              <a:buNone/>
              <a:defRPr/>
            </a:pP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컨소시엄의 카드사 </a:t>
            </a:r>
            <a:r>
              <a: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맑은 고딕" pitchFamily="50" charset="-127"/>
              </a:rPr>
              <a:t>AA Reference Mode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713132" y="2718320"/>
            <a:ext cx="2560348" cy="13689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square" lIns="72000" tIns="72000" rIns="72000" bIns="72000" rtlCol="0" anchor="ctr">
            <a:noAutofit/>
          </a:bodyPr>
          <a:lstStyle/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카드 업무 수행을 위해 필요한 시스템의 기능 요건을 도출하여 정의한 참조 아키텍처임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131763" marR="0" lvl="0" indent="-131763" defTabSz="873125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최근 대형 카드사 구축 경험을 바탕으로 신기술 등 최신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Trend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rPr>
              <a:t>를 반영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pic>
        <p:nvPicPr>
          <p:cNvPr id="36" name="그림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788" y="2718320"/>
            <a:ext cx="4514388" cy="3446984"/>
          </a:xfrm>
          <a:prstGeom prst="rect">
            <a:avLst/>
          </a:prstGeom>
          <a:solidFill>
            <a:srgbClr val="FFFFFF"/>
          </a:solidFill>
          <a:effectLst/>
        </p:spPr>
      </p:pic>
    </p:spTree>
    <p:extLst>
      <p:ext uri="{BB962C8B-B14F-4D97-AF65-F5344CB8AC3E}">
        <p14:creationId xmlns:p14="http://schemas.microsoft.com/office/powerpoint/2010/main" val="262493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7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현황분석은 데이터 아키텍처의 구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흐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델 관점과 데이터 관리 정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을 포함한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거버넌스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관점을 현황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ramework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 정의하여 수행</a:t>
            </a: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D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Pentagon 90"/>
          <p:cNvSpPr/>
          <p:nvPr/>
        </p:nvSpPr>
        <p:spPr>
          <a:xfrm flipH="1">
            <a:off x="5314578" y="2686173"/>
            <a:ext cx="377562" cy="3430147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28663" y="2315447"/>
            <a:ext cx="3313893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928664" y="2704405"/>
            <a:ext cx="3313896" cy="3433671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36000" bIns="72000" rtlCol="0">
            <a:noAutofit/>
          </a:bodyPr>
          <a:lstStyle/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현황 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관리 지침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및 가이드 분석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모델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표준데이터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공통코드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현황분석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프로세스 분석</a:t>
            </a: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구조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흐름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표준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공통코드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품질 관리 프로세스 분석</a:t>
            </a:r>
          </a:p>
          <a:p>
            <a:pPr marL="131763" lvl="0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시스템 분석</a:t>
            </a: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DB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모델링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품질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표준 관리 도구로 현재 운영중인 시스템 기능 분석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데이터 아키텍처에 대한 개선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데이터 표준 재수립 및 관리 프로세스 개선</a:t>
            </a:r>
            <a:endParaRPr lang="en-US" altLang="ko-KR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장기간 유지하고 있는 데이터에 대한 경량화 방안 수립</a:t>
            </a:r>
            <a:endParaRPr lang="en-US" altLang="ko-KR" sz="1100" b="0" kern="0" dirty="0" smtClean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최신 데이터베이스 기술요소 도입을 통합업무 개선</a:t>
            </a:r>
          </a:p>
          <a:p>
            <a:pPr marL="176213" lvl="0" indent="-176213" latinLnBrk="0">
              <a:spcBef>
                <a:spcPts val="300"/>
              </a:spcBef>
              <a:buFont typeface="Wingdings" pitchFamily="2" charset="2"/>
              <a:buChar char="§"/>
              <a:defRPr/>
            </a:pPr>
            <a:endParaRPr lang="ko-KR" altLang="en-US" sz="1200" b="0" dirty="0" smtClean="0">
              <a:solidFill>
                <a:srgbClr val="F0F0F0">
                  <a:lumMod val="50000"/>
                </a:srgbClr>
              </a:solidFill>
              <a:latin typeface="맑은 고딕" panose="020B0503020000020004" pitchFamily="50" charset="-127"/>
              <a:ea typeface="맑은 고딕"/>
            </a:endParaRPr>
          </a:p>
          <a:p>
            <a:pPr lvl="0" algn="ctr" latinLnBrk="0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kern="0" dirty="0">
              <a:solidFill>
                <a:srgbClr val="333333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734050" y="2315447"/>
            <a:ext cx="3827268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860" y="2708920"/>
            <a:ext cx="3829405" cy="3291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023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8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행 데이터의 중복 최소화 및 업무 간 연계를 위한 데이터 흐름을 구성측면에서 검토하고 데이터를 사용하기 위한 사용자 </a:t>
            </a:r>
            <a:r>
              <a:rPr lang="en-US" altLang="ko-KR" dirty="0" smtClean="0"/>
              <a:t>View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고서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개선요건을 식별함</a:t>
            </a: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D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816085" y="2261803"/>
            <a:ext cx="5603504" cy="29206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174625" indent="-174625"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데이터 흐름 분석 사례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175" y="2852936"/>
            <a:ext cx="6364389" cy="318492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ular Callout 43"/>
          <p:cNvSpPr/>
          <p:nvPr/>
        </p:nvSpPr>
        <p:spPr>
          <a:xfrm>
            <a:off x="3944119" y="2886844"/>
            <a:ext cx="1800250" cy="877964"/>
          </a:xfrm>
          <a:prstGeom prst="wedgeRectCallout">
            <a:avLst>
              <a:gd name="adj1" fmla="val 1490"/>
              <a:gd name="adj2" fmla="val 254384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FFFFFF">
                <a:lumMod val="50000"/>
              </a:srgbClr>
            </a:solidFill>
          </a:ln>
          <a:effectLst/>
        </p:spPr>
        <p:txBody>
          <a:bodyPr wrap="square" rtlCol="0" anchor="b">
            <a:noAutofit/>
          </a:bodyPr>
          <a:lstStyle/>
          <a:p>
            <a:pPr marL="180975" indent="-180975" eaLnBrk="0" latinLnBrk="0" hangingPunct="0">
              <a:spcBef>
                <a:spcPts val="200"/>
              </a:spcBef>
              <a:spcAft>
                <a:spcPts val="200"/>
              </a:spcAft>
              <a:buFontTx/>
              <a:buChar char="•"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[DBMS </a:t>
            </a:r>
            <a:r>
              <a:rPr lang="ko-KR" altLang="en-US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성단위 이슈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: EDW 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영역에 계정성 업무 및 단위업무 </a:t>
            </a:r>
            <a:r>
              <a:rPr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DBMS</a:t>
            </a:r>
            <a:r>
              <a:rPr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를 함께 구성하여 운영이 안정적이지 못함</a:t>
            </a:r>
            <a:endParaRPr lang="en-US" altLang="ko-KR" sz="10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6044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9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 현황분석은 기술 아키텍처의 구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흐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델 관점</a:t>
            </a:r>
            <a:r>
              <a:rPr lang="ko-KR" altLang="en-US" dirty="0" smtClean="0"/>
              <a:t>에서 분석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grpSp>
        <p:nvGrpSpPr>
          <p:cNvPr id="6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3" name="TextBox 6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T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Pentagon 90"/>
          <p:cNvSpPr/>
          <p:nvPr/>
        </p:nvSpPr>
        <p:spPr>
          <a:xfrm flipH="1">
            <a:off x="4333503" y="2686173"/>
            <a:ext cx="449952" cy="3430147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928664" y="2315447"/>
            <a:ext cx="2357637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928664" y="2704405"/>
            <a:ext cx="2357639" cy="3433671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개발 아키텍처 현황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설계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개발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테스트를 수행하기 위한 개발 툴 도입 현황 및 표준 개발 툴에 대한 현황을 파악함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실행 </a:t>
            </a: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아키텍처 현황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업무시스템 별 어플리케이션의 기반이 되는 아키텍처 기반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프레임워크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미들웨어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UI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환경 등을 점검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운영 </a:t>
            </a: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아키텍처 현황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24X365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백업정책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DR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구성 범위 및 현황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보안 정책 등 시스템 운영 차원에서 고려되어야 하는 영역에 대한 현황분석 수행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990788" y="2315447"/>
            <a:ext cx="4570529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5" name="타원 71"/>
          <p:cNvSpPr/>
          <p:nvPr/>
        </p:nvSpPr>
        <p:spPr>
          <a:xfrm>
            <a:off x="6155283" y="4182116"/>
            <a:ext cx="241040" cy="245885"/>
          </a:xfrm>
          <a:prstGeom prst="ellipse">
            <a:avLst/>
          </a:prstGeom>
          <a:solidFill>
            <a:srgbClr val="F04C3E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latinLnBrk="0">
              <a:defRPr/>
            </a:pPr>
            <a:endParaRPr lang="ko-KR" altLang="en-US" sz="1800" kern="0" baseline="-25000" dirty="0" smtClean="0">
              <a:solidFill>
                <a:srgbClr val="F0F0F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46" name="덧셈 기호 72"/>
          <p:cNvSpPr/>
          <p:nvPr/>
        </p:nvSpPr>
        <p:spPr>
          <a:xfrm>
            <a:off x="6167334" y="4194410"/>
            <a:ext cx="216936" cy="221296"/>
          </a:xfrm>
          <a:prstGeom prst="mathPlus">
            <a:avLst/>
          </a:prstGeom>
          <a:solidFill>
            <a:srgbClr val="F0F0F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latinLnBrk="0">
              <a:defRPr/>
            </a:pPr>
            <a:endParaRPr lang="ko-KR" altLang="en-US" sz="1800" kern="0" baseline="-25000" dirty="0" smtClean="0">
              <a:solidFill>
                <a:srgbClr val="F0F0F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47" name="Rectangle 67"/>
          <p:cNvSpPr/>
          <p:nvPr/>
        </p:nvSpPr>
        <p:spPr>
          <a:xfrm>
            <a:off x="5017886" y="2733406"/>
            <a:ext cx="2447280" cy="260787"/>
          </a:xfrm>
          <a:prstGeom prst="rect">
            <a:avLst/>
          </a:prstGeom>
          <a:solidFill>
            <a:srgbClr val="FFFFFF">
              <a:lumMod val="50000"/>
            </a:srgbClr>
          </a:solidFill>
          <a:ln w="6350" algn="ctr">
            <a:solidFill>
              <a:srgbClr val="808080">
                <a:lumMod val="50000"/>
              </a:srgb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en-US" altLang="ko-KR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TA</a:t>
            </a:r>
            <a:r>
              <a:rPr lang="ko-KR" altLang="en-US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분석 프레임워크 정의를 위한 주요요소</a:t>
            </a:r>
          </a:p>
        </p:txBody>
      </p:sp>
      <p:sp>
        <p:nvSpPr>
          <p:cNvPr id="48" name="Rectangle 68"/>
          <p:cNvSpPr/>
          <p:nvPr/>
        </p:nvSpPr>
        <p:spPr>
          <a:xfrm>
            <a:off x="5017612" y="3012099"/>
            <a:ext cx="2447280" cy="3063187"/>
          </a:xfrm>
          <a:prstGeom prst="rect">
            <a:avLst/>
          </a:prstGeom>
          <a:noFill/>
          <a:ln w="6350" algn="ctr">
            <a:solidFill>
              <a:srgbClr val="808080">
                <a:lumMod val="50000"/>
              </a:srgb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pPr marL="131763" indent="-131763" defTabSz="873125" eaLnBrk="0" latinLnBrk="0" hangingPunct="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endParaRPr lang="ko-KR" altLang="en-US" sz="9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49" name="Rectangle 151"/>
          <p:cNvSpPr/>
          <p:nvPr/>
        </p:nvSpPr>
        <p:spPr>
          <a:xfrm>
            <a:off x="5084941" y="3179242"/>
            <a:ext cx="1071820" cy="2784716"/>
          </a:xfrm>
          <a:prstGeom prst="rect">
            <a:avLst/>
          </a:prstGeom>
          <a:solidFill>
            <a:srgbClr val="FFFFFF">
              <a:lumMod val="20000"/>
              <a:lumOff val="80000"/>
              <a:alpha val="25000"/>
            </a:srgbClr>
          </a:solidFill>
          <a:ln>
            <a:solidFill>
              <a:srgbClr val="808080"/>
            </a:solidFill>
            <a:prstDash val="dash"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endParaRPr lang="ko-KR" altLang="en-US" sz="800" kern="0" dirty="0" smtClean="0">
              <a:solidFill>
                <a:srgbClr val="545454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0" name="Rectangle 70"/>
          <p:cNvSpPr/>
          <p:nvPr/>
        </p:nvSpPr>
        <p:spPr>
          <a:xfrm>
            <a:off x="7706475" y="3012099"/>
            <a:ext cx="1792301" cy="3081197"/>
          </a:xfrm>
          <a:prstGeom prst="rect">
            <a:avLst/>
          </a:prstGeom>
          <a:noFill/>
          <a:ln w="6350" algn="ctr">
            <a:solidFill>
              <a:srgbClr val="808080">
                <a:lumMod val="50000"/>
              </a:srgb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pPr marL="131763" indent="-131763" defTabSz="873125" eaLnBrk="0" latinLnBrk="0" hangingPunct="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endParaRPr lang="ko-KR" altLang="en-US" sz="9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1" name="Rectangle 71"/>
          <p:cNvSpPr/>
          <p:nvPr/>
        </p:nvSpPr>
        <p:spPr>
          <a:xfrm>
            <a:off x="7706475" y="2733406"/>
            <a:ext cx="1792301" cy="260787"/>
          </a:xfrm>
          <a:prstGeom prst="rect">
            <a:avLst/>
          </a:prstGeom>
          <a:solidFill>
            <a:srgbClr val="FFFFFF">
              <a:lumMod val="50000"/>
            </a:srgbClr>
          </a:solidFill>
          <a:ln w="6350" algn="ctr">
            <a:solidFill>
              <a:srgbClr val="808080">
                <a:lumMod val="50000"/>
              </a:srgb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기술 현황분석 </a:t>
            </a:r>
            <a:r>
              <a:rPr lang="en-US" altLang="ko-KR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Framework</a:t>
            </a:r>
            <a:endParaRPr lang="ko-KR" altLang="en-US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2" name="Isosceles Triangle 72"/>
          <p:cNvSpPr/>
          <p:nvPr/>
        </p:nvSpPr>
        <p:spPr>
          <a:xfrm rot="5400000">
            <a:off x="6708732" y="4447653"/>
            <a:ext cx="1754177" cy="137890"/>
          </a:xfrm>
          <a:prstGeom prst="triangle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50000">
                <a:srgbClr val="FFFFFF">
                  <a:lumMod val="40000"/>
                  <a:lumOff val="60000"/>
                </a:srgbClr>
              </a:gs>
              <a:gs pos="100000">
                <a:srgbClr val="F0F0F0"/>
              </a:gs>
            </a:gsLst>
            <a:lin ang="54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10000"/>
              </a:spcBef>
              <a:defRPr/>
            </a:pPr>
            <a:endParaRPr lang="ko-KR" altLang="en-US" sz="900" kern="0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2851" y="3409862"/>
            <a:ext cx="1484997" cy="1306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3779" y="4807724"/>
            <a:ext cx="1484997" cy="1188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Rectangle 151"/>
          <p:cNvSpPr/>
          <p:nvPr/>
        </p:nvSpPr>
        <p:spPr>
          <a:xfrm>
            <a:off x="6434377" y="3847514"/>
            <a:ext cx="923981" cy="803306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최신 금융 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IT Trends</a:t>
            </a:r>
            <a:b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</a:b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(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보안 정책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기반 기술 동향 등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)</a:t>
            </a:r>
          </a:p>
        </p:txBody>
      </p:sp>
      <p:sp>
        <p:nvSpPr>
          <p:cNvPr id="56" name="Rectangle 151"/>
          <p:cNvSpPr/>
          <p:nvPr/>
        </p:nvSpPr>
        <p:spPr>
          <a:xfrm>
            <a:off x="6434377" y="4794318"/>
            <a:ext cx="923981" cy="803306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혁신과제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/>
            </a:r>
            <a:b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</a:b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 (</a:t>
            </a:r>
            <a:r>
              <a:rPr lang="en-US" altLang="ko-KR" sz="900" kern="0" dirty="0" err="1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FinTech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en-US" altLang="ko-KR" sz="900" kern="0" dirty="0" err="1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Bigdata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, Paperless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 등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)</a:t>
            </a:r>
            <a:endParaRPr lang="ko-KR" altLang="en-US" sz="900" kern="0" dirty="0" smtClean="0">
              <a:solidFill>
                <a:srgbClr val="545454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7" name="Text Box 54"/>
          <p:cNvSpPr txBox="1">
            <a:spLocks noChangeArrowheads="1"/>
          </p:cNvSpPr>
          <p:nvPr/>
        </p:nvSpPr>
        <p:spPr bwMode="auto">
          <a:xfrm>
            <a:off x="5084972" y="3197565"/>
            <a:ext cx="1071820" cy="3686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54000" tIns="0" rIns="54000" bIns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타사 주요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/>
            </a:r>
            <a:b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</a:b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고려 사항</a:t>
            </a:r>
            <a:endParaRPr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58" name="Rectangle 151"/>
          <p:cNvSpPr/>
          <p:nvPr/>
        </p:nvSpPr>
        <p:spPr>
          <a:xfrm>
            <a:off x="5158891" y="3627336"/>
            <a:ext cx="923981" cy="621076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NH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농협카드보유 아키텍처 자산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(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참조모델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기술표준 등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)</a:t>
            </a:r>
            <a:endParaRPr lang="ko-KR" altLang="en-US" sz="900" kern="0" dirty="0" smtClean="0">
              <a:solidFill>
                <a:srgbClr val="545454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9" name="Rectangle 151"/>
          <p:cNvSpPr/>
          <p:nvPr/>
        </p:nvSpPr>
        <p:spPr>
          <a:xfrm>
            <a:off x="5158891" y="4405834"/>
            <a:ext cx="923981" cy="62092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r>
              <a:rPr lang="ko-KR" altLang="en-US" sz="900" kern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수행</a:t>
            </a:r>
            <a:r>
              <a:rPr lang="ko-KR" altLang="en-US" sz="900" ker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사</a:t>
            </a:r>
            <a:r>
              <a:rPr lang="en-US" altLang="ko-KR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 </a:t>
            </a: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보유 기술 참조 모델</a:t>
            </a:r>
          </a:p>
        </p:txBody>
      </p:sp>
      <p:sp>
        <p:nvSpPr>
          <p:cNvPr id="60" name="Rectangle 151"/>
          <p:cNvSpPr/>
          <p:nvPr/>
        </p:nvSpPr>
        <p:spPr>
          <a:xfrm>
            <a:off x="5158891" y="5184178"/>
            <a:ext cx="923981" cy="62092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808080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r>
              <a:rPr lang="ko-KR" altLang="en-US" sz="900" kern="0" dirty="0" smtClean="0">
                <a:solidFill>
                  <a:srgbClr val="545454"/>
                </a:solidFill>
                <a:latin typeface="맑은 고딕" panose="020B0503020000020004" pitchFamily="50" charset="-127"/>
                <a:ea typeface="맑은 고딕"/>
              </a:rPr>
              <a:t>타사 기술 아키텍처</a:t>
            </a:r>
            <a:endParaRPr lang="en-US" altLang="ko-KR" sz="900" kern="0" dirty="0" smtClean="0">
              <a:solidFill>
                <a:srgbClr val="545454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61" name="Text Box 54"/>
          <p:cNvSpPr txBox="1">
            <a:spLocks noChangeArrowheads="1"/>
          </p:cNvSpPr>
          <p:nvPr/>
        </p:nvSpPr>
        <p:spPr bwMode="auto">
          <a:xfrm>
            <a:off x="6306868" y="3199019"/>
            <a:ext cx="1179001" cy="3686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54000" tIns="0" rIns="54000" bIns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NH</a:t>
            </a: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농협카드</a:t>
            </a:r>
            <a: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/>
            </a:r>
            <a:br>
              <a:rPr lang="en-US" altLang="ko-KR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</a:br>
            <a:r>
              <a:rPr lang="ko-KR" altLang="en-US" sz="105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추가 고려사항</a:t>
            </a:r>
            <a:endParaRPr lang="en-US" altLang="ko-KR" sz="105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66" name="Rectangle 151"/>
          <p:cNvSpPr/>
          <p:nvPr/>
        </p:nvSpPr>
        <p:spPr>
          <a:xfrm>
            <a:off x="6360431" y="3179242"/>
            <a:ext cx="1071820" cy="2784716"/>
          </a:xfrm>
          <a:prstGeom prst="rect">
            <a:avLst/>
          </a:prstGeom>
          <a:noFill/>
          <a:ln>
            <a:solidFill>
              <a:srgbClr val="808080"/>
            </a:solidFill>
            <a:prstDash val="dash"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52388" algn="ctr" latinLnBrk="0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endParaRPr lang="ko-KR" altLang="en-US" sz="800" kern="0" dirty="0" smtClean="0">
              <a:solidFill>
                <a:srgbClr val="545454"/>
              </a:solidFill>
              <a:latin typeface="맑은 고딕" panose="020B0503020000020004" pitchFamily="50" charset="-127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77046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s-I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분석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0/10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아키텍처 현황분석은 보안 기술 현황분석과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컴플라이언스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현황분석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ramework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반으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분석 결과를 도출함</a:t>
            </a: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723900" hangingPunct="0">
              <a:lnSpc>
                <a:spcPct val="120000"/>
              </a:lnSpc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경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As-Is </a:t>
            </a:r>
            <a:r>
              <a:rPr lang="ko-KR" altLang="en-US" sz="1400" kern="0" dirty="0">
                <a:solidFill>
                  <a:srgbClr val="FFFFFF"/>
                </a:solidFill>
              </a:rPr>
              <a:t>분석</a:t>
            </a:r>
          </a:p>
        </p:txBody>
      </p:sp>
      <p:sp>
        <p:nvSpPr>
          <p:cNvPr id="41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258224" y="1876224"/>
            <a:ext cx="7302336" cy="28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200" b="1">
                <a:latin typeface="+mn-ea"/>
                <a:ea typeface="+mn-ea"/>
                <a:cs typeface="Arial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kern="0" dirty="0">
                <a:solidFill>
                  <a:srgbClr val="000000"/>
                </a:solidFill>
                <a:latin typeface="맑은 고딕"/>
                <a:ea typeface="맑은 고딕"/>
              </a:rPr>
              <a:t>현행 시스템 환경 </a:t>
            </a:r>
            <a:r>
              <a:rPr lang="ko-KR" altLang="en-US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분석 </a:t>
            </a:r>
            <a:r>
              <a:rPr lang="en-US" altLang="ko-KR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– SA</a:t>
            </a:r>
            <a:endParaRPr kumimoji="1" lang="ko-KR" altLang="en-US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직사각형 53"/>
          <p:cNvSpPr/>
          <p:nvPr/>
        </p:nvSpPr>
        <p:spPr>
          <a:xfrm>
            <a:off x="1928664" y="1876224"/>
            <a:ext cx="288000" cy="288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Pentagon 90"/>
          <p:cNvSpPr/>
          <p:nvPr/>
        </p:nvSpPr>
        <p:spPr>
          <a:xfrm flipH="1">
            <a:off x="4520952" y="2686173"/>
            <a:ext cx="449952" cy="3430147"/>
          </a:xfrm>
          <a:custGeom>
            <a:avLst/>
            <a:gdLst>
              <a:gd name="connsiteX0" fmla="*/ 0 w 525529"/>
              <a:gd name="connsiteY0" fmla="*/ 0 h 4535986"/>
              <a:gd name="connsiteX1" fmla="*/ 0 w 525529"/>
              <a:gd name="connsiteY1" fmla="*/ 0 h 4535986"/>
              <a:gd name="connsiteX2" fmla="*/ 525529 w 525529"/>
              <a:gd name="connsiteY2" fmla="*/ 2267993 h 4535986"/>
              <a:gd name="connsiteX3" fmla="*/ 0 w 525529"/>
              <a:gd name="connsiteY3" fmla="*/ 4535986 h 4535986"/>
              <a:gd name="connsiteX4" fmla="*/ 0 w 525529"/>
              <a:gd name="connsiteY4" fmla="*/ 4535986 h 4535986"/>
              <a:gd name="connsiteX5" fmla="*/ 0 w 525529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733107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  <a:gd name="connsiteX0" fmla="*/ 0 w 797672"/>
              <a:gd name="connsiteY0" fmla="*/ 0 h 4535986"/>
              <a:gd name="connsiteX1" fmla="*/ 0 w 797672"/>
              <a:gd name="connsiteY1" fmla="*/ 0 h 4535986"/>
              <a:gd name="connsiteX2" fmla="*/ 797672 w 797672"/>
              <a:gd name="connsiteY2" fmla="*/ 548050 h 4535986"/>
              <a:gd name="connsiteX3" fmla="*/ 0 w 797672"/>
              <a:gd name="connsiteY3" fmla="*/ 4535986 h 4535986"/>
              <a:gd name="connsiteX4" fmla="*/ 0 w 797672"/>
              <a:gd name="connsiteY4" fmla="*/ 4535986 h 4535986"/>
              <a:gd name="connsiteX5" fmla="*/ 0 w 797672"/>
              <a:gd name="connsiteY5" fmla="*/ 0 h 45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7672" h="4535986">
                <a:moveTo>
                  <a:pt x="0" y="0"/>
                </a:moveTo>
                <a:lnTo>
                  <a:pt x="0" y="0"/>
                </a:lnTo>
                <a:lnTo>
                  <a:pt x="797672" y="548050"/>
                </a:lnTo>
                <a:lnTo>
                  <a:pt x="0" y="4535986"/>
                </a:lnTo>
                <a:lnTo>
                  <a:pt x="0" y="453598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</a:srgbClr>
              </a:gs>
              <a:gs pos="100000">
                <a:srgbClr val="FFFFFF">
                  <a:lumMod val="9500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928664" y="2315447"/>
            <a:ext cx="2633174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방안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28664" y="2704405"/>
            <a:ext cx="2633176" cy="3433671"/>
          </a:xfrm>
          <a:prstGeom prst="rect">
            <a:avLst/>
          </a:prstGeom>
          <a:solidFill>
            <a:srgbClr val="FFFFFF"/>
          </a:solidFill>
          <a:ln>
            <a:solidFill>
              <a:srgbClr val="333333">
                <a:lumMod val="40000"/>
                <a:lumOff val="6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보안 기술 현황분석 </a:t>
            </a:r>
            <a:r>
              <a:rPr lang="en-US" altLang="ko-KR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Framework </a:t>
            </a: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도출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자사가 보유한 보안 기술 현황분석 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Framework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를 기반으로 고객사의 보안 현황과 자료를 기반으로 최적의 보안 기술 현황분석 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Framework 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도출 </a:t>
            </a:r>
            <a:endParaRPr lang="en-US" altLang="ko-KR" sz="1100" u="sng" kern="0" dirty="0">
              <a:solidFill>
                <a:srgbClr val="333333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컴플라이언스 현황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카드사가 준수해야할 필수 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30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여개 법률 및 관련 가이드와 국제 표준에 기반한 현황 분석 </a:t>
            </a:r>
            <a:r>
              <a:rPr lang="ko-KR" altLang="en-US" sz="1100" b="0" kern="0" dirty="0" smtClean="0">
                <a:solidFill>
                  <a:srgbClr val="333333"/>
                </a:solidFill>
                <a:latin typeface="맑은 고딕"/>
                <a:ea typeface="맑은 고딕"/>
              </a:rPr>
              <a:t>수행</a:t>
            </a:r>
            <a:endParaRPr lang="en-US" altLang="ko-KR" sz="11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131763" lvl="1" indent="-131763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>
                <a:solidFill>
                  <a:srgbClr val="333333"/>
                </a:solidFill>
                <a:latin typeface="맑은 고딕"/>
                <a:ea typeface="맑은 고딕"/>
              </a:rPr>
              <a:t>보안 현황분석</a:t>
            </a:r>
            <a:endParaRPr lang="en-US" altLang="ko-KR" sz="1200" kern="0" dirty="0">
              <a:solidFill>
                <a:srgbClr val="333333"/>
              </a:solidFill>
              <a:latin typeface="맑은 고딕"/>
              <a:ea typeface="맑은 고딕"/>
            </a:endParaRPr>
          </a:p>
          <a:p>
            <a:pPr marL="346075" lvl="1" indent="-165100" defTabSz="873125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Arial" charset="0"/>
              <a:buChar char="–"/>
              <a:defRPr/>
            </a:pP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도출된 보안 기술 현황분석 </a:t>
            </a:r>
            <a:r>
              <a:rPr lang="en-US" altLang="ko-KR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Framework</a:t>
            </a:r>
            <a:r>
              <a:rPr lang="ko-KR" altLang="en-US" sz="1100" b="0" kern="0" dirty="0">
                <a:solidFill>
                  <a:srgbClr val="333333"/>
                </a:solidFill>
                <a:latin typeface="맑은 고딕"/>
                <a:ea typeface="맑은 고딕"/>
              </a:rPr>
              <a:t>를 기반으로 현행 보안체계를 분석하여 개선 방향성 정의를 위한 현황분석 결과를 도출함</a:t>
            </a:r>
            <a:endParaRPr lang="en-US" altLang="ko-KR" sz="1100" b="0" kern="0" dirty="0">
              <a:solidFill>
                <a:srgbClr val="333333"/>
              </a:solidFill>
              <a:latin typeface="맑은 고딕"/>
              <a:ea typeface="맑은 고딕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4990788" y="2315447"/>
            <a:ext cx="4570529" cy="27699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defRPr/>
            </a:pPr>
            <a:r>
              <a:rPr kumimoji="1" lang="en-US" altLang="ko-KR" sz="1200" kern="0" dirty="0">
                <a:solidFill>
                  <a:srgbClr val="000000"/>
                </a:solidFill>
                <a:latin typeface="맑은 고딕"/>
                <a:ea typeface="맑은 고딕"/>
              </a:rPr>
              <a:t>Task 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행 결과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1" lang="ko-KR" altLang="en-US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예시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  <a:endParaRPr kumimoji="1" lang="ko-KR" altLang="en-US" sz="1200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645" y="2718605"/>
            <a:ext cx="4577867" cy="3345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386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162980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304798" y="2640660"/>
            <a:ext cx="4328154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lang="en-US" altLang="ko-KR" sz="2000" dirty="0" smtClean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설계 및 개발계획 수립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조직 및 일정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V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8625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그림 37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iz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 및 선진사례 시사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전과 전략 등을 종합적으로 고려하여 실질적 변화를 견인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기회에 대한 타당성 검토를 실시하여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과제를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도출하고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Quick-Win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 및 중장기 실행 과제로 분류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6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2</a:t>
            </a:r>
            <a:r>
              <a:rPr lang="en-US" altLang="ko-KR" sz="1400" kern="0" dirty="0">
                <a:solidFill>
                  <a:srgbClr val="FFFFFF"/>
                </a:solidFill>
              </a:rPr>
              <a:t>.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과제 상세화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7669212" y="3695701"/>
            <a:ext cx="1963737" cy="2541588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Biz)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리스트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gray">
          <a:xfrm>
            <a:off x="269081" y="3706813"/>
            <a:ext cx="2030413" cy="741079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)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1" name="Rectangle 33"/>
          <p:cNvSpPr>
            <a:spLocks noChangeArrowheads="1"/>
          </p:cNvSpPr>
          <p:nvPr/>
        </p:nvSpPr>
        <p:spPr bwMode="gray">
          <a:xfrm>
            <a:off x="269081" y="4488034"/>
            <a:ext cx="2030413" cy="92943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된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의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분류</a:t>
            </a: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gray">
          <a:xfrm>
            <a:off x="269081" y="5457612"/>
            <a:ext cx="2030413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의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2346325" y="3706813"/>
            <a:ext cx="5270500" cy="737991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추진 전략과 연계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재무적 가치 등 타당성 검토 기준 정의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도출된 개선기회들에 대해 타당성 검토를 통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과제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도출</a:t>
            </a: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2346325" y="4484946"/>
            <a:ext cx="5270500" cy="932524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실행 용이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재무적 가치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위험 요인 등 우선순위 결정 기준 정의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Quick-win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과제와 중장기 과제 각각에 대해 관련 현업과 협의를 통해 추진 주체 결정</a:t>
            </a:r>
          </a:p>
        </p:txBody>
      </p: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2346325" y="5457612"/>
            <a:ext cx="5270500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기회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별 추진내용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목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의사결정 사항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관련부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범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능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요건 상세화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여부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등 정의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1926668" y="1781922"/>
            <a:ext cx="459430" cy="17713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6491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86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에 따른 잠정적 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도출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‘전략적 연계’ 기준과 ‘재무적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재무적 가치 효과’ 기준을 통해 추진 가능한 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dirty="0" smtClean="0"/>
              <a:t>검토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</a:p>
        </p:txBody>
      </p:sp>
      <p:sp>
        <p:nvSpPr>
          <p:cNvPr id="78" name="순서도: 페이지 연결자 7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79" name="순서도: 페이지 연결자 78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된 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의 분류</a:t>
            </a:r>
          </a:p>
        </p:txBody>
      </p:sp>
      <p:sp>
        <p:nvSpPr>
          <p:cNvPr id="80" name="순서도: 페이지 연결자 79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정의</a:t>
            </a:r>
          </a:p>
        </p:txBody>
      </p:sp>
      <p:sp>
        <p:nvSpPr>
          <p:cNvPr id="57" name="Text Box 44"/>
          <p:cNvSpPr txBox="1">
            <a:spLocks noChangeArrowheads="1"/>
          </p:cNvSpPr>
          <p:nvPr/>
        </p:nvSpPr>
        <p:spPr bwMode="auto">
          <a:xfrm>
            <a:off x="4322763" y="2530475"/>
            <a:ext cx="2505075" cy="1015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7800" indent="-177800" latinLnBrk="0"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회사의 중장기적인 발전 전략과 연계되어 있는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?</a:t>
            </a:r>
          </a:p>
          <a:p>
            <a:pPr marL="177800" indent="-177800" latinLnBrk="0"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매출 증대에 도움이 되는가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? </a:t>
            </a:r>
          </a:p>
          <a:p>
            <a:pPr marL="177800" indent="-177800" latinLnBrk="0"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고객 만족도 개선에 도움이 </a:t>
            </a: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되는가</a:t>
            </a:r>
            <a:r>
              <a:rPr kumimoji="1"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? </a:t>
            </a:r>
            <a:endParaRPr kumimoji="1"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Text Box 8"/>
          <p:cNvSpPr txBox="1">
            <a:spLocks noChangeArrowheads="1"/>
          </p:cNvSpPr>
          <p:nvPr/>
        </p:nvSpPr>
        <p:spPr bwMode="auto">
          <a:xfrm>
            <a:off x="3584848" y="1837779"/>
            <a:ext cx="42306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타당성 검토를 통한 추진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선정</a:t>
            </a:r>
          </a:p>
        </p:txBody>
      </p:sp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2019300" y="2586038"/>
            <a:ext cx="2160588" cy="3519209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 latinLnBrk="0">
              <a:defRPr/>
            </a:pPr>
            <a:endParaRPr kumimoji="1"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Rectangle 24"/>
          <p:cNvSpPr>
            <a:spLocks noChangeArrowheads="1"/>
          </p:cNvSpPr>
          <p:nvPr/>
        </p:nvSpPr>
        <p:spPr bwMode="gray">
          <a:xfrm>
            <a:off x="2552700" y="2234814"/>
            <a:ext cx="1385888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177800" indent="-177800" latinLnBrk="0">
              <a:lnSpc>
                <a:spcPct val="150000"/>
              </a:lnSpc>
              <a:buFont typeface="Wingdings 2" pitchFamily="18" charset="2"/>
              <a:buNone/>
              <a:defRPr/>
            </a:pPr>
            <a:r>
              <a:rPr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정적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endParaRPr lang="ko-KR" altLang="en-US" sz="120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Text Box 26"/>
          <p:cNvSpPr txBox="1">
            <a:spLocks noChangeArrowheads="1"/>
          </p:cNvSpPr>
          <p:nvPr/>
        </p:nvSpPr>
        <p:spPr bwMode="gray">
          <a:xfrm>
            <a:off x="2982913" y="5584824"/>
            <a:ext cx="233363" cy="279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</p:txBody>
      </p:sp>
      <p:sp>
        <p:nvSpPr>
          <p:cNvPr id="73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11376" y="2973388"/>
            <a:ext cx="1976437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품관련 부품 고도화 및 상품개발의 시스템화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계약취소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계약무효 처리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환급금액 계산 및 지급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인 신용등급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스코어링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자동화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표준화 제시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수작업 심사건의 전산화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적용 등 신상품 개발 및 제도 변경 시 신속한 적용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Text Box 28"/>
          <p:cNvSpPr txBox="1">
            <a:spLocks noChangeArrowheads="1"/>
          </p:cNvSpPr>
          <p:nvPr/>
        </p:nvSpPr>
        <p:spPr bwMode="auto">
          <a:xfrm>
            <a:off x="2132013" y="2662238"/>
            <a:ext cx="461962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latinLnBrk="0" hangingPunct="0">
              <a:defRPr/>
            </a:pPr>
            <a:r>
              <a:rPr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명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Line 29"/>
          <p:cNvSpPr>
            <a:spLocks noChangeShapeType="1"/>
          </p:cNvSpPr>
          <p:nvPr/>
        </p:nvSpPr>
        <p:spPr bwMode="auto">
          <a:xfrm flipV="1">
            <a:off x="2120900" y="2913063"/>
            <a:ext cx="19812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AutoShape 6"/>
          <p:cNvSpPr>
            <a:spLocks noChangeArrowheads="1"/>
          </p:cNvSpPr>
          <p:nvPr/>
        </p:nvSpPr>
        <p:spPr bwMode="auto">
          <a:xfrm>
            <a:off x="4276725" y="3714750"/>
            <a:ext cx="2595563" cy="2424793"/>
          </a:xfrm>
          <a:prstGeom prst="roundRect">
            <a:avLst>
              <a:gd name="adj" fmla="val 4246"/>
            </a:avLst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Text Box 7"/>
          <p:cNvSpPr txBox="1">
            <a:spLocks noChangeArrowheads="1"/>
          </p:cNvSpPr>
          <p:nvPr/>
        </p:nvSpPr>
        <p:spPr bwMode="auto">
          <a:xfrm>
            <a:off x="4943475" y="3843338"/>
            <a:ext cx="14081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latinLnBrk="0" hangingPunct="0"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타당성 검토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Criteria</a:t>
            </a:r>
          </a:p>
        </p:txBody>
      </p:sp>
      <p:sp>
        <p:nvSpPr>
          <p:cNvPr id="82" name="Line 8"/>
          <p:cNvSpPr>
            <a:spLocks noChangeShapeType="1"/>
          </p:cNvSpPr>
          <p:nvPr/>
        </p:nvSpPr>
        <p:spPr bwMode="auto">
          <a:xfrm>
            <a:off x="4513263" y="4079875"/>
            <a:ext cx="212248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gray">
          <a:xfrm>
            <a:off x="5514975" y="4184650"/>
            <a:ext cx="715963" cy="32861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lIns="72000" tIns="46800" rIns="72000" bIns="46800" anchor="ctr"/>
          <a:lstStyle/>
          <a:p>
            <a:pPr latinLnBrk="0">
              <a:buFont typeface="Wingdings 2" pitchFamily="18" charset="2"/>
              <a:buNone/>
              <a:defRPr/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타당</a:t>
            </a:r>
          </a:p>
        </p:txBody>
      </p:sp>
      <p:cxnSp>
        <p:nvCxnSpPr>
          <p:cNvPr id="84" name="AutoShape 12"/>
          <p:cNvCxnSpPr>
            <a:cxnSpLocks noChangeShapeType="1"/>
            <a:stCxn id="85" idx="2"/>
            <a:endCxn id="86" idx="0"/>
          </p:cNvCxnSpPr>
          <p:nvPr/>
        </p:nvCxnSpPr>
        <p:spPr bwMode="gray">
          <a:xfrm rot="5400000">
            <a:off x="4658519" y="4648994"/>
            <a:ext cx="206375" cy="1587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85" name="AutoShape 13"/>
          <p:cNvSpPr>
            <a:spLocks noChangeArrowheads="1"/>
          </p:cNvSpPr>
          <p:nvPr/>
        </p:nvSpPr>
        <p:spPr bwMode="gray">
          <a:xfrm>
            <a:off x="4375150" y="4132263"/>
            <a:ext cx="774700" cy="414337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0" tIns="46800" rIns="0" bIns="46800" anchor="ctr"/>
          <a:lstStyle/>
          <a:p>
            <a:pPr algn="ctr" latinLnBrk="0">
              <a:buFont typeface="Wingdings 2" pitchFamily="18" charset="2"/>
              <a:buNone/>
              <a:defRPr/>
            </a:pPr>
            <a:r>
              <a: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적 연계</a:t>
            </a:r>
          </a:p>
        </p:txBody>
      </p:sp>
      <p:sp>
        <p:nvSpPr>
          <p:cNvPr id="86" name="AutoShape 14"/>
          <p:cNvSpPr>
            <a:spLocks noChangeArrowheads="1"/>
          </p:cNvSpPr>
          <p:nvPr/>
        </p:nvSpPr>
        <p:spPr bwMode="gray">
          <a:xfrm>
            <a:off x="4375150" y="4751388"/>
            <a:ext cx="774700" cy="412750"/>
          </a:xfrm>
          <a:prstGeom prst="diamond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0" tIns="46800" rIns="0" bIns="46800" anchor="ctr"/>
          <a:lstStyle/>
          <a:p>
            <a:pPr algn="ctr" latinLnBrk="0">
              <a:buFont typeface="Wingdings 2" pitchFamily="18" charset="2"/>
              <a:buNone/>
              <a:defRPr/>
            </a:pPr>
            <a:r>
              <a: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치 효과</a:t>
            </a:r>
          </a:p>
        </p:txBody>
      </p:sp>
      <p:sp>
        <p:nvSpPr>
          <p:cNvPr id="87" name="Rectangle 15"/>
          <p:cNvSpPr>
            <a:spLocks noChangeArrowheads="1"/>
          </p:cNvSpPr>
          <p:nvPr/>
        </p:nvSpPr>
        <p:spPr bwMode="gray">
          <a:xfrm>
            <a:off x="4425950" y="5411788"/>
            <a:ext cx="673100" cy="325437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lIns="0" tIns="46800" rIns="0" bIns="46800" anchor="ctr"/>
          <a:lstStyle/>
          <a:p>
            <a:pPr algn="ctr" latinLnBrk="0">
              <a:buFont typeface="Wingdings 2" pitchFamily="18" charset="2"/>
              <a:buNone/>
              <a:defRPr/>
            </a:pPr>
            <a:r>
              <a:rPr lang="ko-KR" altLang="en-US" sz="9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 제외</a:t>
            </a:r>
          </a:p>
        </p:txBody>
      </p:sp>
      <p:cxnSp>
        <p:nvCxnSpPr>
          <p:cNvPr id="88" name="AutoShape 16"/>
          <p:cNvCxnSpPr>
            <a:cxnSpLocks noChangeShapeType="1"/>
            <a:stCxn id="86" idx="2"/>
            <a:endCxn id="87" idx="0"/>
          </p:cNvCxnSpPr>
          <p:nvPr/>
        </p:nvCxnSpPr>
        <p:spPr bwMode="gray">
          <a:xfrm rot="5400000">
            <a:off x="4638675" y="5287963"/>
            <a:ext cx="246063" cy="158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89" name="AutoShape 17"/>
          <p:cNvCxnSpPr>
            <a:cxnSpLocks noChangeShapeType="1"/>
            <a:stCxn id="86" idx="3"/>
            <a:endCxn id="83" idx="1"/>
          </p:cNvCxnSpPr>
          <p:nvPr/>
        </p:nvCxnSpPr>
        <p:spPr bwMode="gray">
          <a:xfrm flipV="1">
            <a:off x="5149850" y="4349750"/>
            <a:ext cx="365125" cy="608013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90" name="AutoShape 18"/>
          <p:cNvCxnSpPr>
            <a:cxnSpLocks noChangeShapeType="1"/>
            <a:stCxn id="85" idx="3"/>
            <a:endCxn id="83" idx="1"/>
          </p:cNvCxnSpPr>
          <p:nvPr/>
        </p:nvCxnSpPr>
        <p:spPr bwMode="gray">
          <a:xfrm>
            <a:off x="5149850" y="4340225"/>
            <a:ext cx="365125" cy="9525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1" name="Rectangle 19"/>
          <p:cNvSpPr>
            <a:spLocks noChangeArrowheads="1"/>
          </p:cNvSpPr>
          <p:nvPr/>
        </p:nvSpPr>
        <p:spPr bwMode="gray">
          <a:xfrm>
            <a:off x="5138738" y="4111625"/>
            <a:ext cx="260305" cy="248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</a:p>
        </p:txBody>
      </p:sp>
      <p:sp>
        <p:nvSpPr>
          <p:cNvPr id="92" name="Rectangle 20"/>
          <p:cNvSpPr>
            <a:spLocks noChangeArrowheads="1"/>
          </p:cNvSpPr>
          <p:nvPr/>
        </p:nvSpPr>
        <p:spPr bwMode="gray">
          <a:xfrm>
            <a:off x="5132388" y="4957763"/>
            <a:ext cx="260305" cy="248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</a:p>
        </p:txBody>
      </p:sp>
      <p:sp>
        <p:nvSpPr>
          <p:cNvPr id="93" name="Rectangle 21"/>
          <p:cNvSpPr>
            <a:spLocks noChangeArrowheads="1"/>
          </p:cNvSpPr>
          <p:nvPr/>
        </p:nvSpPr>
        <p:spPr bwMode="gray">
          <a:xfrm>
            <a:off x="4778375" y="4538663"/>
            <a:ext cx="284350" cy="248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</a:p>
        </p:txBody>
      </p:sp>
      <p:sp>
        <p:nvSpPr>
          <p:cNvPr id="94" name="Rectangle 22"/>
          <p:cNvSpPr>
            <a:spLocks noChangeArrowheads="1"/>
          </p:cNvSpPr>
          <p:nvPr/>
        </p:nvSpPr>
        <p:spPr bwMode="gray">
          <a:xfrm>
            <a:off x="4778375" y="5189538"/>
            <a:ext cx="284350" cy="248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</a:p>
        </p:txBody>
      </p:sp>
      <p:sp>
        <p:nvSpPr>
          <p:cNvPr id="95" name="Rectangle 23"/>
          <p:cNvSpPr>
            <a:spLocks noChangeArrowheads="1"/>
          </p:cNvSpPr>
          <p:nvPr/>
        </p:nvSpPr>
        <p:spPr bwMode="gray">
          <a:xfrm>
            <a:off x="5416550" y="4546600"/>
            <a:ext cx="1354138" cy="14954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/>
          <a:p>
            <a:pPr marL="85725" indent="-85725" latinLnBrk="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 방안이 ‘전략적 연계’ 기준을 충족하면 일단 추진 대상 과제에 포함</a:t>
            </a:r>
          </a:p>
          <a:p>
            <a:pPr marL="85725" indent="-85725" latinLnBrk="0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‘전략적 연계’ 기준을 충족하지 못하더라도 ‘가치 효과’ 기준을 충족하면 추진 대상 과제에 포함</a:t>
            </a:r>
          </a:p>
        </p:txBody>
      </p:sp>
      <p:sp>
        <p:nvSpPr>
          <p:cNvPr id="96" name="Text Box 43"/>
          <p:cNvSpPr txBox="1">
            <a:spLocks noChangeArrowheads="1"/>
          </p:cNvSpPr>
          <p:nvPr/>
        </p:nvSpPr>
        <p:spPr bwMode="gray">
          <a:xfrm>
            <a:off x="4295775" y="2243138"/>
            <a:ext cx="2559050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개선 추진 대상 과제 도출</a:t>
            </a:r>
          </a:p>
        </p:txBody>
      </p:sp>
      <p:sp>
        <p:nvSpPr>
          <p:cNvPr id="97" name="Rectangl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04138" y="2251400"/>
            <a:ext cx="1300036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latinLnBrk="0" hangingPunct="0">
              <a:lnSpc>
                <a:spcPct val="120000"/>
              </a:lnSpc>
              <a:spcBef>
                <a:spcPct val="30000"/>
              </a:spcBef>
              <a:spcAft>
                <a:spcPct val="20000"/>
              </a:spcAft>
              <a:defRPr/>
            </a:pPr>
            <a:r>
              <a:rPr kumimoji="1" lang="ko-KR" altLang="en-US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진 </a:t>
            </a:r>
            <a:r>
              <a:rPr kumimoji="1"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endParaRPr kumimoji="1" lang="ko-KR" altLang="en-US" sz="120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Rectangle 5"/>
          <p:cNvSpPr>
            <a:spLocks noChangeArrowheads="1"/>
          </p:cNvSpPr>
          <p:nvPr/>
        </p:nvSpPr>
        <p:spPr bwMode="auto">
          <a:xfrm>
            <a:off x="6969125" y="2525573"/>
            <a:ext cx="2447925" cy="3569021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Text Box 30"/>
          <p:cNvSpPr txBox="1">
            <a:spLocks noChangeArrowheads="1"/>
          </p:cNvSpPr>
          <p:nvPr/>
        </p:nvSpPr>
        <p:spPr bwMode="gray">
          <a:xfrm>
            <a:off x="8010525" y="5599090"/>
            <a:ext cx="233362" cy="27941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  <a:p>
            <a:pPr marL="177800" indent="-177800" latinLnBrk="0">
              <a:buFont typeface="Wingdings 2" pitchFamily="18" charset="2"/>
              <a:buNone/>
              <a:defRPr/>
            </a:pPr>
            <a:r>
              <a:rPr lang="en-US" altLang="ko-KR" sz="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●</a:t>
            </a:r>
          </a:p>
        </p:txBody>
      </p:sp>
      <p:sp>
        <p:nvSpPr>
          <p:cNvPr id="100" name="Text Box 31"/>
          <p:cNvSpPr txBox="1">
            <a:spLocks noChangeArrowheads="1"/>
          </p:cNvSpPr>
          <p:nvPr/>
        </p:nvSpPr>
        <p:spPr bwMode="auto">
          <a:xfrm>
            <a:off x="7040786" y="2631939"/>
            <a:ext cx="461665" cy="184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latinLnBrk="0" hangingPunct="0">
              <a:defRPr/>
            </a:pPr>
            <a:r>
              <a:rPr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명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Line 32"/>
          <p:cNvSpPr>
            <a:spLocks noChangeShapeType="1"/>
          </p:cNvSpPr>
          <p:nvPr/>
        </p:nvSpPr>
        <p:spPr bwMode="auto">
          <a:xfrm flipV="1">
            <a:off x="7054850" y="2846260"/>
            <a:ext cx="228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Text Box 33"/>
          <p:cNvSpPr txBox="1">
            <a:spLocks noChangeArrowheads="1"/>
          </p:cNvSpPr>
          <p:nvPr/>
        </p:nvSpPr>
        <p:spPr bwMode="auto">
          <a:xfrm>
            <a:off x="8563199" y="2639877"/>
            <a:ext cx="823944" cy="184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latinLnBrk="0" hangingPunct="0"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타당성 </a:t>
            </a:r>
          </a:p>
        </p:txBody>
      </p:sp>
      <p:sp>
        <p:nvSpPr>
          <p:cNvPr id="103" name="Rectangle 34"/>
          <p:cNvSpPr>
            <a:spLocks noChangeArrowheads="1"/>
          </p:cNvSpPr>
          <p:nvPr/>
        </p:nvSpPr>
        <p:spPr bwMode="auto">
          <a:xfrm>
            <a:off x="7015162" y="3401906"/>
            <a:ext cx="2376488" cy="2152732"/>
          </a:xfrm>
          <a:prstGeom prst="rect">
            <a:avLst/>
          </a:prstGeom>
          <a:solidFill>
            <a:srgbClr val="FFC000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Oval 37"/>
          <p:cNvSpPr>
            <a:spLocks noChangeAspect="1" noChangeArrowheads="1"/>
          </p:cNvSpPr>
          <p:nvPr/>
        </p:nvSpPr>
        <p:spPr bwMode="auto">
          <a:xfrm>
            <a:off x="9070975" y="3498747"/>
            <a:ext cx="115888" cy="106367"/>
          </a:xfrm>
          <a:prstGeom prst="ellipse">
            <a:avLst/>
          </a:prstGeom>
          <a:noFill/>
          <a:ln w="3175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Oval 38"/>
          <p:cNvSpPr>
            <a:spLocks noChangeAspect="1" noChangeArrowheads="1"/>
          </p:cNvSpPr>
          <p:nvPr/>
        </p:nvSpPr>
        <p:spPr bwMode="auto">
          <a:xfrm>
            <a:off x="9070975" y="3971844"/>
            <a:ext cx="115888" cy="106367"/>
          </a:xfrm>
          <a:prstGeom prst="ellipse">
            <a:avLst/>
          </a:prstGeom>
          <a:noFill/>
          <a:ln w="3175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9" name="Group 39"/>
          <p:cNvGrpSpPr>
            <a:grpSpLocks/>
          </p:cNvGrpSpPr>
          <p:nvPr/>
        </p:nvGrpSpPr>
        <p:grpSpPr bwMode="auto">
          <a:xfrm>
            <a:off x="9070975" y="4714900"/>
            <a:ext cx="112712" cy="107954"/>
            <a:chOff x="4608" y="3198"/>
            <a:chExt cx="71" cy="75"/>
          </a:xfrm>
        </p:grpSpPr>
        <p:sp>
          <p:nvSpPr>
            <p:cNvPr id="110" name="Line 40"/>
            <p:cNvSpPr>
              <a:spLocks noChangeShapeType="1"/>
            </p:cNvSpPr>
            <p:nvPr/>
          </p:nvSpPr>
          <p:spPr bwMode="auto">
            <a:xfrm>
              <a:off x="4608" y="3198"/>
              <a:ext cx="71" cy="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pPr latinLnBrk="0">
                <a:defRPr/>
              </a:pPr>
              <a:endParaRPr kumimoji="1"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Line 41"/>
            <p:cNvSpPr>
              <a:spLocks noChangeShapeType="1"/>
            </p:cNvSpPr>
            <p:nvPr/>
          </p:nvSpPr>
          <p:spPr bwMode="auto">
            <a:xfrm flipH="1">
              <a:off x="4608" y="3198"/>
              <a:ext cx="71" cy="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pPr latinLnBrk="0">
                <a:defRPr/>
              </a:pPr>
              <a:endParaRPr kumimoji="1"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2" name="Oval 37"/>
          <p:cNvSpPr>
            <a:spLocks noChangeAspect="1" noChangeArrowheads="1"/>
          </p:cNvSpPr>
          <p:nvPr/>
        </p:nvSpPr>
        <p:spPr bwMode="auto">
          <a:xfrm>
            <a:off x="9070975" y="3068950"/>
            <a:ext cx="115888" cy="106367"/>
          </a:xfrm>
          <a:prstGeom prst="ellipse">
            <a:avLst/>
          </a:prstGeom>
          <a:noFill/>
          <a:ln w="3175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31719" y="2973388"/>
            <a:ext cx="1976437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품관련 부품 고도화 및 상품개발의 시스템화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계약취소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계약무효 처리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환급금액 계산 및 지급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인 신용등급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스코어링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자동화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표준화 제시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수작업 심사건의 전산화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8900" indent="-88900" defTabSz="1263650" latinLnBrk="0">
              <a:lnSpc>
                <a:spcPct val="130000"/>
              </a:lnSpc>
              <a:buFont typeface="Wingdings" pitchFamily="2" charset="2"/>
              <a:buChar char="§"/>
              <a:tabLst>
                <a:tab pos="490538" algn="l"/>
              </a:tabLst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적용 등 신상품 개발 및 제도 변경 시 신속한 적용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3" name="Group 39"/>
          <p:cNvGrpSpPr>
            <a:grpSpLocks/>
          </p:cNvGrpSpPr>
          <p:nvPr/>
        </p:nvGrpSpPr>
        <p:grpSpPr bwMode="auto">
          <a:xfrm>
            <a:off x="9070975" y="4486300"/>
            <a:ext cx="112712" cy="107954"/>
            <a:chOff x="4608" y="3198"/>
            <a:chExt cx="71" cy="75"/>
          </a:xfrm>
        </p:grpSpPr>
        <p:sp>
          <p:nvSpPr>
            <p:cNvPr id="114" name="Line 40"/>
            <p:cNvSpPr>
              <a:spLocks noChangeShapeType="1"/>
            </p:cNvSpPr>
            <p:nvPr/>
          </p:nvSpPr>
          <p:spPr bwMode="auto">
            <a:xfrm>
              <a:off x="4608" y="3198"/>
              <a:ext cx="71" cy="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pPr latinLnBrk="0">
                <a:defRPr/>
              </a:pPr>
              <a:endParaRPr kumimoji="1"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Line 41"/>
            <p:cNvSpPr>
              <a:spLocks noChangeShapeType="1"/>
            </p:cNvSpPr>
            <p:nvPr/>
          </p:nvSpPr>
          <p:spPr bwMode="auto">
            <a:xfrm flipH="1">
              <a:off x="4608" y="3198"/>
              <a:ext cx="71" cy="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pPr latinLnBrk="0">
                <a:defRPr/>
              </a:pPr>
              <a:endParaRPr kumimoji="1"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grpSp>
        <p:nvGrpSpPr>
          <p:cNvPr id="6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6" name="TextBox 6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7745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271728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배경 및 목적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범위 및 추진 전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진행 로드맵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의 특장점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0569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</a:t>
            </a:r>
            <a:r>
              <a:rPr lang="ko-KR" altLang="en-US" dirty="0"/>
              <a:t>제안의 특장점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</a:t>
            </a:r>
            <a:r>
              <a:rPr lang="en-US" altLang="ko-KR" dirty="0" smtClean="0"/>
              <a:t>NH</a:t>
            </a:r>
            <a:r>
              <a:rPr lang="ko-KR" altLang="en-US" dirty="0" smtClean="0"/>
              <a:t>농협카드에 대한 이해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신한</a:t>
            </a:r>
            <a:r>
              <a:rPr lang="en-US" altLang="ko-KR" dirty="0" smtClean="0"/>
              <a:t>/</a:t>
            </a:r>
            <a:r>
              <a:rPr lang="ko-KR" altLang="en-US" dirty="0" smtClean="0"/>
              <a:t>삼성</a:t>
            </a:r>
            <a:r>
              <a:rPr lang="en-US" altLang="ko-KR" dirty="0" smtClean="0"/>
              <a:t>/KB</a:t>
            </a:r>
            <a:r>
              <a:rPr lang="ko-KR" altLang="en-US" dirty="0" smtClean="0"/>
              <a:t>카드 </a:t>
            </a:r>
            <a:r>
              <a:rPr lang="en-US" altLang="ko-KR" dirty="0" smtClean="0"/>
              <a:t>PI </a:t>
            </a:r>
            <a:r>
              <a:rPr lang="ko-KR" altLang="en-US" dirty="0" smtClean="0"/>
              <a:t>경험 인력</a:t>
            </a:r>
            <a:r>
              <a:rPr lang="en-US" altLang="ko-KR" dirty="0"/>
              <a:t> </a:t>
            </a:r>
            <a:r>
              <a:rPr lang="ko-KR" altLang="en-US" dirty="0" smtClean="0"/>
              <a:t>투입</a:t>
            </a:r>
            <a:r>
              <a:rPr lang="en-US" altLang="ko-KR" dirty="0" smtClean="0"/>
              <a:t>, </a:t>
            </a:r>
            <a:r>
              <a:rPr lang="ko-KR" altLang="en-US" dirty="0" smtClean="0"/>
              <a:t>차세대개발 전 공정 경험을 통한 노하우 활용 측면에서 차별화됨</a:t>
            </a:r>
            <a:endParaRPr lang="ko-KR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995046" y="1374620"/>
            <a:ext cx="1915909" cy="325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KPMG </a:t>
            </a:r>
            <a:r>
              <a:rPr lang="ko-KR" altLang="en-US" sz="14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제안의 특장점</a:t>
            </a:r>
          </a:p>
        </p:txBody>
      </p:sp>
      <p:cxnSp>
        <p:nvCxnSpPr>
          <p:cNvPr id="25" name="직선 연결선 24"/>
          <p:cNvCxnSpPr/>
          <p:nvPr/>
        </p:nvCxnSpPr>
        <p:spPr bwMode="auto">
          <a:xfrm flipV="1">
            <a:off x="273050" y="1700213"/>
            <a:ext cx="9359900" cy="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pic>
        <p:nvPicPr>
          <p:cNvPr id="54" name="그림 5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031" y="4077129"/>
            <a:ext cx="1224137" cy="504000"/>
          </a:xfrm>
          <a:prstGeom prst="rect">
            <a:avLst/>
          </a:prstGeom>
        </p:spPr>
      </p:pic>
      <p:sp>
        <p:nvSpPr>
          <p:cNvPr id="36" name="Oval 76"/>
          <p:cNvSpPr>
            <a:spLocks noChangeArrowheads="1"/>
          </p:cNvSpPr>
          <p:nvPr/>
        </p:nvSpPr>
        <p:spPr bwMode="gray">
          <a:xfrm>
            <a:off x="1851330" y="3375091"/>
            <a:ext cx="5949951" cy="1929607"/>
          </a:xfrm>
          <a:prstGeom prst="ellipse">
            <a:avLst/>
          </a:prstGeom>
          <a:noFill/>
          <a:ln w="57150" algn="ctr">
            <a:solidFill>
              <a:srgbClr val="BFD9E6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 latinLnBrk="0">
              <a:spcBef>
                <a:spcPct val="50000"/>
              </a:spcBef>
              <a:spcAft>
                <a:spcPct val="30000"/>
              </a:spcAft>
              <a:defRPr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8" name="Oval 82"/>
          <p:cNvSpPr>
            <a:spLocks noChangeArrowheads="1"/>
          </p:cNvSpPr>
          <p:nvPr/>
        </p:nvSpPr>
        <p:spPr bwMode="gray">
          <a:xfrm>
            <a:off x="5059673" y="4887344"/>
            <a:ext cx="1846263" cy="965678"/>
          </a:xfrm>
          <a:prstGeom prst="ellipse">
            <a:avLst/>
          </a:prstGeom>
          <a:solidFill>
            <a:srgbClr val="002060"/>
          </a:solidFill>
          <a:ln w="6350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spcBef>
                <a:spcPct val="20000"/>
              </a:spcBef>
              <a:defRPr/>
            </a:pP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선도 카드사 차세대 경험을 보유한 정예 인력 투입</a:t>
            </a:r>
            <a:endParaRPr lang="ko-KR" altLang="en-US" sz="13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9" name="Oval 17"/>
          <p:cNvSpPr>
            <a:spLocks noChangeArrowheads="1"/>
          </p:cNvSpPr>
          <p:nvPr/>
        </p:nvSpPr>
        <p:spPr bwMode="gray">
          <a:xfrm>
            <a:off x="5091422" y="5021813"/>
            <a:ext cx="252413" cy="277654"/>
          </a:xfrm>
          <a:prstGeom prst="ellipse">
            <a:avLst/>
          </a:prstGeom>
          <a:solidFill>
            <a:srgbClr val="80B3CC">
              <a:lumMod val="40000"/>
              <a:lumOff val="60000"/>
            </a:srgbClr>
          </a:solidFill>
          <a:ln w="12700" algn="ctr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wrap="none" lIns="36000" tIns="36847" rIns="36000" bIns="36847" anchor="ctr"/>
          <a:lstStyle/>
          <a:p>
            <a:pPr algn="ctr" fontAlgn="base" latinLnBrk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3</a:t>
            </a:r>
          </a:p>
        </p:txBody>
      </p:sp>
      <p:sp>
        <p:nvSpPr>
          <p:cNvPr id="40" name="Oval 82"/>
          <p:cNvSpPr>
            <a:spLocks noChangeArrowheads="1"/>
          </p:cNvSpPr>
          <p:nvPr/>
        </p:nvSpPr>
        <p:spPr bwMode="gray">
          <a:xfrm>
            <a:off x="2710172" y="4887344"/>
            <a:ext cx="1846263" cy="965678"/>
          </a:xfrm>
          <a:prstGeom prst="ellipse">
            <a:avLst/>
          </a:prstGeom>
          <a:solidFill>
            <a:srgbClr val="002060"/>
          </a:solidFill>
          <a:ln w="6350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spcBef>
                <a:spcPct val="20000"/>
              </a:spcBef>
              <a:defRPr/>
            </a:pP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 기반 차세대시스템 개발 노하우 활용</a:t>
            </a:r>
            <a:endParaRPr lang="ko-KR" altLang="en-US" sz="13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1" name="Oval 17"/>
          <p:cNvSpPr>
            <a:spLocks noChangeArrowheads="1"/>
          </p:cNvSpPr>
          <p:nvPr/>
        </p:nvSpPr>
        <p:spPr bwMode="gray">
          <a:xfrm>
            <a:off x="2780022" y="5034038"/>
            <a:ext cx="252413" cy="277654"/>
          </a:xfrm>
          <a:prstGeom prst="ellipse">
            <a:avLst/>
          </a:prstGeom>
          <a:solidFill>
            <a:srgbClr val="80B3CC">
              <a:lumMod val="40000"/>
              <a:lumOff val="60000"/>
            </a:srgbClr>
          </a:solidFill>
          <a:ln w="12700" algn="ctr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wrap="none" lIns="36000" tIns="36847" rIns="36000" bIns="36847" anchor="ctr"/>
          <a:lstStyle/>
          <a:p>
            <a:pPr algn="ctr" fontAlgn="base" latinLnBrk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4</a:t>
            </a:r>
          </a:p>
        </p:txBody>
      </p:sp>
      <p:sp>
        <p:nvSpPr>
          <p:cNvPr id="42" name="Oval 82"/>
          <p:cNvSpPr>
            <a:spLocks noChangeArrowheads="1"/>
          </p:cNvSpPr>
          <p:nvPr/>
        </p:nvSpPr>
        <p:spPr bwMode="gray">
          <a:xfrm>
            <a:off x="992560" y="3462404"/>
            <a:ext cx="1846262" cy="965678"/>
          </a:xfrm>
          <a:prstGeom prst="ellipse">
            <a:avLst/>
          </a:prstGeom>
          <a:solidFill>
            <a:srgbClr val="002060"/>
          </a:solidFill>
          <a:ln w="6350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spcBef>
                <a:spcPct val="20000"/>
              </a:spcBef>
              <a:defRPr/>
            </a:pP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최신의 카드사 </a:t>
            </a:r>
            <a:r>
              <a:rPr lang="en-US" altLang="ko-KR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I/ISP </a:t>
            </a: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수행 경험</a:t>
            </a:r>
            <a:endParaRPr lang="ko-KR" altLang="en-US" sz="13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3" name="Oval 17"/>
          <p:cNvSpPr>
            <a:spLocks noChangeArrowheads="1"/>
          </p:cNvSpPr>
          <p:nvPr/>
        </p:nvSpPr>
        <p:spPr bwMode="gray">
          <a:xfrm>
            <a:off x="966861" y="3609097"/>
            <a:ext cx="252412" cy="277654"/>
          </a:xfrm>
          <a:prstGeom prst="ellipse">
            <a:avLst/>
          </a:prstGeom>
          <a:solidFill>
            <a:srgbClr val="80B3CC">
              <a:lumMod val="40000"/>
              <a:lumOff val="60000"/>
            </a:srgbClr>
          </a:solidFill>
          <a:ln w="12700" algn="ctr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wrap="none" lIns="36000" tIns="36847" rIns="36000" bIns="36847" anchor="ctr"/>
          <a:lstStyle/>
          <a:p>
            <a:pPr algn="ctr" fontAlgn="base" latinLnBrk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5</a:t>
            </a:r>
          </a:p>
        </p:txBody>
      </p:sp>
      <p:sp>
        <p:nvSpPr>
          <p:cNvPr id="44" name="Oval 82"/>
          <p:cNvSpPr>
            <a:spLocks noChangeArrowheads="1"/>
          </p:cNvSpPr>
          <p:nvPr/>
        </p:nvSpPr>
        <p:spPr bwMode="gray">
          <a:xfrm>
            <a:off x="3907147" y="2790107"/>
            <a:ext cx="1846263" cy="965677"/>
          </a:xfrm>
          <a:prstGeom prst="ellipse">
            <a:avLst/>
          </a:prstGeom>
          <a:solidFill>
            <a:srgbClr val="002060"/>
          </a:solidFill>
          <a:ln w="6350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spcBef>
                <a:spcPct val="20000"/>
              </a:spcBef>
              <a:defRPr/>
            </a:pPr>
            <a:r>
              <a:rPr lang="en-US" altLang="ko-KR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NH</a:t>
            </a: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농협카드에 대한 이해</a:t>
            </a:r>
            <a:endParaRPr lang="ko-KR" altLang="en-US" sz="13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5" name="Oval 17"/>
          <p:cNvSpPr>
            <a:spLocks noChangeArrowheads="1"/>
          </p:cNvSpPr>
          <p:nvPr/>
        </p:nvSpPr>
        <p:spPr bwMode="gray">
          <a:xfrm>
            <a:off x="3956355" y="2816291"/>
            <a:ext cx="254001" cy="277653"/>
          </a:xfrm>
          <a:prstGeom prst="ellipse">
            <a:avLst/>
          </a:prstGeom>
          <a:solidFill>
            <a:srgbClr val="80B3CC">
              <a:lumMod val="40000"/>
              <a:lumOff val="60000"/>
            </a:srgbClr>
          </a:solidFill>
          <a:ln w="12700" algn="ctr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wrap="none" lIns="36000" tIns="36847" rIns="36000" bIns="36847" anchor="ctr"/>
          <a:lstStyle/>
          <a:p>
            <a:pPr algn="ctr" fontAlgn="base" latinLnBrk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</a:t>
            </a:r>
          </a:p>
        </p:txBody>
      </p:sp>
      <p:sp>
        <p:nvSpPr>
          <p:cNvPr id="46" name="Oval 82"/>
          <p:cNvSpPr>
            <a:spLocks noChangeArrowheads="1"/>
          </p:cNvSpPr>
          <p:nvPr/>
        </p:nvSpPr>
        <p:spPr bwMode="gray">
          <a:xfrm>
            <a:off x="6707138" y="3370521"/>
            <a:ext cx="1846262" cy="1057561"/>
          </a:xfrm>
          <a:prstGeom prst="ellipse">
            <a:avLst/>
          </a:prstGeom>
          <a:solidFill>
            <a:srgbClr val="002060"/>
          </a:solidFill>
          <a:ln w="6350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spcBef>
                <a:spcPct val="20000"/>
              </a:spcBef>
              <a:defRPr/>
            </a:pPr>
            <a:r>
              <a:rPr lang="en-US" altLang="ko-KR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NH</a:t>
            </a: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농협카드 </a:t>
            </a:r>
            <a:r>
              <a:rPr lang="en-US" altLang="ko-KR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MP </a:t>
            </a:r>
            <a:r>
              <a:rPr lang="ko-KR" altLang="en-US" sz="13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경험을 토대로 효과적인 현황 분석</a:t>
            </a:r>
            <a:endParaRPr lang="ko-KR" altLang="en-US" sz="13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7" name="Oval 17"/>
          <p:cNvSpPr>
            <a:spLocks noChangeArrowheads="1"/>
          </p:cNvSpPr>
          <p:nvPr/>
        </p:nvSpPr>
        <p:spPr bwMode="gray">
          <a:xfrm>
            <a:off x="6694248" y="3483555"/>
            <a:ext cx="252412" cy="277654"/>
          </a:xfrm>
          <a:prstGeom prst="ellipse">
            <a:avLst/>
          </a:prstGeom>
          <a:solidFill>
            <a:srgbClr val="80B3CC">
              <a:lumMod val="40000"/>
              <a:lumOff val="60000"/>
            </a:srgbClr>
          </a:solidFill>
          <a:ln w="12700" algn="ctr">
            <a:solidFill>
              <a:srgbClr val="80B3CC">
                <a:lumMod val="50000"/>
              </a:srgbClr>
            </a:solidFill>
            <a:round/>
            <a:headEnd/>
            <a:tailEnd/>
          </a:ln>
        </p:spPr>
        <p:txBody>
          <a:bodyPr wrap="none" lIns="36000" tIns="36847" rIns="36000" bIns="36847" anchor="ctr"/>
          <a:lstStyle/>
          <a:p>
            <a:pPr algn="ctr" fontAlgn="base" latinLnBrk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altLang="ko-KR" sz="13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2</a:t>
            </a:r>
          </a:p>
        </p:txBody>
      </p:sp>
      <p:sp>
        <p:nvSpPr>
          <p:cNvPr id="48" name="Rectangle 77"/>
          <p:cNvSpPr>
            <a:spLocks noChangeArrowheads="1"/>
          </p:cNvSpPr>
          <p:nvPr/>
        </p:nvSpPr>
        <p:spPr bwMode="gray">
          <a:xfrm>
            <a:off x="344488" y="2564904"/>
            <a:ext cx="2859748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 latinLnBrk="0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KB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국민카드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BC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카드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I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수행을 통해 최신의 시장 및 고객 환경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변화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Digital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ransformation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포함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에 대한 이해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9" name="Rectangle 77"/>
          <p:cNvSpPr>
            <a:spLocks noChangeArrowheads="1"/>
          </p:cNvSpPr>
          <p:nvPr/>
        </p:nvSpPr>
        <p:spPr bwMode="gray">
          <a:xfrm>
            <a:off x="595456" y="5004747"/>
            <a:ext cx="2196000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0975" indent="-180975" fontAlgn="base" latinLnBrk="0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iz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통합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및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iz-IT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아키텍처 간 연계 등 실제 차세대개발 프로젝트 수행 경험 활용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0" name="Rectangle 77"/>
          <p:cNvSpPr>
            <a:spLocks noChangeArrowheads="1"/>
          </p:cNvSpPr>
          <p:nvPr/>
        </p:nvSpPr>
        <p:spPr bwMode="gray">
          <a:xfrm>
            <a:off x="6922464" y="5165346"/>
            <a:ext cx="2771924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신한카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삼성카드 등의 차세대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I/MP/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발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MO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경험을 보유한 전문 인력 투입</a:t>
            </a:r>
            <a:endParaRPr kumimoji="1" lang="en-US" altLang="ko-KR" sz="1200" b="1" u="sng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1" name="Rectangle 77"/>
          <p:cNvSpPr>
            <a:spLocks noChangeArrowheads="1"/>
          </p:cNvSpPr>
          <p:nvPr/>
        </p:nvSpPr>
        <p:spPr bwMode="gray">
          <a:xfrm>
            <a:off x="6823385" y="2375828"/>
            <a:ext cx="2809565" cy="907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 latinLnBrk="0">
              <a:spcBef>
                <a:spcPts val="600"/>
              </a:spcBef>
              <a:buFont typeface="Wingdings" pitchFamily="2" charset="2"/>
              <a:buChar char="§"/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P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계 수행인력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투입 및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 별 선행 결과 내부 인수인계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80975" indent="-180975" latinLnBrk="0">
              <a:spcBef>
                <a:spcPts val="600"/>
              </a:spcBef>
              <a:buFont typeface="Wingdings" pitchFamily="2" charset="2"/>
              <a:buChar char="§"/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s-Is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 프로세스의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인벤토리화 사전 수행 지원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2" name="Rectangle 77"/>
          <p:cNvSpPr>
            <a:spLocks noChangeArrowheads="1"/>
          </p:cNvSpPr>
          <p:nvPr/>
        </p:nvSpPr>
        <p:spPr bwMode="gray">
          <a:xfrm>
            <a:off x="3368824" y="2001078"/>
            <a:ext cx="2892260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lvl="2" indent="-180975" latinLnBrk="0">
              <a:spcBef>
                <a:spcPts val="600"/>
              </a:spcBef>
              <a:buFont typeface="Wingdings" pitchFamily="2" charset="2"/>
              <a:buChar char="§"/>
              <a:tabLst>
                <a:tab pos="88900" algn="l"/>
              </a:tabLst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겸영은행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카드사로서의 장∙단점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및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채움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/BC Dual Brand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</a:t>
            </a:r>
            <a:b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은행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농축협의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Dual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사업자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체계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등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2292" y="4033178"/>
            <a:ext cx="990748" cy="611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2" descr="https://pbs.twimg.com/profile_images/499720463698755585/YTqR6o2x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28194" y="4053074"/>
            <a:ext cx="131065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5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94" name="Oval 19"/>
          <p:cNvSpPr>
            <a:spLocks noChangeArrowheads="1"/>
          </p:cNvSpPr>
          <p:nvPr/>
        </p:nvSpPr>
        <p:spPr bwMode="auto">
          <a:xfrm>
            <a:off x="3676650" y="4241800"/>
            <a:ext cx="1668463" cy="12731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86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86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된 잠정적 개선과제를 ‘실행 용이성’ 기준과 ‘전략적 중요도’ 기준에 따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Quick-Win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중장기 과제로 분류함</a:t>
            </a:r>
          </a:p>
        </p:txBody>
      </p:sp>
      <p:sp>
        <p:nvSpPr>
          <p:cNvPr id="24585" name="Text Box 8"/>
          <p:cNvSpPr txBox="1">
            <a:spLocks noChangeArrowheads="1"/>
          </p:cNvSpPr>
          <p:nvPr/>
        </p:nvSpPr>
        <p:spPr bwMode="auto">
          <a:xfrm>
            <a:off x="3530600" y="1857375"/>
            <a:ext cx="42306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Quick-win </a:t>
            </a: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과제 및 중장기 과제 분류</a:t>
            </a:r>
          </a:p>
        </p:txBody>
      </p:sp>
      <p:sp>
        <p:nvSpPr>
          <p:cNvPr id="24586" name="AutoShape 2"/>
          <p:cNvSpPr>
            <a:spLocks noChangeArrowheads="1"/>
          </p:cNvSpPr>
          <p:nvPr/>
        </p:nvSpPr>
        <p:spPr bwMode="auto">
          <a:xfrm>
            <a:off x="1928813" y="2506663"/>
            <a:ext cx="474662" cy="3121025"/>
          </a:xfrm>
          <a:prstGeom prst="upArrow">
            <a:avLst>
              <a:gd name="adj1" fmla="val 65278"/>
              <a:gd name="adj2" fmla="val 76376"/>
            </a:avLst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kumimoji="1"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588" name="Rectangle 13"/>
          <p:cNvSpPr>
            <a:spLocks noChangeArrowheads="1"/>
          </p:cNvSpPr>
          <p:nvPr/>
        </p:nvSpPr>
        <p:spPr bwMode="auto">
          <a:xfrm>
            <a:off x="2427288" y="2506663"/>
            <a:ext cx="2992437" cy="31242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589" name="Text Box 14"/>
          <p:cNvSpPr txBox="1">
            <a:spLocks noChangeArrowheads="1"/>
          </p:cNvSpPr>
          <p:nvPr/>
        </p:nvSpPr>
        <p:spPr bwMode="auto">
          <a:xfrm>
            <a:off x="1998215" y="2806700"/>
            <a:ext cx="387798" cy="1916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latinLnBrk="0">
              <a:lnSpc>
                <a:spcPct val="110000"/>
              </a:lnSpc>
              <a:defRPr/>
            </a:pPr>
            <a:r>
              <a:rPr kumimoji="1"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행 용이성</a:t>
            </a:r>
          </a:p>
        </p:txBody>
      </p:sp>
      <p:sp>
        <p:nvSpPr>
          <p:cNvPr id="24591" name="Oval 16"/>
          <p:cNvSpPr>
            <a:spLocks noChangeArrowheads="1"/>
          </p:cNvSpPr>
          <p:nvPr/>
        </p:nvSpPr>
        <p:spPr bwMode="auto">
          <a:xfrm>
            <a:off x="3698875" y="2584450"/>
            <a:ext cx="1570038" cy="1401763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592" name="Text Box 17"/>
          <p:cNvSpPr txBox="1">
            <a:spLocks noChangeArrowheads="1"/>
          </p:cNvSpPr>
          <p:nvPr/>
        </p:nvSpPr>
        <p:spPr bwMode="auto">
          <a:xfrm>
            <a:off x="3862388" y="2725738"/>
            <a:ext cx="1195387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en-US" altLang="ko-KR" sz="1000" dirty="0">
                <a:solidFill>
                  <a:prstClr val="white"/>
                </a:solidFill>
                <a:latin typeface="맑은 고딕" pitchFamily="50" charset="-127"/>
                <a:ea typeface="맑은 고딕" panose="020B0503020000020004" pitchFamily="50" charset="-127"/>
              </a:rPr>
              <a:t>Quick-Win </a:t>
            </a:r>
            <a:r>
              <a:rPr kumimoji="1" lang="ko-KR" altLang="en-US" sz="1000" dirty="0">
                <a:solidFill>
                  <a:prstClr val="white"/>
                </a:solidFill>
                <a:latin typeface="맑은 고딕" pitchFamily="50" charset="-127"/>
                <a:ea typeface="맑은 고딕" panose="020B0503020000020004" pitchFamily="50" charset="-127"/>
              </a:rPr>
              <a:t>과제 영역</a:t>
            </a:r>
          </a:p>
        </p:txBody>
      </p:sp>
      <p:sp>
        <p:nvSpPr>
          <p:cNvPr id="24593" name="Text Box 18"/>
          <p:cNvSpPr txBox="1">
            <a:spLocks noChangeArrowheads="1"/>
          </p:cNvSpPr>
          <p:nvPr/>
        </p:nvSpPr>
        <p:spPr bwMode="auto">
          <a:xfrm>
            <a:off x="3856038" y="5099050"/>
            <a:ext cx="1333500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장기 과제 영역</a:t>
            </a:r>
          </a:p>
        </p:txBody>
      </p:sp>
      <p:sp>
        <p:nvSpPr>
          <p:cNvPr id="24595" name="Oval 20"/>
          <p:cNvSpPr>
            <a:spLocks noChangeArrowheads="1"/>
          </p:cNvSpPr>
          <p:nvPr/>
        </p:nvSpPr>
        <p:spPr bwMode="auto">
          <a:xfrm>
            <a:off x="2651125" y="3128963"/>
            <a:ext cx="449263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F</a:t>
            </a:r>
          </a:p>
        </p:txBody>
      </p:sp>
      <p:sp>
        <p:nvSpPr>
          <p:cNvPr id="24596" name="Oval 21"/>
          <p:cNvSpPr>
            <a:spLocks noChangeArrowheads="1"/>
          </p:cNvSpPr>
          <p:nvPr/>
        </p:nvSpPr>
        <p:spPr bwMode="auto">
          <a:xfrm>
            <a:off x="3248025" y="3752850"/>
            <a:ext cx="449263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C</a:t>
            </a:r>
          </a:p>
        </p:txBody>
      </p:sp>
      <p:sp>
        <p:nvSpPr>
          <p:cNvPr id="24597" name="Oval 22"/>
          <p:cNvSpPr>
            <a:spLocks noChangeArrowheads="1"/>
          </p:cNvSpPr>
          <p:nvPr/>
        </p:nvSpPr>
        <p:spPr bwMode="auto">
          <a:xfrm>
            <a:off x="4781550" y="4564063"/>
            <a:ext cx="449263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D</a:t>
            </a:r>
          </a:p>
        </p:txBody>
      </p:sp>
      <p:sp>
        <p:nvSpPr>
          <p:cNvPr id="24598" name="Oval 23"/>
          <p:cNvSpPr>
            <a:spLocks noChangeArrowheads="1"/>
          </p:cNvSpPr>
          <p:nvPr/>
        </p:nvSpPr>
        <p:spPr bwMode="auto">
          <a:xfrm>
            <a:off x="3860800" y="3143250"/>
            <a:ext cx="449263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B</a:t>
            </a:r>
          </a:p>
        </p:txBody>
      </p:sp>
      <p:sp>
        <p:nvSpPr>
          <p:cNvPr id="24599" name="Oval 24"/>
          <p:cNvSpPr>
            <a:spLocks noChangeArrowheads="1"/>
          </p:cNvSpPr>
          <p:nvPr/>
        </p:nvSpPr>
        <p:spPr bwMode="auto">
          <a:xfrm>
            <a:off x="4533900" y="3298825"/>
            <a:ext cx="449263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A</a:t>
            </a:r>
          </a:p>
        </p:txBody>
      </p:sp>
      <p:sp>
        <p:nvSpPr>
          <p:cNvPr id="24600" name="Oval 25"/>
          <p:cNvSpPr>
            <a:spLocks noChangeArrowheads="1"/>
          </p:cNvSpPr>
          <p:nvPr/>
        </p:nvSpPr>
        <p:spPr bwMode="auto">
          <a:xfrm>
            <a:off x="3773488" y="4608513"/>
            <a:ext cx="449262" cy="466725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10000"/>
              </a:lnSpc>
              <a:defRPr/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E</a:t>
            </a:r>
          </a:p>
        </p:txBody>
      </p:sp>
      <p:sp>
        <p:nvSpPr>
          <p:cNvPr id="40" name="이등변 삼각형 39"/>
          <p:cNvSpPr/>
          <p:nvPr/>
        </p:nvSpPr>
        <p:spPr>
          <a:xfrm rot="5400000">
            <a:off x="4887912" y="4048126"/>
            <a:ext cx="1660525" cy="3302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defRPr/>
            </a:pPr>
            <a:endParaRPr kumimoji="1" lang="ko-KR" altLang="en-US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5991225" y="2501900"/>
            <a:ext cx="3419475" cy="329723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kumimoji="1"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Rectangle 7"/>
          <p:cNvSpPr>
            <a:spLocks noChangeArrowheads="1"/>
          </p:cNvSpPr>
          <p:nvPr/>
        </p:nvSpPr>
        <p:spPr bwMode="auto">
          <a:xfrm>
            <a:off x="6164263" y="3441700"/>
            <a:ext cx="1338262" cy="279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  <a:spcAft>
                <a:spcPct val="5000"/>
              </a:spcAft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Quick-Win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</a:t>
            </a: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Rectangle 8"/>
          <p:cNvSpPr>
            <a:spLocks noChangeArrowheads="1"/>
          </p:cNvSpPr>
          <p:nvPr/>
        </p:nvSpPr>
        <p:spPr bwMode="auto">
          <a:xfrm>
            <a:off x="7967663" y="3441700"/>
            <a:ext cx="1341437" cy="279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  <a:spcAft>
                <a:spcPct val="5000"/>
              </a:spcAft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장기 과제</a:t>
            </a: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auto">
          <a:xfrm>
            <a:off x="7058025" y="2684463"/>
            <a:ext cx="1338263" cy="388937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en-US" altLang="en-US" sz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진과제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606" name="AutoShape 10"/>
          <p:cNvCxnSpPr>
            <a:cxnSpLocks noChangeShapeType="1"/>
            <a:stCxn id="77" idx="2"/>
            <a:endCxn id="75" idx="0"/>
          </p:cNvCxnSpPr>
          <p:nvPr/>
        </p:nvCxnSpPr>
        <p:spPr bwMode="auto">
          <a:xfrm rot="5400000">
            <a:off x="7096126" y="2811462"/>
            <a:ext cx="368300" cy="8921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4607" name="AutoShape 11"/>
          <p:cNvCxnSpPr>
            <a:cxnSpLocks noChangeShapeType="1"/>
            <a:stCxn id="77" idx="2"/>
            <a:endCxn id="76" idx="0"/>
          </p:cNvCxnSpPr>
          <p:nvPr/>
        </p:nvCxnSpPr>
        <p:spPr bwMode="auto">
          <a:xfrm rot="16200000" flipH="1">
            <a:off x="7998619" y="2801144"/>
            <a:ext cx="368300" cy="91281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24609" name="Text Box 27"/>
          <p:cNvSpPr txBox="1">
            <a:spLocks noChangeArrowheads="1"/>
          </p:cNvSpPr>
          <p:nvPr/>
        </p:nvSpPr>
        <p:spPr bwMode="gray">
          <a:xfrm>
            <a:off x="6072188" y="3754438"/>
            <a:ext cx="1484312" cy="15115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pPr marL="85725" indent="-85725" latinLnBrk="0">
              <a:lnSpc>
                <a:spcPct val="120000"/>
              </a:lnSpc>
              <a:spcBef>
                <a:spcPct val="10000"/>
              </a:spcBef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대적으로 적은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Resource 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인원 및 예산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투입으로 용이하게 추진할 수 있는 과제</a:t>
            </a:r>
          </a:p>
          <a:p>
            <a:pPr marL="85725" indent="-85725" latinLnBrk="0">
              <a:lnSpc>
                <a:spcPct val="120000"/>
              </a:lnSpc>
              <a:spcBef>
                <a:spcPct val="10000"/>
              </a:spcBef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제도 개선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시스템 개선 등 </a:t>
            </a:r>
          </a:p>
        </p:txBody>
      </p:sp>
      <p:sp>
        <p:nvSpPr>
          <p:cNvPr id="24610" name="Text Box 28"/>
          <p:cNvSpPr txBox="1">
            <a:spLocks noChangeArrowheads="1"/>
          </p:cNvSpPr>
          <p:nvPr/>
        </p:nvSpPr>
        <p:spPr bwMode="gray">
          <a:xfrm>
            <a:off x="7854950" y="3759200"/>
            <a:ext cx="1495425" cy="19347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pPr marL="85725" indent="-85725" latinLnBrk="0">
              <a:lnSpc>
                <a:spcPct val="120000"/>
              </a:lnSpc>
              <a:spcBef>
                <a:spcPct val="10000"/>
              </a:spcBef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대적으로 많은 자원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인원 및 예산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투입이 필요한 과제</a:t>
            </a:r>
          </a:p>
          <a:p>
            <a:pPr marL="85725" indent="-85725" latinLnBrk="0">
              <a:lnSpc>
                <a:spcPct val="120000"/>
              </a:lnSpc>
              <a:spcBef>
                <a:spcPct val="10000"/>
              </a:spcBef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여러 부서가 연관되어 조율이 필요한 과제</a:t>
            </a:r>
          </a:p>
          <a:p>
            <a:pPr marL="85725" indent="-85725" latinLnBrk="0">
              <a:lnSpc>
                <a:spcPct val="120000"/>
              </a:lnSpc>
              <a:spcBef>
                <a:spcPct val="10000"/>
              </a:spcBef>
              <a:buFont typeface="Wingdings" pitchFamily="2" charset="2"/>
              <a:buChar char="§"/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집중화 과제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대단위시스템 구축 과제 등</a:t>
            </a:r>
          </a:p>
        </p:txBody>
      </p:sp>
      <p:sp>
        <p:nvSpPr>
          <p:cNvPr id="3" name="오른쪽 화살표 2"/>
          <p:cNvSpPr/>
          <p:nvPr/>
        </p:nvSpPr>
        <p:spPr bwMode="auto">
          <a:xfrm>
            <a:off x="2432650" y="5736057"/>
            <a:ext cx="3168440" cy="43195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latinLnBrk="0"/>
            <a:r>
              <a:rPr kumimoji="1"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적 중요도</a:t>
            </a: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grpSp>
        <p:nvGrpSpPr>
          <p:cNvPr id="4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46" name="TextBox 4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순서도: 페이지 연결자 36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된 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분류</a:t>
            </a:r>
          </a:p>
        </p:txBody>
      </p:sp>
      <p:sp>
        <p:nvSpPr>
          <p:cNvPr id="49" name="순서도: 페이지 연결자 48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정의</a:t>
            </a:r>
          </a:p>
        </p:txBody>
      </p:sp>
    </p:spTree>
    <p:extLst>
      <p:ext uri="{BB962C8B-B14F-4D97-AF65-F5344CB8AC3E}">
        <p14:creationId xmlns:p14="http://schemas.microsoft.com/office/powerpoint/2010/main" val="63856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3"/>
          <p:cNvSpPr/>
          <p:nvPr/>
        </p:nvSpPr>
        <p:spPr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86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86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된 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현업과 협의를 통해 </a:t>
            </a:r>
            <a:r>
              <a:rPr lang="ko-KR" altLang="en-US" dirty="0" smtClean="0"/>
              <a:t>확정함</a:t>
            </a:r>
            <a:endParaRPr lang="ko-KR" altLang="en-US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Text Box 19"/>
          <p:cNvSpPr txBox="1">
            <a:spLocks noChangeArrowheads="1"/>
          </p:cNvSpPr>
          <p:nvPr/>
        </p:nvSpPr>
        <p:spPr bwMode="auto">
          <a:xfrm>
            <a:off x="2000250" y="4523468"/>
            <a:ext cx="3240088" cy="151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/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도출 단계에서 정의된 개선기회 목록 확인</a:t>
            </a:r>
            <a:endParaRPr kumimoji="1"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Workshop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미팅 등 </a:t>
            </a:r>
            <a:r>
              <a:rPr kumimoji="1"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NH</a:t>
            </a: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농협카드와 협의하여 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목록 확정 및 유형 분류</a:t>
            </a:r>
            <a:endParaRPr kumimoji="1"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85738" indent="-100013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ü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 프로세스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기반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조직 등 </a:t>
            </a:r>
          </a:p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유형 별 상세화 방안 정의</a:t>
            </a:r>
          </a:p>
        </p:txBody>
      </p:sp>
      <p:sp>
        <p:nvSpPr>
          <p:cNvPr id="38" name="Text Box 25"/>
          <p:cNvSpPr txBox="1">
            <a:spLocks noChangeArrowheads="1"/>
          </p:cNvSpPr>
          <p:nvPr/>
        </p:nvSpPr>
        <p:spPr bwMode="auto">
          <a:xfrm>
            <a:off x="6032500" y="4523468"/>
            <a:ext cx="3479800" cy="12576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/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확정된 개선기회와 </a:t>
            </a: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연계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실행 시 발생할 수 있는 프로세스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조직 상의 위험요소 정의</a:t>
            </a:r>
          </a:p>
          <a:p>
            <a:pPr marL="85725" indent="-85725" eaLnBrk="0" fontAlgn="ctr" latinLnBrk="0" hangingPunct="0">
              <a:lnSpc>
                <a:spcPct val="120000"/>
              </a:lnSpc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기회 별 추진내용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기능 관점 개선 방안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의사결정 사항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1"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관련부서 등 정의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이등변 삼각형 18"/>
          <p:cNvSpPr/>
          <p:nvPr/>
        </p:nvSpPr>
        <p:spPr>
          <a:xfrm rot="5400000">
            <a:off x="4887912" y="3302156"/>
            <a:ext cx="1660525" cy="3302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defRPr/>
            </a:pPr>
            <a:endParaRPr kumimoji="1" lang="ko-KR" altLang="en-US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 Box 12"/>
          <p:cNvSpPr txBox="1">
            <a:spLocks noChangeArrowheads="1"/>
          </p:cNvSpPr>
          <p:nvPr/>
        </p:nvSpPr>
        <p:spPr bwMode="auto">
          <a:xfrm>
            <a:off x="6307138" y="2136775"/>
            <a:ext cx="3109912" cy="329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defRPr/>
            </a:pPr>
            <a:r>
              <a:rPr kumimoji="1"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 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 Box 12"/>
          <p:cNvSpPr txBox="1">
            <a:spLocks noChangeArrowheads="1"/>
          </p:cNvSpPr>
          <p:nvPr/>
        </p:nvSpPr>
        <p:spPr bwMode="auto">
          <a:xfrm>
            <a:off x="2117762" y="2136775"/>
            <a:ext cx="3109912" cy="329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50000"/>
              </a:spcBef>
              <a:defRPr/>
            </a:pPr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Biz)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도출 정의서 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40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721" y="2591015"/>
            <a:ext cx="3292087" cy="191742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41" y="2591015"/>
            <a:ext cx="3224109" cy="191060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grpSp>
        <p:nvGrpSpPr>
          <p:cNvPr id="3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순서도: 페이지 연결자 19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</a:t>
            </a:r>
          </a:p>
        </p:txBody>
      </p:sp>
      <p:sp>
        <p:nvSpPr>
          <p:cNvPr id="21" name="순서도: 페이지 연결자 20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도출된 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Biz)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의 분류</a:t>
            </a:r>
          </a:p>
        </p:txBody>
      </p:sp>
      <p:sp>
        <p:nvSpPr>
          <p:cNvPr id="26" name="순서도: 페이지 연결자 25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정의</a:t>
            </a:r>
          </a:p>
        </p:txBody>
      </p:sp>
    </p:spTree>
    <p:extLst>
      <p:ext uri="{BB962C8B-B14F-4D97-AF65-F5344CB8AC3E}">
        <p14:creationId xmlns:p14="http://schemas.microsoft.com/office/powerpoint/2010/main" val="51576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/>
              <a:t>최종 확정된 개선과제를 리뷰하고</a:t>
            </a:r>
            <a:r>
              <a:rPr lang="en-US" altLang="ko-KR" dirty="0"/>
              <a:t>, </a:t>
            </a:r>
            <a:r>
              <a:rPr lang="ko-KR" altLang="en-US" dirty="0"/>
              <a:t>핵심 개선과제에 대하여 </a:t>
            </a:r>
            <a:r>
              <a:rPr lang="ko-KR" altLang="en-US" dirty="0" smtClean="0"/>
              <a:t>상세화를 수행함</a:t>
            </a:r>
            <a:endParaRPr lang="ko-KR" altLang="en-US" dirty="0"/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대내외 환경 분석을 통해 도출된 수정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보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신규 요건 반영을 통한 과제 확정 및 분류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2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1920318" y="2196356"/>
            <a:ext cx="459430" cy="17713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331914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defTabSz="760413" eaLnBrk="0" latinLnBrk="0" hangingPunct="0">
              <a:lnSpc>
                <a:spcPct val="110000"/>
              </a:lnSpc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를 바탕으로 개선과제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확정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85738" defTabSz="760413" eaLnBrk="0" latinLnBrk="0" hangingPunct="0">
              <a:lnSpc>
                <a:spcPct val="110000"/>
              </a:lnSpc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간 연관성을 고려한 통합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삭제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331914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0" marR="0" lvl="0" indent="0" algn="ctr" defTabSz="723900" eaLnBrk="1" latinLnBrk="0" hangingPunct="0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확정</a:t>
            </a:r>
          </a:p>
        </p:txBody>
      </p:sp>
      <p:sp>
        <p:nvSpPr>
          <p:cNvPr id="24" name="Rectangle 32"/>
          <p:cNvSpPr>
            <a:spLocks noChangeArrowheads="1"/>
          </p:cNvSpPr>
          <p:nvPr/>
        </p:nvSpPr>
        <p:spPr bwMode="auto">
          <a:xfrm>
            <a:off x="2346325" y="5105492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개발에 중요한 과제 선별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별한 과제에 대한 상세화 수행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73050" y="5105492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latinLnBrk="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핵심 개선과제에 대한 상세화 수행</a:t>
            </a:r>
          </a:p>
        </p:txBody>
      </p:sp>
      <p:sp>
        <p:nvSpPr>
          <p:cNvPr id="31" name="Rectangle 36"/>
          <p:cNvSpPr>
            <a:spLocks noChangeArrowheads="1"/>
          </p:cNvSpPr>
          <p:nvPr/>
        </p:nvSpPr>
        <p:spPr bwMode="auto">
          <a:xfrm>
            <a:off x="7669212" y="3716336"/>
            <a:ext cx="1963737" cy="2621558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72000" tIns="35999" rIns="35999" bIns="35999" anchor="t"/>
          <a:lstStyle/>
          <a:p>
            <a:pPr marL="185738" indent="-185738" defTabSz="762000" eaLnBrk="0" latinLnBrk="0" hangingPunct="0">
              <a:lnSpc>
                <a:spcPct val="110000"/>
              </a:lnSpc>
              <a:buClr>
                <a:srgbClr val="000000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</a:t>
            </a:r>
          </a:p>
        </p:txBody>
      </p:sp>
    </p:spTree>
    <p:extLst>
      <p:ext uri="{BB962C8B-B14F-4D97-AF65-F5344CB8AC3E}">
        <p14:creationId xmlns:p14="http://schemas.microsoft.com/office/powerpoint/2010/main" val="45149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iz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eaLnBrk="1">
              <a:lnSpc>
                <a:spcPct val="100000"/>
              </a:lnSpc>
              <a:spcBef>
                <a:spcPts val="600"/>
              </a:spcBef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 도출 개선과제에 대하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타당성 분석을 통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종 확정하고 상세화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pic>
        <p:nvPicPr>
          <p:cNvPr id="85" name="그림 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1954" y="3061815"/>
            <a:ext cx="3241048" cy="17353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9" name="Rectangle 7"/>
          <p:cNvSpPr>
            <a:spLocks noChangeArrowheads="1"/>
          </p:cNvSpPr>
          <p:nvPr/>
        </p:nvSpPr>
        <p:spPr bwMode="auto">
          <a:xfrm>
            <a:off x="2181954" y="4941168"/>
            <a:ext cx="3228436" cy="72949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t"/>
          <a:lstStyle>
            <a:lvl1pPr marL="85725" indent="-85725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1pPr>
            <a:lvl2pPr marL="455613" indent="-225425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2pPr>
            <a:lvl3pPr marL="684213" indent="-227013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3pPr>
            <a:lvl4pPr marL="1092200" indent="-228600" ea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4pPr>
            <a:lvl5pPr marL="1500188" indent="-228600" ea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5pPr>
            <a:lvl6pPr marL="19573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6pPr>
            <a:lvl7pPr marL="24145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7pPr>
            <a:lvl8pPr marL="28717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8pPr>
            <a:lvl9pPr marL="33289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9pPr>
          </a:lstStyle>
          <a:p>
            <a:pPr latinLnBrk="0">
              <a:spcBef>
                <a:spcPct val="30000"/>
              </a:spcBef>
              <a:buClrTx/>
              <a:buSzPct val="110000"/>
              <a:buFont typeface="Wingdings" panose="05000000000000000000" pitchFamily="2" charset="2"/>
              <a:buChar char="§"/>
              <a:defRPr/>
            </a:pPr>
            <a:r>
              <a:rPr kumimoji="0" lang="ko-KR" altLang="en-US" b="1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보유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역량</a:t>
            </a:r>
            <a:r>
              <a:rPr kumimoji="0" lang="en-US" altLang="ko-KR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경쟁우위</a:t>
            </a:r>
            <a:r>
              <a:rPr kumimoji="0" lang="en-US" altLang="ko-KR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난이도 및 시장성숙도</a:t>
            </a:r>
            <a:r>
              <a:rPr kumimoji="0" lang="en-US" altLang="ko-KR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 </a:t>
            </a:r>
            <a:r>
              <a:rPr kumimoji="0" lang="ko-KR" altLang="en-US" b="1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접항성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측면의 검토</a:t>
            </a:r>
            <a:endParaRPr kumimoji="0" lang="en-US" altLang="ko-KR" b="1" kern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>
              <a:spcBef>
                <a:spcPct val="30000"/>
              </a:spcBef>
              <a:buClrTx/>
              <a:buSzPct val="110000"/>
              <a:buFont typeface="Wingdings" panose="05000000000000000000" pitchFamily="2" charset="2"/>
              <a:buChar char="§"/>
              <a:defRPr/>
            </a:pP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간 연관성을 고려한 통합</a:t>
            </a:r>
            <a:r>
              <a:rPr kumimoji="0" lang="en-US" altLang="ko-KR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삭제</a:t>
            </a:r>
            <a:endParaRPr kumimoji="0" lang="ko-KR" altLang="en-US" b="1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2381897" y="2329135"/>
            <a:ext cx="28411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400" b="1" kern="0" dirty="0" smtClean="0">
                <a:solidFill>
                  <a:schemeClr val="tx1"/>
                </a:solidFill>
                <a:latin typeface="맑은 고딕" pitchFamily="50" charset="-127"/>
                <a:ea typeface="맑은 고딕" panose="020B0503020000020004" pitchFamily="50" charset="-127"/>
              </a:rPr>
              <a:t>기 도출 개선과제</a:t>
            </a:r>
            <a:r>
              <a:rPr lang="en-US" altLang="ko-KR" sz="1400" b="1" kern="0" dirty="0" smtClean="0">
                <a:solidFill>
                  <a:schemeClr val="tx1"/>
                </a:solidFill>
                <a:latin typeface="맑은 고딕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sz="1400" b="1" kern="0" dirty="0" smtClean="0">
                <a:solidFill>
                  <a:schemeClr val="tx1"/>
                </a:solidFill>
                <a:latin typeface="맑은 고딕" pitchFamily="50" charset="-127"/>
                <a:ea typeface="맑은 고딕" panose="020B0503020000020004" pitchFamily="50" charset="-127"/>
              </a:rPr>
              <a:t>분석 결과</a:t>
            </a:r>
          </a:p>
        </p:txBody>
      </p:sp>
      <p:pic>
        <p:nvPicPr>
          <p:cNvPr id="84" name="그림 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1225" y="3061816"/>
            <a:ext cx="3241048" cy="17353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2" name="TextBox 91"/>
          <p:cNvSpPr txBox="1"/>
          <p:nvPr/>
        </p:nvSpPr>
        <p:spPr>
          <a:xfrm>
            <a:off x="6503131" y="2329135"/>
            <a:ext cx="2400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400" b="1" kern="0" dirty="0" smtClean="0">
                <a:solidFill>
                  <a:schemeClr val="tx1"/>
                </a:solidFill>
                <a:latin typeface="맑은 고딕" pitchFamily="50" charset="-127"/>
                <a:ea typeface="맑은 고딕" panose="020B0503020000020004" pitchFamily="50" charset="-127"/>
              </a:rPr>
              <a:t>카드사 핵심역량 참고 모델</a:t>
            </a:r>
          </a:p>
        </p:txBody>
      </p:sp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6071225" y="4926061"/>
            <a:ext cx="3228436" cy="66317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t"/>
          <a:lstStyle>
            <a:lvl1pPr marL="85725" indent="-85725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1pPr>
            <a:lvl2pPr marL="455613" indent="-225425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2pPr>
            <a:lvl3pPr marL="684213" indent="-227013" eaLnBrk="0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kumimoji="1" sz="1200">
                <a:solidFill>
                  <a:srgbClr val="000000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3pPr>
            <a:lvl4pPr marL="1092200" indent="-228600" ea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4pPr>
            <a:lvl5pPr marL="1500188" indent="-228600" ea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5pPr>
            <a:lvl6pPr marL="19573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6pPr>
            <a:lvl7pPr marL="24145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7pPr>
            <a:lvl8pPr marL="28717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8pPr>
            <a:lvl9pPr marL="33289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1200">
                <a:solidFill>
                  <a:schemeClr val="tx1"/>
                </a:solidFill>
                <a:latin typeface="가는각진제목체" pitchFamily="18" charset="-127"/>
                <a:ea typeface="가는각진제목체" pitchFamily="18" charset="-127"/>
                <a:cs typeface="Arial" charset="0"/>
              </a:defRPr>
            </a:lvl9pPr>
          </a:lstStyle>
          <a:p>
            <a:pPr latinLnBrk="0">
              <a:spcBef>
                <a:spcPct val="30000"/>
              </a:spcBef>
              <a:buClrTx/>
              <a:buSzPct val="110000"/>
              <a:buFont typeface="Wingdings" panose="05000000000000000000" pitchFamily="2" charset="2"/>
              <a:buChar char="§"/>
              <a:defRPr/>
            </a:pP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사 </a:t>
            </a:r>
            <a:r>
              <a:rPr kumimoji="0" lang="en-US" altLang="ko-KR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lue </a:t>
            </a:r>
            <a:r>
              <a:rPr kumimoji="0" lang="en-US" altLang="ko-KR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ain 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로 비즈니스</a:t>
            </a:r>
            <a:r>
              <a:rPr kumimoji="0" lang="en-US" altLang="ko-KR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kumimoji="0" lang="ko-KR" altLang="en-US" b="1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의 </a:t>
            </a:r>
            <a:r>
              <a:rPr kumimoji="0" lang="ko-KR" altLang="en-US" b="1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심역량을 근거로 과제화 여부 판단</a:t>
            </a:r>
            <a:endParaRPr kumimoji="0" lang="ko-KR" altLang="en-US" b="1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7" name="직선 연결선 96"/>
          <p:cNvCxnSpPr/>
          <p:nvPr/>
        </p:nvCxnSpPr>
        <p:spPr bwMode="auto">
          <a:xfrm>
            <a:off x="5744369" y="2201541"/>
            <a:ext cx="0" cy="352925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grpSp>
        <p:nvGrpSpPr>
          <p:cNvPr id="3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순서도: 페이지 연결자 1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  <a:defRPr/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iz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정</a:t>
            </a:r>
          </a:p>
        </p:txBody>
      </p:sp>
      <p:sp>
        <p:nvSpPr>
          <p:cNvPr id="19" name="순서도: 페이지 연결자 18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심 개선과제에 대한 상세화 수행</a:t>
            </a:r>
          </a:p>
        </p:txBody>
      </p:sp>
    </p:spTree>
    <p:extLst>
      <p:ext uri="{BB962C8B-B14F-4D97-AF65-F5344CB8AC3E}">
        <p14:creationId xmlns:p14="http://schemas.microsoft.com/office/powerpoint/2010/main" val="39728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그림 33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및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에 대한 정보화 비전 및 전략과의 연계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이슈 및 개선기회를 검토하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출하고 상세화 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As-Is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아키텍처 분석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Biz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이슈 및 개선기회 분석 결과를 토대로 개선과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IT)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도출</a:t>
            </a:r>
          </a:p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의 차세대 수행을 위해 필요한 핵심 개선과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IT)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의 상세화 수행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6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23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선과제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IT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정의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 기반으로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  <a:p>
            <a:pPr marL="360363" indent="-180975" eaLnBrk="0" latinLnBrk="0" hangingPunct="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분석에서 도출된 개선기회를 종합적으로 검토하여 후보 실행과제를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indent="-180975" eaLnBrk="0" latinLnBrk="0" hangingPunct="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목록 도출을 위한 실행과제 우선순위 기준을 정리하고 이를 기반으로 과제목록 정리</a:t>
            </a:r>
          </a:p>
          <a:p>
            <a:pPr marL="360363" indent="-180975" eaLnBrk="0" latinLnBrk="0" hangingPunct="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사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SP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과제와의 비교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증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31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한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명 정의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indent="-180975" eaLnBrk="0" latinLnBrk="0" hangingPunct="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추진 배경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범위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요건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정 등 </a:t>
            </a: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행방안 정의</a:t>
            </a:r>
            <a:endParaRPr kumimoji="1"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상세화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2138728" y="2712763"/>
            <a:ext cx="285270" cy="194853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485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및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는 업무영역별로 전략적 중요성과 추진적합성을 고려하여 평가하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영 해야 하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dirty="0" smtClean="0"/>
              <a:t>정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38" name="직사각형 13"/>
          <p:cNvSpPr>
            <a:spLocks noChangeArrowheads="1"/>
          </p:cNvSpPr>
          <p:nvPr/>
        </p:nvSpPr>
        <p:spPr bwMode="auto">
          <a:xfrm>
            <a:off x="1923976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순서도: 페이지 연결자 38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40" name="순서도: 페이지 연결자 39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화</a:t>
            </a: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020" y="2520245"/>
            <a:ext cx="4679188" cy="328501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3" name="직사각형 58"/>
          <p:cNvSpPr/>
          <p:nvPr/>
        </p:nvSpPr>
        <p:spPr bwMode="gray">
          <a:xfrm>
            <a:off x="7079807" y="2389309"/>
            <a:ext cx="2498425" cy="3744416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anchor="t" anchorCtr="0"/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[</a:t>
            </a:r>
            <a:r>
              <a:rPr lang="ko-KR" altLang="en-US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lang="en-US" altLang="ko-KR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 우선순위 산정방안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: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도출된 개선과제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는 추진정합성과 중요도를 기준으로 상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하로 구분하여 평가하며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분류결과에 따라서</a:t>
            </a:r>
            <a:r>
              <a:rPr kumimoji="0" lang="ko-KR" altLang="en-US" sz="11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 </a:t>
            </a:r>
            <a:r>
              <a:rPr kumimoji="0" lang="en-US" altLang="ko-KR" sz="1100" b="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“</a:t>
            </a:r>
            <a:r>
              <a:rPr kumimoji="0" lang="ko-KR" altLang="en-US" sz="1100" b="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차세대 구축 과제로 반영될 실행과제 영역</a:t>
            </a:r>
            <a:r>
              <a:rPr kumimoji="0" lang="en-US" altLang="ko-KR" sz="1100" b="0" i="1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”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을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에 반영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R="0" lvl="0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[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전략적 중요도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: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타 시스템에 영향도가 크거나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은행의 핵심 업무로 개선 시 정성적이나 정량적으로 큰 효과를 볼 것으로 예상되는 경우 중요도가 높은 것으로 판단함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/>
            </a:r>
            <a:b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</a:b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indent="-180975" eaLnBrk="0" fontAlgn="auto" latinLnBrk="0" hangingPunct="0">
              <a:spcBef>
                <a:spcPts val="200"/>
              </a:spcBef>
              <a:spcAft>
                <a:spcPts val="200"/>
              </a:spcAft>
              <a:buFontTx/>
              <a:buChar char="•"/>
            </a:pPr>
            <a:r>
              <a:rPr lang="en-US" altLang="ko-KR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[</a:t>
            </a:r>
            <a:r>
              <a:rPr lang="ko-KR" altLang="en-US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추진 적합성</a:t>
            </a:r>
            <a:r>
              <a:rPr lang="en-US" altLang="ko-KR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lang="en-US" altLang="ko-KR" sz="11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: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규제나 은행 정책으로 인하여 적용 기간이 임박했거나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경영 전략이나 현업에서 빠른 반영을 요구하는 경우 비즈니스 시급성이 높은 것으로 정의함</a:t>
            </a:r>
            <a:endParaRPr lang="en-US" altLang="ko-KR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sp>
        <p:nvSpPr>
          <p:cNvPr id="44" name="직사각형 8"/>
          <p:cNvSpPr/>
          <p:nvPr/>
        </p:nvSpPr>
        <p:spPr bwMode="auto">
          <a:xfrm>
            <a:off x="7079807" y="2030786"/>
            <a:ext cx="2498426" cy="358523"/>
          </a:xfrm>
          <a:prstGeom prst="rect">
            <a:avLst/>
          </a:prstGeom>
          <a:solidFill>
            <a:srgbClr val="1B3A87"/>
          </a:solidFill>
          <a:ln w="9525">
            <a:solidFill>
              <a:srgbClr val="ADABA1"/>
            </a:solidFill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roach</a:t>
            </a:r>
          </a:p>
        </p:txBody>
      </p:sp>
      <p:sp>
        <p:nvSpPr>
          <p:cNvPr id="45" name="Oval 18"/>
          <p:cNvSpPr>
            <a:spLocks noChangeAspect="1"/>
          </p:cNvSpPr>
          <p:nvPr/>
        </p:nvSpPr>
        <p:spPr bwMode="auto">
          <a:xfrm>
            <a:off x="7065312" y="3681056"/>
            <a:ext cx="251252" cy="25200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1</a:t>
            </a:r>
          </a:p>
        </p:txBody>
      </p:sp>
      <p:sp>
        <p:nvSpPr>
          <p:cNvPr id="46" name="Oval 18"/>
          <p:cNvSpPr>
            <a:spLocks noChangeAspect="1"/>
          </p:cNvSpPr>
          <p:nvPr/>
        </p:nvSpPr>
        <p:spPr bwMode="auto">
          <a:xfrm>
            <a:off x="7065312" y="4905192"/>
            <a:ext cx="251252" cy="25200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2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131293" y="1969095"/>
            <a:ext cx="2034532" cy="307777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정 기준</a:t>
            </a:r>
          </a:p>
        </p:txBody>
      </p:sp>
      <p:grpSp>
        <p:nvGrpSpPr>
          <p:cNvPr id="57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8" name="TextBox 5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Oval 18"/>
          <p:cNvSpPr>
            <a:spLocks noChangeAspect="1"/>
          </p:cNvSpPr>
          <p:nvPr/>
        </p:nvSpPr>
        <p:spPr bwMode="auto">
          <a:xfrm>
            <a:off x="2184510" y="2680816"/>
            <a:ext cx="171608" cy="17212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1</a:t>
            </a:r>
          </a:p>
        </p:txBody>
      </p:sp>
      <p:sp>
        <p:nvSpPr>
          <p:cNvPr id="19" name="Oval 18"/>
          <p:cNvSpPr>
            <a:spLocks noChangeAspect="1"/>
          </p:cNvSpPr>
          <p:nvPr/>
        </p:nvSpPr>
        <p:spPr bwMode="auto">
          <a:xfrm>
            <a:off x="2184510" y="4365104"/>
            <a:ext cx="171608" cy="17212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45720" rIns="4572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97570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및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개선기회에 대한 개선기회 유형과 업무의 유사성을 종합적으로 검토하여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실행 관점의 과제를 도출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38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171675" y="1973505"/>
            <a:ext cx="3145412" cy="32541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174625" lvl="0" indent="-174625"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B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H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선과제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IT)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도출결과 사례</a:t>
            </a:r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6930" y="2605146"/>
            <a:ext cx="4035768" cy="24205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222" y="3666696"/>
            <a:ext cx="4633266" cy="228258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grpSp>
        <p:nvGrpSpPr>
          <p:cNvPr id="2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6" name="TextBox 2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순서도: 페이지 연결자 14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16" name="순서도: 페이지 연결자 15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화</a:t>
            </a:r>
          </a:p>
        </p:txBody>
      </p:sp>
    </p:spTree>
    <p:extLst>
      <p:ext uri="{BB962C8B-B14F-4D97-AF65-F5344CB8AC3E}">
        <p14:creationId xmlns:p14="http://schemas.microsoft.com/office/powerpoint/2010/main" val="2059386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및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진 배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범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요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대효과 등의 항목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38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7" name="Group 15"/>
          <p:cNvGrpSpPr/>
          <p:nvPr/>
        </p:nvGrpSpPr>
        <p:grpSpPr>
          <a:xfrm>
            <a:off x="2072680" y="1875140"/>
            <a:ext cx="4725331" cy="276999"/>
            <a:chOff x="4321494" y="2847682"/>
            <a:chExt cx="7730228" cy="276999"/>
          </a:xfrm>
        </p:grpSpPr>
        <p:sp>
          <p:nvSpPr>
            <p:cNvPr id="49" name="TextBox 48"/>
            <p:cNvSpPr txBox="1"/>
            <p:nvPr/>
          </p:nvSpPr>
          <p:spPr>
            <a:xfrm>
              <a:off x="6316350" y="2847682"/>
              <a:ext cx="3740553" cy="276999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lang="ko-KR" altLang="en-US" sz="12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/>
                </a:rPr>
                <a:t>개선과제</a:t>
              </a:r>
              <a:r>
                <a:rPr lang="en-US" altLang="ko-KR" sz="12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/>
                </a:rPr>
                <a:t>(IT)</a:t>
              </a:r>
              <a:r>
                <a:rPr lang="ko-KR" altLang="en-US" sz="12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/>
                </a:rPr>
                <a:t> </a:t>
              </a:r>
              <a:r>
                <a:rPr lang="ko-KR" altLang="en-US" sz="1200" kern="0" dirty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/>
                </a:rPr>
                <a:t>정의서 구성요소</a:t>
              </a:r>
            </a:p>
          </p:txBody>
        </p:sp>
        <p:cxnSp>
          <p:nvCxnSpPr>
            <p:cNvPr id="50" name="Straight Connector 17"/>
            <p:cNvCxnSpPr/>
            <p:nvPr/>
          </p:nvCxnSpPr>
          <p:spPr bwMode="auto">
            <a:xfrm>
              <a:off x="4321494" y="3120184"/>
              <a:ext cx="773022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 type="none" w="med" len="med"/>
              <a:tailEnd type="none"/>
            </a:ln>
            <a:effectLst/>
          </p:spPr>
        </p:cxnSp>
      </p:grpSp>
      <p:grpSp>
        <p:nvGrpSpPr>
          <p:cNvPr id="2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6" name="TextBox 2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>
            <a:off x="8230606" y="2348761"/>
            <a:ext cx="1139938" cy="503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ounded Rectangle 55"/>
          <p:cNvSpPr/>
          <p:nvPr/>
        </p:nvSpPr>
        <p:spPr>
          <a:xfrm>
            <a:off x="7645319" y="2958511"/>
            <a:ext cx="476033" cy="564031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AA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20" name="Rounded Rectangle 56"/>
          <p:cNvSpPr/>
          <p:nvPr/>
        </p:nvSpPr>
        <p:spPr>
          <a:xfrm>
            <a:off x="7645266" y="2335366"/>
            <a:ext cx="476033" cy="564972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비즈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</a:b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니스</a:t>
            </a:r>
          </a:p>
        </p:txBody>
      </p:sp>
      <p:sp>
        <p:nvSpPr>
          <p:cNvPr id="21" name="Rounded Rectangle 57"/>
          <p:cNvSpPr/>
          <p:nvPr/>
        </p:nvSpPr>
        <p:spPr>
          <a:xfrm>
            <a:off x="7645319" y="3580717"/>
            <a:ext cx="476033" cy="564031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DA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29" name="Rounded Rectangle 58"/>
          <p:cNvSpPr/>
          <p:nvPr/>
        </p:nvSpPr>
        <p:spPr>
          <a:xfrm>
            <a:off x="7645319" y="4202922"/>
            <a:ext cx="476033" cy="564031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TA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pic>
        <p:nvPicPr>
          <p:cNvPr id="30" name="Picture 5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8223645" y="2956099"/>
            <a:ext cx="1139547" cy="55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4" cstate="print">
            <a:grayscl/>
          </a:blip>
          <a:srcRect/>
          <a:stretch>
            <a:fillRect/>
          </a:stretch>
        </p:blipFill>
        <p:spPr bwMode="auto">
          <a:xfrm>
            <a:off x="8262095" y="3582808"/>
            <a:ext cx="1139547" cy="546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8205578" y="4240519"/>
            <a:ext cx="1139547" cy="48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ounded Rectangle 62"/>
          <p:cNvSpPr/>
          <p:nvPr/>
        </p:nvSpPr>
        <p:spPr>
          <a:xfrm>
            <a:off x="7645319" y="5447333"/>
            <a:ext cx="476033" cy="564031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보안</a:t>
            </a:r>
          </a:p>
        </p:txBody>
      </p:sp>
      <p:sp>
        <p:nvSpPr>
          <p:cNvPr id="34" name="Rectangle 63"/>
          <p:cNvSpPr/>
          <p:nvPr/>
        </p:nvSpPr>
        <p:spPr>
          <a:xfrm>
            <a:off x="7545288" y="2236541"/>
            <a:ext cx="2017038" cy="3871770"/>
          </a:xfrm>
          <a:prstGeom prst="rect">
            <a:avLst/>
          </a:prstGeom>
          <a:noFill/>
          <a:ln>
            <a:solidFill>
              <a:srgbClr val="FFFFFF">
                <a:lumMod val="50000"/>
              </a:srgbClr>
            </a:solidFill>
          </a:ln>
        </p:spPr>
        <p:txBody>
          <a:bodyPr wrap="square" rtlCol="0" anchor="ctr">
            <a:noAutofit/>
          </a:bodyPr>
          <a:lstStyle/>
          <a:p>
            <a:pPr marL="268288" marR="0" lvl="0" indent="-21590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35" name="Rounded Rectangle 64"/>
          <p:cNvSpPr/>
          <p:nvPr/>
        </p:nvSpPr>
        <p:spPr>
          <a:xfrm>
            <a:off x="7645319" y="4825128"/>
            <a:ext cx="476033" cy="564031"/>
          </a:xfrm>
          <a:prstGeom prst="roundRect">
            <a:avLst/>
          </a:prstGeom>
          <a:solidFill>
            <a:srgbClr val="C0C0C0">
              <a:lumMod val="60000"/>
              <a:lumOff val="40000"/>
            </a:srgbClr>
          </a:solidFill>
          <a:ln>
            <a:solidFill>
              <a:srgbClr val="333333">
                <a:lumMod val="60000"/>
                <a:lumOff val="4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SA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cxnSp>
        <p:nvCxnSpPr>
          <p:cNvPr id="36" name="Straight Connector 65"/>
          <p:cNvCxnSpPr/>
          <p:nvPr/>
        </p:nvCxnSpPr>
        <p:spPr bwMode="auto">
          <a:xfrm>
            <a:off x="8198317" y="2921901"/>
            <a:ext cx="1236569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FFFFFF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66"/>
          <p:cNvCxnSpPr/>
          <p:nvPr/>
        </p:nvCxnSpPr>
        <p:spPr bwMode="auto">
          <a:xfrm>
            <a:off x="8213585" y="3541117"/>
            <a:ext cx="1236569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FFFFFF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67"/>
          <p:cNvCxnSpPr/>
          <p:nvPr/>
        </p:nvCxnSpPr>
        <p:spPr bwMode="auto">
          <a:xfrm>
            <a:off x="8198317" y="4172426"/>
            <a:ext cx="1236569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FFFFFF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68"/>
          <p:cNvCxnSpPr/>
          <p:nvPr/>
        </p:nvCxnSpPr>
        <p:spPr bwMode="auto">
          <a:xfrm>
            <a:off x="8198317" y="5420504"/>
            <a:ext cx="1236569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FFFFFF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8463" y="5490249"/>
            <a:ext cx="1116456" cy="515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584" y="4841671"/>
            <a:ext cx="1122045" cy="515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5" name="Straight Connector 71"/>
          <p:cNvCxnSpPr/>
          <p:nvPr/>
        </p:nvCxnSpPr>
        <p:spPr bwMode="auto">
          <a:xfrm>
            <a:off x="8198317" y="4792721"/>
            <a:ext cx="1236569" cy="0"/>
          </a:xfrm>
          <a:prstGeom prst="line">
            <a:avLst/>
          </a:prstGeom>
          <a:solidFill>
            <a:srgbClr val="FFD200"/>
          </a:solidFill>
          <a:ln w="9525" cap="flat" cmpd="sng" algn="ctr">
            <a:solidFill>
              <a:srgbClr val="FFFFFF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TextBox 45"/>
          <p:cNvSpPr txBox="1"/>
          <p:nvPr/>
        </p:nvSpPr>
        <p:spPr>
          <a:xfrm>
            <a:off x="6901410" y="3618428"/>
            <a:ext cx="716864" cy="11079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268288" indent="-215900"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72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</a:rPr>
              <a:t>+</a:t>
            </a:r>
            <a:endParaRPr lang="ko-KR" altLang="en-US" sz="7200" b="1" kern="0" dirty="0" smtClean="0">
              <a:solidFill>
                <a:srgbClr val="646464">
                  <a:lumMod val="50000"/>
                </a:srgbClr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48" name="Group 5"/>
          <p:cNvGrpSpPr/>
          <p:nvPr/>
        </p:nvGrpSpPr>
        <p:grpSpPr>
          <a:xfrm>
            <a:off x="1935356" y="2508928"/>
            <a:ext cx="5015882" cy="432000"/>
            <a:chOff x="1935356" y="2236541"/>
            <a:chExt cx="5015882" cy="432000"/>
          </a:xfrm>
        </p:grpSpPr>
        <p:sp>
          <p:nvSpPr>
            <p:cNvPr id="51" name="Rectangle 134"/>
            <p:cNvSpPr/>
            <p:nvPr/>
          </p:nvSpPr>
          <p:spPr>
            <a:xfrm>
              <a:off x="1935356" y="2236541"/>
              <a:ext cx="1296000" cy="431248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solidFill>
                <a:srgbClr val="808080"/>
              </a:solidFill>
            </a:ln>
          </p:spPr>
          <p:txBody>
            <a:bodyPr wrap="square" lIns="0" rIns="0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88900" algn="ctr" latinLnBrk="0">
                <a:spcBef>
                  <a:spcPct val="20000"/>
                </a:spcBef>
                <a:buClr>
                  <a:srgbClr val="FFD200"/>
                </a:buClr>
                <a:buSzPct val="75000"/>
                <a:tabLst>
                  <a:tab pos="88900" algn="l"/>
                </a:tabLst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과제 개요</a:t>
              </a:r>
            </a:p>
          </p:txBody>
        </p:sp>
        <p:sp>
          <p:nvSpPr>
            <p:cNvPr id="52" name="Rectangle 135"/>
            <p:cNvSpPr/>
            <p:nvPr/>
          </p:nvSpPr>
          <p:spPr>
            <a:xfrm>
              <a:off x="3279238" y="2236541"/>
              <a:ext cx="3672000" cy="43200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808080"/>
              </a:solidFill>
            </a:ln>
          </p:spPr>
          <p:txBody>
            <a:bodyPr wrap="square" lIns="36000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latinLnBrk="0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과제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개요는 해당 과제가 지향하는 목표와 개선내용을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요약</a:t>
              </a:r>
              <a:endPara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endParaRPr>
            </a:p>
          </p:txBody>
        </p:sp>
      </p:grpSp>
      <p:sp>
        <p:nvSpPr>
          <p:cNvPr id="53" name="Rectangle 136"/>
          <p:cNvSpPr/>
          <p:nvPr/>
        </p:nvSpPr>
        <p:spPr>
          <a:xfrm>
            <a:off x="1935356" y="2508928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1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4" name="Rectangle 137"/>
          <p:cNvSpPr/>
          <p:nvPr/>
        </p:nvSpPr>
        <p:spPr>
          <a:xfrm>
            <a:off x="1935356" y="3000324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mage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5" name="Rectangle 138"/>
          <p:cNvSpPr/>
          <p:nvPr/>
        </p:nvSpPr>
        <p:spPr>
          <a:xfrm>
            <a:off x="3279238" y="3000324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As-Is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와 비교하여 고객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현업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/IT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사용자 관점의 개선사항 또는 아키텍처 관점의 합리화 된 구조 도식화</a:t>
            </a:r>
          </a:p>
        </p:txBody>
      </p:sp>
      <p:sp>
        <p:nvSpPr>
          <p:cNvPr id="56" name="Rectangle 140"/>
          <p:cNvSpPr/>
          <p:nvPr/>
        </p:nvSpPr>
        <p:spPr>
          <a:xfrm>
            <a:off x="1935356" y="3491720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개선요건</a:t>
            </a:r>
          </a:p>
        </p:txBody>
      </p:sp>
      <p:sp>
        <p:nvSpPr>
          <p:cNvPr id="57" name="Rectangle 141"/>
          <p:cNvSpPr/>
          <p:nvPr/>
        </p:nvSpPr>
        <p:spPr>
          <a:xfrm>
            <a:off x="3279238" y="3491720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현행 체계의 이슈 및 개선 요구사항과 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T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시스템 구축을 위한 상세 기능 및 비기능 요건을 정리함</a:t>
            </a:r>
          </a:p>
        </p:txBody>
      </p:sp>
      <p:sp>
        <p:nvSpPr>
          <p:cNvPr id="58" name="Rectangle 143"/>
          <p:cNvSpPr/>
          <p:nvPr/>
        </p:nvSpPr>
        <p:spPr>
          <a:xfrm>
            <a:off x="1935356" y="3983116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추진범위</a:t>
            </a:r>
          </a:p>
        </p:txBody>
      </p:sp>
      <p:sp>
        <p:nvSpPr>
          <p:cNvPr id="59" name="Rectangle 144"/>
          <p:cNvSpPr/>
          <p:nvPr/>
        </p:nvSpPr>
        <p:spPr>
          <a:xfrm>
            <a:off x="3279238" y="3983116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해당 과제의 수행 범위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,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 관련 영역과 인터페이스 대상 범위를 정의함</a:t>
            </a:r>
          </a:p>
        </p:txBody>
      </p:sp>
      <p:sp>
        <p:nvSpPr>
          <p:cNvPr id="60" name="Rectangle 146"/>
          <p:cNvSpPr/>
          <p:nvPr/>
        </p:nvSpPr>
        <p:spPr>
          <a:xfrm>
            <a:off x="1935356" y="4474512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기대효과</a:t>
            </a:r>
          </a:p>
        </p:txBody>
      </p:sp>
      <p:sp>
        <p:nvSpPr>
          <p:cNvPr id="61" name="Rectangle 147"/>
          <p:cNvSpPr/>
          <p:nvPr/>
        </p:nvSpPr>
        <p:spPr>
          <a:xfrm>
            <a:off x="3279238" y="4474512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과제 수행 시 정성적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(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비재무적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)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기대효과를 정리함</a:t>
            </a:r>
          </a:p>
        </p:txBody>
      </p:sp>
      <p:sp>
        <p:nvSpPr>
          <p:cNvPr id="62" name="Rectangle 149"/>
          <p:cNvSpPr/>
          <p:nvPr/>
        </p:nvSpPr>
        <p:spPr>
          <a:xfrm>
            <a:off x="1935356" y="4965908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추진 고려사항</a:t>
            </a:r>
          </a:p>
        </p:txBody>
      </p:sp>
      <p:sp>
        <p:nvSpPr>
          <p:cNvPr id="63" name="Rectangle 150"/>
          <p:cNvSpPr/>
          <p:nvPr/>
        </p:nvSpPr>
        <p:spPr>
          <a:xfrm>
            <a:off x="3279238" y="4965908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전제사항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제약사항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선행 의사결정요소 등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추진 시 고려할 사항을 정리함</a:t>
            </a:r>
          </a:p>
        </p:txBody>
      </p:sp>
      <p:sp>
        <p:nvSpPr>
          <p:cNvPr id="64" name="Rectangle 152"/>
          <p:cNvSpPr/>
          <p:nvPr/>
        </p:nvSpPr>
        <p:spPr>
          <a:xfrm>
            <a:off x="1935356" y="5457304"/>
            <a:ext cx="1296000" cy="43124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808080"/>
            </a:solidFill>
          </a:ln>
        </p:spPr>
        <p:txBody>
          <a:bodyPr wrap="square" lIns="0" rIns="0" rtlCol="0" anchor="ctr">
            <a:noAutofit/>
          </a:bodyPr>
          <a:lstStyle/>
          <a:p>
            <a:pPr marL="88900" algn="ctr" latinLnBrk="0">
              <a:spcBef>
                <a:spcPct val="20000"/>
              </a:spcBef>
              <a:buClr>
                <a:srgbClr val="FFD200"/>
              </a:buClr>
              <a:buSzPct val="75000"/>
              <a:tabLst>
                <a:tab pos="88900" algn="l"/>
              </a:tabLst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일정 및 투입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</a:b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인력</a:t>
            </a:r>
          </a:p>
        </p:txBody>
      </p:sp>
      <p:sp>
        <p:nvSpPr>
          <p:cNvPr id="65" name="Rectangle 153"/>
          <p:cNvSpPr/>
          <p:nvPr/>
        </p:nvSpPr>
        <p:spPr>
          <a:xfrm>
            <a:off x="3279238" y="5457304"/>
            <a:ext cx="3672000" cy="432000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wrap="square" lIns="36000" rtlCol="0" anchor="ctr">
            <a:noAutofit/>
          </a:bodyPr>
          <a:lstStyle/>
          <a:p>
            <a:pPr latinLnBrk="0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과제 수행 일정 및 수행 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Approach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를 정의하고 단계별 일정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,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역량별 소요 인력과 및 월별 투입 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M/M </a:t>
            </a:r>
            <a:r>
              <a:rPr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를 표시함</a:t>
            </a:r>
          </a:p>
        </p:txBody>
      </p:sp>
      <p:sp>
        <p:nvSpPr>
          <p:cNvPr id="68" name="Rectangle 157"/>
          <p:cNvSpPr/>
          <p:nvPr/>
        </p:nvSpPr>
        <p:spPr>
          <a:xfrm>
            <a:off x="1935356" y="3000324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2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69" name="Rectangle 158"/>
          <p:cNvSpPr/>
          <p:nvPr/>
        </p:nvSpPr>
        <p:spPr>
          <a:xfrm>
            <a:off x="1935356" y="3491720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3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70" name="Rectangle 159"/>
          <p:cNvSpPr/>
          <p:nvPr/>
        </p:nvSpPr>
        <p:spPr>
          <a:xfrm>
            <a:off x="1935356" y="3983116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4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71" name="Rectangle 160"/>
          <p:cNvSpPr/>
          <p:nvPr/>
        </p:nvSpPr>
        <p:spPr>
          <a:xfrm>
            <a:off x="1935356" y="4474512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5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72" name="Rectangle 161"/>
          <p:cNvSpPr/>
          <p:nvPr/>
        </p:nvSpPr>
        <p:spPr>
          <a:xfrm>
            <a:off x="1935356" y="4965908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6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73" name="Rectangle 162"/>
          <p:cNvSpPr/>
          <p:nvPr/>
        </p:nvSpPr>
        <p:spPr>
          <a:xfrm>
            <a:off x="1935356" y="5457304"/>
            <a:ext cx="180000" cy="180000"/>
          </a:xfrm>
          <a:prstGeom prst="rect">
            <a:avLst/>
          </a:prstGeom>
          <a:solidFill>
            <a:srgbClr val="646464">
              <a:lumMod val="50000"/>
            </a:srgbClr>
          </a:solidFill>
          <a:ln>
            <a:solidFill>
              <a:srgbClr val="646464">
                <a:lumMod val="50000"/>
              </a:srgbClr>
            </a:solidFill>
          </a:ln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latinLnBrk="0">
              <a:spcBef>
                <a:spcPts val="0"/>
              </a:spcBef>
              <a:buClr>
                <a:srgbClr val="FFD200"/>
              </a:buClr>
              <a:buSzPct val="75000"/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/>
              </a:rPr>
              <a:t>7</a:t>
            </a:r>
            <a:endParaRPr lang="ko-KR" altLang="en-US" sz="11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grpSp>
        <p:nvGrpSpPr>
          <p:cNvPr id="75" name="Group 15"/>
          <p:cNvGrpSpPr/>
          <p:nvPr/>
        </p:nvGrpSpPr>
        <p:grpSpPr>
          <a:xfrm>
            <a:off x="7479480" y="1875140"/>
            <a:ext cx="2148665" cy="276999"/>
            <a:chOff x="4069287" y="2847682"/>
            <a:chExt cx="8234684" cy="276999"/>
          </a:xfrm>
        </p:grpSpPr>
        <p:sp>
          <p:nvSpPr>
            <p:cNvPr id="76" name="TextBox 75"/>
            <p:cNvSpPr txBox="1"/>
            <p:nvPr/>
          </p:nvSpPr>
          <p:spPr>
            <a:xfrm>
              <a:off x="4069287" y="2847682"/>
              <a:ext cx="8234684" cy="276999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lang="ko-KR" altLang="en-US" sz="1200" kern="0" dirty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/>
                </a:rPr>
                <a:t>과제별 아키텍처 관점 정의 </a:t>
              </a:r>
            </a:p>
          </p:txBody>
        </p:sp>
        <p:cxnSp>
          <p:nvCxnSpPr>
            <p:cNvPr id="77" name="Straight Connector 17"/>
            <p:cNvCxnSpPr/>
            <p:nvPr/>
          </p:nvCxnSpPr>
          <p:spPr bwMode="auto">
            <a:xfrm>
              <a:off x="4321494" y="3120184"/>
              <a:ext cx="773022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 type="none" w="med" len="med"/>
              <a:tailEnd type="none"/>
            </a:ln>
            <a:effectLst/>
          </p:spPr>
        </p:cxnSp>
      </p:grpSp>
      <p:sp>
        <p:nvSpPr>
          <p:cNvPr id="78" name="순서도: 페이지 연결자 7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79" name="순서도: 페이지 연결자 78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화</a:t>
            </a:r>
          </a:p>
        </p:txBody>
      </p:sp>
    </p:spTree>
    <p:extLst>
      <p:ext uri="{BB962C8B-B14F-4D97-AF65-F5344CB8AC3E}">
        <p14:creationId xmlns:p14="http://schemas.microsoft.com/office/powerpoint/2010/main" val="421215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상세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확정 및 상세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IT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/>
              <a:t>작성 시는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해당 과제가 지향하는 목표와 개선내용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과제 상세화</a:t>
            </a:r>
          </a:p>
        </p:txBody>
      </p:sp>
      <p:sp>
        <p:nvSpPr>
          <p:cNvPr id="38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7" name="Group 15"/>
          <p:cNvGrpSpPr/>
          <p:nvPr/>
        </p:nvGrpSpPr>
        <p:grpSpPr>
          <a:xfrm>
            <a:off x="3381704" y="1801274"/>
            <a:ext cx="4725331" cy="350865"/>
            <a:chOff x="4321494" y="2773816"/>
            <a:chExt cx="7730228" cy="350865"/>
          </a:xfrm>
        </p:grpSpPr>
        <p:sp>
          <p:nvSpPr>
            <p:cNvPr id="49" name="TextBox 48"/>
            <p:cNvSpPr txBox="1"/>
            <p:nvPr/>
          </p:nvSpPr>
          <p:spPr>
            <a:xfrm>
              <a:off x="6211725" y="2773816"/>
              <a:ext cx="3949817" cy="350865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pPr marL="174625" lvl="0" indent="-174625" algn="ctr" latinLnBrk="0">
                <a:lnSpc>
                  <a:spcPct val="120000"/>
                </a:lnSpc>
                <a:spcBef>
                  <a:spcPct val="50000"/>
                </a:spcBef>
                <a:defRPr/>
              </a:pP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H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사 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개선과제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(IT)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 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정의 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사례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cxnSp>
          <p:nvCxnSpPr>
            <p:cNvPr id="50" name="Straight Connector 17"/>
            <p:cNvCxnSpPr/>
            <p:nvPr/>
          </p:nvCxnSpPr>
          <p:spPr bwMode="auto">
            <a:xfrm>
              <a:off x="4321494" y="3120184"/>
              <a:ext cx="773022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miter lim="800000"/>
              <a:headEnd type="none" w="med" len="med"/>
              <a:tailEnd type="none"/>
            </a:ln>
            <a:effectLst/>
          </p:spPr>
        </p:cxnSp>
      </p:grpSp>
      <p:grpSp>
        <p:nvGrpSpPr>
          <p:cNvPr id="2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6" name="TextBox 2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239" y="2462936"/>
            <a:ext cx="5784450" cy="3087851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직사각형 58"/>
          <p:cNvSpPr/>
          <p:nvPr/>
        </p:nvSpPr>
        <p:spPr bwMode="gray">
          <a:xfrm>
            <a:off x="7421874" y="3863027"/>
            <a:ext cx="2067630" cy="2058751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sp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[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가 지향하는 목표 도식화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: </a:t>
            </a:r>
            <a:r>
              <a:rPr lang="ko-KR" altLang="en-US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 개요에는 해당 과제를 통해서 달성하고자 하는 목표를 도식화하여 작성함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[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를 통한 주요 개선내용 요약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]</a:t>
            </a:r>
            <a:b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</a:b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: </a:t>
            </a:r>
            <a:r>
              <a:rPr lang="ko-KR" altLang="en-US" sz="1100" b="0" kern="0" noProof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개선과제</a:t>
            </a:r>
            <a:r>
              <a:rPr lang="en-US" altLang="ko-KR" sz="1100" b="0" kern="0" noProof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IT)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의 도식화된 이미지와 함께 함께 주요 개선내용을 기술함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sp>
        <p:nvSpPr>
          <p:cNvPr id="80" name="직사각형 8"/>
          <p:cNvSpPr/>
          <p:nvPr/>
        </p:nvSpPr>
        <p:spPr bwMode="auto">
          <a:xfrm>
            <a:off x="7421874" y="3592463"/>
            <a:ext cx="2067630" cy="254783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Approach</a:t>
            </a:r>
          </a:p>
        </p:txBody>
      </p:sp>
      <p:sp>
        <p:nvSpPr>
          <p:cNvPr id="81" name="Oval 27"/>
          <p:cNvSpPr>
            <a:spLocks noChangeAspect="1"/>
          </p:cNvSpPr>
          <p:nvPr/>
        </p:nvSpPr>
        <p:spPr bwMode="auto">
          <a:xfrm>
            <a:off x="7368973" y="3991045"/>
            <a:ext cx="225184" cy="225855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100" kern="0" dirty="0">
                <a:latin typeface="맑은 고딕" panose="020B0503020000020004" pitchFamily="50" charset="-127"/>
                <a:ea typeface="맑은 고딕"/>
              </a:rPr>
              <a:t>1</a:t>
            </a:r>
            <a:endParaRPr lang="en-US" sz="1100" kern="0" dirty="0"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82" name="Oval 28"/>
          <p:cNvSpPr>
            <a:spLocks noChangeAspect="1"/>
          </p:cNvSpPr>
          <p:nvPr/>
        </p:nvSpPr>
        <p:spPr bwMode="auto">
          <a:xfrm>
            <a:off x="7368973" y="4754745"/>
            <a:ext cx="225184" cy="225855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100" kern="0" dirty="0">
                <a:latin typeface="맑은 고딕" panose="020B0503020000020004" pitchFamily="50" charset="-127"/>
                <a:ea typeface="맑은 고딕"/>
              </a:rPr>
              <a:t>2</a:t>
            </a:r>
            <a:endParaRPr lang="en-US" sz="1100" kern="0" dirty="0"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83" name="Oval 29"/>
          <p:cNvSpPr>
            <a:spLocks noChangeAspect="1"/>
          </p:cNvSpPr>
          <p:nvPr/>
        </p:nvSpPr>
        <p:spPr bwMode="auto">
          <a:xfrm>
            <a:off x="2526747" y="2348880"/>
            <a:ext cx="258843" cy="259614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100" kern="0" dirty="0">
                <a:latin typeface="맑은 고딕" panose="020B0503020000020004" pitchFamily="50" charset="-127"/>
                <a:ea typeface="맑은 고딕"/>
              </a:rPr>
              <a:t>1</a:t>
            </a:r>
            <a:endParaRPr lang="en-US" sz="1100" kern="0" dirty="0">
              <a:latin typeface="맑은 고딕" panose="020B0503020000020004" pitchFamily="50" charset="-127"/>
              <a:ea typeface="맑은 고딕"/>
            </a:endParaRPr>
          </a:p>
        </p:txBody>
      </p:sp>
      <p:cxnSp>
        <p:nvCxnSpPr>
          <p:cNvPr id="84" name="AutoShape 47"/>
          <p:cNvCxnSpPr>
            <a:cxnSpLocks noChangeShapeType="1"/>
            <a:stCxn id="83" idx="6"/>
          </p:cNvCxnSpPr>
          <p:nvPr/>
        </p:nvCxnSpPr>
        <p:spPr bwMode="auto">
          <a:xfrm>
            <a:off x="2785590" y="2478687"/>
            <a:ext cx="4583382" cy="1643278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FF0000"/>
            </a:solidFill>
            <a:prstDash val="sysDot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5" name="Oval 31"/>
          <p:cNvSpPr>
            <a:spLocks noChangeAspect="1"/>
          </p:cNvSpPr>
          <p:nvPr/>
        </p:nvSpPr>
        <p:spPr bwMode="auto">
          <a:xfrm>
            <a:off x="2526747" y="3239315"/>
            <a:ext cx="258843" cy="259614"/>
          </a:xfrm>
          <a:prstGeom prst="ellipse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100" kern="0" dirty="0">
                <a:latin typeface="맑은 고딕" panose="020B0503020000020004" pitchFamily="50" charset="-127"/>
                <a:ea typeface="맑은 고딕"/>
              </a:rPr>
              <a:t>2</a:t>
            </a:r>
            <a:endParaRPr lang="en-US" sz="1100" kern="0" dirty="0">
              <a:latin typeface="맑은 고딕" panose="020B0503020000020004" pitchFamily="50" charset="-127"/>
              <a:ea typeface="맑은 고딕"/>
            </a:endParaRPr>
          </a:p>
        </p:txBody>
      </p:sp>
      <p:cxnSp>
        <p:nvCxnSpPr>
          <p:cNvPr id="86" name="AutoShape 47"/>
          <p:cNvCxnSpPr>
            <a:cxnSpLocks noChangeShapeType="1"/>
            <a:stCxn id="85" idx="4"/>
          </p:cNvCxnSpPr>
          <p:nvPr/>
        </p:nvCxnSpPr>
        <p:spPr bwMode="auto">
          <a:xfrm rot="16200000" flipH="1">
            <a:off x="4319203" y="1835895"/>
            <a:ext cx="1386736" cy="4712804"/>
          </a:xfrm>
          <a:prstGeom prst="bentConnector2">
            <a:avLst/>
          </a:prstGeom>
          <a:noFill/>
          <a:ln w="19050">
            <a:solidFill>
              <a:srgbClr val="FF0000"/>
            </a:solidFill>
            <a:prstDash val="sysDot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</a:p>
        </p:txBody>
      </p:sp>
      <p:sp>
        <p:nvSpPr>
          <p:cNvPr id="29" name="순서도: 페이지 연결자 28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IT)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화</a:t>
            </a:r>
          </a:p>
        </p:txBody>
      </p:sp>
    </p:spTree>
    <p:extLst>
      <p:ext uri="{BB962C8B-B14F-4D97-AF65-F5344CB8AC3E}">
        <p14:creationId xmlns:p14="http://schemas.microsoft.com/office/powerpoint/2010/main" val="330510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63478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304798" y="2640660"/>
            <a:ext cx="4328154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lang="en-US" altLang="ko-KR" sz="2000" dirty="0" smtClean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설계 및 개발계획 수립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조직 및 일정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V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54191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에 대한 이해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겸영은행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사로 갖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∙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BC Dual Brand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축협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ua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 체계로서 갖는 조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수성을 이해하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2004907" y="1862772"/>
            <a:ext cx="2880000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 수수료체계 적용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크카드 회원 기반 양호  </a:t>
            </a:r>
          </a:p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수업무 사업 제한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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이에 따른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장전략 필요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5571764" y="1862772"/>
            <a:ext cx="4061756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 수수료체계의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 반영</a:t>
            </a:r>
            <a:endParaRPr kumimoji="1" lang="en-US" altLang="ko-KR" sz="13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크회원의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카드 </a:t>
            </a: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gration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수립 </a:t>
            </a: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앙회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제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, 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열사와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너지 창출 방안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수립</a:t>
            </a:r>
            <a:endParaRPr kumimoji="1" lang="en-US" altLang="ko-KR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2004907" y="2960439"/>
            <a:ext cx="2880000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업무대행수수료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정성 점검 요구 증대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원장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등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정보의 정합성 관리 필요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5571764" y="2960439"/>
            <a:ext cx="4061756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인트 등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원장 대사 및 통합관리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방안 수립</a:t>
            </a:r>
            <a:endParaRPr kumimoji="1" lang="en-US" altLang="ko-KR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대행수수료의 적정성 점검 </a:t>
            </a: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화</a:t>
            </a:r>
            <a:endParaRPr kumimoji="1" lang="en-US" altLang="ko-KR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C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포트폴리오 조정과 연계한 </a:t>
            </a: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 관리</a:t>
            </a:r>
            <a:endParaRPr kumimoji="1" lang="ko-KR" altLang="en-US" sz="13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2004907" y="4058106"/>
            <a:ext cx="2880000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대행수수료 체계가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닌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든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수익∙비용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항목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판관비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포함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 직접 정산 방식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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복잡한 정산 절차 수반</a:t>
            </a:r>
          </a:p>
        </p:txBody>
      </p:sp>
      <p:sp>
        <p:nvSpPr>
          <p:cNvPr id="20" name="직사각형 19"/>
          <p:cNvSpPr/>
          <p:nvPr/>
        </p:nvSpPr>
        <p:spPr bwMode="auto">
          <a:xfrm>
            <a:off x="5571764" y="4058106"/>
            <a:ext cx="4061756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 대행수수료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 전환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과 정산 방식 일치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 정산 업무</a:t>
            </a: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산출</a:t>
            </a: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 처리</a:t>
            </a: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의 효율화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지원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 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정산시점 차이로 인한 수익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/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비용 불일치 해소</a:t>
            </a:r>
            <a:endParaRPr kumimoji="1" lang="en-US" altLang="ko-KR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앙회</a:t>
            </a: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 시스템 분리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고려</a:t>
            </a:r>
          </a:p>
        </p:txBody>
      </p:sp>
      <p:sp>
        <p:nvSpPr>
          <p:cNvPr id="21" name="직사각형 20"/>
          <p:cNvSpPr/>
          <p:nvPr/>
        </p:nvSpPr>
        <p:spPr bwMode="auto">
          <a:xfrm>
            <a:off x="2004907" y="5155774"/>
            <a:ext cx="2880000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450850" indent="-177800" latinLnBrk="0">
              <a:spcBef>
                <a:spcPts val="300"/>
              </a:spcBef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독립분사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결정 시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용이한 업무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분리 필요</a:t>
            </a:r>
          </a:p>
        </p:txBody>
      </p:sp>
      <p:sp>
        <p:nvSpPr>
          <p:cNvPr id="22" name="직사각형 21"/>
          <p:cNvSpPr/>
          <p:nvPr/>
        </p:nvSpPr>
        <p:spPr bwMode="auto">
          <a:xfrm>
            <a:off x="5571764" y="5155774"/>
            <a:ext cx="4061756" cy="101007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rtlCol="0" anchor="ctr"/>
          <a:lstStyle/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독립회계 기반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축 </a:t>
            </a:r>
            <a:r>
              <a:rPr kumimoji="1" lang="en-US" altLang="ko-KR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 </a:t>
            </a:r>
            <a:r>
              <a:rPr kumimoji="1" lang="ko-KR" altLang="en-US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수료체계 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 공유 시스템의 분리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토</a:t>
            </a:r>
            <a:endParaRPr kumimoji="1" lang="en-US" altLang="ko-KR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9388" indent="-179388" latinLnBrk="0">
              <a:spcBef>
                <a:spcPts val="300"/>
              </a:spcBef>
              <a:buFont typeface="Wingdings" pitchFamily="2" charset="2"/>
              <a:buChar char="ü"/>
            </a:pP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핵심 시스템의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독자 </a:t>
            </a:r>
            <a:r>
              <a:rPr kumimoji="1" lang="ko-KR" altLang="en-US" sz="13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축 검토 </a:t>
            </a:r>
            <a:r>
              <a:rPr kumimoji="1" lang="en-US" altLang="ko-KR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3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업회원 </a:t>
            </a:r>
            <a:r>
              <a:rPr kumimoji="1" lang="ko-KR" altLang="en-US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탈시스템 등</a:t>
            </a:r>
            <a:r>
              <a:rPr kumimoji="1" lang="en-US" altLang="ko-KR" sz="13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3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오각형 5"/>
          <p:cNvSpPr/>
          <p:nvPr/>
        </p:nvSpPr>
        <p:spPr bwMode="auto">
          <a:xfrm>
            <a:off x="272480" y="1862772"/>
            <a:ext cx="1949973" cy="1010076"/>
          </a:xfrm>
          <a:prstGeom prst="homePlate">
            <a:avLst>
              <a:gd name="adj" fmla="val 19588"/>
            </a:avLst>
          </a:prstGeom>
          <a:solidFill>
            <a:schemeClr val="tx2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겸영은행 카드사</a:t>
            </a:r>
          </a:p>
        </p:txBody>
      </p:sp>
      <p:sp>
        <p:nvSpPr>
          <p:cNvPr id="7" name="오각형 6"/>
          <p:cNvSpPr/>
          <p:nvPr/>
        </p:nvSpPr>
        <p:spPr bwMode="auto">
          <a:xfrm>
            <a:off x="272480" y="5155774"/>
            <a:ext cx="1949973" cy="1010076"/>
          </a:xfrm>
          <a:prstGeom prst="homePlate">
            <a:avLst>
              <a:gd name="adj" fmla="val 20805"/>
            </a:avLst>
          </a:prstGeom>
          <a:solidFill>
            <a:schemeClr val="tx2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독립분사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검토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오각형 7"/>
          <p:cNvSpPr/>
          <p:nvPr/>
        </p:nvSpPr>
        <p:spPr bwMode="auto">
          <a:xfrm>
            <a:off x="272480" y="2960439"/>
            <a:ext cx="1949973" cy="1010076"/>
          </a:xfrm>
          <a:prstGeom prst="homePlate">
            <a:avLst>
              <a:gd name="adj" fmla="val 22021"/>
            </a:avLst>
          </a:prstGeom>
          <a:solidFill>
            <a:schemeClr val="tx2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/BC</a:t>
            </a:r>
            <a:b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Dual Brand 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체계</a:t>
            </a:r>
          </a:p>
        </p:txBody>
      </p:sp>
      <p:sp>
        <p:nvSpPr>
          <p:cNvPr id="9" name="오각형 8"/>
          <p:cNvSpPr/>
          <p:nvPr/>
        </p:nvSpPr>
        <p:spPr bwMode="auto">
          <a:xfrm>
            <a:off x="272480" y="4058106"/>
            <a:ext cx="1949973" cy="1010076"/>
          </a:xfrm>
          <a:prstGeom prst="homePlate">
            <a:avLst>
              <a:gd name="adj" fmla="val 22021"/>
            </a:avLst>
          </a:prstGeom>
          <a:solidFill>
            <a:schemeClr val="tx2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농축협의</a:t>
            </a: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Dual 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카드사업자 체계</a:t>
            </a:r>
          </a:p>
        </p:txBody>
      </p:sp>
      <p:sp>
        <p:nvSpPr>
          <p:cNvPr id="24" name="이등변 삼각형 23"/>
          <p:cNvSpPr/>
          <p:nvPr/>
        </p:nvSpPr>
        <p:spPr bwMode="auto">
          <a:xfrm rot="5400000">
            <a:off x="4840721" y="2260653"/>
            <a:ext cx="829400" cy="21431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이등변 삼각형 24"/>
          <p:cNvSpPr/>
          <p:nvPr/>
        </p:nvSpPr>
        <p:spPr bwMode="auto">
          <a:xfrm rot="5400000">
            <a:off x="4840721" y="3358320"/>
            <a:ext cx="829400" cy="21431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이등변 삼각형 25"/>
          <p:cNvSpPr/>
          <p:nvPr/>
        </p:nvSpPr>
        <p:spPr bwMode="auto">
          <a:xfrm rot="5400000">
            <a:off x="4840721" y="4455987"/>
            <a:ext cx="829400" cy="21431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이등변 삼각형 26"/>
          <p:cNvSpPr/>
          <p:nvPr/>
        </p:nvSpPr>
        <p:spPr bwMode="auto">
          <a:xfrm rot="5400000">
            <a:off x="4840721" y="5553655"/>
            <a:ext cx="829400" cy="21431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35" name="그룹 34"/>
          <p:cNvGrpSpPr/>
          <p:nvPr/>
        </p:nvGrpSpPr>
        <p:grpSpPr>
          <a:xfrm>
            <a:off x="272480" y="1382624"/>
            <a:ext cx="4612427" cy="315803"/>
            <a:chOff x="525530" y="1601029"/>
            <a:chExt cx="4068000" cy="315803"/>
          </a:xfrm>
        </p:grpSpPr>
        <p:sp>
          <p:nvSpPr>
            <p:cNvPr id="36" name="Text Box 29"/>
            <p:cNvSpPr txBox="1">
              <a:spLocks noChangeArrowheads="1"/>
            </p:cNvSpPr>
            <p:nvPr/>
          </p:nvSpPr>
          <p:spPr bwMode="auto">
            <a:xfrm>
              <a:off x="896846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90488" indent="-90488" latinLnBrk="0">
                <a:spcBef>
                  <a:spcPct val="30000"/>
                </a:spcBef>
              </a:pPr>
              <a:r>
                <a:rPr lang="en-US" altLang="ko-KR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의 특수성</a:t>
              </a:r>
            </a:p>
          </p:txBody>
        </p:sp>
        <p:cxnSp>
          <p:nvCxnSpPr>
            <p:cNvPr id="37" name="직선 연결선 36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38" name="그룹 37"/>
          <p:cNvGrpSpPr/>
          <p:nvPr/>
        </p:nvGrpSpPr>
        <p:grpSpPr>
          <a:xfrm>
            <a:off x="5571765" y="1382624"/>
            <a:ext cx="4061186" cy="315803"/>
            <a:chOff x="525530" y="1601029"/>
            <a:chExt cx="4068000" cy="315803"/>
          </a:xfrm>
        </p:grpSpPr>
        <p:sp>
          <p:nvSpPr>
            <p:cNvPr id="39" name="Text Box 29"/>
            <p:cNvSpPr txBox="1">
              <a:spLocks noChangeArrowheads="1"/>
            </p:cNvSpPr>
            <p:nvPr/>
          </p:nvSpPr>
          <p:spPr bwMode="auto">
            <a:xfrm>
              <a:off x="896846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90488" indent="-90488" latinLnBrk="0">
                <a:spcBef>
                  <a:spcPct val="30000"/>
                </a:spcBef>
              </a:pPr>
              <a:r>
                <a:rPr lang="ko-KR" altLang="en-US" dirty="0">
                  <a:solidFill>
                    <a:srgbClr val="000000"/>
                  </a:solidFill>
                  <a:latin typeface="맑은 고딕"/>
                  <a:ea typeface="맑은 고딕"/>
                </a:rPr>
                <a:t>과제 상세화</a:t>
              </a:r>
            </a:p>
          </p:txBody>
        </p:sp>
        <p:cxnSp>
          <p:nvCxnSpPr>
            <p:cNvPr id="40" name="직선 연결선 39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5142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그림 30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의 상세 설계를 위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ega, Major, Sub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레벨의 프로세스 체계를 정립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lvl="0" indent="-82552" defTabSz="761996" fontAlgn="auto" latinLnBrk="0" hangingPunct="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체계도 정의 방향성을 반영하여   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ree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를 재정의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lvl="0" indent="-82550" defTabSz="762000" fontAlgn="auto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체계도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4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9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공통적인 개선기회 방향성에 맞는 추진 방향 수립</a:t>
            </a:r>
          </a:p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목표 모델 수립 및 설계 원칙 및 가이드라인 수립</a:t>
            </a:r>
          </a:p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별 설계원칙을 반영한 목표모델 및 주요 설계방향 정의</a:t>
            </a:r>
          </a:p>
        </p:txBody>
      </p:sp>
      <p:sp>
        <p:nvSpPr>
          <p:cNvPr id="513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algn="ctr" defTabSz="72390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설계 가이드 및 방향 수립</a:t>
            </a: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체계도 정의</a:t>
            </a:r>
          </a:p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 방향성을 반영하여 전사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ree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를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함</a:t>
            </a: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algn="ctr" defTabSz="72390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체계 정의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</a:t>
            </a:r>
            <a:r>
              <a:rPr lang="en-US" altLang="ko-KR" sz="1400" kern="0" dirty="0" smtClean="0">
                <a:solidFill>
                  <a:srgbClr val="FFFFFF"/>
                </a:solidFill>
              </a:rPr>
              <a:t>. To-Be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설계 및 개발계획 수립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2558983" y="1773685"/>
            <a:ext cx="473353" cy="194853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841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 종합 및 개선방향성을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를 위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ey Driver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확인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지원할 수 있는 전사적 설계원칙과 세부 설계 지침을 정의함 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순서도: 페이지 연결자 23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indent="-82550" algn="ctr" defTabSz="410291" eaLnBrk="0" fontAlgn="auto" latinLnBrk="0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가이드 및 방향 수립</a:t>
            </a:r>
          </a:p>
        </p:txBody>
      </p:sp>
      <p:sp>
        <p:nvSpPr>
          <p:cNvPr id="25" name="순서도: 페이지 연결자 24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spcBef>
                <a:spcPct val="20000"/>
              </a:spcBef>
              <a:buClr>
                <a:srgbClr val="1D1F6F"/>
              </a:buClr>
              <a:buSzPct val="80000"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정의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2007831" y="2453105"/>
            <a:ext cx="1865916" cy="79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lnSpc>
                <a:spcPct val="115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 종합 및 개선방향성 내용을 검토하여 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설계를 위한 핵심 동인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Key Driver)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를 확인함</a:t>
            </a:r>
          </a:p>
        </p:txBody>
      </p:sp>
      <p:sp>
        <p:nvSpPr>
          <p:cNvPr id="76" name="Text Box 8"/>
          <p:cNvSpPr txBox="1">
            <a:spLocks noChangeArrowheads="1"/>
          </p:cNvSpPr>
          <p:nvPr/>
        </p:nvSpPr>
        <p:spPr bwMode="auto">
          <a:xfrm>
            <a:off x="4491697" y="2453105"/>
            <a:ext cx="2111186" cy="80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lnSpc>
                <a:spcPct val="115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설계원칙은 프로세스 별 개선방향성을 상세화하여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목표 모델을 개발하기 위한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Guiding Principle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임</a:t>
            </a:r>
          </a:p>
        </p:txBody>
      </p:sp>
      <p:sp>
        <p:nvSpPr>
          <p:cNvPr id="77" name="AutoShape 9"/>
          <p:cNvSpPr>
            <a:spLocks noChangeArrowheads="1"/>
          </p:cNvSpPr>
          <p:nvPr/>
        </p:nvSpPr>
        <p:spPr bwMode="auto">
          <a:xfrm>
            <a:off x="2007831" y="1959393"/>
            <a:ext cx="2030769" cy="395287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18000" tIns="10800" rIns="18000" bIns="10800" anchor="ctr"/>
          <a:lstStyle/>
          <a:p>
            <a:pPr marL="0" marR="0" lvl="0" indent="0" algn="ctr" defTabSz="410291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4D4D4D"/>
              </a:buClr>
              <a:buSzTx/>
              <a:buFont typeface="Univers 45 Light" pitchFamily="2" charset="0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설계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Key Driver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도출</a:t>
            </a:r>
          </a:p>
        </p:txBody>
      </p:sp>
      <p:sp>
        <p:nvSpPr>
          <p:cNvPr id="78" name="AutoShape 11"/>
          <p:cNvSpPr>
            <a:spLocks noChangeArrowheads="1"/>
          </p:cNvSpPr>
          <p:nvPr/>
        </p:nvSpPr>
        <p:spPr bwMode="auto">
          <a:xfrm>
            <a:off x="4371502" y="1959393"/>
            <a:ext cx="2202512" cy="395287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18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85725" marR="0" lvl="0" indent="-85725" algn="ctr" defTabSz="410291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4D4D4D"/>
              </a:buClr>
              <a:buSzTx/>
              <a:buFont typeface="Univers 45 Light" pitchFamily="2" charset="0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설계원칙 수립</a:t>
            </a:r>
          </a:p>
        </p:txBody>
      </p:sp>
      <p:sp>
        <p:nvSpPr>
          <p:cNvPr id="79" name="AutoShape 12"/>
          <p:cNvSpPr>
            <a:spLocks noChangeArrowheads="1"/>
          </p:cNvSpPr>
          <p:nvPr/>
        </p:nvSpPr>
        <p:spPr bwMode="auto">
          <a:xfrm>
            <a:off x="6906916" y="1959393"/>
            <a:ext cx="2659536" cy="395287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18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85725" marR="0" lvl="0" indent="-85725" algn="ctr" defTabSz="410291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4D4D4D"/>
              </a:buClr>
              <a:buSzTx/>
              <a:buFont typeface="Univers 45 Light" pitchFamily="2" charset="0"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 설계지침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가이드라인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의</a:t>
            </a:r>
          </a:p>
        </p:txBody>
      </p:sp>
      <p:cxnSp>
        <p:nvCxnSpPr>
          <p:cNvPr id="80" name="AutoShape 13"/>
          <p:cNvCxnSpPr>
            <a:cxnSpLocks noChangeShapeType="1"/>
            <a:stCxn id="78" idx="3"/>
            <a:endCxn id="79" idx="1"/>
          </p:cNvCxnSpPr>
          <p:nvPr/>
        </p:nvCxnSpPr>
        <p:spPr bwMode="auto">
          <a:xfrm>
            <a:off x="6574014" y="2157037"/>
            <a:ext cx="33290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81" name="Rectangle 14"/>
          <p:cNvSpPr>
            <a:spLocks noChangeArrowheads="1"/>
          </p:cNvSpPr>
          <p:nvPr/>
        </p:nvSpPr>
        <p:spPr bwMode="auto">
          <a:xfrm>
            <a:off x="2089591" y="3339864"/>
            <a:ext cx="1620646" cy="3635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Growth</a:t>
            </a:r>
          </a:p>
        </p:txBody>
      </p:sp>
      <p:sp>
        <p:nvSpPr>
          <p:cNvPr id="82" name="Rectangle 15"/>
          <p:cNvSpPr>
            <a:spLocks noChangeArrowheads="1"/>
          </p:cNvSpPr>
          <p:nvPr/>
        </p:nvSpPr>
        <p:spPr bwMode="auto">
          <a:xfrm>
            <a:off x="2089591" y="4079392"/>
            <a:ext cx="1620646" cy="3635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ustomer Centric</a:t>
            </a:r>
          </a:p>
        </p:txBody>
      </p:sp>
      <p:sp>
        <p:nvSpPr>
          <p:cNvPr id="83" name="Text Box 16"/>
          <p:cNvSpPr txBox="1">
            <a:spLocks noChangeArrowheads="1"/>
          </p:cNvSpPr>
          <p:nvPr/>
        </p:nvSpPr>
        <p:spPr bwMode="auto">
          <a:xfrm>
            <a:off x="2089591" y="3703402"/>
            <a:ext cx="1620646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전문성 및 유연성</a:t>
            </a:r>
          </a:p>
        </p:txBody>
      </p:sp>
      <p:sp>
        <p:nvSpPr>
          <p:cNvPr id="84" name="Text Box 17"/>
          <p:cNvSpPr txBox="1">
            <a:spLocks noChangeArrowheads="1"/>
          </p:cNvSpPr>
          <p:nvPr/>
        </p:nvSpPr>
        <p:spPr bwMode="auto">
          <a:xfrm>
            <a:off x="2089591" y="4442929"/>
            <a:ext cx="119840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객서비스 강화</a:t>
            </a:r>
          </a:p>
        </p:txBody>
      </p:sp>
      <p:sp>
        <p:nvSpPr>
          <p:cNvPr id="85" name="Text Box 18"/>
          <p:cNvSpPr txBox="1">
            <a:spLocks noChangeArrowheads="1"/>
          </p:cNvSpPr>
          <p:nvPr/>
        </p:nvSpPr>
        <p:spPr bwMode="auto">
          <a:xfrm>
            <a:off x="2094249" y="5961002"/>
            <a:ext cx="1615988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효율적인 업무 통제 </a:t>
            </a:r>
          </a:p>
        </p:txBody>
      </p:sp>
      <p:sp>
        <p:nvSpPr>
          <p:cNvPr id="86" name="Rectangle 19"/>
          <p:cNvSpPr>
            <a:spLocks noChangeArrowheads="1"/>
          </p:cNvSpPr>
          <p:nvPr/>
        </p:nvSpPr>
        <p:spPr bwMode="auto">
          <a:xfrm>
            <a:off x="2094249" y="4760648"/>
            <a:ext cx="1620646" cy="3635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rocess Efficiency</a:t>
            </a:r>
          </a:p>
        </p:txBody>
      </p:sp>
      <p:sp>
        <p:nvSpPr>
          <p:cNvPr id="87" name="Rectangle 20"/>
          <p:cNvSpPr>
            <a:spLocks noChangeArrowheads="1"/>
          </p:cNvSpPr>
          <p:nvPr/>
        </p:nvSpPr>
        <p:spPr bwMode="auto">
          <a:xfrm>
            <a:off x="2094249" y="5597464"/>
            <a:ext cx="1620646" cy="3635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alanced Control</a:t>
            </a:r>
          </a:p>
        </p:txBody>
      </p:sp>
      <p:sp>
        <p:nvSpPr>
          <p:cNvPr id="88" name="Text Box 21"/>
          <p:cNvSpPr txBox="1">
            <a:spLocks noChangeArrowheads="1"/>
          </p:cNvSpPr>
          <p:nvPr/>
        </p:nvSpPr>
        <p:spPr bwMode="auto">
          <a:xfrm>
            <a:off x="2050783" y="5179748"/>
            <a:ext cx="1659454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lIns="18000" tIns="10800" rIns="18000" bIns="10800">
            <a:spAutoFit/>
          </a:bodyPr>
          <a:lstStyle/>
          <a:p>
            <a:pPr algn="ctr" defTabSz="410291" eaLnBrk="0" latinLnBrk="0" hangingPunct="0">
              <a:spcBef>
                <a:spcPct val="50000"/>
              </a:spcBef>
              <a:buClr>
                <a:srgbClr val="4D4D4D"/>
              </a:buClr>
            </a:pPr>
            <a:r>
              <a:rPr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신속성 및 정확성</a:t>
            </a:r>
          </a:p>
        </p:txBody>
      </p:sp>
      <p:sp>
        <p:nvSpPr>
          <p:cNvPr id="89" name="Text Box 22"/>
          <p:cNvSpPr txBox="1">
            <a:spLocks noChangeArrowheads="1"/>
          </p:cNvSpPr>
          <p:nvPr/>
        </p:nvSpPr>
        <p:spPr bwMode="auto">
          <a:xfrm>
            <a:off x="6982981" y="2453105"/>
            <a:ext cx="2583471" cy="605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square" lIns="18000" tIns="10800" rIns="18000" bIns="10800">
            <a:spAutoFit/>
          </a:bodyPr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lnSpc>
                <a:spcPct val="115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kumimoji="0" lang="ko-KR" altLang="en-US" sz="11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도출된 설계원칙 별로 프로세스의 개선방향성을 상세화할 수 있는 세부 가이드라인을 정의함</a:t>
            </a:r>
          </a:p>
        </p:txBody>
      </p:sp>
      <p:sp>
        <p:nvSpPr>
          <p:cNvPr id="90" name="Rectangle 23"/>
          <p:cNvSpPr>
            <a:spLocks noChangeArrowheads="1"/>
          </p:cNvSpPr>
          <p:nvPr/>
        </p:nvSpPr>
        <p:spPr bwMode="auto">
          <a:xfrm>
            <a:off x="4478250" y="3339864"/>
            <a:ext cx="1850393" cy="3238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1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기능 고도화</a:t>
            </a:r>
          </a:p>
        </p:txBody>
      </p:sp>
      <p:sp>
        <p:nvSpPr>
          <p:cNvPr id="91" name="Rectangle 24"/>
          <p:cNvSpPr>
            <a:spLocks noChangeArrowheads="1"/>
          </p:cNvSpPr>
          <p:nvPr/>
        </p:nvSpPr>
        <p:spPr bwMode="auto">
          <a:xfrm>
            <a:off x="4490668" y="5779851"/>
            <a:ext cx="1850393" cy="4143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7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능 관점의 </a:t>
            </a: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설계</a:t>
            </a:r>
          </a:p>
        </p:txBody>
      </p:sp>
      <p:sp>
        <p:nvSpPr>
          <p:cNvPr id="92" name="Rectangle 25"/>
          <p:cNvSpPr>
            <a:spLocks noChangeArrowheads="1"/>
          </p:cNvSpPr>
          <p:nvPr/>
        </p:nvSpPr>
        <p:spPr bwMode="auto">
          <a:xfrm>
            <a:off x="4478250" y="4123030"/>
            <a:ext cx="1850393" cy="3238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3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객 대응 기반 강화</a:t>
            </a:r>
          </a:p>
        </p:txBody>
      </p:sp>
      <p:sp>
        <p:nvSpPr>
          <p:cNvPr id="93" name="Rectangle 26"/>
          <p:cNvSpPr>
            <a:spLocks noChangeArrowheads="1"/>
          </p:cNvSpPr>
          <p:nvPr/>
        </p:nvSpPr>
        <p:spPr bwMode="auto">
          <a:xfrm>
            <a:off x="4490668" y="5297779"/>
            <a:ext cx="1850393" cy="4143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0" indent="0"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6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행과 모니터링</a:t>
            </a: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  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역할 분리</a:t>
            </a:r>
          </a:p>
        </p:txBody>
      </p:sp>
      <p:sp>
        <p:nvSpPr>
          <p:cNvPr id="94" name="Rectangle 27"/>
          <p:cNvSpPr>
            <a:spLocks noChangeArrowheads="1"/>
          </p:cNvSpPr>
          <p:nvPr/>
        </p:nvSpPr>
        <p:spPr bwMode="auto">
          <a:xfrm>
            <a:off x="4478250" y="4514613"/>
            <a:ext cx="1850393" cy="3238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4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후선 업무 통합</a:t>
            </a: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집중화</a:t>
            </a:r>
          </a:p>
        </p:txBody>
      </p:sp>
      <p:sp>
        <p:nvSpPr>
          <p:cNvPr id="95" name="Rectangle 28"/>
          <p:cNvSpPr>
            <a:spLocks noChangeArrowheads="1"/>
          </p:cNvSpPr>
          <p:nvPr/>
        </p:nvSpPr>
        <p:spPr bwMode="auto">
          <a:xfrm>
            <a:off x="4490668" y="4906196"/>
            <a:ext cx="1850393" cy="3238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5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절차 단순화</a:t>
            </a:r>
          </a:p>
        </p:txBody>
      </p:sp>
      <p:sp>
        <p:nvSpPr>
          <p:cNvPr id="96" name="Rectangle 29"/>
          <p:cNvSpPr>
            <a:spLocks noChangeArrowheads="1"/>
          </p:cNvSpPr>
          <p:nvPr/>
        </p:nvSpPr>
        <p:spPr bwMode="auto">
          <a:xfrm>
            <a:off x="4478250" y="3731447"/>
            <a:ext cx="1850393" cy="3238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 type="none" w="sm" len="sm"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wrap="none" lIns="72000" tIns="10800" rIns="18000" bIns="10800" anchor="ctr"/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spcBef>
                <a:spcPct val="50000"/>
              </a:spcBef>
              <a:buClr>
                <a:srgbClr val="4D4D4D"/>
              </a:buClr>
              <a:buFont typeface="Univers 45 Light" pitchFamily="2" charset="0"/>
              <a:buNone/>
              <a:defRPr/>
            </a:pP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P2.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표준화</a:t>
            </a:r>
            <a:r>
              <a:rPr kumimoji="0"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</a:t>
            </a:r>
          </a:p>
        </p:txBody>
      </p:sp>
      <p:sp>
        <p:nvSpPr>
          <p:cNvPr id="97" name="Rectangle 30"/>
          <p:cNvSpPr>
            <a:spLocks noChangeArrowheads="1"/>
          </p:cNvSpPr>
          <p:nvPr/>
        </p:nvSpPr>
        <p:spPr bwMode="auto">
          <a:xfrm>
            <a:off x="7172964" y="3341452"/>
            <a:ext cx="2402089" cy="145097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174625" indent="-1746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buFont typeface="Wingdings" panose="05000000000000000000" pitchFamily="2" charset="2"/>
              <a:buChar char="§"/>
              <a:defRPr/>
            </a:pP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사적으로 상품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직 별로 분산되어 있는 유사한 업무를 수행하는 절차가 상이함</a:t>
            </a:r>
          </a:p>
          <a:p>
            <a:pPr defTabSz="410291" eaLnBrk="0" latinLnBrk="0" hangingPunct="0">
              <a:buFont typeface="Wingdings" panose="05000000000000000000" pitchFamily="2" charset="2"/>
              <a:buChar char="§"/>
              <a:defRPr/>
            </a:pPr>
            <a:endParaRPr kumimoji="0" lang="ko-KR" altLang="en-US" sz="105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defTabSz="410291" eaLnBrk="0" latinLnBrk="0" hangingPunct="0">
              <a:buFont typeface="Wingdings" panose="05000000000000000000" pitchFamily="2" charset="2"/>
              <a:buChar char="§"/>
              <a:defRPr/>
            </a:pP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이터 입력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산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보고서 작성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출력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문서 보관 등이 수작업으로 진행되어 업무 로드가 발생하고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보 누락 등의 위험이 존재함</a:t>
            </a:r>
          </a:p>
        </p:txBody>
      </p:sp>
      <p:sp>
        <p:nvSpPr>
          <p:cNvPr id="98" name="Rectangle 31"/>
          <p:cNvSpPr>
            <a:spLocks noChangeArrowheads="1"/>
          </p:cNvSpPr>
          <p:nvPr/>
        </p:nvSpPr>
        <p:spPr bwMode="auto">
          <a:xfrm>
            <a:off x="7172964" y="4895614"/>
            <a:ext cx="2402089" cy="129857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174625" indent="-1746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defTabSz="410291" eaLnBrk="0" latinLnBrk="0" hangingPunct="0">
              <a:buFont typeface="Wingdings" panose="05000000000000000000" pitchFamily="2" charset="2"/>
              <a:buChar char="§"/>
              <a:defRPr/>
            </a:pP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상품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직 별로 동일하거나 유사한 업무 중 통합할 수 없는 업무는 프로세스를 표준화하여 정의함 </a:t>
            </a:r>
          </a:p>
          <a:p>
            <a:pPr defTabSz="410291" eaLnBrk="0" latinLnBrk="0" hangingPunct="0">
              <a:buFont typeface="Wingdings" panose="05000000000000000000" pitchFamily="2" charset="2"/>
              <a:buChar char="§"/>
              <a:defRPr/>
            </a:pP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생산성을 높이고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오류를 최소화할 수 있도록 자동화 </a:t>
            </a:r>
            <a:r>
              <a:rPr kumimoji="0" lang="en-US" altLang="ko-KR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ol</a:t>
            </a:r>
            <a:r>
              <a:rPr kumimoji="0" lang="ko-KR" altLang="en-US" sz="105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을 충분히 고려하여 정의함 </a:t>
            </a:r>
          </a:p>
        </p:txBody>
      </p:sp>
      <p:sp>
        <p:nvSpPr>
          <p:cNvPr id="99" name="Rectangle 32"/>
          <p:cNvSpPr>
            <a:spLocks noChangeArrowheads="1"/>
          </p:cNvSpPr>
          <p:nvPr/>
        </p:nvSpPr>
        <p:spPr bwMode="auto">
          <a:xfrm>
            <a:off x="6764679" y="4895614"/>
            <a:ext cx="358591" cy="1298574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anchor="ctr"/>
          <a:lstStyle>
            <a:lvl1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marL="825500" indent="-28575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marL="1233488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marL="1641475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0" marR="0" lvl="0" indent="0" algn="ctr" defTabSz="410291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설계지침</a:t>
            </a:r>
          </a:p>
        </p:txBody>
      </p:sp>
      <p:sp>
        <p:nvSpPr>
          <p:cNvPr id="100" name="Line 34"/>
          <p:cNvSpPr>
            <a:spLocks noChangeShapeType="1"/>
          </p:cNvSpPr>
          <p:nvPr/>
        </p:nvSpPr>
        <p:spPr bwMode="auto">
          <a:xfrm flipV="1">
            <a:off x="6335837" y="3398317"/>
            <a:ext cx="437881" cy="321973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defTabSz="410291" eaLnBrk="0" latinLnBrk="0" hangingPunct="0">
              <a:defRPr/>
            </a:pPr>
            <a:endParaRPr kumimoji="1" lang="ko-KR" altLang="en-US" sz="110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Line 35"/>
          <p:cNvSpPr>
            <a:spLocks noChangeShapeType="1"/>
          </p:cNvSpPr>
          <p:nvPr/>
        </p:nvSpPr>
        <p:spPr bwMode="auto">
          <a:xfrm>
            <a:off x="6322959" y="4029383"/>
            <a:ext cx="425002" cy="2086376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defTabSz="410291" eaLnBrk="0" latinLnBrk="0" hangingPunct="0">
              <a:defRPr/>
            </a:pPr>
            <a:endParaRPr kumimoji="1" lang="ko-KR" altLang="en-US" sz="110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2" name="AutoShape 36"/>
          <p:cNvCxnSpPr>
            <a:cxnSpLocks noChangeShapeType="1"/>
            <a:stCxn id="81" idx="3"/>
            <a:endCxn id="90" idx="1"/>
          </p:cNvCxnSpPr>
          <p:nvPr/>
        </p:nvCxnSpPr>
        <p:spPr bwMode="auto">
          <a:xfrm flipV="1">
            <a:off x="3710237" y="3501789"/>
            <a:ext cx="768013" cy="19844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AutoShape 37"/>
          <p:cNvCxnSpPr>
            <a:cxnSpLocks noChangeShapeType="1"/>
            <a:stCxn id="82" idx="3"/>
            <a:endCxn id="92" idx="1"/>
          </p:cNvCxnSpPr>
          <p:nvPr/>
        </p:nvCxnSpPr>
        <p:spPr bwMode="auto">
          <a:xfrm>
            <a:off x="3710237" y="4261161"/>
            <a:ext cx="768013" cy="23794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AutoShape 38"/>
          <p:cNvCxnSpPr>
            <a:cxnSpLocks noChangeShapeType="1"/>
            <a:stCxn id="86" idx="3"/>
            <a:endCxn id="95" idx="1"/>
          </p:cNvCxnSpPr>
          <p:nvPr/>
        </p:nvCxnSpPr>
        <p:spPr bwMode="auto">
          <a:xfrm>
            <a:off x="3714895" y="4942417"/>
            <a:ext cx="775773" cy="125704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AutoShape 39"/>
          <p:cNvCxnSpPr>
            <a:cxnSpLocks noChangeShapeType="1"/>
            <a:stCxn id="87" idx="3"/>
            <a:endCxn id="93" idx="1"/>
          </p:cNvCxnSpPr>
          <p:nvPr/>
        </p:nvCxnSpPr>
        <p:spPr bwMode="auto">
          <a:xfrm flipV="1">
            <a:off x="3714895" y="5504948"/>
            <a:ext cx="775773" cy="274285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AutoShape 40"/>
          <p:cNvCxnSpPr>
            <a:cxnSpLocks noChangeShapeType="1"/>
            <a:stCxn id="91" idx="1"/>
            <a:endCxn id="86" idx="3"/>
          </p:cNvCxnSpPr>
          <p:nvPr/>
        </p:nvCxnSpPr>
        <p:spPr bwMode="auto">
          <a:xfrm flipH="1" flipV="1">
            <a:off x="3714895" y="4942417"/>
            <a:ext cx="775773" cy="1044603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AutoShape 41"/>
          <p:cNvCxnSpPr>
            <a:cxnSpLocks noChangeShapeType="1"/>
            <a:stCxn id="91" idx="1"/>
            <a:endCxn id="81" idx="3"/>
          </p:cNvCxnSpPr>
          <p:nvPr/>
        </p:nvCxnSpPr>
        <p:spPr bwMode="auto">
          <a:xfrm flipH="1" flipV="1">
            <a:off x="3710237" y="3521633"/>
            <a:ext cx="780431" cy="2465387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AutoShape 42"/>
          <p:cNvCxnSpPr>
            <a:cxnSpLocks noChangeShapeType="1"/>
            <a:stCxn id="94" idx="1"/>
            <a:endCxn id="81" idx="3"/>
          </p:cNvCxnSpPr>
          <p:nvPr/>
        </p:nvCxnSpPr>
        <p:spPr bwMode="auto">
          <a:xfrm flipH="1" flipV="1">
            <a:off x="3710237" y="3521633"/>
            <a:ext cx="768013" cy="1154905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AutoShape 43"/>
          <p:cNvCxnSpPr>
            <a:cxnSpLocks noChangeShapeType="1"/>
            <a:stCxn id="96" idx="1"/>
            <a:endCxn id="86" idx="3"/>
          </p:cNvCxnSpPr>
          <p:nvPr/>
        </p:nvCxnSpPr>
        <p:spPr bwMode="auto">
          <a:xfrm flipH="1">
            <a:off x="3714895" y="3893372"/>
            <a:ext cx="763355" cy="1049045"/>
          </a:xfrm>
          <a:prstGeom prst="straightConnector1">
            <a:avLst/>
          </a:prstGeom>
          <a:noFill/>
          <a:ln w="6350">
            <a:solidFill>
              <a:srgbClr val="4D4D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0" name="AutoShape 13"/>
          <p:cNvCxnSpPr>
            <a:cxnSpLocks noChangeShapeType="1"/>
            <a:stCxn id="77" idx="3"/>
            <a:endCxn id="78" idx="1"/>
          </p:cNvCxnSpPr>
          <p:nvPr/>
        </p:nvCxnSpPr>
        <p:spPr bwMode="auto">
          <a:xfrm>
            <a:off x="4038600" y="2157037"/>
            <a:ext cx="33290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111" name="Rectangle 33"/>
          <p:cNvSpPr>
            <a:spLocks noChangeArrowheads="1"/>
          </p:cNvSpPr>
          <p:nvPr/>
        </p:nvSpPr>
        <p:spPr bwMode="auto">
          <a:xfrm>
            <a:off x="6764679" y="3336689"/>
            <a:ext cx="358591" cy="14605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anchor="ctr"/>
          <a:lstStyle>
            <a:lvl1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marL="825500" indent="-28575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marL="1233488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marL="1641475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0" marR="0" lvl="0" indent="0" algn="ctr" defTabSz="410291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설정배경</a:t>
            </a:r>
          </a:p>
        </p:txBody>
      </p:sp>
      <p:grpSp>
        <p:nvGrpSpPr>
          <p:cNvPr id="5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2" name="TextBox 5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9498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각 프로세스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eve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별 주요 변경 요인을 반영하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계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가이드 및 방향 수립</a:t>
            </a: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정의</a:t>
            </a: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2319703" y="1956394"/>
            <a:ext cx="6816826" cy="3550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>
            <a:lvl1pPr marL="85725" indent="-85725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marL="0" indent="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s-Is 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</a:t>
            </a:r>
            <a:r>
              <a:rPr kumimoji="0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p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을 기반으로 </a:t>
            </a:r>
            <a:r>
              <a:rPr kumimoji="0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evel 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별 주요 변경 요인에 따라 미래 목표 업무 체계를 설계함 </a:t>
            </a:r>
          </a:p>
        </p:txBody>
      </p:sp>
      <p:sp>
        <p:nvSpPr>
          <p:cNvPr id="35" name="Text Box 71"/>
          <p:cNvSpPr txBox="1">
            <a:spLocks noChangeArrowheads="1"/>
          </p:cNvSpPr>
          <p:nvPr/>
        </p:nvSpPr>
        <p:spPr bwMode="gray">
          <a:xfrm>
            <a:off x="6970040" y="2917944"/>
            <a:ext cx="2658250" cy="64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적으로  신규 비즈니스 진출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대 또는 기존 비즈니스 종료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축소 시 변경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2165809" y="2959600"/>
            <a:ext cx="4180573" cy="396000"/>
            <a:chOff x="2184507" y="2959600"/>
            <a:chExt cx="4180573" cy="396000"/>
          </a:xfrm>
        </p:grpSpPr>
        <p:sp>
          <p:nvSpPr>
            <p:cNvPr id="38" name="AutoShape 65"/>
            <p:cNvSpPr>
              <a:spLocks noChangeArrowheads="1"/>
            </p:cNvSpPr>
            <p:nvPr/>
          </p:nvSpPr>
          <p:spPr bwMode="auto">
            <a:xfrm>
              <a:off x="5652995" y="2959600"/>
              <a:ext cx="712085" cy="396000"/>
            </a:xfrm>
            <a:prstGeom prst="homePlate">
              <a:avLst>
                <a:gd name="adj" fmla="val 27183"/>
              </a:avLst>
            </a:prstGeom>
            <a:solidFill>
              <a:srgbClr val="FFFFFF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영</a:t>
              </a:r>
              <a:endParaRPr kumimoji="1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sp>
          <p:nvSpPr>
            <p:cNvPr id="39" name="AutoShape 41"/>
            <p:cNvSpPr>
              <a:spLocks noChangeArrowheads="1"/>
            </p:cNvSpPr>
            <p:nvPr/>
          </p:nvSpPr>
          <p:spPr bwMode="auto">
            <a:xfrm>
              <a:off x="5046867" y="2959600"/>
              <a:ext cx="708967" cy="396000"/>
            </a:xfrm>
            <a:prstGeom prst="homePlate">
              <a:avLst>
                <a:gd name="adj" fmla="val 27064"/>
              </a:avLst>
            </a:prstGeom>
            <a:solidFill>
              <a:srgbClr val="DDDDDD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</a:t>
              </a:r>
              <a:endParaRPr kumimoji="1"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수</a:t>
              </a:r>
              <a:endParaRPr kumimoji="1"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AutoShape 42"/>
            <p:cNvSpPr>
              <a:spLocks noChangeArrowheads="1"/>
            </p:cNvSpPr>
            <p:nvPr/>
          </p:nvSpPr>
          <p:spPr bwMode="auto">
            <a:xfrm>
              <a:off x="4521763" y="2959600"/>
              <a:ext cx="712085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</a:t>
              </a:r>
              <a:endParaRPr kumimoji="1"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</a:t>
              </a:r>
            </a:p>
          </p:txBody>
        </p:sp>
        <p:sp>
          <p:nvSpPr>
            <p:cNvPr id="41" name="AutoShape 43"/>
            <p:cNvSpPr>
              <a:spLocks noChangeArrowheads="1"/>
            </p:cNvSpPr>
            <p:nvPr/>
          </p:nvSpPr>
          <p:spPr bwMode="auto">
            <a:xfrm>
              <a:off x="3956147" y="2959600"/>
              <a:ext cx="712084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금</a:t>
              </a:r>
              <a:endParaRPr kumimoji="1"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달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AutoShape 44"/>
            <p:cNvSpPr>
              <a:spLocks noChangeArrowheads="1"/>
            </p:cNvSpPr>
            <p:nvPr/>
          </p:nvSpPr>
          <p:spPr bwMode="auto">
            <a:xfrm>
              <a:off x="3325088" y="2959600"/>
              <a:ext cx="727666" cy="396000"/>
            </a:xfrm>
            <a:prstGeom prst="homePlate">
              <a:avLst>
                <a:gd name="adj" fmla="val 27777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여신</a:t>
              </a:r>
              <a:r>
                <a:rPr kumimoji="1" lang="en-US" altLang="ko-KR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br>
                <a:rPr kumimoji="1" lang="en-US" altLang="ko-KR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리스</a:t>
              </a:r>
            </a:p>
          </p:txBody>
        </p:sp>
        <p:sp>
          <p:nvSpPr>
            <p:cNvPr id="43" name="AutoShape 45"/>
            <p:cNvSpPr>
              <a:spLocks noChangeArrowheads="1"/>
            </p:cNvSpPr>
            <p:nvPr/>
          </p:nvSpPr>
          <p:spPr bwMode="auto">
            <a:xfrm>
              <a:off x="2742332" y="2959600"/>
              <a:ext cx="724550" cy="396000"/>
            </a:xfrm>
            <a:prstGeom prst="homePlate">
              <a:avLst>
                <a:gd name="adj" fmla="val 27659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마케팅</a:t>
              </a:r>
              <a:r>
                <a:rPr kumimoji="1" lang="en-US" altLang="ko-KR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</a:t>
              </a:r>
            </a:p>
          </p:txBody>
        </p:sp>
        <p:sp>
          <p:nvSpPr>
            <p:cNvPr id="44" name="AutoShape 46"/>
            <p:cNvSpPr>
              <a:spLocks noChangeArrowheads="1"/>
            </p:cNvSpPr>
            <p:nvPr/>
          </p:nvSpPr>
          <p:spPr bwMode="auto">
            <a:xfrm>
              <a:off x="2184507" y="2959600"/>
              <a:ext cx="712085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</p:grpSp>
      <p:sp>
        <p:nvSpPr>
          <p:cNvPr id="45" name="Text Box 174"/>
          <p:cNvSpPr txBox="1">
            <a:spLocks noChangeArrowheads="1"/>
          </p:cNvSpPr>
          <p:nvPr/>
        </p:nvSpPr>
        <p:spPr bwMode="gray">
          <a:xfrm>
            <a:off x="2097249" y="2685350"/>
            <a:ext cx="4737843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vel 1. Mega Process: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업 내 대규모 업무 기능의 동적 흐름 표현</a:t>
            </a:r>
          </a:p>
        </p:txBody>
      </p:sp>
      <p:sp>
        <p:nvSpPr>
          <p:cNvPr id="46" name="Line 180"/>
          <p:cNvSpPr>
            <a:spLocks noChangeShapeType="1"/>
          </p:cNvSpPr>
          <p:nvPr/>
        </p:nvSpPr>
        <p:spPr bwMode="auto">
          <a:xfrm flipH="1">
            <a:off x="2165809" y="3379922"/>
            <a:ext cx="2947912" cy="840475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Line 181"/>
          <p:cNvSpPr>
            <a:spLocks noChangeShapeType="1"/>
          </p:cNvSpPr>
          <p:nvPr/>
        </p:nvSpPr>
        <p:spPr bwMode="auto">
          <a:xfrm>
            <a:off x="5642441" y="3381448"/>
            <a:ext cx="550730" cy="869486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 Box 179"/>
          <p:cNvSpPr txBox="1">
            <a:spLocks noChangeArrowheads="1"/>
          </p:cNvSpPr>
          <p:nvPr/>
        </p:nvSpPr>
        <p:spPr bwMode="gray">
          <a:xfrm>
            <a:off x="2097249" y="3982900"/>
            <a:ext cx="4806403" cy="237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90000" tIns="36000" rIns="90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vel 2. Major Process: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위 수준의 유사 단위 기능 그룹</a:t>
            </a:r>
          </a:p>
        </p:txBody>
      </p:sp>
      <p:sp>
        <p:nvSpPr>
          <p:cNvPr id="49" name="Text Box 185"/>
          <p:cNvSpPr txBox="1">
            <a:spLocks noChangeArrowheads="1"/>
          </p:cNvSpPr>
          <p:nvPr/>
        </p:nvSpPr>
        <p:spPr bwMode="gray">
          <a:xfrm>
            <a:off x="6970040" y="4146502"/>
            <a:ext cx="2658250" cy="64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lan-Do-See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업무 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ycle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누락된 프로세스 신설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복 업무 프로세스 통합 설계  </a:t>
            </a:r>
          </a:p>
        </p:txBody>
      </p:sp>
      <p:sp>
        <p:nvSpPr>
          <p:cNvPr id="50" name="Text Box 186"/>
          <p:cNvSpPr txBox="1">
            <a:spLocks noChangeArrowheads="1"/>
          </p:cNvSpPr>
          <p:nvPr/>
        </p:nvSpPr>
        <p:spPr bwMode="gray">
          <a:xfrm>
            <a:off x="6970040" y="5375060"/>
            <a:ext cx="2637207" cy="64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54000" tIns="46800" rIns="54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ross-Functional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에서 조직 별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별</a:t>
            </a:r>
            <a:r>
              <a:rPr kumimoji="0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별로 유사한 업무 프로세스를 표준화하여 정의함 </a:t>
            </a:r>
          </a:p>
        </p:txBody>
      </p:sp>
      <p:sp>
        <p:nvSpPr>
          <p:cNvPr id="51" name="Line 188"/>
          <p:cNvSpPr>
            <a:spLocks noChangeShapeType="1"/>
          </p:cNvSpPr>
          <p:nvPr/>
        </p:nvSpPr>
        <p:spPr bwMode="auto">
          <a:xfrm>
            <a:off x="6930676" y="3777257"/>
            <a:ext cx="2520000" cy="0"/>
          </a:xfrm>
          <a:prstGeom prst="line">
            <a:avLst/>
          </a:prstGeom>
          <a:noFill/>
          <a:ln w="6350" cap="rnd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Line 189"/>
          <p:cNvSpPr>
            <a:spLocks noChangeShapeType="1"/>
          </p:cNvSpPr>
          <p:nvPr/>
        </p:nvSpPr>
        <p:spPr bwMode="auto">
          <a:xfrm>
            <a:off x="6930676" y="5083676"/>
            <a:ext cx="2520000" cy="0"/>
          </a:xfrm>
          <a:prstGeom prst="line">
            <a:avLst/>
          </a:prstGeom>
          <a:noFill/>
          <a:ln w="6350" cap="rnd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2165809" y="4250934"/>
            <a:ext cx="4180573" cy="396000"/>
            <a:chOff x="2184507" y="4268205"/>
            <a:chExt cx="4180573" cy="396000"/>
          </a:xfrm>
        </p:grpSpPr>
        <p:sp>
          <p:nvSpPr>
            <p:cNvPr id="54" name="AutoShape 42"/>
            <p:cNvSpPr>
              <a:spLocks noChangeArrowheads="1"/>
            </p:cNvSpPr>
            <p:nvPr/>
          </p:nvSpPr>
          <p:spPr bwMode="auto">
            <a:xfrm>
              <a:off x="5413890" y="4268205"/>
              <a:ext cx="951190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실채권</a:t>
              </a:r>
              <a:endParaRPr kumimoji="1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AutoShape 43"/>
            <p:cNvSpPr>
              <a:spLocks noChangeArrowheads="1"/>
            </p:cNvSpPr>
            <p:nvPr/>
          </p:nvSpPr>
          <p:spPr bwMode="auto">
            <a:xfrm>
              <a:off x="4615911" y="4268205"/>
              <a:ext cx="951189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손상각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AutoShape 44"/>
            <p:cNvSpPr>
              <a:spLocks noChangeArrowheads="1"/>
            </p:cNvSpPr>
            <p:nvPr/>
          </p:nvSpPr>
          <p:spPr bwMode="auto">
            <a:xfrm>
              <a:off x="3797118" y="4268205"/>
              <a:ext cx="972003" cy="396000"/>
            </a:xfrm>
            <a:prstGeom prst="homePlate">
              <a:avLst>
                <a:gd name="adj" fmla="val 27777"/>
              </a:avLst>
            </a:prstGeom>
            <a:solidFill>
              <a:srgbClr val="DDDDDD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관리</a:t>
              </a:r>
            </a:p>
          </p:txBody>
        </p:sp>
        <p:sp>
          <p:nvSpPr>
            <p:cNvPr id="57" name="AutoShape 45"/>
            <p:cNvSpPr>
              <a:spLocks noChangeArrowheads="1"/>
            </p:cNvSpPr>
            <p:nvPr/>
          </p:nvSpPr>
          <p:spPr bwMode="auto">
            <a:xfrm>
              <a:off x="2982487" y="4268205"/>
              <a:ext cx="967841" cy="396000"/>
            </a:xfrm>
            <a:prstGeom prst="homePlate">
              <a:avLst>
                <a:gd name="adj" fmla="val 27659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담보관리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AutoShape 46"/>
            <p:cNvSpPr>
              <a:spLocks noChangeArrowheads="1"/>
            </p:cNvSpPr>
            <p:nvPr/>
          </p:nvSpPr>
          <p:spPr bwMode="auto">
            <a:xfrm>
              <a:off x="2184507" y="4268205"/>
              <a:ext cx="951190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후관리</a:t>
              </a:r>
              <a:endParaRPr kumimoji="1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략수립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1" name="그룹 60"/>
          <p:cNvGrpSpPr/>
          <p:nvPr/>
        </p:nvGrpSpPr>
        <p:grpSpPr>
          <a:xfrm>
            <a:off x="2165809" y="5542269"/>
            <a:ext cx="3382593" cy="396000"/>
            <a:chOff x="2165809" y="5542269"/>
            <a:chExt cx="3382593" cy="396000"/>
          </a:xfrm>
        </p:grpSpPr>
        <p:sp>
          <p:nvSpPr>
            <p:cNvPr id="64" name="AutoShape 43"/>
            <p:cNvSpPr>
              <a:spLocks noChangeArrowheads="1"/>
            </p:cNvSpPr>
            <p:nvPr/>
          </p:nvSpPr>
          <p:spPr bwMode="auto">
            <a:xfrm>
              <a:off x="4597213" y="5542269"/>
              <a:ext cx="951189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… 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5" name="AutoShape 44"/>
            <p:cNvSpPr>
              <a:spLocks noChangeArrowheads="1"/>
            </p:cNvSpPr>
            <p:nvPr/>
          </p:nvSpPr>
          <p:spPr bwMode="auto">
            <a:xfrm>
              <a:off x="3778420" y="5542269"/>
              <a:ext cx="972003" cy="396000"/>
            </a:xfrm>
            <a:prstGeom prst="homePlate">
              <a:avLst>
                <a:gd name="adj" fmla="val 27777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 </a:t>
              </a: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권</a:t>
              </a:r>
              <a:endParaRPr kumimoji="1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관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AutoShape 45"/>
            <p:cNvSpPr>
              <a:spLocks noChangeArrowheads="1"/>
            </p:cNvSpPr>
            <p:nvPr/>
          </p:nvSpPr>
          <p:spPr bwMode="auto">
            <a:xfrm>
              <a:off x="2963789" y="5542269"/>
              <a:ext cx="967841" cy="396000"/>
            </a:xfrm>
            <a:prstGeom prst="homePlate">
              <a:avLst>
                <a:gd name="adj" fmla="val 27659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 채권</a:t>
              </a:r>
              <a:endParaRPr kumimoji="1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분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AutoShape 46"/>
            <p:cNvSpPr>
              <a:spLocks noChangeArrowheads="1"/>
            </p:cNvSpPr>
            <p:nvPr/>
          </p:nvSpPr>
          <p:spPr bwMode="auto">
            <a:xfrm>
              <a:off x="2165809" y="5542269"/>
              <a:ext cx="951190" cy="396000"/>
            </a:xfrm>
            <a:prstGeom prst="homePlate">
              <a:avLst>
                <a:gd name="adj" fmla="val 27183"/>
              </a:avLst>
            </a:prstGeom>
            <a:solidFill>
              <a:schemeClr val="bg1"/>
            </a:solidFill>
            <a:ln w="3175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anchor="ctr"/>
            <a:lstStyle/>
            <a:p>
              <a:pPr algn="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체자 선정</a:t>
              </a:r>
              <a:endParaRPr kumimoji="1" lang="ko-KR" altLang="en-US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8" name="Line 181"/>
          <p:cNvSpPr>
            <a:spLocks noChangeShapeType="1"/>
          </p:cNvSpPr>
          <p:nvPr/>
        </p:nvSpPr>
        <p:spPr bwMode="auto">
          <a:xfrm>
            <a:off x="4649533" y="4702675"/>
            <a:ext cx="762311" cy="839593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Line 181"/>
          <p:cNvSpPr>
            <a:spLocks noChangeShapeType="1"/>
          </p:cNvSpPr>
          <p:nvPr/>
        </p:nvSpPr>
        <p:spPr bwMode="auto">
          <a:xfrm flipH="1">
            <a:off x="2165809" y="4646935"/>
            <a:ext cx="1612612" cy="871012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Text Box 182"/>
          <p:cNvSpPr txBox="1">
            <a:spLocks noChangeArrowheads="1"/>
          </p:cNvSpPr>
          <p:nvPr/>
        </p:nvSpPr>
        <p:spPr bwMode="gray">
          <a:xfrm>
            <a:off x="2097249" y="5269545"/>
            <a:ext cx="4806403" cy="24840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marL="85725" indent="-85725"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1pPr>
            <a:lvl2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2pPr>
            <a:lvl3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3pPr>
            <a:lvl4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4pPr>
            <a:lvl5pPr defTabSz="528638" latinLnBrk="1"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5pPr>
            <a:lvl6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6pPr>
            <a:lvl7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7pPr>
            <a:lvl8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8pPr>
            <a:lvl9pPr defTabSz="52863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Univers 45 Light" pitchFamily="2" charset="0"/>
                <a:ea typeface="가는각진제목체" panose="02030600000101010101" pitchFamily="18" charset="-127"/>
              </a:defRPr>
            </a:lvl9pPr>
          </a:lstStyle>
          <a:p>
            <a:pPr eaLnBrk="0" fontAlgn="base" latinLnBrk="0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vel 3. Sub Process: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작과 끝을 가지며 서로 연결된 하위 </a:t>
            </a:r>
            <a:r>
              <a:rPr kumimoji="0" lang="en-US" altLang="ko-KR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</a:t>
            </a:r>
            <a:r>
              <a:rPr kumimoji="0" lang="ko-KR" altLang="en-US" sz="10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들의 집합 </a:t>
            </a:r>
          </a:p>
        </p:txBody>
      </p:sp>
      <p:grpSp>
        <p:nvGrpSpPr>
          <p:cNvPr id="5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9" name="TextBox 5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745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원칙을 정의하고 이에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른 프로세스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체계도를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/>
              <a:t>작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 가이드 및 방향 수립</a:t>
            </a: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811606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체계 정의</a:t>
            </a: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0122" y="2674676"/>
            <a:ext cx="3548619" cy="180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5" name="TextBox 34"/>
          <p:cNvSpPr txBox="1"/>
          <p:nvPr/>
        </p:nvSpPr>
        <p:spPr bwMode="auto">
          <a:xfrm>
            <a:off x="1946059" y="4972460"/>
            <a:ext cx="374452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 설계원칙을 반영한 목표모델 및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방향 정의</a:t>
            </a:r>
          </a:p>
        </p:txBody>
      </p:sp>
      <p:sp>
        <p:nvSpPr>
          <p:cNvPr id="36" name="TextBox 35"/>
          <p:cNvSpPr txBox="1"/>
          <p:nvPr/>
        </p:nvSpPr>
        <p:spPr bwMode="auto">
          <a:xfrm>
            <a:off x="5816400" y="4972460"/>
            <a:ext cx="374452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 방향성을 반영하여 전사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ree (Level 1 ~ Level 3)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정의함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6059714" y="2077864"/>
            <a:ext cx="331236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계도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39" name="직선 연결선 38"/>
          <p:cNvCxnSpPr/>
          <p:nvPr/>
        </p:nvCxnSpPr>
        <p:spPr bwMode="auto">
          <a:xfrm>
            <a:off x="5744369" y="2060575"/>
            <a:ext cx="0" cy="406313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40" name="TextBox 39"/>
          <p:cNvSpPr txBox="1"/>
          <p:nvPr/>
        </p:nvSpPr>
        <p:spPr bwMode="auto">
          <a:xfrm>
            <a:off x="1913109" y="2077864"/>
            <a:ext cx="3759230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가이드라인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1" name="그림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109" y="2674676"/>
            <a:ext cx="3752167" cy="18000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2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4" name="TextBox 2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4088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 도출된 개선기회를 반영하여 프로세스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맵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작성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Sub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내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ctivity</a:t>
            </a:r>
            <a:r>
              <a:rPr lang="ko-KR" altLang="en-US" dirty="0"/>
              <a:t>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Mega, Major, Sub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를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정의하고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Activity Diagram, Activity </a:t>
            </a:r>
            <a:r>
              <a:rPr lang="ko-KR" altLang="en-US" sz="1200" kern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정의서를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작성함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11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7669212" y="3695701"/>
            <a:ext cx="1963737" cy="2541588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세스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Activity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의서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업무기술서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gray">
          <a:xfrm>
            <a:off x="269081" y="3706813"/>
            <a:ext cx="2030413" cy="741079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작성</a:t>
            </a:r>
          </a:p>
        </p:txBody>
      </p:sp>
      <p:sp>
        <p:nvSpPr>
          <p:cNvPr id="31" name="Rectangle 33"/>
          <p:cNvSpPr>
            <a:spLocks noChangeArrowheads="1"/>
          </p:cNvSpPr>
          <p:nvPr/>
        </p:nvSpPr>
        <p:spPr bwMode="gray">
          <a:xfrm>
            <a:off x="269081" y="4488034"/>
            <a:ext cx="2030413" cy="92943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ctivity Diagram </a:t>
            </a:r>
            <a:endParaRPr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작성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gray">
          <a:xfrm>
            <a:off x="269081" y="5457612"/>
            <a:ext cx="2030413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 anchorCtr="1"/>
          <a:lstStyle/>
          <a:p>
            <a:pPr marL="82550" indent="-82550" algn="ctr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80000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ctivity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의서 작성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2346325" y="3706813"/>
            <a:ext cx="5270500" cy="737991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작성 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Mega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Major, Sub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작성</a:t>
            </a: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2346325" y="4484946"/>
            <a:ext cx="5270500" cy="932524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Sub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별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Activity Diagram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Level 3)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세스 별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설계방향에 따라 목표 프로세스 모델을 설계함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화면에 대한 기본 화면 설계 정의 대상 선정</a:t>
            </a: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요건 상세 정의를 위한 정의서 대상 선정</a:t>
            </a:r>
          </a:p>
        </p:txBody>
      </p: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2346325" y="5457612"/>
            <a:ext cx="5270500" cy="779676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서 작성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(Level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4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별로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Level5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가 나오도록 작성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)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lnSpc>
                <a:spcPts val="14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Input/Output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부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보시스템 등  기술 </a:t>
            </a:r>
          </a:p>
        </p:txBody>
      </p:sp>
      <p:pic>
        <p:nvPicPr>
          <p:cNvPr id="38" name="그림 37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9" name="직사각형 38"/>
          <p:cNvSpPr/>
          <p:nvPr/>
        </p:nvSpPr>
        <p:spPr bwMode="auto">
          <a:xfrm>
            <a:off x="2558983" y="2183656"/>
            <a:ext cx="473353" cy="194853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3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개선 유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따라 필요한 정보와 고려사항을 확인하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작성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순서도: 페이지 연결자 33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Diagram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</a:t>
            </a:r>
          </a:p>
        </p:txBody>
      </p:sp>
      <p:sp>
        <p:nvSpPr>
          <p:cNvPr id="35" name="순서도: 페이지 연결자 34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</a:t>
            </a:r>
          </a:p>
        </p:txBody>
      </p:sp>
      <p:sp>
        <p:nvSpPr>
          <p:cNvPr id="36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508500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1916021" y="1850401"/>
            <a:ext cx="7668775" cy="4324278"/>
            <a:chOff x="925513" y="2214563"/>
            <a:chExt cx="8251825" cy="3910012"/>
          </a:xfrm>
        </p:grpSpPr>
        <p:pic>
          <p:nvPicPr>
            <p:cNvPr id="39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5475" y="5095875"/>
              <a:ext cx="2201863" cy="10191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</p:pic>
        <p:pic>
          <p:nvPicPr>
            <p:cNvPr id="40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5475" y="2732088"/>
              <a:ext cx="2101850" cy="985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29292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</p:pic>
        <p:sp>
          <p:nvSpPr>
            <p:cNvPr id="41" name="Oval 7"/>
            <p:cNvSpPr>
              <a:spLocks noChangeArrowheads="1"/>
            </p:cNvSpPr>
            <p:nvPr/>
          </p:nvSpPr>
          <p:spPr bwMode="auto">
            <a:xfrm>
              <a:off x="7234238" y="3157538"/>
              <a:ext cx="901700" cy="582612"/>
            </a:xfrm>
            <a:prstGeom prst="ellipse">
              <a:avLst/>
            </a:prstGeom>
            <a:noFill/>
            <a:ln w="6350" algn="ctr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eaLnBrk="0" fontAlgn="base" latinLnBrk="0" hangingPunct="0">
                <a:spcBef>
                  <a:spcPct val="50000"/>
                </a:spcBef>
                <a:spcAft>
                  <a:spcPct val="0"/>
                </a:spcAft>
              </a:pPr>
              <a:endParaRPr kumimoji="1" lang="ko-KR" altLang="en-US" sz="1300" b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Line 8"/>
            <p:cNvSpPr>
              <a:spLocks noChangeShapeType="1"/>
            </p:cNvSpPr>
            <p:nvPr/>
          </p:nvSpPr>
          <p:spPr bwMode="auto">
            <a:xfrm>
              <a:off x="7734300" y="3740150"/>
              <a:ext cx="0" cy="1355725"/>
            </a:xfrm>
            <a:prstGeom prst="line">
              <a:avLst/>
            </a:prstGeom>
            <a:noFill/>
            <a:ln w="6350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50000"/>
                </a:spcBef>
                <a:spcAft>
                  <a:spcPct val="0"/>
                </a:spcAft>
              </a:pPr>
              <a:endParaRPr kumimoji="1" lang="ko-KR" altLang="en-US" sz="1300" b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Text Box 9"/>
            <p:cNvSpPr txBox="1">
              <a:spLocks noChangeArrowheads="1"/>
            </p:cNvSpPr>
            <p:nvPr/>
          </p:nvSpPr>
          <p:spPr bwMode="auto">
            <a:xfrm>
              <a:off x="6975475" y="3995738"/>
              <a:ext cx="2201863" cy="75138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B2B2B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marL="85725" indent="-85725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As-Is </a:t>
              </a:r>
              <a:r>
                <a:rPr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프로세스 </a:t>
              </a:r>
              <a:r>
                <a:rPr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Map</a:t>
              </a:r>
              <a:r>
                <a:rPr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을 기반으로 </a:t>
              </a:r>
              <a:r>
                <a:rPr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Level </a:t>
              </a:r>
              <a:r>
                <a:rPr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별 주요 변경 요인에 따라 미래 목표 업무 체계를 설계함 </a:t>
              </a:r>
            </a:p>
          </p:txBody>
        </p:sp>
        <p:sp>
          <p:nvSpPr>
            <p:cNvPr id="44" name="AutoShape 10"/>
            <p:cNvSpPr>
              <a:spLocks noChangeArrowheads="1"/>
            </p:cNvSpPr>
            <p:nvPr/>
          </p:nvSpPr>
          <p:spPr bwMode="auto">
            <a:xfrm>
              <a:off x="1568450" y="2214563"/>
              <a:ext cx="1662113" cy="371475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63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규 프로세스</a:t>
              </a:r>
            </a:p>
          </p:txBody>
        </p:sp>
        <p:sp>
          <p:nvSpPr>
            <p:cNvPr id="45" name="AutoShape 11"/>
            <p:cNvSpPr>
              <a:spLocks noChangeArrowheads="1"/>
            </p:cNvSpPr>
            <p:nvPr/>
          </p:nvSpPr>
          <p:spPr bwMode="auto">
            <a:xfrm>
              <a:off x="3410744" y="2214563"/>
              <a:ext cx="1662112" cy="371475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63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 프로세스</a:t>
              </a:r>
            </a:p>
          </p:txBody>
        </p:sp>
        <p:sp>
          <p:nvSpPr>
            <p:cNvPr id="46" name="AutoShape 12"/>
            <p:cNvSpPr>
              <a:spLocks noChangeArrowheads="1"/>
            </p:cNvSpPr>
            <p:nvPr/>
          </p:nvSpPr>
          <p:spPr bwMode="auto">
            <a:xfrm>
              <a:off x="5253038" y="2214563"/>
              <a:ext cx="1662112" cy="371475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63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지 프로세스</a:t>
              </a:r>
            </a:p>
          </p:txBody>
        </p:sp>
        <p:sp>
          <p:nvSpPr>
            <p:cNvPr id="47" name="Rectangle 13"/>
            <p:cNvSpPr>
              <a:spLocks noChangeArrowheads="1"/>
            </p:cNvSpPr>
            <p:nvPr/>
          </p:nvSpPr>
          <p:spPr bwMode="auto">
            <a:xfrm>
              <a:off x="925513" y="3271838"/>
              <a:ext cx="604837" cy="247173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36000" tIns="72000" rIns="36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</a:t>
              </a: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put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및 고려</a:t>
              </a:r>
              <a:endParaRPr kumimoji="1"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항</a:t>
              </a: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auto">
            <a:xfrm>
              <a:off x="3408363" y="2873375"/>
              <a:ext cx="3495675" cy="306388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s-Is Activity Diagram/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의서</a:t>
              </a:r>
            </a:p>
          </p:txBody>
        </p:sp>
        <p:sp>
          <p:nvSpPr>
            <p:cNvPr id="49" name="Rectangle 15"/>
            <p:cNvSpPr>
              <a:spLocks noChangeArrowheads="1"/>
            </p:cNvSpPr>
            <p:nvPr/>
          </p:nvSpPr>
          <p:spPr bwMode="auto">
            <a:xfrm>
              <a:off x="1598613" y="5845175"/>
              <a:ext cx="5316537" cy="274636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Activity Diagram / </a:t>
              </a: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의서</a:t>
              </a:r>
            </a:p>
          </p:txBody>
        </p:sp>
        <p:sp>
          <p:nvSpPr>
            <p:cNvPr id="50" name="Rectangle 16"/>
            <p:cNvSpPr>
              <a:spLocks noChangeArrowheads="1"/>
            </p:cNvSpPr>
            <p:nvPr/>
          </p:nvSpPr>
          <p:spPr bwMode="auto">
            <a:xfrm>
              <a:off x="1568450" y="2892425"/>
              <a:ext cx="1781177" cy="30638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PMG Global </a:t>
              </a:r>
              <a:r>
                <a:rPr kumimoji="1"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참조모델</a:t>
              </a:r>
            </a:p>
          </p:txBody>
        </p:sp>
        <p:sp>
          <p:nvSpPr>
            <p:cNvPr id="51" name="Line 17"/>
            <p:cNvSpPr>
              <a:spLocks noChangeShapeType="1"/>
            </p:cNvSpPr>
            <p:nvPr/>
          </p:nvSpPr>
          <p:spPr bwMode="auto">
            <a:xfrm>
              <a:off x="4211638" y="3157538"/>
              <a:ext cx="0" cy="2687637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ko-KR" altLang="en-US" sz="1300" b="0" kern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Line 18"/>
            <p:cNvSpPr>
              <a:spLocks noChangeShapeType="1"/>
            </p:cNvSpPr>
            <p:nvPr/>
          </p:nvSpPr>
          <p:spPr bwMode="auto">
            <a:xfrm>
              <a:off x="2368550" y="3205163"/>
              <a:ext cx="0" cy="2640012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ko-KR" altLang="en-US" sz="1300" b="0" kern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AutoShape 19"/>
            <p:cNvSpPr>
              <a:spLocks noChangeArrowheads="1"/>
            </p:cNvSpPr>
            <p:nvPr/>
          </p:nvSpPr>
          <p:spPr bwMode="auto">
            <a:xfrm>
              <a:off x="1614488" y="3448050"/>
              <a:ext cx="1585912" cy="54768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p-Down 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요구사항 및 개선방향 확인</a:t>
              </a:r>
            </a:p>
          </p:txBody>
        </p:sp>
        <p:sp>
          <p:nvSpPr>
            <p:cNvPr id="54" name="AutoShape 20"/>
            <p:cNvSpPr>
              <a:spLocks noChangeArrowheads="1"/>
            </p:cNvSpPr>
            <p:nvPr/>
          </p:nvSpPr>
          <p:spPr bwMode="auto">
            <a:xfrm>
              <a:off x="1614488" y="4740275"/>
              <a:ext cx="1585912" cy="841375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사 모델 및 </a:t>
              </a: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essons Learned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을 통해 </a:t>
              </a: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lobal 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 최적화</a:t>
              </a:r>
            </a:p>
          </p:txBody>
        </p:sp>
        <p:sp>
          <p:nvSpPr>
            <p:cNvPr id="55" name="AutoShape 21"/>
            <p:cNvSpPr>
              <a:spLocks noChangeArrowheads="1"/>
            </p:cNvSpPr>
            <p:nvPr/>
          </p:nvSpPr>
          <p:spPr bwMode="auto">
            <a:xfrm>
              <a:off x="3408363" y="3297238"/>
              <a:ext cx="1587500" cy="698501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세스 별 종합 이슈 및 요구사항</a:t>
              </a: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방향 확인</a:t>
              </a:r>
            </a:p>
          </p:txBody>
        </p:sp>
        <p:sp>
          <p:nvSpPr>
            <p:cNvPr id="56" name="AutoShape 22"/>
            <p:cNvSpPr>
              <a:spLocks noChangeArrowheads="1"/>
            </p:cNvSpPr>
            <p:nvPr/>
          </p:nvSpPr>
          <p:spPr bwMode="auto">
            <a:xfrm>
              <a:off x="3408363" y="4053436"/>
              <a:ext cx="1587500" cy="56142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PMG 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참조모델을 통한 개선방향 검증</a:t>
              </a:r>
            </a:p>
          </p:txBody>
        </p:sp>
        <p:sp>
          <p:nvSpPr>
            <p:cNvPr id="57" name="AutoShape 23"/>
            <p:cNvSpPr>
              <a:spLocks noChangeArrowheads="1"/>
            </p:cNvSpPr>
            <p:nvPr/>
          </p:nvSpPr>
          <p:spPr bwMode="auto">
            <a:xfrm>
              <a:off x="3408363" y="4732338"/>
              <a:ext cx="1587500" cy="967793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사 모델 및 </a:t>
              </a: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essons Learned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를 통해 검증된 프로세스 설계 </a:t>
              </a:r>
            </a:p>
          </p:txBody>
        </p:sp>
        <p:sp>
          <p:nvSpPr>
            <p:cNvPr id="60" name="Line 24"/>
            <p:cNvSpPr>
              <a:spLocks noChangeShapeType="1"/>
            </p:cNvSpPr>
            <p:nvPr/>
          </p:nvSpPr>
          <p:spPr bwMode="auto">
            <a:xfrm>
              <a:off x="6053138" y="3163888"/>
              <a:ext cx="0" cy="2687637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 algn="ctr" eaLnBrk="0" fontAlgn="base" latinLnBrk="0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ko-KR" altLang="en-US" sz="1300" b="0" kern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AutoShape 25"/>
            <p:cNvSpPr>
              <a:spLocks noChangeArrowheads="1"/>
            </p:cNvSpPr>
            <p:nvPr/>
          </p:nvSpPr>
          <p:spPr bwMode="auto">
            <a:xfrm>
              <a:off x="5318125" y="4148010"/>
              <a:ext cx="1585913" cy="1355853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6350" algn="ctr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>
              <a:lvl1pPr marL="90488" indent="-90488"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1pPr>
              <a:lvl2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2pPr>
              <a:lvl3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3pPr>
              <a:lvl4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4pPr>
              <a:lvl5pPr eaLnBrk="0" hangingPunct="0">
                <a:spcBef>
                  <a:spcPct val="0"/>
                </a:spcBef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5pPr>
              <a:lvl6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6pPr>
              <a:lvl7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7pPr>
              <a:lvl8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8pPr>
              <a:lvl9pPr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Univers 45 Light" pitchFamily="2" charset="0"/>
                  <a:ea typeface="가는각진제목체" panose="02030600000101010101" pitchFamily="18" charset="-127"/>
                </a:defRPr>
              </a:lvl9pPr>
            </a:lstStyle>
            <a:p>
              <a:pPr fontAlgn="base" latinLnBrk="0">
                <a:spcAft>
                  <a:spcPct val="0"/>
                </a:spcAft>
                <a:buFont typeface="Wingdings" pitchFamily="2" charset="2"/>
                <a:buChar char="§"/>
                <a:defRPr/>
              </a:pPr>
              <a:r>
                <a:rPr kumimoji="1" lang="en-US" altLang="ko-KR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kumimoji="1" lang="ko-KR" altLang="en-US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유 이슈 개선으로 인한 프로세스 변경요인 식별</a:t>
              </a:r>
            </a:p>
          </p:txBody>
        </p:sp>
        <p:sp>
          <p:nvSpPr>
            <p:cNvPr id="64" name="Text Box 26"/>
            <p:cNvSpPr txBox="1">
              <a:spLocks noChangeArrowheads="1"/>
            </p:cNvSpPr>
            <p:nvPr/>
          </p:nvSpPr>
          <p:spPr bwMode="auto">
            <a:xfrm>
              <a:off x="1598613" y="2589213"/>
              <a:ext cx="1598612" cy="298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eaLnBrk="0" fontAlgn="base" latinLnBrk="0" hangingPunct="0">
                <a:spcBef>
                  <a:spcPct val="50000"/>
                </a:spcBef>
                <a:spcAft>
                  <a:spcPct val="0"/>
                </a:spcAft>
              </a:pP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x.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한도관리</a:t>
              </a:r>
              <a:endParaRPr kumimoji="1"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5" name="Text Box 27"/>
            <p:cNvSpPr txBox="1">
              <a:spLocks noChangeArrowheads="1"/>
            </p:cNvSpPr>
            <p:nvPr/>
          </p:nvSpPr>
          <p:spPr bwMode="auto">
            <a:xfrm>
              <a:off x="3408363" y="2587625"/>
              <a:ext cx="3305175" cy="298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>
              <a:spAutoFit/>
            </a:bodyPr>
            <a:lstStyle/>
            <a:p>
              <a:pPr eaLnBrk="0" fontAlgn="base" latinLnBrk="0" hangingPunct="0">
                <a:spcBef>
                  <a:spcPct val="50000"/>
                </a:spcBef>
                <a:spcAft>
                  <a:spcPct val="0"/>
                </a:spcAft>
              </a:pP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x.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좌관리</a:t>
              </a: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제처리 등</a:t>
              </a:r>
            </a:p>
          </p:txBody>
        </p:sp>
        <p:sp>
          <p:nvSpPr>
            <p:cNvPr id="66" name="Rectangle 28"/>
            <p:cNvSpPr>
              <a:spLocks noChangeArrowheads="1"/>
            </p:cNvSpPr>
            <p:nvPr/>
          </p:nvSpPr>
          <p:spPr bwMode="auto">
            <a:xfrm>
              <a:off x="925513" y="2900363"/>
              <a:ext cx="604837" cy="279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36000" tIns="72000" rIns="36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s-Is</a:t>
              </a:r>
            </a:p>
          </p:txBody>
        </p:sp>
        <p:sp>
          <p:nvSpPr>
            <p:cNvPr id="67" name="Rectangle 29"/>
            <p:cNvSpPr>
              <a:spLocks noChangeArrowheads="1"/>
            </p:cNvSpPr>
            <p:nvPr/>
          </p:nvSpPr>
          <p:spPr bwMode="auto">
            <a:xfrm>
              <a:off x="925513" y="5845175"/>
              <a:ext cx="604837" cy="279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36000" tIns="72000" rIns="36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</a:p>
          </p:txBody>
        </p:sp>
        <p:sp>
          <p:nvSpPr>
            <p:cNvPr id="68" name="Rectangle 30"/>
            <p:cNvSpPr>
              <a:spLocks noChangeArrowheads="1"/>
            </p:cNvSpPr>
            <p:nvPr/>
          </p:nvSpPr>
          <p:spPr bwMode="auto">
            <a:xfrm>
              <a:off x="925513" y="2217738"/>
              <a:ext cx="604837" cy="5572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rgbClr val="80808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lIns="36000" tIns="72000" rIns="36000" bIns="7200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kern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 유형 구분</a:t>
              </a:r>
            </a:p>
          </p:txBody>
        </p:sp>
      </p:grpSp>
      <p:grpSp>
        <p:nvGrpSpPr>
          <p:cNvPr id="5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9" name="TextBox 5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2896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ega, Major, Sub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에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부여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각 프로세스 별 정의 및 비고 사항을 작성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Diagram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</a:t>
            </a:r>
          </a:p>
        </p:txBody>
      </p:sp>
      <p:sp>
        <p:nvSpPr>
          <p:cNvPr id="34" name="순서도: 페이지 연결자 33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</a:t>
            </a:r>
          </a:p>
        </p:txBody>
      </p:sp>
      <p:sp>
        <p:nvSpPr>
          <p:cNvPr id="36" name="TextBox 35"/>
          <p:cNvSpPr txBox="1"/>
          <p:nvPr/>
        </p:nvSpPr>
        <p:spPr bwMode="auto">
          <a:xfrm>
            <a:off x="2438400" y="1950898"/>
            <a:ext cx="608703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spcBef>
                <a:spcPct val="30000"/>
              </a:spcBef>
              <a:defRPr sz="1200" b="1">
                <a:solidFill>
                  <a:srgbClr val="000000"/>
                </a:solidFill>
                <a:latin typeface="맑은 고딕"/>
                <a:ea typeface="맑은 고딕"/>
              </a:defRPr>
            </a:lvl1pPr>
          </a:lstStyle>
          <a:p>
            <a:pPr latinLnBrk="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Mega, Major, Sub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서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2082800" y="4643838"/>
            <a:ext cx="5102448" cy="13653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ga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단위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ID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칭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jor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단위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Major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에 대한 개요 및 해당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ga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기입</a:t>
            </a: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b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단위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b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의미 및 비고 사항 기술</a:t>
            </a:r>
          </a:p>
        </p:txBody>
      </p:sp>
      <p:pic>
        <p:nvPicPr>
          <p:cNvPr id="39" name="그림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2800" y="2269420"/>
            <a:ext cx="7345566" cy="2127129"/>
          </a:xfrm>
          <a:prstGeom prst="rect">
            <a:avLst/>
          </a:prstGeom>
        </p:spPr>
      </p:pic>
      <p:grpSp>
        <p:nvGrpSpPr>
          <p:cNvPr id="1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19" name="TextBox 1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0236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개선 요구사항을 반영하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위 프로세스 업무를 정의하고 요건 </a:t>
            </a:r>
            <a:r>
              <a:rPr lang="ko-KR" altLang="en-US" dirty="0" smtClean="0"/>
              <a:t>도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상을 정의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작성</a:t>
            </a: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Diagram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</a:t>
            </a:r>
          </a:p>
        </p:txBody>
      </p:sp>
      <p:sp>
        <p:nvSpPr>
          <p:cNvPr id="34" name="순서도: 페이지 연결자 33"/>
          <p:cNvSpPr/>
          <p:nvPr/>
        </p:nvSpPr>
        <p:spPr>
          <a:xfrm>
            <a:off x="344360" y="3774762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</a:t>
            </a:r>
          </a:p>
        </p:txBody>
      </p:sp>
      <p:sp>
        <p:nvSpPr>
          <p:cNvPr id="35" name="TextBox 34"/>
          <p:cNvSpPr txBox="1"/>
          <p:nvPr/>
        </p:nvSpPr>
        <p:spPr bwMode="auto">
          <a:xfrm>
            <a:off x="6335886" y="1956472"/>
            <a:ext cx="290727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spcBef>
                <a:spcPct val="30000"/>
              </a:spcBef>
              <a:defRPr sz="1200" b="1">
                <a:solidFill>
                  <a:srgbClr val="000000"/>
                </a:solidFill>
                <a:latin typeface="맑은 고딕"/>
                <a:ea typeface="맑은 고딕"/>
              </a:defRPr>
            </a:lvl1pPr>
          </a:lstStyle>
          <a:p>
            <a:pPr latinLnBrk="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서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2068581" y="1956472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Diagram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1946059" y="4524225"/>
            <a:ext cx="3744520" cy="15500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agram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성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b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Sub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cess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로 하위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의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흐름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 업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b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 요구사항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경 등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</a:t>
            </a:r>
            <a:b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영한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 업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정의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건 상세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b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 기술 대상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5881565" y="4524225"/>
            <a:ext cx="3744520" cy="12730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b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Activity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상위 구성인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b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된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로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념을 정의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 포인트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소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인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로 입출력 정보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부서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시스템을 기입</a:t>
            </a: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 정의서 연계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서의 연계 포인트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Picture 2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85516" y="2372375"/>
            <a:ext cx="3272908" cy="20726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1402" y="2372374"/>
            <a:ext cx="3435709" cy="207262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cxnSp>
        <p:nvCxnSpPr>
          <p:cNvPr id="42" name="직선 연결선 41"/>
          <p:cNvCxnSpPr/>
          <p:nvPr/>
        </p:nvCxnSpPr>
        <p:spPr bwMode="auto">
          <a:xfrm>
            <a:off x="5744369" y="2060575"/>
            <a:ext cx="0" cy="406313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grpSp>
        <p:nvGrpSpPr>
          <p:cNvPr id="24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26583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To-Be </a:t>
            </a:r>
            <a:r>
              <a:rPr lang="ko-KR" altLang="en-US" dirty="0"/>
              <a:t>프로세스에 대하여 개발 단계에 필요한 </a:t>
            </a:r>
            <a:r>
              <a:rPr lang="ko-KR" altLang="en-US" dirty="0" smtClean="0"/>
              <a:t>기능을 정의함</a:t>
            </a:r>
            <a:endParaRPr lang="ko-KR" altLang="en-US" dirty="0"/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설계 결과를 전체 정리한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PI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단계의 산출물</a:t>
            </a:r>
            <a:endParaRPr lang="en-US" altLang="ko-KR" sz="1200" b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5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7669212" y="3695701"/>
            <a:ext cx="1963737" cy="2541588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요건정의서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69081" y="3706813"/>
            <a:ext cx="7347744" cy="2530476"/>
            <a:chOff x="269081" y="3706813"/>
            <a:chExt cx="7347744" cy="1710657"/>
          </a:xfrm>
        </p:grpSpPr>
        <p:sp>
          <p:nvSpPr>
            <p:cNvPr id="27" name="Rectangle 33"/>
            <p:cNvSpPr>
              <a:spLocks noChangeArrowheads="1"/>
            </p:cNvSpPr>
            <p:nvPr/>
          </p:nvSpPr>
          <p:spPr bwMode="gray">
            <a:xfrm>
              <a:off x="269081" y="3706813"/>
              <a:ext cx="2030413" cy="741079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 anchorCtr="1"/>
            <a:lstStyle/>
            <a:p>
              <a:pPr marL="82550" indent="-82550" algn="ctr" defTabSz="760413" latinLnBrk="0">
                <a:lnSpc>
                  <a:spcPct val="12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80000"/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업무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요건</a:t>
              </a:r>
              <a:endPara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gray">
            <a:xfrm>
              <a:off x="269081" y="4488034"/>
              <a:ext cx="2030413" cy="929436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 anchorCtr="1"/>
            <a:lstStyle/>
            <a:p>
              <a:pPr marL="82550" indent="-82550" algn="ctr" defTabSz="760413" latinLnBrk="0">
                <a:lnSpc>
                  <a:spcPct val="12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80000"/>
                <a:defRPr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데이터 요건</a:t>
              </a:r>
              <a:endPara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2346325" y="3706813"/>
              <a:ext cx="5270500" cy="737991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82550" indent="-82550" defTabSz="760413" latinLnBrk="0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en-US" altLang="ko-KR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To-Be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단위업무별로 작성하며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, </a:t>
              </a:r>
              <a:r>
                <a:rPr lang="en-US" altLang="ko-KR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To-Be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업무프로세스의 </a:t>
              </a:r>
              <a:r>
                <a:rPr lang="ko-KR" altLang="en-US" sz="1100" b="0" dirty="0" err="1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활동별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 </a:t>
              </a: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업무수행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기준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,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절차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, </a:t>
              </a:r>
              <a:r>
                <a:rPr lang="ko-KR" altLang="en-US" sz="1100" b="0" dirty="0" err="1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로직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,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방법을 </a:t>
              </a: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기술함</a:t>
              </a:r>
              <a:endPara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  <a:p>
              <a:pPr marL="82550" indent="-82550" defTabSz="760413" latinLnBrk="0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구축 단계에서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시스템으로 구현되어야 할 요건은 기능 요건으로 </a:t>
              </a: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전환됨</a:t>
              </a:r>
              <a:endPara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2346325" y="4484946"/>
              <a:ext cx="5270500" cy="932524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82550" indent="-82550" defTabSz="760413" latinLnBrk="0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en-US" altLang="ko-KR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To-Be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단위업무 처리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(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업무 요건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,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보고서 요건에 따른 처리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)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를 위해 필요한 데이터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(IN)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와 조회 및 보고서 작성을 위해 저장되어야 하는 결과 데이터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(OUT)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를 </a:t>
              </a: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정의함</a:t>
              </a:r>
              <a:endParaRPr lang="en-US" altLang="ko-KR" sz="11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  <a:p>
              <a:pPr marL="82550" indent="-82550" defTabSz="760413" latinLnBrk="0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구축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단계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(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분석 단계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)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에서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ERD </a:t>
              </a:r>
              <a:r>
                <a:rPr lang="ko-KR" altLang="en-US" sz="11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작성</a:t>
              </a:r>
              <a:endPara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</p:grpSp>
      <p:sp>
        <p:nvSpPr>
          <p:cNvPr id="36" name="직사각형 35"/>
          <p:cNvSpPr/>
          <p:nvPr/>
        </p:nvSpPr>
        <p:spPr bwMode="auto">
          <a:xfrm>
            <a:off x="3083033" y="1993049"/>
            <a:ext cx="555912" cy="161035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8" name="그림 37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9" name="직사각형 38"/>
          <p:cNvSpPr/>
          <p:nvPr/>
        </p:nvSpPr>
        <p:spPr bwMode="auto">
          <a:xfrm>
            <a:off x="3114751" y="1997697"/>
            <a:ext cx="572757" cy="17713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77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위업무 프로세스 별로 산출 절차와 방법을 구체화한 것으로써 전산적 처리 사항은 제외하고 업무적 요구사항 기준으로 작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50" name="순서도: 페이지 연결자 49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요건</a:t>
            </a:r>
          </a:p>
        </p:txBody>
      </p:sp>
      <p:sp>
        <p:nvSpPr>
          <p:cNvPr id="51" name="순서도: 페이지 연결자 50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요건</a:t>
            </a:r>
          </a:p>
        </p:txBody>
      </p:sp>
      <p:sp>
        <p:nvSpPr>
          <p:cNvPr id="60" name="Freeform 76"/>
          <p:cNvSpPr>
            <a:spLocks/>
          </p:cNvSpPr>
          <p:nvPr/>
        </p:nvSpPr>
        <p:spPr bwMode="gray">
          <a:xfrm rot="5085584">
            <a:off x="5549995" y="2467823"/>
            <a:ext cx="1377937" cy="1882269"/>
          </a:xfrm>
          <a:custGeom>
            <a:avLst/>
            <a:gdLst>
              <a:gd name="T0" fmla="*/ 2147483647 w 1645"/>
              <a:gd name="T1" fmla="*/ 0 h 823"/>
              <a:gd name="T2" fmla="*/ 2147483647 w 1645"/>
              <a:gd name="T3" fmla="*/ 0 h 823"/>
              <a:gd name="T4" fmla="*/ 2147483647 w 1645"/>
              <a:gd name="T5" fmla="*/ 2147483647 h 823"/>
              <a:gd name="T6" fmla="*/ 2147483647 w 1645"/>
              <a:gd name="T7" fmla="*/ 2147483647 h 823"/>
              <a:gd name="T8" fmla="*/ 2147483647 w 1645"/>
              <a:gd name="T9" fmla="*/ 2147483647 h 823"/>
              <a:gd name="T10" fmla="*/ 2147483647 w 1645"/>
              <a:gd name="T11" fmla="*/ 2147483647 h 823"/>
              <a:gd name="T12" fmla="*/ 2147483647 w 1645"/>
              <a:gd name="T13" fmla="*/ 2147483647 h 823"/>
              <a:gd name="T14" fmla="*/ 2147483647 w 1645"/>
              <a:gd name="T15" fmla="*/ 2147483647 h 823"/>
              <a:gd name="T16" fmla="*/ 2147483647 w 1645"/>
              <a:gd name="T17" fmla="*/ 2147483647 h 823"/>
              <a:gd name="T18" fmla="*/ 2147483647 w 1645"/>
              <a:gd name="T19" fmla="*/ 2147483647 h 823"/>
              <a:gd name="T20" fmla="*/ 2147483647 w 1645"/>
              <a:gd name="T21" fmla="*/ 2147483647 h 823"/>
              <a:gd name="T22" fmla="*/ 2147483647 w 1645"/>
              <a:gd name="T23" fmla="*/ 2147483647 h 823"/>
              <a:gd name="T24" fmla="*/ 2147483647 w 1645"/>
              <a:gd name="T25" fmla="*/ 2147483647 h 823"/>
              <a:gd name="T26" fmla="*/ 2147483647 w 1645"/>
              <a:gd name="T27" fmla="*/ 2147483647 h 823"/>
              <a:gd name="T28" fmla="*/ 2147483647 w 1645"/>
              <a:gd name="T29" fmla="*/ 2147483647 h 823"/>
              <a:gd name="T30" fmla="*/ 2147483647 w 1645"/>
              <a:gd name="T31" fmla="*/ 2147483647 h 823"/>
              <a:gd name="T32" fmla="*/ 2147483647 w 1645"/>
              <a:gd name="T33" fmla="*/ 2147483647 h 823"/>
              <a:gd name="T34" fmla="*/ 2147483647 w 1645"/>
              <a:gd name="T35" fmla="*/ 2147483647 h 823"/>
              <a:gd name="T36" fmla="*/ 2147483647 w 1645"/>
              <a:gd name="T37" fmla="*/ 2147483647 h 823"/>
              <a:gd name="T38" fmla="*/ 2147483647 w 1645"/>
              <a:gd name="T39" fmla="*/ 2147483647 h 823"/>
              <a:gd name="T40" fmla="*/ 2147483647 w 1645"/>
              <a:gd name="T41" fmla="*/ 2147483647 h 823"/>
              <a:gd name="T42" fmla="*/ 2147483647 w 1645"/>
              <a:gd name="T43" fmla="*/ 2147483647 h 823"/>
              <a:gd name="T44" fmla="*/ 2147483647 w 1645"/>
              <a:gd name="T45" fmla="*/ 2147483647 h 823"/>
              <a:gd name="T46" fmla="*/ 2147483647 w 1645"/>
              <a:gd name="T47" fmla="*/ 2147483647 h 823"/>
              <a:gd name="T48" fmla="*/ 2147483647 w 1645"/>
              <a:gd name="T49" fmla="*/ 2147483647 h 823"/>
              <a:gd name="T50" fmla="*/ 2147483647 w 1645"/>
              <a:gd name="T51" fmla="*/ 2147483647 h 823"/>
              <a:gd name="T52" fmla="*/ 2147483647 w 1645"/>
              <a:gd name="T53" fmla="*/ 2147483647 h 823"/>
              <a:gd name="T54" fmla="*/ 2147483647 w 1645"/>
              <a:gd name="T55" fmla="*/ 2147483647 h 823"/>
              <a:gd name="T56" fmla="*/ 2147483647 w 1645"/>
              <a:gd name="T57" fmla="*/ 2147483647 h 823"/>
              <a:gd name="T58" fmla="*/ 2147483647 w 1645"/>
              <a:gd name="T59" fmla="*/ 2147483647 h 823"/>
              <a:gd name="T60" fmla="*/ 2147483647 w 1645"/>
              <a:gd name="T61" fmla="*/ 2147483647 h 823"/>
              <a:gd name="T62" fmla="*/ 2147483647 w 1645"/>
              <a:gd name="T63" fmla="*/ 2147483647 h 823"/>
              <a:gd name="T64" fmla="*/ 2147483647 w 1645"/>
              <a:gd name="T65" fmla="*/ 2147483647 h 823"/>
              <a:gd name="T66" fmla="*/ 2147483647 w 1645"/>
              <a:gd name="T67" fmla="*/ 2147483647 h 823"/>
              <a:gd name="T68" fmla="*/ 2147483647 w 1645"/>
              <a:gd name="T69" fmla="*/ 2147483647 h 823"/>
              <a:gd name="T70" fmla="*/ 2147483647 w 1645"/>
              <a:gd name="T71" fmla="*/ 2147483647 h 823"/>
              <a:gd name="T72" fmla="*/ 2147483647 w 1645"/>
              <a:gd name="T73" fmla="*/ 2147483647 h 823"/>
              <a:gd name="T74" fmla="*/ 2147483647 w 1645"/>
              <a:gd name="T75" fmla="*/ 2147483647 h 823"/>
              <a:gd name="T76" fmla="*/ 2147483647 w 1645"/>
              <a:gd name="T77" fmla="*/ 2147483647 h 823"/>
              <a:gd name="T78" fmla="*/ 2147483647 w 1645"/>
              <a:gd name="T79" fmla="*/ 2147483647 h 823"/>
              <a:gd name="T80" fmla="*/ 2147483647 w 1645"/>
              <a:gd name="T81" fmla="*/ 2147483647 h 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645"/>
              <a:gd name="T124" fmla="*/ 0 h 823"/>
              <a:gd name="T125" fmla="*/ 1645 w 1645"/>
              <a:gd name="T126" fmla="*/ 823 h 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645" h="823">
                <a:moveTo>
                  <a:pt x="0" y="6"/>
                </a:moveTo>
                <a:lnTo>
                  <a:pt x="90" y="0"/>
                </a:lnTo>
                <a:lnTo>
                  <a:pt x="135" y="0"/>
                </a:lnTo>
                <a:lnTo>
                  <a:pt x="189" y="0"/>
                </a:lnTo>
                <a:lnTo>
                  <a:pt x="240" y="3"/>
                </a:lnTo>
                <a:lnTo>
                  <a:pt x="291" y="6"/>
                </a:lnTo>
                <a:lnTo>
                  <a:pt x="341" y="12"/>
                </a:lnTo>
                <a:lnTo>
                  <a:pt x="386" y="21"/>
                </a:lnTo>
                <a:lnTo>
                  <a:pt x="436" y="30"/>
                </a:lnTo>
                <a:lnTo>
                  <a:pt x="496" y="45"/>
                </a:lnTo>
                <a:lnTo>
                  <a:pt x="550" y="63"/>
                </a:lnTo>
                <a:lnTo>
                  <a:pt x="601" y="78"/>
                </a:lnTo>
                <a:lnTo>
                  <a:pt x="658" y="99"/>
                </a:lnTo>
                <a:lnTo>
                  <a:pt x="712" y="123"/>
                </a:lnTo>
                <a:lnTo>
                  <a:pt x="766" y="147"/>
                </a:lnTo>
                <a:lnTo>
                  <a:pt x="811" y="170"/>
                </a:lnTo>
                <a:lnTo>
                  <a:pt x="862" y="194"/>
                </a:lnTo>
                <a:lnTo>
                  <a:pt x="905" y="217"/>
                </a:lnTo>
                <a:lnTo>
                  <a:pt x="953" y="244"/>
                </a:lnTo>
                <a:lnTo>
                  <a:pt x="1001" y="271"/>
                </a:lnTo>
                <a:lnTo>
                  <a:pt x="1049" y="304"/>
                </a:lnTo>
                <a:lnTo>
                  <a:pt x="1091" y="331"/>
                </a:lnTo>
                <a:lnTo>
                  <a:pt x="1136" y="367"/>
                </a:lnTo>
                <a:lnTo>
                  <a:pt x="1178" y="400"/>
                </a:lnTo>
                <a:lnTo>
                  <a:pt x="1217" y="433"/>
                </a:lnTo>
                <a:lnTo>
                  <a:pt x="1249" y="469"/>
                </a:lnTo>
                <a:lnTo>
                  <a:pt x="1276" y="500"/>
                </a:lnTo>
                <a:lnTo>
                  <a:pt x="1297" y="533"/>
                </a:lnTo>
                <a:lnTo>
                  <a:pt x="1645" y="489"/>
                </a:lnTo>
                <a:lnTo>
                  <a:pt x="1596" y="512"/>
                </a:lnTo>
                <a:lnTo>
                  <a:pt x="1539" y="536"/>
                </a:lnTo>
                <a:lnTo>
                  <a:pt x="1494" y="557"/>
                </a:lnTo>
                <a:lnTo>
                  <a:pt x="1460" y="573"/>
                </a:lnTo>
                <a:lnTo>
                  <a:pt x="1423" y="593"/>
                </a:lnTo>
                <a:lnTo>
                  <a:pt x="1393" y="611"/>
                </a:lnTo>
                <a:lnTo>
                  <a:pt x="1364" y="630"/>
                </a:lnTo>
                <a:lnTo>
                  <a:pt x="1335" y="653"/>
                </a:lnTo>
                <a:lnTo>
                  <a:pt x="1307" y="676"/>
                </a:lnTo>
                <a:lnTo>
                  <a:pt x="1273" y="705"/>
                </a:lnTo>
                <a:lnTo>
                  <a:pt x="1240" y="736"/>
                </a:lnTo>
                <a:lnTo>
                  <a:pt x="1211" y="762"/>
                </a:lnTo>
                <a:lnTo>
                  <a:pt x="1178" y="796"/>
                </a:lnTo>
                <a:lnTo>
                  <a:pt x="1151" y="823"/>
                </a:lnTo>
                <a:lnTo>
                  <a:pt x="1124" y="811"/>
                </a:lnTo>
                <a:lnTo>
                  <a:pt x="1097" y="796"/>
                </a:lnTo>
                <a:lnTo>
                  <a:pt x="1068" y="783"/>
                </a:lnTo>
                <a:lnTo>
                  <a:pt x="1034" y="769"/>
                </a:lnTo>
                <a:lnTo>
                  <a:pt x="999" y="755"/>
                </a:lnTo>
                <a:lnTo>
                  <a:pt x="967" y="744"/>
                </a:lnTo>
                <a:lnTo>
                  <a:pt x="936" y="735"/>
                </a:lnTo>
                <a:lnTo>
                  <a:pt x="901" y="724"/>
                </a:lnTo>
                <a:lnTo>
                  <a:pt x="864" y="715"/>
                </a:lnTo>
                <a:lnTo>
                  <a:pt x="826" y="705"/>
                </a:lnTo>
                <a:lnTo>
                  <a:pt x="791" y="696"/>
                </a:lnTo>
                <a:lnTo>
                  <a:pt x="757" y="687"/>
                </a:lnTo>
                <a:lnTo>
                  <a:pt x="720" y="681"/>
                </a:lnTo>
                <a:lnTo>
                  <a:pt x="685" y="673"/>
                </a:lnTo>
                <a:lnTo>
                  <a:pt x="652" y="666"/>
                </a:lnTo>
                <a:lnTo>
                  <a:pt x="613" y="658"/>
                </a:lnTo>
                <a:lnTo>
                  <a:pt x="560" y="652"/>
                </a:lnTo>
                <a:lnTo>
                  <a:pt x="920" y="590"/>
                </a:lnTo>
                <a:lnTo>
                  <a:pt x="896" y="542"/>
                </a:lnTo>
                <a:lnTo>
                  <a:pt x="868" y="506"/>
                </a:lnTo>
                <a:lnTo>
                  <a:pt x="817" y="439"/>
                </a:lnTo>
                <a:lnTo>
                  <a:pt x="787" y="409"/>
                </a:lnTo>
                <a:lnTo>
                  <a:pt x="757" y="379"/>
                </a:lnTo>
                <a:lnTo>
                  <a:pt x="703" y="328"/>
                </a:lnTo>
                <a:lnTo>
                  <a:pt x="670" y="298"/>
                </a:lnTo>
                <a:lnTo>
                  <a:pt x="631" y="262"/>
                </a:lnTo>
                <a:lnTo>
                  <a:pt x="595" y="235"/>
                </a:lnTo>
                <a:lnTo>
                  <a:pt x="565" y="211"/>
                </a:lnTo>
                <a:lnTo>
                  <a:pt x="535" y="188"/>
                </a:lnTo>
                <a:lnTo>
                  <a:pt x="499" y="164"/>
                </a:lnTo>
                <a:lnTo>
                  <a:pt x="460" y="141"/>
                </a:lnTo>
                <a:lnTo>
                  <a:pt x="421" y="123"/>
                </a:lnTo>
                <a:lnTo>
                  <a:pt x="383" y="102"/>
                </a:lnTo>
                <a:lnTo>
                  <a:pt x="335" y="84"/>
                </a:lnTo>
                <a:lnTo>
                  <a:pt x="291" y="69"/>
                </a:lnTo>
                <a:lnTo>
                  <a:pt x="240" y="57"/>
                </a:lnTo>
                <a:lnTo>
                  <a:pt x="192" y="45"/>
                </a:lnTo>
                <a:lnTo>
                  <a:pt x="141" y="33"/>
                </a:lnTo>
                <a:lnTo>
                  <a:pt x="87" y="24"/>
                </a:lnTo>
                <a:lnTo>
                  <a:pt x="0" y="6"/>
                </a:lnTo>
                <a:close/>
              </a:path>
            </a:pathLst>
          </a:custGeom>
          <a:solidFill>
            <a:schemeClr val="tx2">
              <a:alpha val="7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latinLnBrk="0"/>
            <a:endParaRPr lang="ko-KR" altLang="en-US" sz="1100" b="1">
              <a:solidFill>
                <a:srgbClr val="FFFFFF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61" name="그룹 60"/>
          <p:cNvGrpSpPr/>
          <p:nvPr/>
        </p:nvGrpSpPr>
        <p:grpSpPr>
          <a:xfrm>
            <a:off x="2111619" y="2334019"/>
            <a:ext cx="6369773" cy="442593"/>
            <a:chOff x="2111619" y="2194319"/>
            <a:chExt cx="6369773" cy="442593"/>
          </a:xfrm>
        </p:grpSpPr>
        <p:sp>
          <p:nvSpPr>
            <p:cNvPr id="64" name="직사각형 6"/>
            <p:cNvSpPr/>
            <p:nvPr/>
          </p:nvSpPr>
          <p:spPr bwMode="auto">
            <a:xfrm>
              <a:off x="2111619" y="2194319"/>
              <a:ext cx="757246" cy="442593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5" name="직사각형 7"/>
            <p:cNvSpPr/>
            <p:nvPr/>
          </p:nvSpPr>
          <p:spPr bwMode="auto">
            <a:xfrm>
              <a:off x="2913409" y="2194319"/>
              <a:ext cx="757246" cy="442593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6" name="직사각형 8"/>
            <p:cNvSpPr/>
            <p:nvPr/>
          </p:nvSpPr>
          <p:spPr bwMode="auto">
            <a:xfrm>
              <a:off x="3715199" y="2194319"/>
              <a:ext cx="757246" cy="442593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67" name="직사각형 9"/>
            <p:cNvSpPr/>
            <p:nvPr/>
          </p:nvSpPr>
          <p:spPr bwMode="auto">
            <a:xfrm>
              <a:off x="4516987" y="2194319"/>
              <a:ext cx="757246" cy="442593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68" name="직사각형 10"/>
            <p:cNvSpPr/>
            <p:nvPr/>
          </p:nvSpPr>
          <p:spPr bwMode="auto">
            <a:xfrm>
              <a:off x="5318777" y="2194319"/>
              <a:ext cx="757246" cy="442593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69" name="직사각형 11"/>
            <p:cNvSpPr/>
            <p:nvPr/>
          </p:nvSpPr>
          <p:spPr bwMode="auto">
            <a:xfrm>
              <a:off x="6120567" y="2194319"/>
              <a:ext cx="757246" cy="442593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0" name="직사각형 12"/>
            <p:cNvSpPr/>
            <p:nvPr/>
          </p:nvSpPr>
          <p:spPr bwMode="auto">
            <a:xfrm>
              <a:off x="6922357" y="2194319"/>
              <a:ext cx="757246" cy="442593"/>
            </a:xfrm>
            <a:prstGeom prst="homePlate">
              <a:avLst>
                <a:gd name="adj" fmla="val 17535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고객관리</a:t>
              </a:r>
            </a:p>
          </p:txBody>
        </p:sp>
        <p:sp>
          <p:nvSpPr>
            <p:cNvPr id="71" name="직사각형 13"/>
            <p:cNvSpPr/>
            <p:nvPr/>
          </p:nvSpPr>
          <p:spPr bwMode="auto">
            <a:xfrm>
              <a:off x="7724146" y="2194319"/>
              <a:ext cx="757246" cy="442593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pic>
        <p:nvPicPr>
          <p:cNvPr id="72" name="Picture 37"/>
          <p:cNvPicPr preferRelativeResize="0"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6639" y="3907502"/>
            <a:ext cx="2750162" cy="1580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" name="Picture 41" descr="C:\Documents and Settings\최재원1\My Documents\My Pictures\기능구조도1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976" y="4169390"/>
            <a:ext cx="2820767" cy="16358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4" name="TextBox 73"/>
          <p:cNvSpPr txBox="1"/>
          <p:nvPr/>
        </p:nvSpPr>
        <p:spPr bwMode="auto">
          <a:xfrm>
            <a:off x="5371114" y="4169618"/>
            <a:ext cx="4176465" cy="1457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 도출된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들의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개선기회로 부터 기능요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 요건을 도출하여 시스템 기능에 필요한 요구조건 상세 기술</a:t>
            </a: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에 대한 기능요건을 시스템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Function,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기능으로 분류하여 정의</a:t>
            </a: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6992502" y="3079505"/>
            <a:ext cx="2113685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하위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세부 기능 분류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 bwMode="auto">
          <a:xfrm>
            <a:off x="3618323" y="1901995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TextBox 76"/>
          <p:cNvSpPr txBox="1"/>
          <p:nvPr/>
        </p:nvSpPr>
        <p:spPr bwMode="auto">
          <a:xfrm>
            <a:off x="2000672" y="3572901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기능 상세화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3" name="TextBox 3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90902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수료체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면 전환을 위한 기반 마련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 영업점 수수료체계를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농축협까지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확대 적용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무회계에 반영함으로써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부문 성과에 대한 논란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식시키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사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회계 분리가 용이하도록 함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2112882" y="1384793"/>
            <a:ext cx="9653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행 구조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6756352" y="1384793"/>
            <a:ext cx="9653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추진 방안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595282" y="5054120"/>
            <a:ext cx="41434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latinLnBrk="0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과 업무대행수수료 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계 기 도입</a:t>
            </a:r>
            <a:r>
              <a:rPr lang="en-US" altLang="ko-KR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</a:t>
            </a:r>
            <a:br>
              <a:rPr lang="en-US" altLang="ko-KR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재는 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회계</a:t>
            </a: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수준에서 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식</a:t>
            </a: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</a:t>
            </a:r>
            <a:r>
              <a:rPr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는 변경 </a:t>
            </a:r>
            <a:r>
              <a:rPr lang="ko-KR" altLang="en-US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없음</a:t>
            </a:r>
            <a:r>
              <a:rPr lang="en-US" altLang="ko-KR" sz="1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ko-KR" altLang="en-US" sz="14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즉</a:t>
            </a:r>
            <a:r>
              <a:rPr lang="en-US" altLang="ko-KR" sz="1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이 회원 및 카드자산 보유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5355472" y="5054120"/>
            <a:ext cx="3818704" cy="103105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7800" indent="-177800" latinLnBrk="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향후 </a:t>
            </a:r>
            <a:r>
              <a:rPr lang="ko-KR" altLang="en-US" sz="14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도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무대행수수료 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방식으로 변경하고</a:t>
            </a:r>
            <a:r>
              <a:rPr lang="en-US" altLang="ko-KR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무회계시스템도 변경</a:t>
            </a: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과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전 </a:t>
            </a:r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합의 필요</a:t>
            </a:r>
            <a:r>
              <a:rPr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7800" indent="-177800" latinLnBrk="0">
              <a:spcBef>
                <a:spcPts val="600"/>
              </a:spcBef>
              <a:buFont typeface="Wingdings" pitchFamily="2" charset="2"/>
              <a:buChar char="è"/>
            </a:pPr>
            <a:r>
              <a:rPr lang="ko-KR" altLang="en-US" sz="14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질적 분사로서 카드부문 성과 측정 가능</a:t>
            </a:r>
          </a:p>
        </p:txBody>
      </p:sp>
      <p:cxnSp>
        <p:nvCxnSpPr>
          <p:cNvPr id="102" name="직선 연결선 101"/>
          <p:cNvCxnSpPr/>
          <p:nvPr/>
        </p:nvCxnSpPr>
        <p:spPr bwMode="auto">
          <a:xfrm>
            <a:off x="595282" y="1692570"/>
            <a:ext cx="400052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103" name="직선 연결선 102"/>
          <p:cNvCxnSpPr/>
          <p:nvPr/>
        </p:nvCxnSpPr>
        <p:spPr bwMode="auto">
          <a:xfrm>
            <a:off x="5238752" y="1692570"/>
            <a:ext cx="400052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9" name="직사각형 58"/>
          <p:cNvSpPr/>
          <p:nvPr/>
        </p:nvSpPr>
        <p:spPr bwMode="auto">
          <a:xfrm>
            <a:off x="5774537" y="1872343"/>
            <a:ext cx="2928958" cy="6403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과 자산 보유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cxnSp>
        <p:nvCxnSpPr>
          <p:cNvPr id="61" name="직선 화살표 연결선 15"/>
          <p:cNvCxnSpPr>
            <a:stCxn id="59" idx="2"/>
            <a:endCxn id="68" idx="0"/>
          </p:cNvCxnSpPr>
          <p:nvPr/>
        </p:nvCxnSpPr>
        <p:spPr bwMode="auto">
          <a:xfrm>
            <a:off x="7239016" y="2512643"/>
            <a:ext cx="3091" cy="62365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grpSp>
        <p:nvGrpSpPr>
          <p:cNvPr id="4" name="그룹 96"/>
          <p:cNvGrpSpPr/>
          <p:nvPr/>
        </p:nvGrpSpPr>
        <p:grpSpPr>
          <a:xfrm>
            <a:off x="5670471" y="3257810"/>
            <a:ext cx="3143272" cy="547383"/>
            <a:chOff x="5637843" y="3545139"/>
            <a:chExt cx="3143272" cy="523190"/>
          </a:xfrm>
        </p:grpSpPr>
        <p:sp>
          <p:nvSpPr>
            <p:cNvPr id="60" name="직사각형 59"/>
            <p:cNvSpPr/>
            <p:nvPr/>
          </p:nvSpPr>
          <p:spPr bwMode="auto">
            <a:xfrm>
              <a:off x="5637843" y="3545139"/>
              <a:ext cx="1357322" cy="5231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은행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점</a:t>
              </a: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7423793" y="3545139"/>
              <a:ext cx="1357322" cy="5231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농축협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무소</a:t>
              </a:r>
            </a:p>
          </p:txBody>
        </p:sp>
      </p:grpSp>
      <p:grpSp>
        <p:nvGrpSpPr>
          <p:cNvPr id="7" name="그룹 97"/>
          <p:cNvGrpSpPr/>
          <p:nvPr/>
        </p:nvGrpSpPr>
        <p:grpSpPr>
          <a:xfrm>
            <a:off x="5670471" y="4233228"/>
            <a:ext cx="3143272" cy="547383"/>
            <a:chOff x="5637843" y="4406008"/>
            <a:chExt cx="3143272" cy="523190"/>
          </a:xfrm>
        </p:grpSpPr>
        <p:sp>
          <p:nvSpPr>
            <p:cNvPr id="63" name="직사각형 62"/>
            <p:cNvSpPr/>
            <p:nvPr/>
          </p:nvSpPr>
          <p:spPr bwMode="auto">
            <a:xfrm>
              <a:off x="5637843" y="4406008"/>
              <a:ext cx="1357322" cy="52319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  <a:defRPr/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은행 모집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회원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 </a:t>
              </a: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카드자산</a:t>
              </a:r>
              <a:endPara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7423793" y="4406008"/>
              <a:ext cx="1357322" cy="523190"/>
            </a:xfrm>
            <a:prstGeom prst="rect">
              <a:avLst/>
            </a:prstGeom>
            <a:pattFill prst="ltUpDiag">
              <a:fgClr>
                <a:srgbClr val="365AA8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농축협 모집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/>
              </a:r>
              <a:b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</a:b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회원</a:t>
              </a:r>
              <a:r>
                <a:rPr kumimoji="1"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, </a:t>
              </a:r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카드자산</a:t>
              </a:r>
            </a:p>
          </p:txBody>
        </p:sp>
      </p:grpSp>
      <p:sp>
        <p:nvSpPr>
          <p:cNvPr id="68" name="직사각형 67"/>
          <p:cNvSpPr/>
          <p:nvPr/>
        </p:nvSpPr>
        <p:spPr bwMode="auto">
          <a:xfrm>
            <a:off x="5563314" y="3136301"/>
            <a:ext cx="3357586" cy="76203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화살표 연결선 15"/>
          <p:cNvCxnSpPr>
            <a:stCxn id="92" idx="1"/>
            <a:endCxn id="59" idx="1"/>
          </p:cNvCxnSpPr>
          <p:nvPr/>
        </p:nvCxnSpPr>
        <p:spPr bwMode="auto">
          <a:xfrm rot="10800000" flipH="1">
            <a:off x="5563313" y="2192493"/>
            <a:ext cx="211223" cy="2336322"/>
          </a:xfrm>
          <a:prstGeom prst="bentConnector3">
            <a:avLst>
              <a:gd name="adj1" fmla="val -108227"/>
            </a:avLst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74" name="TextBox 73"/>
          <p:cNvSpPr txBox="1"/>
          <p:nvPr/>
        </p:nvSpPr>
        <p:spPr bwMode="auto">
          <a:xfrm>
            <a:off x="6667512" y="2669583"/>
            <a:ext cx="1149921" cy="2573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업무대행수수료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1111849" y="1872343"/>
            <a:ext cx="2928958" cy="6402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분사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u="sng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싱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대행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" name="직선 화살표 연결선 15"/>
          <p:cNvCxnSpPr>
            <a:stCxn id="13" idx="2"/>
            <a:endCxn id="55" idx="0"/>
          </p:cNvCxnSpPr>
          <p:nvPr/>
        </p:nvCxnSpPr>
        <p:spPr bwMode="auto">
          <a:xfrm rot="5400000">
            <a:off x="1756340" y="2458874"/>
            <a:ext cx="766221" cy="87375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52" name="직선 화살표 연결선 15"/>
          <p:cNvCxnSpPr>
            <a:stCxn id="13" idx="2"/>
            <a:endCxn id="56" idx="0"/>
          </p:cNvCxnSpPr>
          <p:nvPr/>
        </p:nvCxnSpPr>
        <p:spPr bwMode="auto">
          <a:xfrm rot="16200000" flipH="1">
            <a:off x="2649314" y="2439655"/>
            <a:ext cx="766221" cy="91219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14" name="직사각형 13"/>
          <p:cNvSpPr/>
          <p:nvPr/>
        </p:nvSpPr>
        <p:spPr bwMode="auto">
          <a:xfrm>
            <a:off x="1023910" y="3400372"/>
            <a:ext cx="1357322" cy="5473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점</a:t>
            </a:r>
          </a:p>
        </p:txBody>
      </p:sp>
      <p:sp>
        <p:nvSpPr>
          <p:cNvPr id="27" name="직사각형 26"/>
          <p:cNvSpPr/>
          <p:nvPr/>
        </p:nvSpPr>
        <p:spPr bwMode="auto">
          <a:xfrm>
            <a:off x="2809860" y="3400372"/>
            <a:ext cx="1357322" cy="5473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무소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1023910" y="4144057"/>
            <a:ext cx="1357322" cy="5473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자산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2809860" y="4144057"/>
            <a:ext cx="1357322" cy="5473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자산</a:t>
            </a:r>
          </a:p>
        </p:txBody>
      </p:sp>
      <p:cxnSp>
        <p:nvCxnSpPr>
          <p:cNvPr id="46" name="직선 화살표 연결선 45"/>
          <p:cNvCxnSpPr>
            <a:stCxn id="44" idx="0"/>
            <a:endCxn id="14" idx="2"/>
          </p:cNvCxnSpPr>
          <p:nvPr/>
        </p:nvCxnSpPr>
        <p:spPr bwMode="auto">
          <a:xfrm rot="5400000" flipH="1" flipV="1">
            <a:off x="1604420" y="4045943"/>
            <a:ext cx="196302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49" name="직선 화살표 연결선 48"/>
          <p:cNvCxnSpPr>
            <a:stCxn id="45" idx="0"/>
            <a:endCxn id="27" idx="2"/>
          </p:cNvCxnSpPr>
          <p:nvPr/>
        </p:nvCxnSpPr>
        <p:spPr bwMode="auto">
          <a:xfrm rot="5400000" flipH="1" flipV="1">
            <a:off x="3390370" y="4045818"/>
            <a:ext cx="196302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55" name="직사각형 54"/>
          <p:cNvSpPr/>
          <p:nvPr/>
        </p:nvSpPr>
        <p:spPr bwMode="auto">
          <a:xfrm>
            <a:off x="910571" y="3278863"/>
            <a:ext cx="1584000" cy="152406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2696521" y="3278863"/>
            <a:ext cx="1584000" cy="152406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 bwMode="auto">
          <a:xfrm>
            <a:off x="1846867" y="2824048"/>
            <a:ext cx="1460904" cy="2573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algn="ctr" latinLnBrk="0">
              <a:spcBef>
                <a:spcPct val="30000"/>
              </a:spcBef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카드 수익∙비용 정산</a:t>
            </a:r>
          </a:p>
        </p:txBody>
      </p:sp>
      <p:sp>
        <p:nvSpPr>
          <p:cNvPr id="92" name="직사각형 91"/>
          <p:cNvSpPr/>
          <p:nvPr/>
        </p:nvSpPr>
        <p:spPr bwMode="auto">
          <a:xfrm>
            <a:off x="5563314" y="4147800"/>
            <a:ext cx="3357586" cy="76203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4" name="직선 화살표 연결선 15"/>
          <p:cNvCxnSpPr>
            <a:stCxn id="92" idx="0"/>
            <a:endCxn id="68" idx="2"/>
          </p:cNvCxnSpPr>
          <p:nvPr/>
        </p:nvCxnSpPr>
        <p:spPr bwMode="auto">
          <a:xfrm rot="5400000" flipH="1" flipV="1">
            <a:off x="7117372" y="4023102"/>
            <a:ext cx="249470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100" name="TextBox 99"/>
          <p:cNvSpPr txBox="1"/>
          <p:nvPr/>
        </p:nvSpPr>
        <p:spPr bwMode="auto">
          <a:xfrm>
            <a:off x="7126888" y="3842049"/>
            <a:ext cx="241019" cy="380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</a:pPr>
            <a:r>
              <a:rPr lang="en-US" altLang="ko-KR" sz="2000" dirty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200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104" name="이등변 삼각형 103"/>
          <p:cNvSpPr/>
          <p:nvPr/>
        </p:nvSpPr>
        <p:spPr bwMode="auto">
          <a:xfrm rot="5400000">
            <a:off x="4023160" y="3179154"/>
            <a:ext cx="1719052" cy="288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65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을 통해서 도출된 데이터 개선 이슈를 기반으로 개선 및 신규 단위업무의 처리를 위해 필요한 데이터 항목을 도출하기 위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2" name="순서도: 페이지 연결자 31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요건</a:t>
            </a:r>
          </a:p>
        </p:txBody>
      </p:sp>
      <p:sp>
        <p:nvSpPr>
          <p:cNvPr id="33" name="순서도: 페이지 연결자 32"/>
          <p:cNvSpPr/>
          <p:nvPr/>
        </p:nvSpPr>
        <p:spPr>
          <a:xfrm>
            <a:off x="344360" y="278091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요건</a:t>
            </a:r>
          </a:p>
        </p:txBody>
      </p:sp>
      <p:sp>
        <p:nvSpPr>
          <p:cNvPr id="51" name="TextBox 5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 데이터 요건정의서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2" name="내용 개체 틀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6159773"/>
              </p:ext>
            </p:extLst>
          </p:nvPr>
        </p:nvGraphicFramePr>
        <p:xfrm>
          <a:off x="2073773" y="2272878"/>
          <a:ext cx="7341192" cy="144415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235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235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35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235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2353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2353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864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위업무 명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분류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 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 여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원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목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38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항목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항목 설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 bwMode="auto">
          <a:xfrm>
            <a:off x="2073773" y="3861061"/>
            <a:ext cx="7341192" cy="2213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noAutofit/>
          </a:bodyPr>
          <a:lstStyle/>
          <a:p>
            <a:pPr marL="88900" indent="-88900" latinLnBrk="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단위업무 명 </a:t>
            </a:r>
            <a:r>
              <a:rPr lang="en-US" altLang="ko-KR" sz="11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: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프로세스 분류에 따른 각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Level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과 단위업무명 작성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indent="-88900" latinLnBrk="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필요 데이터 항목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</a:p>
          <a:p>
            <a:pPr marL="1778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개념적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업무적 수준에서 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작성함</a:t>
            </a:r>
            <a:endParaRPr lang="en-US" altLang="ko-KR" sz="105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lvl="0" indent="-88900" latinLnBrk="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신규 </a:t>
            </a: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여부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  <a:latin typeface="맑은 고딕"/>
                <a:ea typeface="맑은 고딕"/>
              </a:rPr>
              <a:t>: </a:t>
            </a:r>
            <a:r>
              <a: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rPr>
              <a:t>현 시스템에서 관리하는 데이터 여부</a:t>
            </a:r>
            <a:endParaRPr lang="en-US" altLang="ko-KR" sz="110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8900" lvl="0" indent="-88900" latinLnBrk="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맑은 고딕"/>
                <a:ea typeface="맑은 고딕"/>
              </a:rPr>
              <a:t>데이터 원천</a:t>
            </a:r>
            <a:endParaRPr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내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외부 구분 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: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필요 데이터 원천이 </a:t>
            </a:r>
            <a:r>
              <a:rPr lang="en-US" altLang="ko-KR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NH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농협카드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외부로부터 받는 데이터인지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내부로부터 입수하는지 구분</a:t>
            </a:r>
            <a:endParaRPr lang="en-US" altLang="ko-KR" sz="1050" b="0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177800" lvl="1" indent="-88900" latinLnBrk="0">
              <a:spcBef>
                <a:spcPct val="30000"/>
              </a:spcBef>
              <a:buFont typeface="맑은 고딕" panose="020B0503020000020004" pitchFamily="50" charset="-127"/>
              <a:buChar char="–"/>
            </a:pP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수작업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입력에 의한 경우</a:t>
            </a: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/>
                <a:ea typeface="맑은 고딕"/>
              </a:rPr>
              <a:t>수기입력으로 </a:t>
            </a:r>
            <a:r>
              <a:rPr lang="ko-KR" altLang="en-US" sz="105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표시</a:t>
            </a:r>
            <a:endParaRPr lang="en-US" altLang="ko-KR" sz="105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8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19" name="TextBox 1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2689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그림 30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현황 분석 결과와 개선과제 반영을 고려하여 </a:t>
            </a:r>
            <a:r>
              <a:rPr lang="en-US" altLang="ko-KR" dirty="0"/>
              <a:t>To-Be </a:t>
            </a:r>
            <a:r>
              <a:rPr lang="ko-KR" altLang="en-US" dirty="0"/>
              <a:t>아키텍처를 수립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세대 아키텍처 구성을 위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의 정책 및 방향성을 고려한 설계 방향을 정의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아키텍처 구조 설계를 위한 목표모델 및 구성방안 정의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아키텍처 표준 유지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관리를 위한 관리체계 정의를 통하여 조직 및 역할 정의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9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9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모델 정의서</a:t>
            </a:r>
          </a:p>
        </p:txBody>
      </p:sp>
      <p:sp>
        <p:nvSpPr>
          <p:cNvPr id="4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개선 및 시사점을 고려한 차세대 아키텍처 설계 방향성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별 설계 원칙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 정의</a:t>
            </a:r>
          </a:p>
        </p:txBody>
      </p:sp>
      <p:sp>
        <p:nvSpPr>
          <p:cNvPr id="4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아키텍처 별 설계 방향 정의</a:t>
            </a:r>
          </a:p>
        </p:txBody>
      </p:sp>
      <p:sp>
        <p:nvSpPr>
          <p:cNvPr id="44" name="Rectangle 32"/>
          <p:cNvSpPr>
            <a:spLocks noChangeArrowheads="1"/>
          </p:cNvSpPr>
          <p:nvPr/>
        </p:nvSpPr>
        <p:spPr bwMode="auto">
          <a:xfrm>
            <a:off x="2346325" y="5445288"/>
            <a:ext cx="5270500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표준을 유지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하기 위한 체계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및 이행단계 아키텍처 조직 및 역할 정의</a:t>
            </a:r>
          </a:p>
        </p:txBody>
      </p:sp>
      <p:sp>
        <p:nvSpPr>
          <p:cNvPr id="45" name="Rectangle 33"/>
          <p:cNvSpPr>
            <a:spLocks noChangeArrowheads="1"/>
          </p:cNvSpPr>
          <p:nvPr/>
        </p:nvSpPr>
        <p:spPr bwMode="auto">
          <a:xfrm>
            <a:off x="273050" y="5445288"/>
            <a:ext cx="2022475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아키텍처 관리체계 정의</a:t>
            </a:r>
          </a:p>
        </p:txBody>
      </p:sp>
      <p:sp>
        <p:nvSpPr>
          <p:cNvPr id="46" name="Rectangle 32"/>
          <p:cNvSpPr>
            <a:spLocks noChangeArrowheads="1"/>
          </p:cNvSpPr>
          <p:nvPr/>
        </p:nvSpPr>
        <p:spPr bwMode="auto">
          <a:xfrm>
            <a:off x="2346325" y="4580812"/>
            <a:ext cx="5270500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별 </a:t>
            </a:r>
            <a:r>
              <a:rPr kumimoji="1"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모델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별 구성방안 정의</a:t>
            </a:r>
          </a:p>
        </p:txBody>
      </p:sp>
      <p:sp>
        <p:nvSpPr>
          <p:cNvPr id="47" name="Rectangle 33"/>
          <p:cNvSpPr>
            <a:spLocks noChangeArrowheads="1"/>
          </p:cNvSpPr>
          <p:nvPr/>
        </p:nvSpPr>
        <p:spPr bwMode="auto">
          <a:xfrm>
            <a:off x="273050" y="4580812"/>
            <a:ext cx="2022475" cy="792000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아키텍처 구조 설계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2538849" y="2694866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1632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를 위한 설계방향을 정의하고 이를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조를 설계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어플리케이션 아키텍처는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의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Vision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및 발전 전략에 따른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Business Driver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로서 금융환경 변화에 유연한 전사 표준 및 실행 기반 아키텍처 설계 방향을 정의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As-Is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어플리케이션 현황분석 결과와 실행과제 달성을 위한 요건을 반영할 수 있도록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어플리케이션 아키텍처의 구조를 설계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9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4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A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모델 정의서</a:t>
            </a:r>
          </a:p>
        </p:txBody>
      </p:sp>
      <p:sp>
        <p:nvSpPr>
          <p:cNvPr id="26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Key Initiative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 연관 어플리케이션 아키텍처 설계 방향성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기준 구성요소 및 설계원칙 수립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설계 방향 정의 </a:t>
            </a:r>
          </a:p>
        </p:txBody>
      </p:sp>
      <p:sp>
        <p:nvSpPr>
          <p:cNvPr id="31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연관성 검토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 Map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체계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A L3)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와 어플리케이션 </a:t>
            </a:r>
            <a:r>
              <a:rPr kumimoji="1" lang="ko-KR" altLang="en-US" sz="12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핑</a:t>
            </a:r>
            <a:endParaRPr kumimoji="1"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pic>
        <p:nvPicPr>
          <p:cNvPr id="35" name="그림 34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6" name="직사각형 35"/>
          <p:cNvSpPr/>
          <p:nvPr/>
        </p:nvSpPr>
        <p:spPr bwMode="auto">
          <a:xfrm>
            <a:off x="2538849" y="2694866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522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 결과와 전략과제 반영을 고려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방향성을 수립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9" name="Group 1"/>
          <p:cNvGrpSpPr/>
          <p:nvPr/>
        </p:nvGrpSpPr>
        <p:grpSpPr>
          <a:xfrm>
            <a:off x="2072032" y="2351962"/>
            <a:ext cx="5003872" cy="3741226"/>
            <a:chOff x="1951510" y="1873290"/>
            <a:chExt cx="5449762" cy="4115349"/>
          </a:xfrm>
        </p:grpSpPr>
        <p:pic>
          <p:nvPicPr>
            <p:cNvPr id="80" name="그림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51510" y="1873290"/>
              <a:ext cx="4487045" cy="3200677"/>
            </a:xfrm>
            <a:prstGeom prst="rect">
              <a:avLst/>
            </a:prstGeom>
          </p:spPr>
        </p:pic>
        <p:sp>
          <p:nvSpPr>
            <p:cNvPr id="81" name="Rectangle 4"/>
            <p:cNvSpPr/>
            <p:nvPr/>
          </p:nvSpPr>
          <p:spPr>
            <a:xfrm>
              <a:off x="2370654" y="2949393"/>
              <a:ext cx="5030618" cy="303924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cs typeface="Arial" pitchFamily="34" charset="0"/>
              </a:endParaRPr>
            </a:p>
          </p:txBody>
        </p:sp>
        <p:pic>
          <p:nvPicPr>
            <p:cNvPr id="82" name="Picture 9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0839" y="2949393"/>
              <a:ext cx="5030618" cy="3039246"/>
            </a:xfrm>
            <a:prstGeom prst="rect">
              <a:avLst/>
            </a:prstGeom>
            <a:noFill/>
            <a:ln w="9525">
              <a:solidFill>
                <a:srgbClr val="FFFFFF">
                  <a:lumMod val="75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83" name="AutoShape 47"/>
            <p:cNvCxnSpPr>
              <a:cxnSpLocks noChangeShapeType="1"/>
            </p:cNvCxnSpPr>
            <p:nvPr/>
          </p:nvCxnSpPr>
          <p:spPr bwMode="auto">
            <a:xfrm flipH="1">
              <a:off x="3731489" y="2290285"/>
              <a:ext cx="2060501" cy="1283687"/>
            </a:xfrm>
            <a:prstGeom prst="straightConnector1">
              <a:avLst/>
            </a:prstGeom>
            <a:noFill/>
            <a:ln w="19050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4" name="Rectangle 10"/>
            <p:cNvSpPr>
              <a:spLocks noChangeArrowheads="1"/>
            </p:cNvSpPr>
            <p:nvPr/>
          </p:nvSpPr>
          <p:spPr bwMode="auto">
            <a:xfrm>
              <a:off x="3928602" y="2149112"/>
              <a:ext cx="1960460" cy="141427"/>
            </a:xfrm>
            <a:prstGeom prst="rect">
              <a:avLst/>
            </a:prstGeom>
            <a:noFill/>
            <a:ln w="9525" algn="ctr">
              <a:solidFill>
                <a:srgbClr val="9B1717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ko-KR" b="1" kern="0" dirty="0" smtClean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85" name="Rectangle 10"/>
            <p:cNvSpPr>
              <a:spLocks noChangeArrowheads="1"/>
            </p:cNvSpPr>
            <p:nvPr/>
          </p:nvSpPr>
          <p:spPr bwMode="auto">
            <a:xfrm>
              <a:off x="3932577" y="2432427"/>
              <a:ext cx="1463320" cy="141427"/>
            </a:xfrm>
            <a:prstGeom prst="rect">
              <a:avLst/>
            </a:prstGeom>
            <a:noFill/>
            <a:ln w="9525" algn="ctr">
              <a:solidFill>
                <a:srgbClr val="9B1717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ko-KR" b="1" kern="0" dirty="0" smtClean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86" name="AutoShape 47"/>
            <p:cNvCxnSpPr>
              <a:cxnSpLocks noChangeShapeType="1"/>
            </p:cNvCxnSpPr>
            <p:nvPr/>
          </p:nvCxnSpPr>
          <p:spPr bwMode="auto">
            <a:xfrm flipH="1">
              <a:off x="3731489" y="2575247"/>
              <a:ext cx="1453160" cy="3001852"/>
            </a:xfrm>
            <a:prstGeom prst="straightConnector1">
              <a:avLst/>
            </a:prstGeom>
            <a:noFill/>
            <a:ln w="19050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7" name="Rectangle 10"/>
            <p:cNvSpPr>
              <a:spLocks noChangeArrowheads="1"/>
            </p:cNvSpPr>
            <p:nvPr/>
          </p:nvSpPr>
          <p:spPr bwMode="auto">
            <a:xfrm>
              <a:off x="3930691" y="2298789"/>
              <a:ext cx="1740975" cy="141427"/>
            </a:xfrm>
            <a:prstGeom prst="rect">
              <a:avLst/>
            </a:prstGeom>
            <a:noFill/>
            <a:ln w="9525" algn="ctr">
              <a:solidFill>
                <a:srgbClr val="9B1717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ko-KR" b="1" kern="0" dirty="0" smtClean="0">
                <a:solidFill>
                  <a:srgbClr val="000000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88" name="AutoShape 47"/>
            <p:cNvCxnSpPr>
              <a:cxnSpLocks noChangeShapeType="1"/>
            </p:cNvCxnSpPr>
            <p:nvPr/>
          </p:nvCxnSpPr>
          <p:spPr bwMode="auto">
            <a:xfrm flipH="1">
              <a:off x="3731489" y="2445719"/>
              <a:ext cx="1664409" cy="2166912"/>
            </a:xfrm>
            <a:prstGeom prst="straightConnector1">
              <a:avLst/>
            </a:prstGeom>
            <a:noFill/>
            <a:ln w="19050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89" name="직사각형 8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A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 방향성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구축 방향성을 통해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Key Initiative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를 도출하고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Key Initiative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별 연관된 어플리케이션 아키텍처 설계 방향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의</a:t>
            </a: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어플리케이션 영역별 설계 방향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의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황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진단 결과 도출된 문제점 및 개선 요건을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감안하여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원활한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전략 지원이 가능한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–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어플리케이션 설계를 위해 각 어플리케이션 영역 고유의 방향성 도출</a:t>
            </a:r>
          </a:p>
        </p:txBody>
      </p: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2161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방향성을 고려하여 차세대 시스템 구축을 위해 준수해야 하는 원칙을 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25" name="Group 25"/>
          <p:cNvGrpSpPr/>
          <p:nvPr/>
        </p:nvGrpSpPr>
        <p:grpSpPr>
          <a:xfrm>
            <a:off x="1928664" y="2281758"/>
            <a:ext cx="4674847" cy="3905318"/>
            <a:chOff x="4016870" y="1935300"/>
            <a:chExt cx="5328740" cy="4407497"/>
          </a:xfrm>
        </p:grpSpPr>
        <p:pic>
          <p:nvPicPr>
            <p:cNvPr id="26" name="Picture 3"/>
            <p:cNvPicPr>
              <a:picLocks noChangeArrowheads="1"/>
            </p:cNvPicPr>
            <p:nvPr/>
          </p:nvPicPr>
          <p:blipFill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906" y="2166180"/>
              <a:ext cx="3492000" cy="22497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5"/>
            <p:cNvPicPr>
              <a:picLocks noChangeArrowheads="1"/>
            </p:cNvPicPr>
            <p:nvPr/>
          </p:nvPicPr>
          <p:blipFill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3610" y="3051491"/>
              <a:ext cx="3492000" cy="22497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  <p:pic>
          <p:nvPicPr>
            <p:cNvPr id="28" name="Picture 6"/>
            <p:cNvPicPr>
              <a:picLocks noChangeArrowheads="1"/>
            </p:cNvPicPr>
            <p:nvPr/>
          </p:nvPicPr>
          <p:blipFill>
            <a:blip r:embed="rId6" cstate="screen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6870" y="4093028"/>
              <a:ext cx="3492000" cy="22497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  <p:sp>
          <p:nvSpPr>
            <p:cNvPr id="29" name="직사각형 4"/>
            <p:cNvSpPr/>
            <p:nvPr/>
          </p:nvSpPr>
          <p:spPr>
            <a:xfrm>
              <a:off x="4125903" y="1935300"/>
              <a:ext cx="3445200" cy="216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</a:pPr>
              <a:r>
                <a:rPr lang="ko-KR" altLang="en-US" sz="120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기준 </a:t>
              </a:r>
              <a:r>
                <a:rPr lang="ko-KR" altLang="en-US" sz="1200" b="1" kern="0" dirty="0" smtClean="0">
                  <a:solidFill>
                    <a:srgbClr val="FFFFFF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구성요소</a:t>
              </a:r>
              <a:endParaRPr lang="ko-KR" altLang="en-US" sz="1200" b="1" kern="0" dirty="0">
                <a:solidFill>
                  <a:srgbClr val="FFFFFF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5853610" y="2807093"/>
              <a:ext cx="3492000" cy="216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</a:pPr>
              <a:r>
                <a:rPr lang="ko-KR" altLang="en-US" sz="1200" b="1" kern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 원칙</a:t>
              </a:r>
              <a:endParaRPr lang="ko-KR" altLang="en-US" sz="1200" b="1" kern="0" dirty="0">
                <a:solidFill>
                  <a:srgbClr val="FFFFFF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4029937" y="3861060"/>
              <a:ext cx="3492000" cy="216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</a:pPr>
              <a:r>
                <a:rPr lang="ko-KR" altLang="en-US" sz="1200" b="1" kern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 원칙 상세</a:t>
              </a:r>
              <a:endParaRPr lang="ko-KR" altLang="en-US" sz="1200" b="1" kern="0" dirty="0">
                <a:solidFill>
                  <a:srgbClr val="FFFFFF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2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기준 구성요소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구축 시스템의 개발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유지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활용에 전반적으로 적용되어야 할 어플리케이션 구성요소를 도출함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원칙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요건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업 및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인터뷰 등을 통해 도출된 요건을 기반으로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–Be AA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 원칙에 대해 검토함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도출된 아키텍처 설계 방향성 별로 설계 기준 구성요소에 맞춰 설계 원칙을 수립함</a:t>
            </a:r>
          </a:p>
        </p:txBody>
      </p:sp>
      <p:sp>
        <p:nvSpPr>
          <p:cNvPr id="33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</p:spTree>
    <p:extLst>
      <p:ext uri="{BB962C8B-B14F-4D97-AF65-F5344CB8AC3E}">
        <p14:creationId xmlns:p14="http://schemas.microsoft.com/office/powerpoint/2010/main" val="404494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과제 상세화 내용 및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pu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료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활용하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p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23" name="Group 65"/>
          <p:cNvGrpSpPr/>
          <p:nvPr/>
        </p:nvGrpSpPr>
        <p:grpSpPr>
          <a:xfrm>
            <a:off x="1955395" y="2312530"/>
            <a:ext cx="5074951" cy="3863660"/>
            <a:chOff x="4070346" y="2225420"/>
            <a:chExt cx="5441035" cy="3941320"/>
          </a:xfrm>
        </p:grpSpPr>
        <p:sp>
          <p:nvSpPr>
            <p:cNvPr id="24" name="직사각형 27"/>
            <p:cNvSpPr/>
            <p:nvPr/>
          </p:nvSpPr>
          <p:spPr>
            <a:xfrm>
              <a:off x="6997369" y="4431656"/>
              <a:ext cx="2509726" cy="22538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To-Be Application Map </a:t>
              </a: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정의</a:t>
              </a:r>
            </a:p>
          </p:txBody>
        </p:sp>
        <p:sp>
          <p:nvSpPr>
            <p:cNvPr id="34" name="직사각형 27"/>
            <p:cNvSpPr/>
            <p:nvPr/>
          </p:nvSpPr>
          <p:spPr>
            <a:xfrm>
              <a:off x="4096869" y="4431656"/>
              <a:ext cx="2509726" cy="22538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현행 </a:t>
              </a: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IT </a:t>
              </a: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이슈 및 목표 연계</a:t>
              </a:r>
            </a:p>
          </p:txBody>
        </p:sp>
        <p:pic>
          <p:nvPicPr>
            <p:cNvPr id="35" name="그림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200122" y="4753727"/>
              <a:ext cx="2337098" cy="1413013"/>
            </a:xfrm>
            <a:prstGeom prst="rect">
              <a:avLst/>
            </a:prstGeom>
          </p:spPr>
        </p:pic>
        <p:sp>
          <p:nvSpPr>
            <p:cNvPr id="36" name="직사각형 27"/>
            <p:cNvSpPr/>
            <p:nvPr/>
          </p:nvSpPr>
          <p:spPr>
            <a:xfrm>
              <a:off x="4070346" y="2225420"/>
              <a:ext cx="2509726" cy="22538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Biz </a:t>
              </a: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전략 과제 상세화</a:t>
              </a:r>
            </a:p>
          </p:txBody>
        </p:sp>
        <p:pic>
          <p:nvPicPr>
            <p:cNvPr id="40" name="그림 25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rgbClr val="00A3AE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1468" y="4722148"/>
              <a:ext cx="2509726" cy="1371222"/>
            </a:xfrm>
            <a:prstGeom prst="rect">
              <a:avLst/>
            </a:prstGeom>
          </p:spPr>
        </p:pic>
        <p:pic>
          <p:nvPicPr>
            <p:cNvPr id="41" name="그림 34"/>
            <p:cNvPicPr>
              <a:picLocks noChangeAspect="1"/>
            </p:cNvPicPr>
            <p:nvPr/>
          </p:nvPicPr>
          <p:blipFill rotWithShape="1">
            <a:blip r:embed="rId4"/>
            <a:srcRect t="8307"/>
            <a:stretch/>
          </p:blipFill>
          <p:spPr>
            <a:xfrm>
              <a:off x="7005381" y="2574888"/>
              <a:ext cx="2506000" cy="12862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</p:pic>
        <p:grpSp>
          <p:nvGrpSpPr>
            <p:cNvPr id="42" name="그룹 18"/>
            <p:cNvGrpSpPr/>
            <p:nvPr/>
          </p:nvGrpSpPr>
          <p:grpSpPr>
            <a:xfrm>
              <a:off x="4140224" y="2564880"/>
              <a:ext cx="2351434" cy="1217689"/>
              <a:chOff x="747056" y="4486415"/>
              <a:chExt cx="4142719" cy="1124988"/>
            </a:xfrm>
          </p:grpSpPr>
          <p:pic>
            <p:nvPicPr>
              <p:cNvPr id="47" name="Picture 77"/>
              <p:cNvPicPr preferRelativeResize="0">
                <a:picLocks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47056" y="4486415"/>
                <a:ext cx="2445974" cy="854047"/>
              </a:xfrm>
              <a:prstGeom prst="rect">
                <a:avLst/>
              </a:prstGeom>
              <a:noFill/>
              <a:ln w="9525" algn="ctr">
                <a:solidFill>
                  <a:srgbClr val="969696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969696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78"/>
              <p:cNvPicPr preferRelativeResize="0">
                <a:picLocks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3803" y="4757356"/>
                <a:ext cx="2445972" cy="854047"/>
              </a:xfrm>
              <a:prstGeom prst="rect">
                <a:avLst/>
              </a:prstGeom>
              <a:noFill/>
              <a:ln w="9525">
                <a:solidFill>
                  <a:srgbClr val="777777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3" name="아래쪽 화살표 9"/>
            <p:cNvSpPr/>
            <p:nvPr/>
          </p:nvSpPr>
          <p:spPr>
            <a:xfrm>
              <a:off x="8192922" y="4029550"/>
              <a:ext cx="432588" cy="401491"/>
            </a:xfrm>
            <a:prstGeom prst="downArrow">
              <a:avLst/>
            </a:pr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44" name="아래쪽 화살표 37"/>
            <p:cNvSpPr/>
            <p:nvPr/>
          </p:nvSpPr>
          <p:spPr>
            <a:xfrm rot="16200000">
              <a:off x="6585689" y="5059926"/>
              <a:ext cx="432588" cy="401491"/>
            </a:xfrm>
            <a:prstGeom prst="downArrow">
              <a:avLst/>
            </a:pr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45" name="아래쪽 화살표 38"/>
            <p:cNvSpPr/>
            <p:nvPr/>
          </p:nvSpPr>
          <p:spPr>
            <a:xfrm rot="19572498">
              <a:off x="6540321" y="3947445"/>
              <a:ext cx="432588" cy="401491"/>
            </a:xfrm>
            <a:prstGeom prst="downArrow">
              <a:avLst/>
            </a:pr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sp>
          <p:nvSpPr>
            <p:cNvPr id="46" name="직사각형 27"/>
            <p:cNvSpPr/>
            <p:nvPr/>
          </p:nvSpPr>
          <p:spPr>
            <a:xfrm>
              <a:off x="7001468" y="2225420"/>
              <a:ext cx="2509726" cy="22538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To-Be </a:t>
              </a: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비즈니스 프로세스</a:t>
              </a:r>
              <a:r>
                <a:rPr kumimoji="0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(L3)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</p:grpSp>
      <p:sp>
        <p:nvSpPr>
          <p:cNvPr id="49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과제 및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프로세스 반영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및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간 연계를 위해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프로세스 반영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–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어플리케이션 및 관계도 작성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과제 상세화 내용을 기반으로 연관성 검토를 통해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Application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성 요건 도출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Application Map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행 시스템의 이슈와 목표 시스템의 방향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행 업무체계 분석 및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AA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체계분석 통한 기능 매핑</a:t>
            </a:r>
          </a:p>
        </p:txBody>
      </p:sp>
      <p:sp>
        <p:nvSpPr>
          <p:cNvPr id="5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</p:spTree>
    <p:extLst>
      <p:ext uri="{BB962C8B-B14F-4D97-AF65-F5344CB8AC3E}">
        <p14:creationId xmlns:p14="http://schemas.microsoft.com/office/powerpoint/2010/main" val="3758746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A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을 참고하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별로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핑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5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grpSp>
        <p:nvGrpSpPr>
          <p:cNvPr id="29" name="Group 27"/>
          <p:cNvGrpSpPr/>
          <p:nvPr/>
        </p:nvGrpSpPr>
        <p:grpSpPr>
          <a:xfrm>
            <a:off x="2211325" y="2379394"/>
            <a:ext cx="4613883" cy="3702144"/>
            <a:chOff x="4147295" y="1940784"/>
            <a:chExt cx="4706622" cy="4154213"/>
          </a:xfrm>
        </p:grpSpPr>
        <p:pic>
          <p:nvPicPr>
            <p:cNvPr id="30" name="Picture 37"/>
            <p:cNvPicPr preferRelativeResize="0">
              <a:picLocks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7295" y="2204830"/>
              <a:ext cx="2750162" cy="15800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29" descr="C:\Documents and Settings\최재원1\My Documents\My Pictures\기능구조도1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3150" y="2405851"/>
              <a:ext cx="2820767" cy="16358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2" name="그림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3115" y="4539799"/>
              <a:ext cx="2894305" cy="1555198"/>
            </a:xfrm>
            <a:prstGeom prst="rect">
              <a:avLst/>
            </a:prstGeom>
          </p:spPr>
        </p:pic>
        <p:sp>
          <p:nvSpPr>
            <p:cNvPr id="33" name="직사각형 29"/>
            <p:cNvSpPr/>
            <p:nvPr/>
          </p:nvSpPr>
          <p:spPr>
            <a:xfrm>
              <a:off x="5242406" y="1940784"/>
              <a:ext cx="2663004" cy="216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</a:pPr>
              <a:r>
                <a:rPr lang="ko-KR" altLang="en-US" sz="1200" b="1" kern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플리케이션 기능 세분화</a:t>
              </a:r>
              <a:endParaRPr lang="ko-KR" altLang="en-US" sz="1200" b="1" kern="0" dirty="0">
                <a:solidFill>
                  <a:srgbClr val="FFFFFF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직사각형 30"/>
            <p:cNvSpPr/>
            <p:nvPr/>
          </p:nvSpPr>
          <p:spPr>
            <a:xfrm>
              <a:off x="5211742" y="4162554"/>
              <a:ext cx="2663004" cy="216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</a:pPr>
              <a:r>
                <a:rPr lang="ko-KR" altLang="en-US" sz="1200" b="1" kern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플리케이션 세부 기능 요건 정의</a:t>
              </a:r>
              <a:endParaRPr lang="ko-KR" altLang="en-US" sz="1200" b="1" kern="0" dirty="0">
                <a:solidFill>
                  <a:srgbClr val="FFFFFF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2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어플리케이션 기능 분화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–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어플리케이션 맵에 대한 상위 수준의 기능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기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도출된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Biz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전략과제 및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I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과제들의 주요 개선기회로 부터 기능요건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검토</a:t>
            </a: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7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를 위한 설계방향을 정의하고 이를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조를 설계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Vision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및 정책에 따른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향성 연계 및 차세대 아키텍처 설계 시 일관성 및 유기적 연계가 가능하도록 데이터 아키텍처 원칙을 수립함</a:t>
            </a: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세대 시스템 구축 및 이후까지를 고려한 데이터 관리 체계 원칙 정의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전사 주제영역과 데이터 흐름 및 배치 관점의 아키텍처 수립하고 주요 영역에 대한 개념 모델링을 실시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9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2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D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모델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의서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3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칙 및 차세대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성 연계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데이터 아키텍처 원칙 정의</a:t>
            </a: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설계 방향 정의</a:t>
            </a:r>
          </a:p>
        </p:txBody>
      </p: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경량화 등 데이터 관련 핵심이슈에 대한 최적화 방안을 아키텍처 설계에 반영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준수 및 관리를 위한 프로세스 및 정책 수립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프로세스 체계 및 어플리케이션 구성과 연계하여 전사 주제영역 방향성 정의</a:t>
            </a:r>
          </a:p>
        </p:txBody>
      </p:sp>
      <p:sp>
        <p:nvSpPr>
          <p:cNvPr id="37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구조 설계</a:t>
            </a:r>
          </a:p>
        </p:txBody>
      </p:sp>
      <p:pic>
        <p:nvPicPr>
          <p:cNvPr id="32" name="그림 3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3" name="직사각형 32"/>
          <p:cNvSpPr/>
          <p:nvPr/>
        </p:nvSpPr>
        <p:spPr bwMode="auto">
          <a:xfrm>
            <a:off x="2538849" y="2694866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4929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D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NH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협카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차세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아키텍처 설계 시 일관성 및 유기적 연계가 가능하도록 데이터 아키텍처 원칙을 수립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DA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25" name="Group 3"/>
          <p:cNvGrpSpPr/>
          <p:nvPr/>
        </p:nvGrpSpPr>
        <p:grpSpPr>
          <a:xfrm>
            <a:off x="1856656" y="2258383"/>
            <a:ext cx="5141841" cy="3873870"/>
            <a:chOff x="2072664" y="2710149"/>
            <a:chExt cx="5141841" cy="3873870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43"/>
            <a:stretch/>
          </p:blipFill>
          <p:spPr bwMode="auto">
            <a:xfrm>
              <a:off x="2072664" y="2710149"/>
              <a:ext cx="4173136" cy="2164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5663" y="3256031"/>
              <a:ext cx="3510444" cy="2131617"/>
            </a:xfrm>
            <a:prstGeom prst="rect">
              <a:avLst/>
            </a:prstGeom>
            <a:noFill/>
            <a:ln w="9525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7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0037" y="4459132"/>
              <a:ext cx="2844468" cy="2124887"/>
            </a:xfrm>
            <a:prstGeom prst="rect">
              <a:avLst/>
            </a:prstGeom>
            <a:noFill/>
            <a:ln w="9525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9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설계 시 반영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설계 시 사전 검토 항목에 대한 의사결정 사항이 반영될 수 있도록 방향성에 반영함</a:t>
            </a:r>
            <a:endParaRPr lang="en-US" altLang="ko-KR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관리체계 원칙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관리체계의 현황분석 결과에 따라서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관리체계 수립을 위한 원칙을 정제하고 일부 지침의 개정 및 상세화를 수행하며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추가적인 부분은 실행과제로 도출함</a:t>
            </a:r>
          </a:p>
        </p:txBody>
      </p:sp>
    </p:spTree>
    <p:extLst>
      <p:ext uri="{BB962C8B-B14F-4D97-AF65-F5344CB8AC3E}">
        <p14:creationId xmlns:p14="http://schemas.microsoft.com/office/powerpoint/2010/main" val="408027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D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아키텍처 표준 준수 및 관리체계 개선을 위한 프로세스 정의 및 메타데이터관리 시스템 개선을 정의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To-Be </a:t>
            </a:r>
            <a:r>
              <a:rPr lang="ko-KR" altLang="en-US" dirty="0" smtClean="0">
                <a:cs typeface="Arial"/>
              </a:rPr>
              <a:t>업무 설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AA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와 연계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제영역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Master Data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의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1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전사 주제영역 선정 방안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NH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농협카드의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전사 주제영역은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특성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및 향후 비즈니스 추진 방향에 맞도록 정의하고자 함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분산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Rul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적용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여러 어플리케이션에서 공유되는 데이터의 중앙 통합 관리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복제 최소화 및 데이터 경량화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즈니스 확장 지원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등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 통합과 공유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전사 차원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데이터통합과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공유를 위한 데이터 분산 아키텍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</a:t>
            </a: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grpSp>
        <p:nvGrpSpPr>
          <p:cNvPr id="23" name="Group 39"/>
          <p:cNvGrpSpPr/>
          <p:nvPr/>
        </p:nvGrpSpPr>
        <p:grpSpPr>
          <a:xfrm>
            <a:off x="2012963" y="2312724"/>
            <a:ext cx="5100277" cy="3864812"/>
            <a:chOff x="4005264" y="1853794"/>
            <a:chExt cx="5610305" cy="4531239"/>
          </a:xfrm>
        </p:grpSpPr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5265" y="2191572"/>
              <a:ext cx="3106143" cy="1641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0679" y="2287556"/>
              <a:ext cx="2374890" cy="1184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" name="Group 46"/>
            <p:cNvGrpSpPr/>
            <p:nvPr/>
          </p:nvGrpSpPr>
          <p:grpSpPr>
            <a:xfrm>
              <a:off x="4005265" y="4183543"/>
              <a:ext cx="5610304" cy="2201490"/>
              <a:chOff x="-82433" y="2319150"/>
              <a:chExt cx="9546278" cy="4281430"/>
            </a:xfrm>
          </p:grpSpPr>
          <p:pic>
            <p:nvPicPr>
              <p:cNvPr id="34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2433" y="2319150"/>
                <a:ext cx="8106691" cy="31540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5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35725" y="3880591"/>
                <a:ext cx="5728120" cy="27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2" name="직사각형 29"/>
            <p:cNvSpPr/>
            <p:nvPr/>
          </p:nvSpPr>
          <p:spPr>
            <a:xfrm>
              <a:off x="4005264" y="1853794"/>
              <a:ext cx="4263755" cy="21603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전사 주제영역 선정 방안</a:t>
              </a:r>
            </a:p>
          </p:txBody>
        </p:sp>
        <p:sp>
          <p:nvSpPr>
            <p:cNvPr id="33" name="직사각형 29"/>
            <p:cNvSpPr/>
            <p:nvPr/>
          </p:nvSpPr>
          <p:spPr>
            <a:xfrm>
              <a:off x="4005265" y="3933070"/>
              <a:ext cx="4263755" cy="216030"/>
            </a:xfrm>
            <a:prstGeom prst="rect">
              <a:avLst/>
            </a:prstGeom>
            <a:solidFill>
              <a:srgbClr val="FFFFFF">
                <a:lumMod val="50000"/>
              </a:srgbClr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데이터 분산구조 설계</a:t>
              </a: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: </a:t>
              </a: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rPr>
                <a:t>데이터 도메인 결정 방안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5023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BC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용 적정성 점검 및 적정성 점검 프로세스 도입 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C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대행수수료는 연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,00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원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행 기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 넘는 금액이 청구되나 금액의 적정성에 대한 의문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있었으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근 가맹점수익 하락에 따른 비용관리 차원의 추진이 필요함 </a:t>
            </a:r>
          </a:p>
        </p:txBody>
      </p:sp>
      <p:sp>
        <p:nvSpPr>
          <p:cNvPr id="70" name="직사각형 69"/>
          <p:cNvSpPr/>
          <p:nvPr/>
        </p:nvSpPr>
        <p:spPr bwMode="gray">
          <a:xfrm>
            <a:off x="272480" y="2899863"/>
            <a:ext cx="1540352" cy="936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조직 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Level</a:t>
            </a:r>
            <a:b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브랜드</a:t>
            </a:r>
            <a: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</a:t>
            </a:r>
            <a: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ko-KR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기타 </a:t>
            </a:r>
            <a:r>
              <a:rPr kumimoji="0" lang="ko-KR" altLang="en-US" sz="13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오퍼</a:t>
            </a:r>
            <a:r>
              <a:rPr kumimoji="0" lang="ko-KR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비용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등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) </a:t>
            </a:r>
            <a:endParaRPr kumimoji="0" lang="ko-KR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2" name="직사각형 71"/>
          <p:cNvSpPr/>
          <p:nvPr/>
        </p:nvSpPr>
        <p:spPr bwMode="gray">
          <a:xfrm>
            <a:off x="272480" y="3953319"/>
            <a:ext cx="1540352" cy="936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고객 </a:t>
            </a:r>
            <a: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Level</a:t>
            </a:r>
            <a:b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마케팅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,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회원관리 비용 등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kumimoji="0" lang="ko-KR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3" name="직사각형 72"/>
          <p:cNvSpPr/>
          <p:nvPr/>
        </p:nvSpPr>
        <p:spPr bwMode="gray">
          <a:xfrm>
            <a:off x="272480" y="5006775"/>
            <a:ext cx="1540352" cy="1008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카드번호 </a:t>
            </a:r>
            <a: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Level</a:t>
            </a:r>
            <a:b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en-US" altLang="ko-KR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승인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매출 비용 등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kumimoji="0" lang="ko-KR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5" name="직사각형 74"/>
          <p:cNvSpPr/>
          <p:nvPr/>
        </p:nvSpPr>
        <p:spPr bwMode="gray">
          <a:xfrm>
            <a:off x="272480" y="1844824"/>
            <a:ext cx="1540352" cy="936000"/>
          </a:xfrm>
          <a:prstGeom prst="rect">
            <a:avLst/>
          </a:prstGeom>
          <a:solidFill>
            <a:srgbClr val="365AA8">
              <a:lumMod val="20000"/>
              <a:lumOff val="8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공통</a:t>
            </a:r>
          </a:p>
        </p:txBody>
      </p:sp>
      <p:sp>
        <p:nvSpPr>
          <p:cNvPr id="76" name="직사각형 75"/>
          <p:cNvSpPr/>
          <p:nvPr/>
        </p:nvSpPr>
        <p:spPr bwMode="gray">
          <a:xfrm>
            <a:off x="1870304" y="2899863"/>
            <a:ext cx="3662044" cy="936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NH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부담 비용 청구 적정성 검토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은행 및 농축협 </a:t>
            </a: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조직별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배부 </a:t>
            </a: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로직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검증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회원번호 또는 </a:t>
            </a: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고객번호별로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데이터 제공 가능 여부 확인</a:t>
            </a:r>
          </a:p>
        </p:txBody>
      </p:sp>
      <p:sp>
        <p:nvSpPr>
          <p:cNvPr id="77" name="직사각형 76"/>
          <p:cNvSpPr/>
          <p:nvPr/>
        </p:nvSpPr>
        <p:spPr bwMode="gray">
          <a:xfrm>
            <a:off x="1870304" y="3953319"/>
            <a:ext cx="3662044" cy="936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300" b="0" i="0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NH </a:t>
            </a:r>
            <a:r>
              <a:rPr kumimoji="0" lang="ko-KR" altLang="en-US" sz="1300" b="0" i="0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회원</a:t>
            </a:r>
            <a:r>
              <a:rPr kumimoji="0" lang="en-US" altLang="ko-KR" sz="1300" b="0" i="0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여부 및 회원 </a:t>
            </a:r>
            <a:r>
              <a:rPr kumimoji="0" lang="ko-KR" altLang="en-US" sz="1300" b="0" i="0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확인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항목별 비용발생 원천 및 시점 검증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고객별 배부</a:t>
            </a:r>
            <a:r>
              <a:rPr kumimoji="0" lang="en-US" altLang="ko-KR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산출 </a:t>
            </a: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로직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및 배부기준 점검</a:t>
            </a:r>
          </a:p>
        </p:txBody>
      </p:sp>
      <p:sp>
        <p:nvSpPr>
          <p:cNvPr id="78" name="직사각형 77"/>
          <p:cNvSpPr/>
          <p:nvPr/>
        </p:nvSpPr>
        <p:spPr bwMode="gray">
          <a:xfrm>
            <a:off x="1870304" y="5006775"/>
            <a:ext cx="3662044" cy="1008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NH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농협카드</a:t>
            </a:r>
            <a:r>
              <a:rPr kumimoji="0" lang="en-US" altLang="ko-KR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여부 및 서비스 발생 가능 카드 여부 확인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항목별 비용발생 원천 및 시점 검증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카드번호별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배부</a:t>
            </a:r>
            <a:r>
              <a:rPr kumimoji="0" lang="en-US" altLang="ko-KR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산출 </a:t>
            </a:r>
            <a:r>
              <a:rPr kumimoji="0" lang="ko-KR" altLang="en-US" sz="13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로직</a:t>
            </a: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 및 배부기준 점검</a:t>
            </a:r>
          </a:p>
        </p:txBody>
      </p:sp>
      <p:sp>
        <p:nvSpPr>
          <p:cNvPr id="80" name="직사각형 79"/>
          <p:cNvSpPr/>
          <p:nvPr/>
        </p:nvSpPr>
        <p:spPr bwMode="gray">
          <a:xfrm>
            <a:off x="1870304" y="1844824"/>
            <a:ext cx="3662044" cy="936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비용항목별 카드회계 계정기표 검토</a:t>
            </a:r>
            <a:endParaRPr kumimoji="0" lang="en-US" altLang="ko-KR" sz="13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4625" marR="0" lvl="0" indent="-174625" algn="l" defTabSz="914400" rtl="0" eaLnBrk="0" fontAlgn="t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3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동일 비용항목 이중 청구 여부 가능성</a:t>
            </a:r>
          </a:p>
        </p:txBody>
      </p:sp>
      <p:sp>
        <p:nvSpPr>
          <p:cNvPr id="81" name="TextBox 80"/>
          <p:cNvSpPr txBox="1"/>
          <p:nvPr/>
        </p:nvSpPr>
        <p:spPr bwMode="gray">
          <a:xfrm>
            <a:off x="6285495" y="2762513"/>
            <a:ext cx="3179107" cy="116531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 rtl="0" eaLnBrk="0" fontAlgn="t" hangingPunct="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수수료 배부</a:t>
            </a:r>
            <a:r>
              <a:rPr lang="en-US" altLang="ko-KR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산출 </a:t>
            </a:r>
            <a:r>
              <a:rPr lang="ko-KR" altLang="en-US" sz="1400" b="1" kern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로직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변경</a:t>
            </a:r>
            <a:endParaRPr lang="en-US" altLang="ko-KR" sz="14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285750" indent="-285750" algn="l" rtl="0" eaLnBrk="0" fontAlgn="t" hangingPunct="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제공 데이터 레벨 변경</a:t>
            </a:r>
            <a:endParaRPr lang="en-US" altLang="ko-KR" sz="14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285750" indent="-285750" algn="l" rtl="0" eaLnBrk="0" fontAlgn="t" hangingPunct="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카드회계 처리 </a:t>
            </a:r>
            <a:r>
              <a:rPr lang="ko-KR" altLang="en-US" sz="1400" b="1" kern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로직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변경</a:t>
            </a:r>
            <a:endParaRPr lang="en-US" altLang="ko-KR" sz="14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285750" lvl="0" indent="-285750" eaLnBrk="0" fontAlgn="t" hangingPunct="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검증 요건의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비용정산시스템 반영</a:t>
            </a:r>
            <a:endParaRPr lang="ko-KR" altLang="en-US" sz="14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82" name="직사각형 81"/>
          <p:cNvSpPr/>
          <p:nvPr/>
        </p:nvSpPr>
        <p:spPr bwMode="gray">
          <a:xfrm>
            <a:off x="6285495" y="2204864"/>
            <a:ext cx="3359423" cy="50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BC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수수료 </a:t>
            </a: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적정성 점검 과제 상세화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86" name="직사각형 85"/>
          <p:cNvSpPr/>
          <p:nvPr/>
        </p:nvSpPr>
        <p:spPr bwMode="gray">
          <a:xfrm>
            <a:off x="622762" y="1388608"/>
            <a:ext cx="45672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rtl="0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1" lang="en-US" altLang="ko-KR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C </a:t>
            </a:r>
            <a:r>
              <a:rPr kumimoji="1"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비용 데이터 제공 수준에 따른 적정성 검증 필요성</a:t>
            </a:r>
          </a:p>
        </p:txBody>
      </p:sp>
      <p:sp>
        <p:nvSpPr>
          <p:cNvPr id="87" name="직사각형 86"/>
          <p:cNvSpPr/>
          <p:nvPr/>
        </p:nvSpPr>
        <p:spPr bwMode="gray">
          <a:xfrm>
            <a:off x="7482376" y="1388608"/>
            <a:ext cx="9653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rtl="0" eaLnBrk="0" fontAlgn="t" hangingPunct="0">
              <a:spcBef>
                <a:spcPct val="50000"/>
              </a:spcBef>
              <a:spcAft>
                <a:spcPct val="5000"/>
              </a:spcAft>
            </a:pPr>
            <a:r>
              <a:rPr kumimoji="1"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추진 방안</a:t>
            </a:r>
          </a:p>
        </p:txBody>
      </p:sp>
      <p:cxnSp>
        <p:nvCxnSpPr>
          <p:cNvPr id="88" name="직선 연결선 87"/>
          <p:cNvCxnSpPr/>
          <p:nvPr/>
        </p:nvCxnSpPr>
        <p:spPr bwMode="gray">
          <a:xfrm>
            <a:off x="488504" y="1696385"/>
            <a:ext cx="4923692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직선 연결선 88"/>
          <p:cNvCxnSpPr/>
          <p:nvPr/>
        </p:nvCxnSpPr>
        <p:spPr bwMode="gray">
          <a:xfrm>
            <a:off x="6345040" y="1696385"/>
            <a:ext cx="32400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이등변 삼각형 89"/>
          <p:cNvSpPr/>
          <p:nvPr/>
        </p:nvSpPr>
        <p:spPr bwMode="gray">
          <a:xfrm rot="5400000">
            <a:off x="4479011" y="3747100"/>
            <a:ext cx="2820184" cy="288032"/>
          </a:xfrm>
          <a:prstGeom prst="triangle">
            <a:avLst/>
          </a:prstGeom>
          <a:solidFill>
            <a:srgbClr val="000000">
              <a:lumMod val="50000"/>
              <a:lumOff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1" name="직사각형 90"/>
          <p:cNvSpPr/>
          <p:nvPr/>
        </p:nvSpPr>
        <p:spPr bwMode="gray">
          <a:xfrm>
            <a:off x="6273526" y="4348004"/>
            <a:ext cx="3359423" cy="50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BC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상품 포트폴리오와 연계한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검증 체계 설계</a:t>
            </a:r>
          </a:p>
        </p:txBody>
      </p:sp>
      <p:sp>
        <p:nvSpPr>
          <p:cNvPr id="93" name="TextBox 92"/>
          <p:cNvSpPr txBox="1"/>
          <p:nvPr/>
        </p:nvSpPr>
        <p:spPr bwMode="gray">
          <a:xfrm>
            <a:off x="6273526" y="4911570"/>
            <a:ext cx="3371391" cy="79597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 rtl="0" eaLnBrk="0" fontAlgn="t" hangingPunct="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altLang="ko-KR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C 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상품별 수익성 </a:t>
            </a:r>
            <a:r>
              <a:rPr lang="ko-KR" altLang="en-US" sz="1400" b="1" kern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분석결과를 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활용한 비용 절감 방안 </a:t>
            </a:r>
            <a:r>
              <a:rPr lang="ko-KR" altLang="en-US" sz="1400" b="1" kern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마련</a:t>
            </a:r>
            <a:endParaRPr lang="en-US" altLang="ko-KR" sz="1400" b="1" kern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l" rtl="0" eaLnBrk="0" fontAlgn="t" hangingPunct="0">
              <a:spcBef>
                <a:spcPts val="600"/>
              </a:spcBef>
            </a:pPr>
            <a:r>
              <a:rPr lang="en-US" altLang="ko-KR" sz="1400" b="1" kern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/>
              </a:rPr>
              <a:t>      </a:t>
            </a:r>
            <a:r>
              <a:rPr lang="ko-KR" altLang="en-US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/>
              </a:rPr>
              <a:t>발급중단 또는</a:t>
            </a:r>
            <a:r>
              <a:rPr lang="en-US" altLang="ko-KR" sz="14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Renewal</a:t>
            </a:r>
            <a:endParaRPr lang="ko-KR" altLang="en-US" sz="14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729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를 위한 설계방향을 정의하고 이를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조를 설계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세대 기술 아키텍처 정의를 위해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NH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농협카드 정책을 준용한 원칙을 수립하고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도출된 방향성에 따른 설계 방향을 정의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술 아키텍처 방향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원칙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설계 기준에 따른 개념 설계와 기술요소 검토를 통한 모델 설계를 바탕으로 통해 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구조 설계를 수립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9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4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모델 정의서</a:t>
            </a:r>
          </a:p>
        </p:txBody>
      </p:sp>
      <p:sp>
        <p:nvSpPr>
          <p:cNvPr id="26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칙 및 차세대 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성 연계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행 기술 아키텍처 원칙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용성 등급 기준 정의 및 인프라 구성 원칙 수립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설계 방향 정의</a:t>
            </a:r>
          </a:p>
        </p:txBody>
      </p:sp>
      <p:sp>
        <p:nvSpPr>
          <p:cNvPr id="31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조 모델 검토를 통한 차세대 기술 구조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그룹 및 업무시스템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구성 방안 수립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시스템 </a:t>
            </a:r>
            <a:r>
              <a:rPr kumimoji="1"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성도 작성</a:t>
            </a: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구조 설계</a:t>
            </a:r>
          </a:p>
        </p:txBody>
      </p:sp>
      <p:pic>
        <p:nvPicPr>
          <p:cNvPr id="35" name="그림 34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6" name="직사각형 35"/>
          <p:cNvSpPr/>
          <p:nvPr/>
        </p:nvSpPr>
        <p:spPr bwMode="auto">
          <a:xfrm>
            <a:off x="2538849" y="2694866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610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T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농협카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Vision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및 정책에 따른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방향성을 토대로 차세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아키텍처 설계 시 일관성 및 유기적 연계가 가능하도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아키텍처 원칙을 수립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9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구성 및 설계 원칙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전사 아키텍처 표준 및 기준 적용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인프라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서비스 품질항목을 정의 및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 원칙 수립 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책과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전에 따른 아키텍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방향성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수립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원칙과 방향성에 따른 아키텍처 설계 기준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시스템 구성에 필요한 기준 수립 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업무 시스템 중요도에 따른 설계 기준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가용성 등급에 따라 긴급도 기준 장애등급 기준 정의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952619" y="2325189"/>
            <a:ext cx="5223104" cy="3771592"/>
            <a:chOff x="3872850" y="2067512"/>
            <a:chExt cx="5544430" cy="4003621"/>
          </a:xfrm>
        </p:grpSpPr>
        <p:pic>
          <p:nvPicPr>
            <p:cNvPr id="21" name="Picture 3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523"/>
            <a:stretch/>
          </p:blipFill>
          <p:spPr bwMode="auto">
            <a:xfrm>
              <a:off x="3872850" y="2067512"/>
              <a:ext cx="3781503" cy="20173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6392" y="2909235"/>
              <a:ext cx="3569696" cy="2129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171" y="3747261"/>
              <a:ext cx="3097109" cy="23238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85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T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221F1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신의 기술 도입 및 선진 아키텍처 사례를 기준으로 효율적인 인프라 통합 환경과 비즈니스 요건을 효과적으로 지원하는 </a:t>
            </a:r>
            <a:r>
              <a:rPr lang="ko-KR" altLang="en-US" dirty="0" smtClean="0">
                <a:solidFill>
                  <a:srgbClr val="221F1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를 정의함</a:t>
            </a:r>
            <a:endParaRPr lang="ko-KR" altLang="en-US" dirty="0">
              <a:solidFill>
                <a:srgbClr val="221F1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6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참조 모델 검토를 통한 차세대 기술 구조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EY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참조 기술 모델과 타사 선진사례 참조모델을 검토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개념 아키텍처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Application Map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을 기준으로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업무시스템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시스템 개념 아키텍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성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A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논리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시스템 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논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리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기술 아키텍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성</a:t>
            </a: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grpSp>
        <p:nvGrpSpPr>
          <p:cNvPr id="27" name="Group 50"/>
          <p:cNvGrpSpPr/>
          <p:nvPr/>
        </p:nvGrpSpPr>
        <p:grpSpPr>
          <a:xfrm>
            <a:off x="2006862" y="2285597"/>
            <a:ext cx="5003049" cy="3824166"/>
            <a:chOff x="3872850" y="1773335"/>
            <a:chExt cx="5759878" cy="4536066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2850" y="1773335"/>
              <a:ext cx="3600500" cy="201571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52"/>
            <p:cNvGrpSpPr/>
            <p:nvPr/>
          </p:nvGrpSpPr>
          <p:grpSpPr>
            <a:xfrm>
              <a:off x="5287385" y="2265061"/>
              <a:ext cx="3554155" cy="2059867"/>
              <a:chOff x="5391155" y="2348850"/>
              <a:chExt cx="3347814" cy="1764488"/>
            </a:xfrm>
          </p:grpSpPr>
          <p:sp>
            <p:nvSpPr>
              <p:cNvPr id="42" name="Rectangle 62"/>
              <p:cNvSpPr/>
              <p:nvPr/>
            </p:nvSpPr>
            <p:spPr>
              <a:xfrm>
                <a:off x="5391155" y="2348850"/>
                <a:ext cx="3347814" cy="1764488"/>
              </a:xfrm>
              <a:prstGeom prst="rect">
                <a:avLst/>
              </a:prstGeom>
              <a:solidFill>
                <a:srgbClr val="FFFFFF"/>
              </a:solidFill>
              <a:ln w="3175">
                <a:solidFill>
                  <a:srgbClr val="333333">
                    <a:lumMod val="20000"/>
                    <a:lumOff val="80000"/>
                  </a:srgb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pic>
            <p:nvPicPr>
              <p:cNvPr id="43" name="Picture 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1155" y="2348850"/>
                <a:ext cx="3347814" cy="1764488"/>
              </a:xfrm>
              <a:prstGeom prst="rect">
                <a:avLst/>
              </a:prstGeom>
              <a:noFill/>
              <a:ln w="3175">
                <a:solidFill>
                  <a:srgbClr val="333333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30" name="Group 53"/>
            <p:cNvGrpSpPr/>
            <p:nvPr/>
          </p:nvGrpSpPr>
          <p:grpSpPr>
            <a:xfrm>
              <a:off x="5887319" y="3073389"/>
              <a:ext cx="3745409" cy="1935878"/>
              <a:chOff x="5872506" y="3356990"/>
              <a:chExt cx="3745409" cy="1935878"/>
            </a:xfrm>
          </p:grpSpPr>
          <p:sp>
            <p:nvSpPr>
              <p:cNvPr id="40" name="Rectangle 60"/>
              <p:cNvSpPr/>
              <p:nvPr/>
            </p:nvSpPr>
            <p:spPr>
              <a:xfrm>
                <a:off x="5872506" y="3356990"/>
                <a:ext cx="3734533" cy="1935878"/>
              </a:xfrm>
              <a:prstGeom prst="rect">
                <a:avLst/>
              </a:prstGeom>
              <a:solidFill>
                <a:srgbClr val="FFFFFF"/>
              </a:solidFill>
              <a:ln w="3175">
                <a:solidFill>
                  <a:srgbClr val="333333">
                    <a:lumMod val="20000"/>
                    <a:lumOff val="80000"/>
                  </a:srgb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pic>
            <p:nvPicPr>
              <p:cNvPr id="41" name="Picture 4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72507" y="3356990"/>
                <a:ext cx="3745408" cy="1935878"/>
              </a:xfrm>
              <a:prstGeom prst="rect">
                <a:avLst/>
              </a:prstGeom>
              <a:noFill/>
              <a:ln w="3175">
                <a:solidFill>
                  <a:srgbClr val="333333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31" name="Group 54"/>
            <p:cNvGrpSpPr/>
            <p:nvPr/>
          </p:nvGrpSpPr>
          <p:grpSpPr>
            <a:xfrm>
              <a:off x="3944860" y="4702029"/>
              <a:ext cx="2685050" cy="1584220"/>
              <a:chOff x="5938406" y="4368335"/>
              <a:chExt cx="3643235" cy="1941065"/>
            </a:xfrm>
          </p:grpSpPr>
          <p:sp>
            <p:nvSpPr>
              <p:cNvPr id="35" name="Rectangle 58"/>
              <p:cNvSpPr/>
              <p:nvPr/>
            </p:nvSpPr>
            <p:spPr>
              <a:xfrm>
                <a:off x="5938406" y="4368335"/>
                <a:ext cx="3643235" cy="1941065"/>
              </a:xfrm>
              <a:prstGeom prst="rect">
                <a:avLst/>
              </a:prstGeom>
              <a:solidFill>
                <a:srgbClr val="FFFFFF"/>
              </a:solidFill>
              <a:ln w="3175">
                <a:solidFill>
                  <a:srgbClr val="333333">
                    <a:lumMod val="20000"/>
                    <a:lumOff val="80000"/>
                  </a:srgb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pic>
            <p:nvPicPr>
              <p:cNvPr id="36" name="Picture 5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8406" y="4368335"/>
                <a:ext cx="3643235" cy="1940986"/>
              </a:xfrm>
              <a:prstGeom prst="rect">
                <a:avLst/>
              </a:prstGeom>
              <a:noFill/>
              <a:ln w="3175">
                <a:solidFill>
                  <a:srgbClr val="333333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32" name="Group 55"/>
            <p:cNvGrpSpPr/>
            <p:nvPr/>
          </p:nvGrpSpPr>
          <p:grpSpPr>
            <a:xfrm>
              <a:off x="6879975" y="4726389"/>
              <a:ext cx="2727065" cy="1583012"/>
              <a:chOff x="6969280" y="4834719"/>
              <a:chExt cx="2799075" cy="1473473"/>
            </a:xfrm>
          </p:grpSpPr>
          <p:sp>
            <p:nvSpPr>
              <p:cNvPr id="33" name="Rectangle 56"/>
              <p:cNvSpPr/>
              <p:nvPr/>
            </p:nvSpPr>
            <p:spPr>
              <a:xfrm>
                <a:off x="6969281" y="4834720"/>
                <a:ext cx="2799074" cy="1473472"/>
              </a:xfrm>
              <a:prstGeom prst="rect">
                <a:avLst/>
              </a:prstGeom>
              <a:solidFill>
                <a:srgbClr val="FFFFFF"/>
              </a:solidFill>
              <a:ln w="3175">
                <a:solidFill>
                  <a:srgbClr val="333333">
                    <a:lumMod val="20000"/>
                    <a:lumOff val="80000"/>
                  </a:srgbClr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marL="268288" marR="0" lvl="0" indent="-215900" algn="ct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</a:endParaRPr>
              </a:p>
            </p:txBody>
          </p:sp>
          <p:pic>
            <p:nvPicPr>
              <p:cNvPr id="34" name="Picture 7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69280" y="4834719"/>
                <a:ext cx="2799074" cy="1473472"/>
              </a:xfrm>
              <a:prstGeom prst="rect">
                <a:avLst/>
              </a:prstGeom>
              <a:noFill/>
              <a:ln w="3175">
                <a:solidFill>
                  <a:srgbClr val="333333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49593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TA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적용 기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rend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가상화 기술 도입 증가 추세를 보이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SD(Solid State Disk)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의 스토리지 도입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증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-Memory Computing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 도입 증가 추세임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76156" y="1352933"/>
            <a:ext cx="9223456" cy="4842117"/>
            <a:chOff x="376156" y="1378333"/>
            <a:chExt cx="9223456" cy="4842117"/>
          </a:xfrm>
        </p:grpSpPr>
        <p:grpSp>
          <p:nvGrpSpPr>
            <p:cNvPr id="92" name="Group 91"/>
            <p:cNvGrpSpPr/>
            <p:nvPr/>
          </p:nvGrpSpPr>
          <p:grpSpPr>
            <a:xfrm>
              <a:off x="405470" y="1378333"/>
              <a:ext cx="1252912" cy="322475"/>
              <a:chOff x="394913" y="1594357"/>
              <a:chExt cx="1872207" cy="322475"/>
            </a:xfrm>
          </p:grpSpPr>
          <p:sp>
            <p:nvSpPr>
              <p:cNvPr id="108" name="직사각형 55"/>
              <p:cNvSpPr/>
              <p:nvPr/>
            </p:nvSpPr>
            <p:spPr bwMode="gray">
              <a:xfrm>
                <a:off x="404731" y="1594357"/>
                <a:ext cx="1846061" cy="3061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b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/>
                  </a:rPr>
                  <a:t>구분</a:t>
                </a: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gray">
              <a:xfrm>
                <a:off x="394913" y="1916832"/>
                <a:ext cx="1872207" cy="0"/>
              </a:xfrm>
              <a:prstGeom prst="line">
                <a:avLst/>
              </a:prstGeom>
              <a:noFill/>
              <a:ln w="6350">
                <a:solidFill>
                  <a:srgbClr val="293351"/>
                </a:solidFill>
                <a:round/>
                <a:headEnd/>
                <a:tailEnd/>
              </a:ln>
            </p:spPr>
            <p:txBody>
              <a:bodyPr wrap="none" lIns="82619" tIns="42963" rIns="82619" bIns="42963" anchor="ctr" anchorCtr="0">
                <a:noAutofit/>
              </a:bodyPr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ko-KR" altLang="en-US" sz="1800" b="0">
                  <a:solidFill>
                    <a:srgbClr val="000000"/>
                  </a:solidFill>
                  <a:latin typeface="맑은 고딕" pitchFamily="50" charset="-127"/>
                  <a:ea typeface="맑은 고딕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1947805" y="1378333"/>
              <a:ext cx="7525037" cy="322475"/>
              <a:chOff x="394913" y="1594357"/>
              <a:chExt cx="1872207" cy="322475"/>
            </a:xfrm>
          </p:grpSpPr>
          <p:sp>
            <p:nvSpPr>
              <p:cNvPr id="106" name="직사각형 55"/>
              <p:cNvSpPr/>
              <p:nvPr/>
            </p:nvSpPr>
            <p:spPr bwMode="gray">
              <a:xfrm>
                <a:off x="404731" y="1594357"/>
                <a:ext cx="1846061" cy="3061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ctr" fontAlgn="b" latinLnBrk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40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/>
                  </a:rPr>
                  <a:t>적용 기술</a:t>
                </a:r>
              </a:p>
            </p:txBody>
          </p:sp>
          <p:sp>
            <p:nvSpPr>
              <p:cNvPr id="107" name="Line 6"/>
              <p:cNvSpPr>
                <a:spLocks noChangeShapeType="1"/>
              </p:cNvSpPr>
              <p:nvPr/>
            </p:nvSpPr>
            <p:spPr bwMode="gray">
              <a:xfrm>
                <a:off x="394913" y="1916832"/>
                <a:ext cx="1872207" cy="0"/>
              </a:xfrm>
              <a:prstGeom prst="line">
                <a:avLst/>
              </a:prstGeom>
              <a:noFill/>
              <a:ln w="6350">
                <a:solidFill>
                  <a:srgbClr val="293351"/>
                </a:solidFill>
                <a:round/>
                <a:headEnd/>
                <a:tailEnd/>
              </a:ln>
            </p:spPr>
            <p:txBody>
              <a:bodyPr wrap="none" lIns="82619" tIns="42963" rIns="82619" bIns="42963" anchor="ctr" anchorCtr="0">
                <a:noAutofit/>
              </a:bodyPr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ko-KR" altLang="en-US" sz="1800" b="0">
                  <a:solidFill>
                    <a:srgbClr val="000000"/>
                  </a:solidFill>
                  <a:latin typeface="맑은 고딕" pitchFamily="50" charset="-127"/>
                  <a:ea typeface="맑은 고딕"/>
                </a:endParaRPr>
              </a:p>
            </p:txBody>
          </p:sp>
        </p:grpSp>
        <p:sp>
          <p:nvSpPr>
            <p:cNvPr id="94" name="직사각형 86"/>
            <p:cNvSpPr/>
            <p:nvPr/>
          </p:nvSpPr>
          <p:spPr>
            <a:xfrm>
              <a:off x="376156" y="1802637"/>
              <a:ext cx="1243094" cy="104707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35746" tIns="45367" rIns="35746" bIns="45367" anchor="ctr"/>
            <a:lstStyle/>
            <a:p>
              <a:pPr algn="ctr" defTabSz="908447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OS</a:t>
              </a:r>
              <a:r>
                <a:rPr lang="ko-KR" altLang="en-US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서버 가상화</a:t>
              </a:r>
            </a:p>
          </p:txBody>
        </p:sp>
        <p:pic>
          <p:nvPicPr>
            <p:cNvPr id="95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483"/>
            <a:stretch/>
          </p:blipFill>
          <p:spPr bwMode="auto">
            <a:xfrm>
              <a:off x="1925006" y="1802637"/>
              <a:ext cx="2613776" cy="1047070"/>
            </a:xfrm>
            <a:prstGeom prst="rect">
              <a:avLst/>
            </a:prstGeom>
            <a:noFill/>
            <a:ln w="9525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6" name="Rectangle 12"/>
            <p:cNvSpPr>
              <a:spLocks noChangeArrowheads="1"/>
            </p:cNvSpPr>
            <p:nvPr/>
          </p:nvSpPr>
          <p:spPr bwMode="gray">
            <a:xfrm>
              <a:off x="4673172" y="1802636"/>
              <a:ext cx="4926440" cy="1047070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indent="-136525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OS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서버 가상화 기술은 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Physical Partition 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 Logical Partition  Micro Partition 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동적 자원 할당 순으로 발전</a:t>
              </a:r>
              <a:endParaRPr lang="en-US" altLang="ko-KR" sz="1100" b="0" kern="0" spc="-5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  <a:sym typeface="Wingdings" pitchFamily="2" charset="2"/>
              </a:endParaRPr>
            </a:p>
            <a:p>
              <a:pPr indent="-136525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CPU, Memory, I/O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등을 가상화 기술을 적용하여 동적 할당</a:t>
              </a:r>
              <a:endParaRPr lang="en-US" altLang="ko-KR" sz="1100" b="0" kern="0" spc="-50" dirty="0" smtClean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charset="0"/>
              </a:endParaRPr>
            </a:p>
            <a:p>
              <a:pPr indent="-136525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가상화 기술을 적용한 개발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/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테스트 시스템 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DR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자원 활용</a:t>
              </a:r>
            </a:p>
            <a:p>
              <a:pPr indent="-136525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예비용량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(</a:t>
              </a:r>
              <a:r>
                <a:rPr lang="en-US" altLang="ko-KR" sz="1100" b="0" kern="0" spc="-5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CoD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, Capacity on Demand)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확보를 통한 비상상황 시 자원</a:t>
              </a:r>
              <a:r>
                <a:rPr lang="en-US" altLang="ko-KR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 </a:t>
              </a:r>
              <a:r>
                <a:rPr lang="ko-KR" altLang="en-US" sz="1100" b="0" kern="0" spc="-5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charset="0"/>
                </a:rPr>
                <a:t>동적 할당</a:t>
              </a:r>
            </a:p>
          </p:txBody>
        </p:sp>
        <p:sp>
          <p:nvSpPr>
            <p:cNvPr id="97" name="직사각형 86"/>
            <p:cNvSpPr/>
            <p:nvPr/>
          </p:nvSpPr>
          <p:spPr>
            <a:xfrm>
              <a:off x="376156" y="2925430"/>
              <a:ext cx="1243094" cy="104707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35746" tIns="45367" rIns="35746" bIns="45367" anchor="ctr"/>
            <a:lstStyle/>
            <a:p>
              <a:pPr algn="ctr" defTabSz="908447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kern="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x86</a:t>
              </a:r>
              <a:r>
                <a:rPr lang="en-US" altLang="ko-KR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 </a:t>
              </a:r>
              <a:r>
                <a:rPr lang="ko-KR" altLang="en-US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서버 가상화 기술 </a:t>
              </a:r>
              <a:endPara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98" name="Rectangle 12"/>
            <p:cNvSpPr>
              <a:spLocks noChangeArrowheads="1"/>
            </p:cNvSpPr>
            <p:nvPr/>
          </p:nvSpPr>
          <p:spPr bwMode="gray">
            <a:xfrm>
              <a:off x="4673172" y="2925429"/>
              <a:ext cx="4926440" cy="1047070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en-US" altLang="ko-KR" sz="11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X86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서버의 가상화 기술은 단위시스템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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표준화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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리소스 가상화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</a:t>
              </a:r>
            </a:p>
            <a:p>
              <a:pPr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  시스템 풀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(Cloud)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 순으로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발전</a:t>
              </a:r>
              <a:endParaRPr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pitchFamily="34" charset="0"/>
                <a:sym typeface="Wingdings" pitchFamily="2" charset="2"/>
              </a:endParaRPr>
            </a:p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솔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루션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반의 </a:t>
              </a:r>
              <a:r>
                <a:rPr lang="en-US" altLang="ko-KR" sz="11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x86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 O/S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플랫폼 사용 업무 시스템들은 기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가상화</a:t>
              </a:r>
              <a:r>
                <a:rPr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솔루션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반의 가상화 적용 확산 단계</a:t>
              </a:r>
            </a:p>
          </p:txBody>
        </p:sp>
        <p:sp>
          <p:nvSpPr>
            <p:cNvPr id="99" name="직사각형 86"/>
            <p:cNvSpPr/>
            <p:nvPr/>
          </p:nvSpPr>
          <p:spPr>
            <a:xfrm>
              <a:off x="376156" y="4050587"/>
              <a:ext cx="1243094" cy="104707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35746" tIns="45367" rIns="35746" bIns="45367" anchor="ctr"/>
            <a:lstStyle/>
            <a:p>
              <a:pPr algn="ctr" defTabSz="908447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Flash </a:t>
              </a:r>
              <a:r>
                <a:rPr lang="ko-KR" altLang="en-US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기반의 스토리지</a:t>
              </a:r>
            </a:p>
          </p:txBody>
        </p:sp>
        <p:sp>
          <p:nvSpPr>
            <p:cNvPr id="100" name="Rectangle 12"/>
            <p:cNvSpPr>
              <a:spLocks noChangeArrowheads="1"/>
            </p:cNvSpPr>
            <p:nvPr/>
          </p:nvSpPr>
          <p:spPr bwMode="gray">
            <a:xfrm>
              <a:off x="4673172" y="4050587"/>
              <a:ext cx="4926440" cy="1047070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스토리지 기술은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HDD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 Hybrid(HDD + </a:t>
              </a:r>
              <a:r>
                <a:rPr lang="en-US" altLang="ko-KR" sz="11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SDD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)  All Flash(</a:t>
              </a:r>
              <a:r>
                <a:rPr lang="en-US" altLang="ko-KR" sz="11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SSD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)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순으로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발전</a:t>
              </a:r>
            </a:p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전통적인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HDD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반 스토리지에서 업무특성에 따라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Hybrid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또는 </a:t>
              </a:r>
              <a:r>
                <a:rPr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Flash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반의 스토리지의 도입이 증가되는 추세</a:t>
              </a:r>
            </a:p>
          </p:txBody>
        </p:sp>
        <p:sp>
          <p:nvSpPr>
            <p:cNvPr id="101" name="직사각형 86"/>
            <p:cNvSpPr/>
            <p:nvPr/>
          </p:nvSpPr>
          <p:spPr>
            <a:xfrm>
              <a:off x="376156" y="5173380"/>
              <a:ext cx="1243094" cy="104707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35746" tIns="45367" rIns="35746" bIns="45367" anchor="ctr"/>
            <a:lstStyle/>
            <a:p>
              <a:pPr algn="ctr" defTabSz="908447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In-Memory Computing</a:t>
              </a:r>
            </a:p>
            <a:p>
              <a:pPr algn="ctr" defTabSz="908447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</a:rPr>
                <a:t>기술</a:t>
              </a:r>
              <a:endPara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102" name="Rectangle 12"/>
            <p:cNvSpPr>
              <a:spLocks noChangeArrowheads="1"/>
            </p:cNvSpPr>
            <p:nvPr/>
          </p:nvSpPr>
          <p:spPr bwMode="gray">
            <a:xfrm>
              <a:off x="4673172" y="5173379"/>
              <a:ext cx="4926440" cy="1047070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In-Memory Computing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술은 스토리지 기반의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DBMS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 In-Memory DBMS  In-Memory Data Grid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  <a:sym typeface="Wingdings" pitchFamily="2" charset="2"/>
                </a:rPr>
                <a:t>순으로 발전</a:t>
              </a:r>
              <a:endParaRPr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메모리 가격 하락에 따른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In-Memory Computing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반 솔루션 등장</a:t>
              </a:r>
            </a:p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In-Memory Computing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술을 활용한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Session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공유 적용 증가</a:t>
              </a:r>
              <a:endParaRPr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82550" indent="-8255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대량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I/O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처리를 위한 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In-Memory Data Grid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기술을 적용한 고속</a:t>
              </a:r>
              <a:r>
                <a:rPr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 </a:t>
              </a:r>
              <a:r>
                <a:rPr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데이터 처리 적용 증가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/>
                  <a:cs typeface="Arial" pitchFamily="34" charset="0"/>
                </a:rPr>
                <a:t>추세</a:t>
              </a:r>
              <a:endParaRPr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/>
                <a:cs typeface="Arial" pitchFamily="34" charset="0"/>
              </a:endParaRPr>
            </a:p>
          </p:txBody>
        </p:sp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015" y="2925429"/>
              <a:ext cx="2632767" cy="1047070"/>
            </a:xfrm>
            <a:prstGeom prst="rect">
              <a:avLst/>
            </a:prstGeom>
            <a:noFill/>
            <a:ln w="9525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4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015" y="4050587"/>
              <a:ext cx="2632767" cy="1047070"/>
            </a:xfrm>
            <a:prstGeom prst="rect">
              <a:avLst/>
            </a:prstGeom>
            <a:noFill/>
            <a:ln w="9525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5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015" y="5173378"/>
              <a:ext cx="2632767" cy="1047071"/>
            </a:xfrm>
            <a:prstGeom prst="rect">
              <a:avLst/>
            </a:prstGeom>
            <a:noFill/>
            <a:ln w="9525">
              <a:solidFill>
                <a:srgbClr val="000000">
                  <a:lumMod val="50000"/>
                  <a:lumOff val="50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5020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S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보안 설계를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향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하고 이를 기반으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구조를 설계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현황분석 결과를 활용하여 개선 기회와 차세대 소프트웨어 아키텍처 방향성을 수립하고 아키텍처 설계 원칙과 기준을 정의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소프트웨어 아키텍처 방향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원칙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설계 기준에 따른 상위 수준의 개념 설계와 소프트웨어 아키텍처를 정의하고 관리 프로세스를 수립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9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2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o-Be SA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목표모델 정의서</a:t>
            </a:r>
          </a:p>
        </p:txBody>
      </p:sp>
      <p:sp>
        <p:nvSpPr>
          <p:cNvPr id="23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안 아키텍처 원칙 수립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보안 아키텍처 원칙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보안 기술영역 구성 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시 반영</a:t>
            </a: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보안 설계 방향 정의</a:t>
            </a:r>
          </a:p>
        </p:txBody>
      </p: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보안 아키텍처 모델 정의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안 아키텍처의 영역별 분야별 요건 및 관련 설계 내용 제시</a:t>
            </a:r>
          </a:p>
        </p:txBody>
      </p:sp>
      <p:sp>
        <p:nvSpPr>
          <p:cNvPr id="37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보안 구조 설계</a:t>
            </a:r>
          </a:p>
        </p:txBody>
      </p:sp>
      <p:pic>
        <p:nvPicPr>
          <p:cNvPr id="32" name="그림 3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3" name="직사각형 32"/>
          <p:cNvSpPr/>
          <p:nvPr/>
        </p:nvSpPr>
        <p:spPr bwMode="auto">
          <a:xfrm>
            <a:off x="2538849" y="2694866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77088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S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보보안 아키텍처는 개인정보보호 관련 규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체크리스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NH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정책 및 지침을 기반으로 차세대 보안 아키텍처 원칙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SA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5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보안 아키텍처 원칙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체크리스트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 정책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및 지침을 기반으로 정보보안 기술 프레임워크를 통해 보안 아키텍처 원칙 수립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보안 아키텍처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원칙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필수 가이드 원칙을 정의하고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프로젝트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수행 시 고려해야 할 요소에 근거하여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보안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원칙을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의함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설계 시 반영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설계 시 사전 검토 항목에 대한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의사 결정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사항이 반영될 수 있도록 방향성에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반영함</a:t>
            </a: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965591" y="2347124"/>
            <a:ext cx="4845408" cy="3767035"/>
            <a:chOff x="3966465" y="1873228"/>
            <a:chExt cx="5523161" cy="4380258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6465" y="1873228"/>
              <a:ext cx="2930805" cy="2419892"/>
            </a:xfrm>
            <a:prstGeom prst="rect">
              <a:avLst/>
            </a:prstGeom>
            <a:ln w="9525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9802" y="2932684"/>
              <a:ext cx="4206145" cy="2182837"/>
            </a:xfrm>
            <a:prstGeom prst="rect">
              <a:avLst/>
            </a:prstGeom>
            <a:ln w="9525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782" y="3876204"/>
              <a:ext cx="2813844" cy="2377282"/>
            </a:xfrm>
            <a:prstGeom prst="rect">
              <a:avLst/>
            </a:prstGeom>
            <a:ln w="9525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7435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S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설계를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향에 따라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특히 고객정보 보호를 고려하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구조를 설계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91" name="TextBox 90"/>
          <p:cNvSpPr txBox="1"/>
          <p:nvPr/>
        </p:nvSpPr>
        <p:spPr bwMode="auto">
          <a:xfrm>
            <a:off x="4092352" y="1897747"/>
            <a:ext cx="33040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방향 정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0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정보보안 체계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시스템의 대상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를 식별 및 정의  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 규범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규정의 준수여부 및 취약점 분석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사고사례 를 통해 개선 가이드 라인 작성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보안 아키텍처 개념 모델 작성 후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시스템의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A, AA, DA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영역 영향도 분석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보안아키텍처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성방안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고객정보보호 요건 등 보안관련 규제 및 준수사항을 고려하여 보안 아키텍처를 구축하기 위한 수행방안 정의 </a:t>
            </a:r>
          </a:p>
        </p:txBody>
      </p:sp>
      <p:grpSp>
        <p:nvGrpSpPr>
          <p:cNvPr id="21" name="Group 1"/>
          <p:cNvGrpSpPr/>
          <p:nvPr/>
        </p:nvGrpSpPr>
        <p:grpSpPr>
          <a:xfrm>
            <a:off x="2018193" y="2309885"/>
            <a:ext cx="5051916" cy="3824059"/>
            <a:chOff x="1909279" y="2261189"/>
            <a:chExt cx="5257044" cy="3979332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7254" y="2591095"/>
              <a:ext cx="2399349" cy="1559599"/>
            </a:xfrm>
            <a:prstGeom prst="rect">
              <a:avLst/>
            </a:prstGeom>
            <a:noFill/>
            <a:ln w="9525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9279" y="4360396"/>
              <a:ext cx="2785704" cy="178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6603" y="4568667"/>
              <a:ext cx="2799720" cy="16718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직사각형 61"/>
            <p:cNvSpPr/>
            <p:nvPr/>
          </p:nvSpPr>
          <p:spPr>
            <a:xfrm>
              <a:off x="4593489" y="2261189"/>
              <a:ext cx="2572834" cy="272232"/>
            </a:xfrm>
            <a:prstGeom prst="rect">
              <a:avLst/>
            </a:prstGeom>
            <a:ln w="317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정보보안 체계 자동화 청사진 수립</a:t>
              </a:r>
              <a:endParaRPr kumimoji="1" lang="en-US" sz="11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pic>
          <p:nvPicPr>
            <p:cNvPr id="32" name="Picture 4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54037" y="2574910"/>
              <a:ext cx="2592110" cy="1676817"/>
            </a:xfrm>
            <a:prstGeom prst="rect">
              <a:avLst/>
            </a:prstGeom>
          </p:spPr>
        </p:pic>
        <p:sp>
          <p:nvSpPr>
            <p:cNvPr id="33" name="직사각형 61"/>
            <p:cNvSpPr/>
            <p:nvPr/>
          </p:nvSpPr>
          <p:spPr>
            <a:xfrm>
              <a:off x="4554037" y="4301798"/>
              <a:ext cx="2572834" cy="272232"/>
            </a:xfrm>
            <a:prstGeom prst="rect">
              <a:avLst/>
            </a:prstGeom>
            <a:ln w="317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보안 아키텍처 구성방안</a:t>
              </a:r>
              <a:endParaRPr kumimoji="1" lang="en-US" sz="11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34" name="직사각형 61"/>
            <p:cNvSpPr/>
            <p:nvPr/>
          </p:nvSpPr>
          <p:spPr>
            <a:xfrm>
              <a:off x="1933165" y="2261189"/>
              <a:ext cx="2572834" cy="272232"/>
            </a:xfrm>
            <a:prstGeom prst="rect">
              <a:avLst/>
            </a:prstGeom>
            <a:ln w="317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정보보안 아키텍처 모델 정의</a:t>
              </a:r>
              <a:endParaRPr kumimoji="1" lang="en-US" sz="11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3502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S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I DSS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의 글로벌 표준 준수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fra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기술적 진단을 동시에 적용하여 글로벌 수준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aymen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체계를 수립하고 있음 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순서도: 페이지 연결자 37"/>
          <p:cNvSpPr/>
          <p:nvPr/>
        </p:nvSpPr>
        <p:spPr>
          <a:xfrm>
            <a:off x="304604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향 정의 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04604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 </a:t>
            </a:r>
            <a:b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 설계 </a:t>
            </a:r>
          </a:p>
        </p:txBody>
      </p:sp>
      <p:grpSp>
        <p:nvGrpSpPr>
          <p:cNvPr id="59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62" name="TextBox 6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1" name="TextBox 90"/>
          <p:cNvSpPr txBox="1"/>
          <p:nvPr/>
        </p:nvSpPr>
        <p:spPr bwMode="auto">
          <a:xfrm>
            <a:off x="2778575" y="2013984"/>
            <a:ext cx="3304034" cy="2967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ct val="104000"/>
              </a:lnSpc>
              <a:spcBef>
                <a:spcPct val="20000"/>
              </a:spcBef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en-US" altLang="ko-KR" sz="1400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+PA-DSS </a:t>
            </a:r>
            <a:r>
              <a:rPr lang="ko-KR" altLang="en-US" sz="1400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 및 기술적 보안 진단</a:t>
            </a:r>
          </a:p>
        </p:txBody>
      </p:sp>
      <p:sp>
        <p:nvSpPr>
          <p:cNvPr id="25" name="Rectangle 32"/>
          <p:cNvSpPr/>
          <p:nvPr/>
        </p:nvSpPr>
        <p:spPr bwMode="auto">
          <a:xfrm>
            <a:off x="7410530" y="2693488"/>
            <a:ext cx="2092251" cy="339840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44000" tIns="18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9700" indent="-139700">
              <a:lnSpc>
                <a:spcPct val="120000"/>
              </a:lnSpc>
              <a:spcAft>
                <a:spcPts val="500"/>
              </a:spcAft>
              <a:buClr>
                <a:srgbClr val="333333"/>
              </a:buClr>
              <a:buSzPct val="80000"/>
              <a:buFont typeface="맑은 고딕" panose="020B0503020000020004" pitchFamily="50" charset="-127"/>
              <a:buChar char="▶"/>
              <a:defRPr/>
            </a:pP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 + PA-DSS 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을 통해 간편 결</a:t>
            </a:r>
            <a:r>
              <a:rPr lang="ko-KR" altLang="en-US" sz="10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서비스의 시스템 및 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글로벌 수준의 보안성 강화 가능</a:t>
            </a:r>
            <a:endParaRPr lang="en-US" altLang="ko-KR" sz="1000" b="1" kern="0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39700" indent="-139700">
              <a:lnSpc>
                <a:spcPct val="120000"/>
              </a:lnSpc>
              <a:spcAft>
                <a:spcPts val="500"/>
              </a:spcAft>
              <a:buClr>
                <a:srgbClr val="333333"/>
              </a:buClr>
              <a:buSzPct val="80000"/>
              <a:buFont typeface="맑은 고딕" panose="020B0503020000020004" pitchFamily="50" charset="-127"/>
              <a:buChar char="▶"/>
              <a:defRPr/>
            </a:pP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또한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제적인 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 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rastructure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기술적 보안 진단을 통해 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ulnerability 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인 및 이에 대한 </a:t>
            </a: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solution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수립함</a:t>
            </a:r>
            <a:endParaRPr lang="en-US" altLang="ko-KR" sz="1000" b="1" kern="0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Pentagon 33"/>
          <p:cNvSpPr/>
          <p:nvPr/>
        </p:nvSpPr>
        <p:spPr>
          <a:xfrm>
            <a:off x="1968591" y="2441402"/>
            <a:ext cx="5445539" cy="1777321"/>
          </a:xfrm>
          <a:prstGeom prst="homePlate">
            <a:avLst>
              <a:gd name="adj" fmla="val 13547"/>
            </a:avLst>
          </a:prstGeom>
          <a:solidFill>
            <a:srgbClr val="FFFFFF"/>
          </a:solidFill>
          <a:ln w="38100" cap="sq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kumimoji="1" lang="ko-KR" altLang="en-US" sz="6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34"/>
          <p:cNvSpPr/>
          <p:nvPr/>
        </p:nvSpPr>
        <p:spPr bwMode="auto">
          <a:xfrm>
            <a:off x="4388941" y="3363435"/>
            <a:ext cx="2542951" cy="8552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7234" tIns="43619" rIns="87234" bIns="4361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08486" indent="-108486">
              <a:lnSpc>
                <a:spcPct val="110000"/>
              </a:lnSpc>
              <a:spcBef>
                <a:spcPts val="351"/>
              </a:spcBef>
              <a:buClr>
                <a:srgbClr val="FFD200"/>
              </a:buClr>
              <a:buSzPct val="80000"/>
              <a:buFont typeface="가는각진제목체" pitchFamily="18" charset="-127"/>
              <a:buChar char="▶"/>
            </a:pPr>
            <a:r>
              <a:rPr lang="en-US" altLang="ko-KR" sz="9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es to </a:t>
            </a:r>
            <a:r>
              <a:rPr lang="en-US" altLang="ko-KR" sz="900" b="1" u="sng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ny entity that stores, processes, and/or transmits cardholder data</a:t>
            </a:r>
            <a:r>
              <a:rPr lang="en-US" altLang="ko-KR" sz="9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If your business accepts or processes payment cards, it must comply with </a:t>
            </a:r>
            <a:r>
              <a:rPr lang="en-US" altLang="ko-KR" sz="9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-DSS.</a:t>
            </a:r>
            <a:endParaRPr lang="ko-KR" altLang="en-US" sz="900" b="1" kern="0" dirty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Rectangle 35"/>
          <p:cNvSpPr/>
          <p:nvPr/>
        </p:nvSpPr>
        <p:spPr bwMode="auto">
          <a:xfrm>
            <a:off x="2008045" y="3372056"/>
            <a:ext cx="2403821" cy="8518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7234" tIns="43619" rIns="87234" bIns="4361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08486" indent="-108486">
              <a:lnSpc>
                <a:spcPct val="110000"/>
              </a:lnSpc>
              <a:spcBef>
                <a:spcPts val="351"/>
              </a:spcBef>
              <a:buClr>
                <a:srgbClr val="FFD200"/>
              </a:buClr>
              <a:buSzPct val="80000"/>
              <a:buFont typeface="가는각진제목체" pitchFamily="18" charset="-127"/>
              <a:buChar char="▶"/>
              <a:defRPr/>
            </a:pPr>
            <a:r>
              <a:rPr lang="en-US" altLang="ko-KR" sz="900" b="1" u="sng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es to developers and integrators of applications that  store, process and/or transmit cardholder data</a:t>
            </a:r>
            <a:r>
              <a:rPr lang="en-US" altLang="ko-KR" sz="9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It also governs applications that are sold, distributed or licensed to third parties.</a:t>
            </a:r>
          </a:p>
        </p:txBody>
      </p:sp>
      <p:sp>
        <p:nvSpPr>
          <p:cNvPr id="29" name="Rectangle 36"/>
          <p:cNvSpPr/>
          <p:nvPr/>
        </p:nvSpPr>
        <p:spPr>
          <a:xfrm>
            <a:off x="2060950" y="2693487"/>
            <a:ext cx="2316261" cy="584913"/>
          </a:xfrm>
          <a:prstGeom prst="rect">
            <a:avLst/>
          </a:prstGeom>
          <a:solidFill>
            <a:srgbClr val="646464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defRPr/>
            </a:pPr>
            <a:r>
              <a:rPr lang="en-US" altLang="ko-KR" sz="9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</a:t>
            </a:r>
          </a:p>
          <a:p>
            <a:pPr algn="ctr">
              <a:defRPr/>
            </a:pPr>
            <a:r>
              <a:rPr lang="en-US" altLang="ko-KR" sz="9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yment Application</a:t>
            </a:r>
          </a:p>
          <a:p>
            <a:pPr algn="ctr">
              <a:defRPr/>
            </a:pPr>
            <a:r>
              <a:rPr lang="en-US" altLang="ko-KR" sz="9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Security </a:t>
            </a:r>
            <a:r>
              <a:rPr lang="en-US" altLang="ko-KR" sz="9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andard</a:t>
            </a:r>
            <a:endParaRPr lang="en-US" altLang="ko-KR" sz="9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37"/>
          <p:cNvSpPr/>
          <p:nvPr/>
        </p:nvSpPr>
        <p:spPr>
          <a:xfrm>
            <a:off x="4475123" y="2693487"/>
            <a:ext cx="2316261" cy="584913"/>
          </a:xfrm>
          <a:prstGeom prst="rect">
            <a:avLst/>
          </a:prstGeom>
          <a:solidFill>
            <a:srgbClr val="646464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defRPr/>
            </a:pPr>
            <a:r>
              <a:rPr lang="en-US" altLang="ko-KR" sz="9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</a:t>
            </a:r>
          </a:p>
          <a:p>
            <a:pPr algn="ctr">
              <a:defRPr/>
            </a:pPr>
            <a:r>
              <a:rPr lang="en-US" altLang="ko-KR" sz="9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Security </a:t>
            </a:r>
            <a:r>
              <a:rPr lang="en-US" altLang="ko-KR" sz="9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andard</a:t>
            </a:r>
            <a:endParaRPr lang="en-US" altLang="ko-KR" sz="9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Rectangle 24"/>
          <p:cNvSpPr>
            <a:spLocks noChangeArrowheads="1"/>
          </p:cNvSpPr>
          <p:nvPr/>
        </p:nvSpPr>
        <p:spPr bwMode="gray">
          <a:xfrm>
            <a:off x="7410529" y="2430907"/>
            <a:ext cx="2092404" cy="307600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대효과</a:t>
            </a:r>
            <a:endParaRPr lang="en-US" altLang="ko-KR" sz="12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Pentagon 39"/>
          <p:cNvSpPr/>
          <p:nvPr/>
        </p:nvSpPr>
        <p:spPr>
          <a:xfrm>
            <a:off x="1963048" y="4315975"/>
            <a:ext cx="5445539" cy="1777321"/>
          </a:xfrm>
          <a:prstGeom prst="homePlate">
            <a:avLst>
              <a:gd name="adj" fmla="val 13547"/>
            </a:avLst>
          </a:prstGeom>
          <a:solidFill>
            <a:srgbClr val="FFFFFF"/>
          </a:solidFill>
          <a:ln w="38100" cap="sq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kumimoji="1" lang="ko-KR" altLang="en-US" sz="6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3610633" y="4590261"/>
            <a:ext cx="2049390" cy="1447117"/>
            <a:chOff x="549485" y="1772770"/>
            <a:chExt cx="6353690" cy="4678038"/>
          </a:xfrm>
        </p:grpSpPr>
        <p:sp>
          <p:nvSpPr>
            <p:cNvPr id="42" name="Rectangle 85"/>
            <p:cNvSpPr/>
            <p:nvPr/>
          </p:nvSpPr>
          <p:spPr>
            <a:xfrm>
              <a:off x="2352458" y="4209460"/>
              <a:ext cx="2459028" cy="211229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9050">
              <a:solidFill>
                <a:srgbClr val="FFC000"/>
              </a:solidFill>
              <a:prstDash val="sysDash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86"/>
            <p:cNvSpPr/>
            <p:nvPr/>
          </p:nvSpPr>
          <p:spPr>
            <a:xfrm>
              <a:off x="4888026" y="5682347"/>
              <a:ext cx="968490" cy="65106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9050">
              <a:solidFill>
                <a:srgbClr val="FFC000"/>
              </a:solidFill>
              <a:prstDash val="sysDash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87"/>
            <p:cNvSpPr/>
            <p:nvPr/>
          </p:nvSpPr>
          <p:spPr>
            <a:xfrm>
              <a:off x="4922446" y="3212969"/>
              <a:ext cx="542183" cy="117397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9050">
              <a:solidFill>
                <a:srgbClr val="FFC000"/>
              </a:solidFill>
              <a:prstDash val="sysDash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88"/>
            <p:cNvSpPr/>
            <p:nvPr/>
          </p:nvSpPr>
          <p:spPr>
            <a:xfrm>
              <a:off x="892629" y="2480955"/>
              <a:ext cx="740228" cy="109206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9050">
              <a:solidFill>
                <a:srgbClr val="FFC000"/>
              </a:solidFill>
              <a:prstDash val="sysDash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6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9963" y="4707316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50" descr="j0433941[1]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5993" y="2169109"/>
              <a:ext cx="523875" cy="474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79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26211" y="2067691"/>
              <a:ext cx="207469" cy="2711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9" name="Picture 9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389032" y="5743742"/>
              <a:ext cx="283469" cy="39205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" name="원통 83"/>
            <p:cNvSpPr/>
            <p:nvPr/>
          </p:nvSpPr>
          <p:spPr>
            <a:xfrm>
              <a:off x="5011287" y="5751358"/>
              <a:ext cx="274875" cy="342470"/>
            </a:xfrm>
            <a:prstGeom prst="can">
              <a:avLst>
                <a:gd name="adj" fmla="val 46447"/>
              </a:avLst>
            </a:prstGeom>
            <a:solidFill>
              <a:srgbClr val="FFFFFF">
                <a:lumMod val="75000"/>
              </a:srgbClr>
            </a:solidFill>
            <a:ln w="254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" kern="0" dirty="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1" name="Picture 9"/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35"/>
            <a:stretch/>
          </p:blipFill>
          <p:spPr bwMode="auto">
            <a:xfrm>
              <a:off x="5851637" y="3180877"/>
              <a:ext cx="392158" cy="3669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2" name="Picture 11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26" t="2924" r="4999" b="4121"/>
            <a:stretch/>
          </p:blipFill>
          <p:spPr bwMode="auto">
            <a:xfrm>
              <a:off x="4391244" y="3717290"/>
              <a:ext cx="341427" cy="422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1945" y="5743495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3382" y="3736379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5" name="Straight Connector 98"/>
            <p:cNvCxnSpPr>
              <a:stCxn id="112" idx="0"/>
              <a:endCxn id="52" idx="1"/>
            </p:cNvCxnSpPr>
            <p:nvPr/>
          </p:nvCxnSpPr>
          <p:spPr bwMode="auto">
            <a:xfrm>
              <a:off x="1855590" y="3922967"/>
              <a:ext cx="2535652" cy="5401"/>
            </a:xfrm>
            <a:prstGeom prst="line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56" name="Picture 76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3339966" y="3698485"/>
              <a:ext cx="249677" cy="46978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7" name="Picture 10"/>
            <p:cNvPicPr>
              <a:picLocks noChangeAspect="1" noChangeArrowheads="1"/>
            </p:cNvPicPr>
            <p:nvPr/>
          </p:nvPicPr>
          <p:blipFill rotWithShape="1">
            <a:blip r:embed="rId11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43" t="4545" r="9999" b="7490"/>
            <a:stretch/>
          </p:blipFill>
          <p:spPr bwMode="auto">
            <a:xfrm>
              <a:off x="2504662" y="3771262"/>
              <a:ext cx="428124" cy="3550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58" name="Straight Connector 101"/>
            <p:cNvCxnSpPr>
              <a:stCxn id="52" idx="2"/>
              <a:endCxn id="87" idx="0"/>
            </p:cNvCxnSpPr>
            <p:nvPr/>
          </p:nvCxnSpPr>
          <p:spPr bwMode="auto">
            <a:xfrm>
              <a:off x="4561956" y="4139445"/>
              <a:ext cx="10318" cy="1051680"/>
            </a:xfrm>
            <a:prstGeom prst="line">
              <a:avLst/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0" name="TextBox 59"/>
            <p:cNvSpPr txBox="1"/>
            <p:nvPr/>
          </p:nvSpPr>
          <p:spPr>
            <a:xfrm>
              <a:off x="1099788" y="5378053"/>
              <a:ext cx="926365" cy="5273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blic 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망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ffice 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망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재 망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WS 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환경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1" name="Straight Connector 103"/>
            <p:cNvCxnSpPr/>
            <p:nvPr/>
          </p:nvCxnSpPr>
          <p:spPr bwMode="auto">
            <a:xfrm flipV="1">
              <a:off x="825220" y="5515501"/>
              <a:ext cx="274568" cy="1"/>
            </a:xfrm>
            <a:prstGeom prst="line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Straight Connector 104"/>
            <p:cNvCxnSpPr/>
            <p:nvPr/>
          </p:nvCxnSpPr>
          <p:spPr bwMode="auto">
            <a:xfrm flipV="1">
              <a:off x="825220" y="5676556"/>
              <a:ext cx="274568" cy="1"/>
            </a:xfrm>
            <a:prstGeom prst="line">
              <a:avLst/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Straight Connector 105"/>
            <p:cNvCxnSpPr/>
            <p:nvPr/>
          </p:nvCxnSpPr>
          <p:spPr bwMode="auto">
            <a:xfrm flipV="1">
              <a:off x="825220" y="5882121"/>
              <a:ext cx="274568" cy="1"/>
            </a:xfrm>
            <a:prstGeom prst="line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Rectangle 106"/>
            <p:cNvSpPr/>
            <p:nvPr/>
          </p:nvSpPr>
          <p:spPr>
            <a:xfrm>
              <a:off x="2643275" y="4294445"/>
              <a:ext cx="1646777" cy="854498"/>
            </a:xfrm>
            <a:prstGeom prst="rect">
              <a:avLst/>
            </a:prstGeom>
            <a:noFill/>
            <a:ln w="19050">
              <a:solidFill>
                <a:srgbClr val="333333">
                  <a:lumMod val="40000"/>
                  <a:lumOff val="60000"/>
                </a:srgbClr>
              </a:solidFill>
              <a:prstDash val="solid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638682" y="4287790"/>
              <a:ext cx="831939" cy="348229"/>
            </a:xfrm>
            <a:prstGeom prst="rect">
              <a:avLst/>
            </a:prstGeom>
            <a:solidFill>
              <a:srgbClr val="333333">
                <a:lumMod val="40000"/>
                <a:lumOff val="60000"/>
              </a:srgbClr>
            </a:solidFill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MZ</a:t>
              </a:r>
              <a:endParaRPr lang="ko-KR" altLang="en-US" sz="1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8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7337" y="4720413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" name="TextBox 68"/>
            <p:cNvSpPr txBox="1"/>
            <p:nvPr/>
          </p:nvSpPr>
          <p:spPr>
            <a:xfrm>
              <a:off x="3523686" y="4771454"/>
              <a:ext cx="871697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웹 서버</a:t>
              </a:r>
            </a:p>
          </p:txBody>
        </p:sp>
        <p:cxnSp>
          <p:nvCxnSpPr>
            <p:cNvPr id="70" name="Elbow Connector 110"/>
            <p:cNvCxnSpPr>
              <a:stCxn id="54" idx="3"/>
              <a:endCxn id="51" idx="1"/>
            </p:cNvCxnSpPr>
            <p:nvPr/>
          </p:nvCxnSpPr>
          <p:spPr bwMode="auto">
            <a:xfrm flipV="1">
              <a:off x="5385060" y="3364361"/>
              <a:ext cx="466577" cy="563044"/>
            </a:xfrm>
            <a:prstGeom prst="bentConnector3">
              <a:avLst>
                <a:gd name="adj1" fmla="val 50000"/>
              </a:avLst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71" name="Picture 9"/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35"/>
            <a:stretch/>
          </p:blipFill>
          <p:spPr bwMode="auto">
            <a:xfrm>
              <a:off x="5851637" y="3742546"/>
              <a:ext cx="392158" cy="3669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2" name="Picture 9"/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35"/>
            <a:stretch/>
          </p:blipFill>
          <p:spPr bwMode="auto">
            <a:xfrm>
              <a:off x="5842929" y="4275759"/>
              <a:ext cx="392158" cy="3669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73" name="Elbow Connector 113"/>
            <p:cNvCxnSpPr>
              <a:stCxn id="54" idx="3"/>
              <a:endCxn id="71" idx="1"/>
            </p:cNvCxnSpPr>
            <p:nvPr/>
          </p:nvCxnSpPr>
          <p:spPr bwMode="auto">
            <a:xfrm flipV="1">
              <a:off x="5385060" y="3926033"/>
              <a:ext cx="466577" cy="1375"/>
            </a:xfrm>
            <a:prstGeom prst="bentConnector3">
              <a:avLst>
                <a:gd name="adj1" fmla="val 50000"/>
              </a:avLst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Elbow Connector 114"/>
            <p:cNvCxnSpPr>
              <a:stCxn id="54" idx="3"/>
              <a:endCxn id="72" idx="1"/>
            </p:cNvCxnSpPr>
            <p:nvPr/>
          </p:nvCxnSpPr>
          <p:spPr bwMode="auto">
            <a:xfrm>
              <a:off x="5385060" y="3927405"/>
              <a:ext cx="457869" cy="531838"/>
            </a:xfrm>
            <a:prstGeom prst="bentConnector3">
              <a:avLst>
                <a:gd name="adj1" fmla="val 50000"/>
              </a:avLst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5" name="Rectangle 115"/>
            <p:cNvSpPr/>
            <p:nvPr/>
          </p:nvSpPr>
          <p:spPr>
            <a:xfrm>
              <a:off x="5533671" y="2843691"/>
              <a:ext cx="895704" cy="1947384"/>
            </a:xfrm>
            <a:prstGeom prst="rect">
              <a:avLst/>
            </a:prstGeom>
            <a:noFill/>
            <a:ln w="19050">
              <a:solidFill>
                <a:srgbClr val="333333">
                  <a:lumMod val="40000"/>
                  <a:lumOff val="60000"/>
                </a:srgbClr>
              </a:solidFill>
              <a:prstDash val="solid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5529077" y="2837036"/>
              <a:ext cx="900301" cy="397976"/>
            </a:xfrm>
            <a:prstGeom prst="rect">
              <a:avLst/>
            </a:prstGeom>
            <a:solidFill>
              <a:srgbClr val="333333">
                <a:lumMod val="40000"/>
                <a:lumOff val="60000"/>
              </a:srgbClr>
            </a:solidFill>
          </p:spPr>
          <p:txBody>
            <a:bodyPr wrap="square" rtlCol="0">
              <a:spAutoFit/>
            </a:bodyPr>
            <a:lstStyle/>
            <a:p>
              <a:pPr marL="52388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외 </a:t>
              </a:r>
              <a:r>
                <a:rPr lang="en-US" altLang="ko-KR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Zone</a:t>
              </a:r>
              <a:endParaRPr lang="ko-KR" altLang="en-US" sz="1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Rectangle 117"/>
            <p:cNvSpPr/>
            <p:nvPr/>
          </p:nvSpPr>
          <p:spPr>
            <a:xfrm>
              <a:off x="2804553" y="1896284"/>
              <a:ext cx="2652519" cy="910544"/>
            </a:xfrm>
            <a:prstGeom prst="rect">
              <a:avLst/>
            </a:prstGeom>
            <a:noFill/>
            <a:ln w="19050">
              <a:solidFill>
                <a:srgbClr val="333333">
                  <a:lumMod val="40000"/>
                  <a:lumOff val="60000"/>
                </a:srgbClr>
              </a:solidFill>
              <a:prstDash val="solid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799962" y="1889627"/>
              <a:ext cx="926365" cy="348229"/>
            </a:xfrm>
            <a:prstGeom prst="rect">
              <a:avLst/>
            </a:prstGeom>
            <a:solidFill>
              <a:srgbClr val="333333">
                <a:lumMod val="40000"/>
                <a:lumOff val="60000"/>
              </a:srgbClr>
            </a:solidFill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</a:t>
              </a:r>
              <a:r>
                <a:rPr lang="en-US" altLang="ko-KR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Zone</a:t>
              </a:r>
              <a:endParaRPr lang="ko-KR" altLang="en-US" sz="1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80" name="Straight Connector 119"/>
            <p:cNvCxnSpPr>
              <a:stCxn id="81" idx="1"/>
              <a:endCxn id="47" idx="3"/>
            </p:cNvCxnSpPr>
            <p:nvPr/>
          </p:nvCxnSpPr>
          <p:spPr bwMode="auto">
            <a:xfrm flipH="1">
              <a:off x="3539866" y="2406440"/>
              <a:ext cx="285406" cy="0"/>
            </a:xfrm>
            <a:prstGeom prst="line">
              <a:avLst/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81" name="Picture 12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5272" y="2239053"/>
              <a:ext cx="435206" cy="334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82" name="Straight Connector 121"/>
            <p:cNvCxnSpPr>
              <a:stCxn id="83" idx="1"/>
              <a:endCxn id="81" idx="3"/>
            </p:cNvCxnSpPr>
            <p:nvPr/>
          </p:nvCxnSpPr>
          <p:spPr bwMode="auto">
            <a:xfrm flipH="1">
              <a:off x="4260480" y="2404896"/>
              <a:ext cx="297471" cy="1544"/>
            </a:xfrm>
            <a:prstGeom prst="line">
              <a:avLst/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83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15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7951" y="2231835"/>
              <a:ext cx="309547" cy="346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Picture 79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26211" y="2373189"/>
              <a:ext cx="207469" cy="27111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5" name="TextBox 84"/>
            <p:cNvSpPr txBox="1"/>
            <p:nvPr/>
          </p:nvSpPr>
          <p:spPr>
            <a:xfrm>
              <a:off x="4234826" y="2582412"/>
              <a:ext cx="1030730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운영자</a:t>
              </a: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발자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763816" y="2576856"/>
              <a:ext cx="936304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업담당자</a:t>
              </a:r>
              <a:endParaRPr lang="en-US" altLang="ko-KR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Rectangle 126"/>
            <p:cNvSpPr/>
            <p:nvPr/>
          </p:nvSpPr>
          <p:spPr>
            <a:xfrm>
              <a:off x="3651674" y="5191129"/>
              <a:ext cx="1841203" cy="1152525"/>
            </a:xfrm>
            <a:prstGeom prst="rect">
              <a:avLst/>
            </a:prstGeom>
            <a:noFill/>
            <a:ln w="19050">
              <a:solidFill>
                <a:srgbClr val="333333">
                  <a:lumMod val="40000"/>
                  <a:lumOff val="60000"/>
                </a:srgbClr>
              </a:solidFill>
              <a:prstDash val="solid"/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3647081" y="5189537"/>
              <a:ext cx="926365" cy="348229"/>
            </a:xfrm>
            <a:prstGeom prst="rect">
              <a:avLst/>
            </a:prstGeom>
            <a:solidFill>
              <a:srgbClr val="333333">
                <a:lumMod val="40000"/>
                <a:lumOff val="60000"/>
              </a:srgbClr>
            </a:solidFill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부 </a:t>
              </a:r>
              <a:r>
                <a:rPr lang="en-US" altLang="ko-KR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Zone</a:t>
              </a:r>
              <a:endParaRPr lang="ko-KR" altLang="en-US" sz="1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677776" y="6102579"/>
              <a:ext cx="817030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4265355" y="6102576"/>
              <a:ext cx="817030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4933366" y="6102576"/>
              <a:ext cx="792181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4871463" y="4086838"/>
              <a:ext cx="881637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외</a:t>
              </a: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I/F</a:t>
              </a:r>
            </a:p>
          </p:txBody>
        </p:sp>
        <p:cxnSp>
          <p:nvCxnSpPr>
            <p:cNvPr id="95" name="Straight Connector 132"/>
            <p:cNvCxnSpPr>
              <a:stCxn id="54" idx="1"/>
              <a:endCxn id="52" idx="3"/>
            </p:cNvCxnSpPr>
            <p:nvPr/>
          </p:nvCxnSpPr>
          <p:spPr bwMode="auto">
            <a:xfrm flipH="1">
              <a:off x="4732669" y="3927409"/>
              <a:ext cx="310711" cy="961"/>
            </a:xfrm>
            <a:prstGeom prst="line">
              <a:avLst/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6" name="Rectangle 133"/>
            <p:cNvSpPr/>
            <p:nvPr/>
          </p:nvSpPr>
          <p:spPr>
            <a:xfrm>
              <a:off x="683979" y="5230774"/>
              <a:ext cx="1244601" cy="1071343"/>
            </a:xfrm>
            <a:prstGeom prst="rect">
              <a:avLst/>
            </a:prstGeom>
            <a:noFill/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071359" y="5085232"/>
              <a:ext cx="466905" cy="397976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lang="en-US" altLang="ko-KR" sz="100" b="1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98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435" y="5235134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9" name="Straight Connector 136"/>
            <p:cNvCxnSpPr>
              <a:stCxn id="56" idx="2"/>
              <a:endCxn id="66" idx="0"/>
            </p:cNvCxnSpPr>
            <p:nvPr/>
          </p:nvCxnSpPr>
          <p:spPr bwMode="auto">
            <a:xfrm>
              <a:off x="3464805" y="4168270"/>
              <a:ext cx="1859" cy="126175"/>
            </a:xfrm>
            <a:prstGeom prst="line">
              <a:avLst/>
            </a:prstGeom>
            <a:solidFill>
              <a:srgbClr val="FFD200"/>
            </a:solidFill>
            <a:ln w="19050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0" name="TextBox 99"/>
            <p:cNvSpPr txBox="1"/>
            <p:nvPr/>
          </p:nvSpPr>
          <p:spPr>
            <a:xfrm>
              <a:off x="3512801" y="4339441"/>
              <a:ext cx="941274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ulti G/W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01" name="Picture 76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451354" y="4248196"/>
              <a:ext cx="253999" cy="4779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2" name="TextBox 101"/>
            <p:cNvSpPr txBox="1"/>
            <p:nvPr/>
          </p:nvSpPr>
          <p:spPr>
            <a:xfrm>
              <a:off x="3091590" y="3460613"/>
              <a:ext cx="911455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외부 </a:t>
              </a: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/W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5704971" y="3460613"/>
              <a:ext cx="856788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맹점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5755648" y="4022065"/>
              <a:ext cx="851818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/G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</a:t>
              </a: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5587021" y="4545801"/>
              <a:ext cx="956183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kern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</a:t>
              </a: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신사</a:t>
              </a:r>
            </a:p>
          </p:txBody>
        </p:sp>
        <p:cxnSp>
          <p:nvCxnSpPr>
            <p:cNvPr id="106" name="Elbow Connector 143"/>
            <p:cNvCxnSpPr>
              <a:stCxn id="77" idx="2"/>
              <a:endCxn id="52" idx="0"/>
            </p:cNvCxnSpPr>
            <p:nvPr/>
          </p:nvCxnSpPr>
          <p:spPr bwMode="auto">
            <a:xfrm rot="16200000" flipH="1">
              <a:off x="3891154" y="3046486"/>
              <a:ext cx="910458" cy="431145"/>
            </a:xfrm>
            <a:prstGeom prst="bentConnector3">
              <a:avLst>
                <a:gd name="adj1" fmla="val 50000"/>
              </a:avLst>
            </a:prstGeom>
            <a:solidFill>
              <a:srgbClr val="FFD200"/>
            </a:solidFill>
            <a:ln w="28575" cap="flat" cmpd="dbl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Straight Connector 144"/>
            <p:cNvCxnSpPr/>
            <p:nvPr/>
          </p:nvCxnSpPr>
          <p:spPr bwMode="auto">
            <a:xfrm>
              <a:off x="549485" y="1772770"/>
              <a:ext cx="5973664" cy="0"/>
            </a:xfrm>
            <a:prstGeom prst="line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8" name="Rectangle 145"/>
            <p:cNvSpPr/>
            <p:nvPr/>
          </p:nvSpPr>
          <p:spPr>
            <a:xfrm>
              <a:off x="549485" y="1847966"/>
              <a:ext cx="5973664" cy="4562359"/>
            </a:xfrm>
            <a:prstGeom prst="rect">
              <a:avLst/>
            </a:prstGeom>
            <a:noFill/>
            <a:ln>
              <a:solidFill>
                <a:srgbClr val="333333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268288" indent="-215900"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endParaRPr lang="ko-KR" altLang="en-US" sz="100" b="1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Rectangle 146"/>
            <p:cNvSpPr/>
            <p:nvPr/>
          </p:nvSpPr>
          <p:spPr bwMode="gray">
            <a:xfrm>
              <a:off x="880850" y="2471430"/>
              <a:ext cx="761532" cy="29995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① </a:t>
              </a:r>
              <a:endParaRPr lang="en-US" altLang="ko-KR" sz="1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Rectangle 147"/>
            <p:cNvSpPr/>
            <p:nvPr/>
          </p:nvSpPr>
          <p:spPr bwMode="gray">
            <a:xfrm>
              <a:off x="5399689" y="5680583"/>
              <a:ext cx="461751" cy="29995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② </a:t>
              </a:r>
              <a:endParaRPr lang="en-US" altLang="ko-KR" sz="1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1" name="Picture 13"/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1361" y="2852999"/>
              <a:ext cx="410985" cy="8021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2" name="구름 102"/>
            <p:cNvSpPr/>
            <p:nvPr/>
          </p:nvSpPr>
          <p:spPr bwMode="auto">
            <a:xfrm>
              <a:off x="680008" y="3429004"/>
              <a:ext cx="1176564" cy="987929"/>
            </a:xfrm>
            <a:prstGeom prst="cloud">
              <a:avLst/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" b="1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rnet</a:t>
              </a:r>
              <a:endParaRPr lang="ko-KR" altLang="en-US" sz="1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3" name="Elbow Connector 150"/>
            <p:cNvCxnSpPr>
              <a:stCxn id="43" idx="3"/>
            </p:cNvCxnSpPr>
            <p:nvPr/>
          </p:nvCxnSpPr>
          <p:spPr bwMode="auto">
            <a:xfrm flipV="1">
              <a:off x="5856516" y="3194592"/>
              <a:ext cx="1042882" cy="2813289"/>
            </a:xfrm>
            <a:prstGeom prst="bentConnector3">
              <a:avLst>
                <a:gd name="adj1" fmla="val 71920"/>
              </a:avLst>
            </a:prstGeom>
            <a:noFill/>
            <a:ln w="19050">
              <a:solidFill>
                <a:srgbClr val="FFC000"/>
              </a:solidFill>
              <a:prstDash val="sysDash"/>
              <a:headEnd type="none" w="med" len="med"/>
              <a:tailEnd type="triangle" w="med" len="med"/>
            </a:ln>
          </p:spPr>
        </p:cxnSp>
        <p:cxnSp>
          <p:nvCxnSpPr>
            <p:cNvPr id="114" name="Elbow Connector 151"/>
            <p:cNvCxnSpPr>
              <a:stCxn id="45" idx="3"/>
            </p:cNvCxnSpPr>
            <p:nvPr/>
          </p:nvCxnSpPr>
          <p:spPr bwMode="auto">
            <a:xfrm flipV="1">
              <a:off x="1632857" y="2045618"/>
              <a:ext cx="5270318" cy="981370"/>
            </a:xfrm>
            <a:prstGeom prst="bentConnector3">
              <a:avLst>
                <a:gd name="adj1" fmla="val 40086"/>
              </a:avLst>
            </a:prstGeom>
            <a:noFill/>
            <a:ln w="19050">
              <a:solidFill>
                <a:srgbClr val="FFC000"/>
              </a:solidFill>
              <a:prstDash val="sysDash"/>
              <a:headEnd type="none" w="med" len="med"/>
              <a:tailEnd type="triangle" w="med" len="med"/>
            </a:ln>
          </p:spPr>
        </p:cxnSp>
        <p:sp>
          <p:nvSpPr>
            <p:cNvPr id="115" name="Rectangle 152"/>
            <p:cNvSpPr/>
            <p:nvPr/>
          </p:nvSpPr>
          <p:spPr bwMode="gray">
            <a:xfrm>
              <a:off x="4922446" y="3214348"/>
              <a:ext cx="534626" cy="29995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③</a:t>
              </a:r>
              <a:endParaRPr lang="en-US" altLang="ko-KR" sz="1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6" name="Elbow Connector 153"/>
            <p:cNvCxnSpPr>
              <a:stCxn id="44" idx="2"/>
            </p:cNvCxnSpPr>
            <p:nvPr/>
          </p:nvCxnSpPr>
          <p:spPr bwMode="auto">
            <a:xfrm rot="5400000" flipH="1" flipV="1">
              <a:off x="6014993" y="3502539"/>
              <a:ext cx="62948" cy="1705858"/>
            </a:xfrm>
            <a:prstGeom prst="bentConnector4">
              <a:avLst>
                <a:gd name="adj1" fmla="val -363157"/>
                <a:gd name="adj2" fmla="val 65604"/>
              </a:avLst>
            </a:prstGeom>
            <a:noFill/>
            <a:ln w="19050">
              <a:solidFill>
                <a:srgbClr val="FFC000"/>
              </a:solidFill>
              <a:prstDash val="sysDash"/>
              <a:headEnd type="none" w="med" len="med"/>
              <a:tailEnd type="triangle" w="med" len="med"/>
            </a:ln>
          </p:spPr>
        </p:cxnSp>
        <p:sp>
          <p:nvSpPr>
            <p:cNvPr id="117" name="Rectangle 154"/>
            <p:cNvSpPr/>
            <p:nvPr/>
          </p:nvSpPr>
          <p:spPr bwMode="gray">
            <a:xfrm>
              <a:off x="2359473" y="6037558"/>
              <a:ext cx="461751" cy="29995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ko-KR" altLang="en-US" sz="100" b="1" kern="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④</a:t>
              </a:r>
              <a:endParaRPr lang="en-US" altLang="ko-KR" sz="1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8" name="Elbow Connector 155"/>
            <p:cNvCxnSpPr/>
            <p:nvPr/>
          </p:nvCxnSpPr>
          <p:spPr bwMode="auto">
            <a:xfrm>
              <a:off x="4808538" y="5085234"/>
              <a:ext cx="2087081" cy="38773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rgbClr val="FFC000"/>
              </a:solidFill>
              <a:prstDash val="sysDash"/>
              <a:headEnd type="none" w="med" len="med"/>
              <a:tailEnd type="triangle" w="med" len="med"/>
            </a:ln>
          </p:spPr>
        </p:cxnSp>
        <p:pic>
          <p:nvPicPr>
            <p:cNvPr id="119" name="Picture 59" descr="Server sm"/>
            <p:cNvPicPr preferRelativeResize="0"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3538" y="4314378"/>
              <a:ext cx="341680" cy="38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0" name="TextBox 119"/>
            <p:cNvSpPr txBox="1"/>
            <p:nvPr/>
          </p:nvSpPr>
          <p:spPr>
            <a:xfrm>
              <a:off x="4680064" y="5315081"/>
              <a:ext cx="831939" cy="3482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2388">
                <a:spcBef>
                  <a:spcPct val="20000"/>
                </a:spcBef>
                <a:buClr>
                  <a:srgbClr val="FFD200"/>
                </a:buClr>
                <a:buSzPct val="75000"/>
                <a:defRPr/>
              </a:pPr>
              <a:r>
                <a:rPr lang="en-US" altLang="ko-KR" sz="100" kern="0" dirty="0" smtClean="0">
                  <a:solidFill>
                    <a:srgbClr val="646464">
                      <a:lumMod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100" kern="0" dirty="0" smtClean="0">
                <a:solidFill>
                  <a:srgbClr val="646464">
                    <a:lumMod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21" name="Picture 53" descr="IOS_SLB"/>
            <p:cNvPicPr>
              <a:picLocks noChangeAspect="1" noChangeArrowheads="1"/>
            </p:cNvPicPr>
            <p:nvPr/>
          </p:nvPicPr>
          <p:blipFill>
            <a:blip r:embed="rId17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0719" y="4837385"/>
              <a:ext cx="415078" cy="2108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Picture 53" descr="IOS_SLB"/>
            <p:cNvPicPr>
              <a:picLocks noChangeAspect="1" noChangeArrowheads="1"/>
            </p:cNvPicPr>
            <p:nvPr/>
          </p:nvPicPr>
          <p:blipFill>
            <a:blip r:embed="rId17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2867" y="2941101"/>
              <a:ext cx="415078" cy="2108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3" name="Oval 41"/>
          <p:cNvSpPr/>
          <p:nvPr/>
        </p:nvSpPr>
        <p:spPr>
          <a:xfrm>
            <a:off x="4142426" y="5321767"/>
            <a:ext cx="1051154" cy="703088"/>
          </a:xfrm>
          <a:prstGeom prst="ellipse">
            <a:avLst/>
          </a:prstGeom>
          <a:noFill/>
          <a:ln w="19050">
            <a:solidFill>
              <a:srgbClr val="FF0000">
                <a:alpha val="48000"/>
              </a:srgbClr>
            </a:solidFill>
            <a:prstDash val="dash"/>
          </a:ln>
        </p:spPr>
        <p:txBody>
          <a:bodyPr wrap="square" rtlCol="0" anchor="ctr">
            <a:noAutofit/>
          </a:bodyPr>
          <a:lstStyle/>
          <a:p>
            <a:pPr marL="268288" indent="-215900" algn="ctr">
              <a:spcBef>
                <a:spcPct val="20000"/>
              </a:spcBef>
              <a:buClr>
                <a:srgbClr val="FFD200"/>
              </a:buClr>
              <a:buSzPct val="75000"/>
              <a:defRPr/>
            </a:pPr>
            <a:endParaRPr lang="ko-KR" altLang="en-US" sz="100" b="1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4" name="Straight Connector 42"/>
          <p:cNvCxnSpPr/>
          <p:nvPr/>
        </p:nvCxnSpPr>
        <p:spPr bwMode="auto">
          <a:xfrm>
            <a:off x="3699572" y="5920603"/>
            <a:ext cx="88562" cy="0"/>
          </a:xfrm>
          <a:prstGeom prst="line">
            <a:avLst/>
          </a:prstGeom>
          <a:solidFill>
            <a:srgbClr val="FFD200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ectangle 43"/>
          <p:cNvSpPr/>
          <p:nvPr/>
        </p:nvSpPr>
        <p:spPr bwMode="gray">
          <a:xfrm>
            <a:off x="5686081" y="4591275"/>
            <a:ext cx="1381003" cy="303514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 모바일 진단</a:t>
            </a:r>
            <a:endParaRPr lang="en-US" altLang="ko-KR" sz="105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Rectangle 44"/>
          <p:cNvSpPr/>
          <p:nvPr/>
        </p:nvSpPr>
        <p:spPr bwMode="gray">
          <a:xfrm>
            <a:off x="5686081" y="4961288"/>
            <a:ext cx="1381003" cy="303514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en-US" altLang="ko-KR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 </a:t>
            </a:r>
            <a:r>
              <a:rPr lang="ko-KR" altLang="en-US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단</a:t>
            </a:r>
            <a:endParaRPr lang="en-US" altLang="ko-KR" sz="105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Rectangle 45"/>
          <p:cNvSpPr/>
          <p:nvPr/>
        </p:nvSpPr>
        <p:spPr bwMode="gray">
          <a:xfrm>
            <a:off x="5686081" y="5331300"/>
            <a:ext cx="1381003" cy="303514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③ 대외네트워크 진단</a:t>
            </a:r>
            <a:endParaRPr lang="en-US" altLang="ko-KR" sz="105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8" name="Rectangle 46"/>
          <p:cNvSpPr/>
          <p:nvPr/>
        </p:nvSpPr>
        <p:spPr bwMode="gray">
          <a:xfrm>
            <a:off x="5686081" y="5701313"/>
            <a:ext cx="1381003" cy="303514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05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④ 보안아키텍쳐 진단</a:t>
            </a:r>
            <a:endParaRPr lang="en-US" altLang="ko-KR" sz="105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9" name="Rectangle 98"/>
          <p:cNvSpPr>
            <a:spLocks noChangeArrowheads="1"/>
          </p:cNvSpPr>
          <p:nvPr/>
        </p:nvSpPr>
        <p:spPr bwMode="auto">
          <a:xfrm>
            <a:off x="2394609" y="4608565"/>
            <a:ext cx="974825" cy="410640"/>
          </a:xfrm>
          <a:prstGeom prst="rect">
            <a:avLst/>
          </a:prstGeom>
          <a:solidFill>
            <a:srgbClr val="333333">
              <a:lumMod val="60000"/>
              <a:lumOff val="40000"/>
            </a:srgbClr>
          </a:solidFill>
          <a:ln w="9525" algn="ctr">
            <a:solidFill>
              <a:srgbClr val="645B4C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</a:t>
            </a:r>
            <a:endParaRPr lang="en-US" altLang="ko-KR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view</a:t>
            </a:r>
            <a:endParaRPr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0" name="Rectangle 98"/>
          <p:cNvSpPr>
            <a:spLocks noChangeArrowheads="1"/>
          </p:cNvSpPr>
          <p:nvPr/>
        </p:nvSpPr>
        <p:spPr bwMode="auto">
          <a:xfrm>
            <a:off x="2394534" y="5507772"/>
            <a:ext cx="973973" cy="407978"/>
          </a:xfrm>
          <a:prstGeom prst="rect">
            <a:avLst/>
          </a:prstGeom>
          <a:solidFill>
            <a:srgbClr val="333333">
              <a:lumMod val="60000"/>
              <a:lumOff val="40000"/>
            </a:srgbClr>
          </a:solidFill>
          <a:ln w="9525" algn="ctr">
            <a:solidFill>
              <a:srgbClr val="645B4C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rey box </a:t>
            </a:r>
            <a:endParaRPr lang="en-US" altLang="ko-KR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sting</a:t>
            </a:r>
            <a:endParaRPr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Rectangle 98"/>
          <p:cNvSpPr>
            <a:spLocks noChangeArrowheads="1"/>
          </p:cNvSpPr>
          <p:nvPr/>
        </p:nvSpPr>
        <p:spPr bwMode="auto">
          <a:xfrm>
            <a:off x="2394534" y="5073829"/>
            <a:ext cx="973973" cy="380995"/>
          </a:xfrm>
          <a:prstGeom prst="rect">
            <a:avLst/>
          </a:prstGeom>
          <a:solidFill>
            <a:srgbClr val="333333">
              <a:lumMod val="60000"/>
              <a:lumOff val="40000"/>
            </a:srgbClr>
          </a:solidFill>
          <a:ln w="9525" algn="ctr">
            <a:solidFill>
              <a:srgbClr val="645B4C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ource code </a:t>
            </a:r>
            <a:endParaRPr lang="en-US" altLang="ko-KR" sz="100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view</a:t>
            </a:r>
            <a:endParaRPr lang="en-US" altLang="ko-KR" sz="10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Rectangle 13"/>
          <p:cNvSpPr>
            <a:spLocks noChangeArrowheads="1"/>
          </p:cNvSpPr>
          <p:nvPr/>
        </p:nvSpPr>
        <p:spPr bwMode="gray">
          <a:xfrm>
            <a:off x="2212035" y="4621758"/>
            <a:ext cx="182576" cy="1595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</a:t>
            </a:r>
          </a:p>
        </p:txBody>
      </p:sp>
      <p:sp>
        <p:nvSpPr>
          <p:cNvPr id="133" name="Rectangle 13"/>
          <p:cNvSpPr>
            <a:spLocks noChangeArrowheads="1"/>
          </p:cNvSpPr>
          <p:nvPr/>
        </p:nvSpPr>
        <p:spPr bwMode="gray">
          <a:xfrm>
            <a:off x="2212035" y="5520965"/>
            <a:ext cx="182576" cy="1595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II</a:t>
            </a:r>
          </a:p>
        </p:txBody>
      </p:sp>
      <p:sp>
        <p:nvSpPr>
          <p:cNvPr id="134" name="Rectangle 13"/>
          <p:cNvSpPr>
            <a:spLocks noChangeArrowheads="1"/>
          </p:cNvSpPr>
          <p:nvPr/>
        </p:nvSpPr>
        <p:spPr bwMode="gray">
          <a:xfrm>
            <a:off x="2212035" y="5087022"/>
            <a:ext cx="182576" cy="1595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200" kern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I</a:t>
            </a:r>
          </a:p>
        </p:txBody>
      </p:sp>
      <p:sp>
        <p:nvSpPr>
          <p:cNvPr id="135" name="Rectangle 80"/>
          <p:cNvSpPr/>
          <p:nvPr/>
        </p:nvSpPr>
        <p:spPr>
          <a:xfrm>
            <a:off x="2008045" y="4340656"/>
            <a:ext cx="11817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 </a:t>
            </a:r>
            <a:r>
              <a:rPr lang="ko-KR" altLang="en-US" sz="10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단</a:t>
            </a:r>
            <a:endParaRPr lang="ko-KR" altLang="en-US" sz="1000" dirty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Rectangle 81"/>
          <p:cNvSpPr/>
          <p:nvPr/>
        </p:nvSpPr>
        <p:spPr>
          <a:xfrm>
            <a:off x="3536805" y="4340656"/>
            <a:ext cx="13195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rastructure </a:t>
            </a:r>
            <a:r>
              <a:rPr lang="ko-KR" altLang="en-US" sz="100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단</a:t>
            </a:r>
            <a:endParaRPr lang="ko-KR" altLang="en-US" sz="1000" dirty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Rectangle 82"/>
          <p:cNvSpPr/>
          <p:nvPr/>
        </p:nvSpPr>
        <p:spPr>
          <a:xfrm>
            <a:off x="7513218" y="5082424"/>
            <a:ext cx="1886874" cy="7171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rgbClr val="333333"/>
              </a:buClr>
              <a:buSzPct val="80000"/>
              <a:defRPr/>
            </a:pPr>
            <a:r>
              <a:rPr lang="en-US" altLang="ko-KR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</a:t>
            </a:r>
            <a:r>
              <a:rPr lang="ko-KR" altLang="en-US" sz="100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는 </a:t>
            </a:r>
            <a:r>
              <a:rPr lang="en-US" altLang="ko-KR" sz="10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-DSS </a:t>
            </a:r>
            <a:r>
              <a:rPr lang="ko-KR" altLang="en-US" sz="1000" b="1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건을 모두 만족시키고 있는것으로 확인됨</a:t>
            </a:r>
          </a:p>
        </p:txBody>
      </p:sp>
      <p:sp>
        <p:nvSpPr>
          <p:cNvPr id="138" name="Rectangle 83"/>
          <p:cNvSpPr/>
          <p:nvPr/>
        </p:nvSpPr>
        <p:spPr bwMode="auto">
          <a:xfrm>
            <a:off x="1976292" y="2441400"/>
            <a:ext cx="853162" cy="30760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altLang="ko-KR" sz="105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 PA-DSS</a:t>
            </a:r>
            <a:endParaRPr lang="en-US" altLang="ko-KR" sz="1800" b="1" kern="0" dirty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Rectangle 84"/>
          <p:cNvSpPr/>
          <p:nvPr/>
        </p:nvSpPr>
        <p:spPr bwMode="auto">
          <a:xfrm>
            <a:off x="4388941" y="2441400"/>
            <a:ext cx="853162" cy="30760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altLang="ko-KR" sz="1050" b="1" kern="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I-DSS</a:t>
            </a:r>
            <a:endParaRPr lang="en-US" altLang="ko-KR" sz="1800" b="1" kern="0" dirty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96520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NH</a:t>
            </a:r>
            <a:r>
              <a:rPr lang="ko-KR" altLang="en-US" dirty="0"/>
              <a:t>농협카드의 차세대 적용 가능한 핵심 기술요소에 대해 최신 기술 </a:t>
            </a:r>
            <a:r>
              <a:rPr lang="en-US" altLang="ko-KR" dirty="0"/>
              <a:t>Trend</a:t>
            </a:r>
            <a:r>
              <a:rPr lang="ko-KR" altLang="en-US" dirty="0"/>
              <a:t>를 반영하여 검토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술요소 정의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및 검토대상 선정을 제안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아키텍처 별 핵심 이슈 도출 및 장단점 분석을 통해 핵심 아키텍처 권고안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작성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4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8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차세대 적용 기술요소 검토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결과서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9" name="Group 3"/>
          <p:cNvGrpSpPr/>
          <p:nvPr/>
        </p:nvGrpSpPr>
        <p:grpSpPr>
          <a:xfrm>
            <a:off x="273050" y="3716336"/>
            <a:ext cx="7343775" cy="2520952"/>
            <a:chOff x="273050" y="3716336"/>
            <a:chExt cx="7343775" cy="1656476"/>
          </a:xfrm>
        </p:grpSpPr>
        <p:sp>
          <p:nvSpPr>
            <p:cNvPr id="40" name="Rectangle 32"/>
            <p:cNvSpPr>
              <a:spLocks noChangeArrowheads="1"/>
            </p:cNvSpPr>
            <p:nvPr/>
          </p:nvSpPr>
          <p:spPr bwMode="auto">
            <a:xfrm>
              <a:off x="2346325" y="3716336"/>
              <a:ext cx="5270500" cy="792000"/>
            </a:xfrm>
            <a:prstGeom prst="rect">
              <a:avLst/>
            </a:prstGeom>
            <a:noFill/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시스템 적용 가능 기술요소</a:t>
              </a:r>
              <a:r>
                <a:rPr kumimoji="1" lang="en-US" altLang="ko-KR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플랫폼</a:t>
              </a:r>
              <a:r>
                <a:rPr kumimoji="1" lang="en-US" altLang="ko-KR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솔루션 대상 및 평가방안 정의</a:t>
              </a:r>
            </a:p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술요소 별 검토 및 솔루션 </a:t>
              </a:r>
              <a:r>
                <a:rPr kumimoji="1" lang="en-US" altLang="ko-KR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hort-List </a:t>
              </a:r>
              <a:r>
                <a:rPr kumimoji="1" lang="ko-KR" altLang="en-US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도출</a:t>
              </a:r>
            </a:p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2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심 기술요소의 차세대 아키텍처 적용안 제안</a:t>
              </a:r>
            </a:p>
          </p:txBody>
        </p:sp>
        <p:sp>
          <p:nvSpPr>
            <p:cNvPr id="41" name="Rectangle 33"/>
            <p:cNvSpPr>
              <a:spLocks noChangeArrowheads="1"/>
            </p:cNvSpPr>
            <p:nvPr/>
          </p:nvSpPr>
          <p:spPr bwMode="auto">
            <a:xfrm>
              <a:off x="273050" y="3716336"/>
              <a:ext cx="2022475" cy="792000"/>
            </a:xfrm>
            <a:prstGeom prst="rect">
              <a:avLst/>
            </a:prstGeom>
            <a:noFill/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algn="ctr" defTabSz="723900" hangingPunct="0">
                <a:lnSpc>
                  <a:spcPct val="120000"/>
                </a:lnSpc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차세대 적용 기술요소 검토</a:t>
              </a:r>
            </a:p>
          </p:txBody>
        </p:sp>
        <p:sp>
          <p:nvSpPr>
            <p:cNvPr id="42" name="Rectangle 32"/>
            <p:cNvSpPr>
              <a:spLocks noChangeArrowheads="1"/>
            </p:cNvSpPr>
            <p:nvPr/>
          </p:nvSpPr>
          <p:spPr bwMode="auto">
            <a:xfrm>
              <a:off x="2346325" y="4580812"/>
              <a:ext cx="5270500" cy="792000"/>
            </a:xfrm>
            <a:prstGeom prst="rect">
              <a:avLst/>
            </a:prstGeom>
            <a:noFill/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 도출된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별 핵심 이슈 확인 및 추가 식별</a:t>
              </a:r>
            </a:p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구성에 대한 비교 방안을 작성하고 방안별 장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단점 분석</a:t>
              </a:r>
            </a:p>
            <a:p>
              <a:pPr marL="185738" indent="-185738" eaLnBrk="0" latinLnBrk="0" hangingPunct="0">
                <a:lnSpc>
                  <a:spcPct val="11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키텍처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방향 및 비즈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IT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행과제를 통해 핵심 이슈에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한 권고안 작성 </a:t>
              </a:r>
            </a:p>
          </p:txBody>
        </p:sp>
        <p:sp>
          <p:nvSpPr>
            <p:cNvPr id="43" name="Rectangle 33"/>
            <p:cNvSpPr>
              <a:spLocks noChangeArrowheads="1"/>
            </p:cNvSpPr>
            <p:nvPr/>
          </p:nvSpPr>
          <p:spPr bwMode="auto">
            <a:xfrm>
              <a:off x="273050" y="4580812"/>
              <a:ext cx="2022475" cy="792000"/>
            </a:xfrm>
            <a:prstGeom prst="rect">
              <a:avLst/>
            </a:prstGeom>
            <a:noFill/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algn="ctr" defTabSz="723900" hangingPunct="0">
                <a:lnSpc>
                  <a:spcPct val="120000"/>
                </a:lnSpc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핵심 아키텍처 이슈 정리</a:t>
              </a:r>
            </a:p>
          </p:txBody>
        </p:sp>
      </p:grpSp>
      <p:pic>
        <p:nvPicPr>
          <p:cNvPr id="31" name="그림 30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2" name="직사각형 31"/>
          <p:cNvSpPr/>
          <p:nvPr/>
        </p:nvSpPr>
        <p:spPr bwMode="auto">
          <a:xfrm>
            <a:off x="2538849" y="2812678"/>
            <a:ext cx="500371" cy="99989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581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및 기술동향 분석을 통해 차세대 시스템의 개발환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행환경 및 운영환경 구성에 필요한 기술요소를 도출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grpSp>
        <p:nvGrpSpPr>
          <p:cNvPr id="44" name="그룹 43"/>
          <p:cNvGrpSpPr/>
          <p:nvPr/>
        </p:nvGrpSpPr>
        <p:grpSpPr>
          <a:xfrm>
            <a:off x="344360" y="1800225"/>
            <a:ext cx="1224170" cy="2062825"/>
            <a:chOff x="304604" y="1800225"/>
            <a:chExt cx="1224170" cy="2062825"/>
          </a:xfrm>
        </p:grpSpPr>
        <p:sp>
          <p:nvSpPr>
            <p:cNvPr id="45" name="순서도: 페이지 연결자 44"/>
            <p:cNvSpPr/>
            <p:nvPr/>
          </p:nvSpPr>
          <p:spPr>
            <a:xfrm>
              <a:off x="304604" y="1800225"/>
              <a:ext cx="1224170" cy="1080150"/>
            </a:xfrm>
            <a:prstGeom prst="flowChartOffpageConnector">
              <a:avLst/>
            </a:prstGeom>
            <a:solidFill>
              <a:srgbClr val="00338D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indent="-82550" algn="ctr" eaLnBrk="0" latinLnBrk="0">
                <a:lnSpc>
                  <a:spcPct val="120000"/>
                </a:lnSpc>
                <a:spcBef>
                  <a:spcPct val="20000"/>
                </a:spcBef>
                <a:buClr>
                  <a:srgbClr val="1D1F6F"/>
                </a:buClr>
                <a:buSzPct val="80000"/>
                <a:tabLst>
                  <a:tab pos="93663" algn="l"/>
                </a:tabLst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적용 기술요소 검토</a:t>
              </a:r>
            </a:p>
          </p:txBody>
        </p:sp>
        <p:sp>
          <p:nvSpPr>
            <p:cNvPr id="46" name="순서도: 페이지 연결자 45"/>
            <p:cNvSpPr/>
            <p:nvPr/>
          </p:nvSpPr>
          <p:spPr>
            <a:xfrm>
              <a:off x="304604" y="2782900"/>
              <a:ext cx="1224170" cy="1080150"/>
            </a:xfrm>
            <a:prstGeom prst="flowChartOffpageConnector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indent="-82550" algn="ctr" eaLnBrk="0" latinLnBrk="0">
                <a:lnSpc>
                  <a:spcPct val="120000"/>
                </a:lnSpc>
                <a:spcBef>
                  <a:spcPct val="20000"/>
                </a:spcBef>
                <a:buClr>
                  <a:srgbClr val="1D1F6F"/>
                </a:buClr>
                <a:buSzPct val="80000"/>
                <a:tabLst>
                  <a:tab pos="93663" algn="l"/>
                </a:tabLst>
              </a:pPr>
              <a:r>
                <a:rPr lang="ko-KR" altLang="en-US" sz="12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심 아키텍처 이슈 정리</a:t>
              </a:r>
            </a:p>
          </p:txBody>
        </p:sp>
      </p:grpSp>
      <p:sp>
        <p:nvSpPr>
          <p:cNvPr id="25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3745429" y="1898517"/>
            <a:ext cx="3997881" cy="3783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차세대 적용 기술요소 검토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32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기술요소 정의 및 검토대상 선정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적용 가능한 기술요소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플랫폼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솔루션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대상 정의 및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선정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적용 기술요소 별 의사결정 대상과 솔루션의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Short-Lis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도출 대상 선정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기술요소 분석 및 최적화 제안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핵심 기술요소별 후보 솔루션 도출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Long-List)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평가방식에 따른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Long-Lis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솔루션 검토하여 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Short-List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도출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핵심 기술요소의 차세대 아키텍처 적용방안 제안</a:t>
            </a:r>
          </a:p>
        </p:txBody>
      </p:sp>
      <p:grpSp>
        <p:nvGrpSpPr>
          <p:cNvPr id="33" name="Group 46"/>
          <p:cNvGrpSpPr/>
          <p:nvPr/>
        </p:nvGrpSpPr>
        <p:grpSpPr>
          <a:xfrm>
            <a:off x="1986940" y="2255261"/>
            <a:ext cx="4981959" cy="3924205"/>
            <a:chOff x="3810821" y="1700760"/>
            <a:chExt cx="5678809" cy="4608640"/>
          </a:xfrm>
        </p:grpSpPr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3524" y="2100710"/>
              <a:ext cx="3139668" cy="1444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5" name="직사각형 51"/>
            <p:cNvSpPr/>
            <p:nvPr/>
          </p:nvSpPr>
          <p:spPr>
            <a:xfrm>
              <a:off x="3810821" y="1700760"/>
              <a:ext cx="3637549" cy="360000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ctr" anchorCtr="0">
              <a:noAutofit/>
            </a:bodyPr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en-US" altLang="ko-KR" sz="1100" kern="0" spc="-50" dirty="0" smtClean="0">
                  <a:solidFill>
                    <a:prstClr val="black"/>
                  </a:solidFill>
                  <a:latin typeface="맑은 고딕" pitchFamily="50" charset="-127"/>
                  <a:ea typeface="맑은 고딕"/>
                  <a:cs typeface="Arial" charset="0"/>
                </a:rPr>
                <a:t>TRM</a:t>
              </a:r>
              <a:r>
                <a:rPr lang="ko-KR" altLang="en-US" sz="1100" kern="0" spc="-50" dirty="0" smtClean="0">
                  <a:solidFill>
                    <a:prstClr val="black"/>
                  </a:solidFill>
                  <a:latin typeface="맑은 고딕" pitchFamily="50" charset="-127"/>
                  <a:ea typeface="맑은 고딕"/>
                  <a:cs typeface="Arial" charset="0"/>
                </a:rPr>
                <a:t>에 의한 기술요소정의</a:t>
              </a:r>
              <a:endParaRPr lang="en-US" altLang="ko-KR" sz="1100" kern="0" spc="-50" dirty="0" smtClean="0">
                <a:solidFill>
                  <a:prstClr val="black"/>
                </a:solidFill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pic>
          <p:nvPicPr>
            <p:cNvPr id="48" name="Picture 4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32900" y="3727860"/>
              <a:ext cx="5256730" cy="2581540"/>
            </a:xfrm>
            <a:prstGeom prst="rect">
              <a:avLst/>
            </a:prstGeom>
          </p:spPr>
        </p:pic>
        <p:sp>
          <p:nvSpPr>
            <p:cNvPr id="49" name="직사각형 51"/>
            <p:cNvSpPr/>
            <p:nvPr/>
          </p:nvSpPr>
          <p:spPr>
            <a:xfrm>
              <a:off x="7185309" y="3284980"/>
              <a:ext cx="2161061" cy="360000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ctr" anchorCtr="0">
              <a:noAutofit/>
            </a:bodyPr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ko-KR" altLang="en-US" sz="1100" kern="0" spc="-50" dirty="0" smtClean="0">
                  <a:solidFill>
                    <a:prstClr val="black"/>
                  </a:solidFill>
                  <a:latin typeface="맑은 고딕" pitchFamily="50" charset="-127"/>
                  <a:ea typeface="맑은 고딕"/>
                  <a:cs typeface="Arial" charset="0"/>
                </a:rPr>
                <a:t>솔루션 평가방안 절차</a:t>
              </a:r>
              <a:endParaRPr lang="en-US" altLang="ko-KR" sz="1100" kern="0" spc="-50" dirty="0" smtClean="0">
                <a:solidFill>
                  <a:prstClr val="black"/>
                </a:solidFill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</p:grpSp>
      <p:grpSp>
        <p:nvGrpSpPr>
          <p:cNvPr id="5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1" name="TextBox 5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18128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립회계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구축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독자 결산 수행을 위한 영업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립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회계를 기반으로 은행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행종수 및 농축협 연계 구조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축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향후 독립법인 설립 시 원활한 이행이 가능하도록 선제적으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모서리가 둥근 직사각형 3"/>
          <p:cNvSpPr/>
          <p:nvPr/>
        </p:nvSpPr>
        <p:spPr bwMode="auto">
          <a:xfrm>
            <a:off x="776420" y="1628750"/>
            <a:ext cx="4896680" cy="3194204"/>
          </a:xfrm>
          <a:prstGeom prst="roundRect">
            <a:avLst>
              <a:gd name="adj" fmla="val 4031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354555" y="1833125"/>
            <a:ext cx="2041768" cy="169382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독립회계</a:t>
            </a:r>
            <a:r>
              <a:rPr kumimoji="1" lang="en-US" altLang="ko-KR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4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)</a:t>
            </a:r>
            <a:endParaRPr kumimoji="1" lang="en-US" altLang="ko-KR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4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3479298" y="2245330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체 </a:t>
            </a:r>
            <a:r>
              <a:rPr kumimoji="1" lang="en-US" altLang="ko-KR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oA</a:t>
            </a:r>
            <a:endParaRPr kumimoji="1" lang="ko-KR" altLang="en-US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252627" y="3299757"/>
            <a:ext cx="861800" cy="60484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회계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3479298" y="2641385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입출금</a:t>
            </a:r>
          </a:p>
        </p:txBody>
      </p:sp>
      <p:sp>
        <p:nvSpPr>
          <p:cNvPr id="24" name="직사각형 23"/>
          <p:cNvSpPr/>
          <p:nvPr/>
        </p:nvSpPr>
        <p:spPr bwMode="auto">
          <a:xfrm>
            <a:off x="3479298" y="3037440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정자산</a:t>
            </a:r>
          </a:p>
        </p:txBody>
      </p:sp>
      <p:sp>
        <p:nvSpPr>
          <p:cNvPr id="27" name="직사각형 26"/>
          <p:cNvSpPr/>
          <p:nvPr/>
        </p:nvSpPr>
        <p:spPr bwMode="auto">
          <a:xfrm>
            <a:off x="4439089" y="2254832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용전표</a:t>
            </a:r>
          </a:p>
        </p:txBody>
      </p:sp>
      <p:sp>
        <p:nvSpPr>
          <p:cNvPr id="28" name="직사각형 27"/>
          <p:cNvSpPr/>
          <p:nvPr/>
        </p:nvSpPr>
        <p:spPr bwMode="auto">
          <a:xfrm>
            <a:off x="4439089" y="2650887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세무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4439089" y="3046942"/>
            <a:ext cx="813214" cy="2734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결산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7305287" y="2395091"/>
            <a:ext cx="1499074" cy="58279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회계</a:t>
            </a:r>
          </a:p>
        </p:txBody>
      </p:sp>
      <p:sp>
        <p:nvSpPr>
          <p:cNvPr id="31" name="아래쪽 화살표 30"/>
          <p:cNvSpPr/>
          <p:nvPr/>
        </p:nvSpPr>
        <p:spPr bwMode="gray">
          <a:xfrm rot="16200000">
            <a:off x="6244992" y="1836192"/>
            <a:ext cx="360000" cy="1760589"/>
          </a:xfrm>
          <a:prstGeom prst="downArrow">
            <a:avLst>
              <a:gd name="adj1" fmla="val 65538"/>
              <a:gd name="adj2" fmla="val 50000"/>
            </a:avLst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354555" y="3931015"/>
            <a:ext cx="2041768" cy="49848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관리회계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위로 굽은 화살표 50"/>
          <p:cNvSpPr/>
          <p:nvPr/>
        </p:nvSpPr>
        <p:spPr bwMode="auto">
          <a:xfrm rot="5400000">
            <a:off x="2712487" y="3768783"/>
            <a:ext cx="507025" cy="778662"/>
          </a:xfrm>
          <a:prstGeom prst="bentUpArrow">
            <a:avLst>
              <a:gd name="adj1" fmla="val 34492"/>
              <a:gd name="adj2" fmla="val 33305"/>
              <a:gd name="adj3" fmla="val 25000"/>
            </a:avLst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7305287" y="3904601"/>
            <a:ext cx="1499074" cy="58279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은행종수</a:t>
            </a:r>
          </a:p>
        </p:txBody>
      </p:sp>
      <p:sp>
        <p:nvSpPr>
          <p:cNvPr id="53" name="왼쪽/오른쪽 화살표 52"/>
          <p:cNvSpPr/>
          <p:nvPr/>
        </p:nvSpPr>
        <p:spPr bwMode="auto">
          <a:xfrm>
            <a:off x="5396322" y="3986818"/>
            <a:ext cx="1894827" cy="360000"/>
          </a:xfrm>
          <a:prstGeom prst="leftRightArrow">
            <a:avLst>
              <a:gd name="adj1" fmla="val 61503"/>
              <a:gd name="adj2" fmla="val 50000"/>
            </a:avLst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4" name="위로 굽은 화살표 53"/>
          <p:cNvSpPr/>
          <p:nvPr/>
        </p:nvSpPr>
        <p:spPr bwMode="auto">
          <a:xfrm rot="16200000" flipV="1">
            <a:off x="2629522" y="2560487"/>
            <a:ext cx="669369" cy="778662"/>
          </a:xfrm>
          <a:prstGeom prst="bentUpArrow">
            <a:avLst/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6" name="그룹 54"/>
          <p:cNvGrpSpPr/>
          <p:nvPr/>
        </p:nvGrpSpPr>
        <p:grpSpPr>
          <a:xfrm rot="5400000">
            <a:off x="216486" y="2964510"/>
            <a:ext cx="2250906" cy="794864"/>
            <a:chOff x="545835" y="4327893"/>
            <a:chExt cx="5259589" cy="794864"/>
          </a:xfrm>
        </p:grpSpPr>
        <p:sp>
          <p:nvSpPr>
            <p:cNvPr id="56" name="직사각형 55"/>
            <p:cNvSpPr/>
            <p:nvPr/>
          </p:nvSpPr>
          <p:spPr bwMode="gray">
            <a:xfrm>
              <a:off x="545835" y="4330757"/>
              <a:ext cx="5259589" cy="7920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10800" rIns="54000" bIns="10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 bwMode="gray">
            <a:xfrm>
              <a:off x="1875823" y="4327893"/>
              <a:ext cx="27163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latinLnBrk="0"/>
              <a:r>
                <a:rPr kumimoji="1"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차세대 </a:t>
              </a:r>
              <a:r>
                <a:rPr kumimoji="1" lang="ko-KR" altLang="en-US" sz="12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업무계</a:t>
              </a:r>
              <a:endPara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grpSp>
          <p:nvGrpSpPr>
            <p:cNvPr id="8" name="그룹 148"/>
            <p:cNvGrpSpPr/>
            <p:nvPr/>
          </p:nvGrpSpPr>
          <p:grpSpPr bwMode="gray">
            <a:xfrm>
              <a:off x="704046" y="4591631"/>
              <a:ext cx="4901167" cy="432000"/>
              <a:chOff x="5223036" y="3402488"/>
              <a:chExt cx="3305112" cy="359975"/>
            </a:xfrm>
          </p:grpSpPr>
          <p:sp>
            <p:nvSpPr>
              <p:cNvPr id="59" name="AutoShape 5"/>
              <p:cNvSpPr>
                <a:spLocks noChangeArrowheads="1"/>
              </p:cNvSpPr>
              <p:nvPr/>
            </p:nvSpPr>
            <p:spPr bwMode="gray">
              <a:xfrm>
                <a:off x="7655206" y="3402488"/>
                <a:ext cx="872942" cy="359975"/>
              </a:xfrm>
              <a:prstGeom prst="homePlate">
                <a:avLst>
                  <a:gd name="adj" fmla="val 29280"/>
                </a:avLst>
              </a:prstGeom>
              <a:solidFill>
                <a:srgbClr val="FFFFFF">
                  <a:lumMod val="85000"/>
                </a:srgbClr>
              </a:solidFill>
              <a:ln w="12699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180000" tIns="39178" rIns="0" bIns="39178" anchor="ctr"/>
              <a:lstStyle/>
              <a:p>
                <a:pPr marL="0" marR="0" lvl="0" indent="0" algn="ctr" defTabSz="1127128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9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endParaRPr>
              </a:p>
            </p:txBody>
          </p:sp>
          <p:sp>
            <p:nvSpPr>
              <p:cNvPr id="60" name="AutoShape 6"/>
              <p:cNvSpPr>
                <a:spLocks noChangeArrowheads="1"/>
              </p:cNvSpPr>
              <p:nvPr/>
            </p:nvSpPr>
            <p:spPr bwMode="gray">
              <a:xfrm>
                <a:off x="6883527" y="3402488"/>
                <a:ext cx="875654" cy="359975"/>
              </a:xfrm>
              <a:prstGeom prst="homePlate">
                <a:avLst>
                  <a:gd name="adj" fmla="val 29371"/>
                </a:avLst>
              </a:prstGeom>
              <a:solidFill>
                <a:srgbClr val="FFFFFF">
                  <a:lumMod val="85000"/>
                </a:srgbClr>
              </a:solidFill>
              <a:ln w="12699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307541" tIns="39178" rIns="0" bIns="39178" anchor="ctr"/>
              <a:lstStyle/>
              <a:p>
                <a:pPr marL="0" marR="0" lvl="0" indent="0" algn="ctr" defTabSz="1127128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9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endParaRPr>
              </a:p>
            </p:txBody>
          </p:sp>
          <p:sp>
            <p:nvSpPr>
              <p:cNvPr id="61" name="AutoShape 7"/>
              <p:cNvSpPr>
                <a:spLocks noChangeArrowheads="1"/>
              </p:cNvSpPr>
              <p:nvPr/>
            </p:nvSpPr>
            <p:spPr bwMode="gray">
              <a:xfrm>
                <a:off x="6356487" y="3402488"/>
                <a:ext cx="634799" cy="359975"/>
              </a:xfrm>
              <a:prstGeom prst="homePlate">
                <a:avLst>
                  <a:gd name="adj" fmla="val 29401"/>
                </a:avLst>
              </a:prstGeom>
              <a:solidFill>
                <a:srgbClr val="FFFFFF">
                  <a:lumMod val="85000"/>
                </a:srgbClr>
              </a:solidFill>
              <a:ln w="12699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108000" tIns="39178" rIns="108000" bIns="39178" anchor="ctr"/>
              <a:lstStyle/>
              <a:p>
                <a:pPr marL="226028" marR="0" lvl="0" indent="-226028" algn="ctr" defTabSz="1127128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charset="0"/>
                  </a:rPr>
                  <a:t>    </a:t>
                </a:r>
                <a:endParaRPr kumimoji="1" lang="en-US" altLang="ko-KR" sz="9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endParaRPr>
              </a:p>
            </p:txBody>
          </p:sp>
          <p:sp>
            <p:nvSpPr>
              <p:cNvPr id="62" name="AutoShape 8"/>
              <p:cNvSpPr>
                <a:spLocks noChangeArrowheads="1"/>
              </p:cNvSpPr>
              <p:nvPr/>
            </p:nvSpPr>
            <p:spPr bwMode="gray">
              <a:xfrm>
                <a:off x="5809079" y="3402488"/>
                <a:ext cx="659263" cy="359975"/>
              </a:xfrm>
              <a:prstGeom prst="homePlate">
                <a:avLst>
                  <a:gd name="adj" fmla="val 29371"/>
                </a:avLst>
              </a:prstGeom>
              <a:solidFill>
                <a:srgbClr val="FFFFFF">
                  <a:lumMod val="85000"/>
                </a:srgbClr>
              </a:solidFill>
              <a:ln w="12699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180000" tIns="39178" rIns="0" bIns="39178" anchor="ctr"/>
              <a:lstStyle/>
              <a:p>
                <a:pPr marL="0" marR="0" lvl="0" indent="0" algn="ctr" defTabSz="1127128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Arial" charset="0"/>
                  </a:rPr>
                  <a:t>  </a:t>
                </a:r>
                <a:endParaRPr kumimoji="1" lang="en-US" altLang="ko-KR" sz="9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endParaRPr>
              </a:p>
            </p:txBody>
          </p:sp>
          <p:sp>
            <p:nvSpPr>
              <p:cNvPr id="63" name="AutoShape 9"/>
              <p:cNvSpPr>
                <a:spLocks noChangeArrowheads="1"/>
              </p:cNvSpPr>
              <p:nvPr/>
            </p:nvSpPr>
            <p:spPr bwMode="gray">
              <a:xfrm>
                <a:off x="5223036" y="3402488"/>
                <a:ext cx="704596" cy="359975"/>
              </a:xfrm>
              <a:prstGeom prst="homePlate">
                <a:avLst>
                  <a:gd name="adj" fmla="val 28280"/>
                </a:avLst>
              </a:prstGeom>
              <a:solidFill>
                <a:srgbClr val="FFFFFF">
                  <a:lumMod val="85000"/>
                </a:srgbClr>
              </a:solidFill>
              <a:ln w="12699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108000" tIns="39178" rIns="72000" bIns="39178" anchor="ctr"/>
              <a:lstStyle/>
              <a:p>
                <a:pPr marL="0" marR="0" lvl="0" indent="0" algn="ctr" defTabSz="1127128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9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Arial" charset="0"/>
                </a:endParaRPr>
              </a:p>
            </p:txBody>
          </p:sp>
        </p:grpSp>
      </p:grpSp>
      <p:sp>
        <p:nvSpPr>
          <p:cNvPr id="64" name="아래쪽 화살표 63"/>
          <p:cNvSpPr/>
          <p:nvPr/>
        </p:nvSpPr>
        <p:spPr bwMode="gray">
          <a:xfrm rot="16200000">
            <a:off x="1809271" y="3352804"/>
            <a:ext cx="360000" cy="526711"/>
          </a:xfrm>
          <a:prstGeom prst="downArrow">
            <a:avLst>
              <a:gd name="adj1" fmla="val 65538"/>
              <a:gd name="adj2" fmla="val 50000"/>
            </a:avLst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t" latinLnBrk="0" hangingPunct="0">
              <a:lnSpc>
                <a:spcPct val="100000"/>
              </a:lnSpc>
              <a:spcBef>
                <a:spcPct val="5000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7305287" y="4873220"/>
            <a:ext cx="1499074" cy="58279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농축협</a:t>
            </a:r>
          </a:p>
        </p:txBody>
      </p:sp>
      <p:sp>
        <p:nvSpPr>
          <p:cNvPr id="66" name="왼쪽/위쪽 화살표 65"/>
          <p:cNvSpPr/>
          <p:nvPr/>
        </p:nvSpPr>
        <p:spPr bwMode="auto">
          <a:xfrm rot="5400000">
            <a:off x="5359769" y="3398958"/>
            <a:ext cx="864122" cy="2998637"/>
          </a:xfrm>
          <a:prstGeom prst="leftUpArrow">
            <a:avLst>
              <a:gd name="adj1" fmla="val 16646"/>
              <a:gd name="adj2" fmla="val 18734"/>
              <a:gd name="adj3" fmla="val 20823"/>
            </a:avLst>
          </a:prstGeom>
          <a:solidFill>
            <a:srgbClr val="000000">
              <a:lumMod val="65000"/>
              <a:lumOff val="35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t" latinLnBrk="0" hangingPunct="0">
              <a:spcBef>
                <a:spcPct val="50000"/>
              </a:spcBef>
              <a:spcAft>
                <a:spcPct val="5000"/>
              </a:spcAft>
            </a:pPr>
            <a:endParaRPr lang="ko-KR" altLang="en-US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673101" y="2839950"/>
            <a:ext cx="1440200" cy="3498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36000" rIns="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결산 결과 이관</a:t>
            </a:r>
            <a:endParaRPr lang="ko-KR" altLang="en-US" sz="1200" i="1" dirty="0">
              <a:solidFill>
                <a:srgbClr val="002060"/>
              </a:solidFill>
              <a:latin typeface="맑은 고딕"/>
              <a:ea typeface="맑은 고딕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653987" y="4280129"/>
            <a:ext cx="1440200" cy="3498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36000" rIns="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통비용 배분</a:t>
            </a:r>
            <a:endParaRPr lang="ko-KR" altLang="en-US" sz="1200" i="1" dirty="0">
              <a:solidFill>
                <a:srgbClr val="002060"/>
              </a:solidFill>
              <a:latin typeface="맑은 고딕"/>
              <a:ea typeface="맑은 고딕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984792" y="5240693"/>
            <a:ext cx="1696448" cy="3498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36000" rIns="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익</a:t>
            </a:r>
            <a:r>
              <a:rPr lang="en-US" altLang="ko-KR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</a:t>
            </a:r>
            <a:r>
              <a:rPr lang="en-US" altLang="ko-KR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lang="en-US" altLang="ko-KR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무 정산</a:t>
            </a:r>
            <a:endParaRPr lang="ko-KR" altLang="en-US" sz="1200" i="1" dirty="0">
              <a:solidFill>
                <a:srgbClr val="002060"/>
              </a:solidFill>
              <a:latin typeface="맑은 고딕"/>
              <a:ea typeface="맑은 고딕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286128" y="5822680"/>
            <a:ext cx="8266019" cy="3498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36000" rIns="0" bIns="36000" rtlCol="0" anchor="ctr"/>
          <a:lstStyle/>
          <a:p>
            <a:pPr latinLnBrk="0">
              <a:spcBef>
                <a:spcPct val="50000"/>
              </a:spcBef>
            </a:pP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립회계의 구성모듈은 차세대 진행 시 </a:t>
            </a:r>
            <a:r>
              <a:rPr lang="ko-KR" altLang="en-US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대상과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립법인 설립 시 </a:t>
            </a:r>
            <a:r>
              <a:rPr lang="ko-KR" altLang="en-US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대상으로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분하고</a:t>
            </a:r>
            <a:r>
              <a:rPr lang="en-US" altLang="ko-KR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300" i="1" dirty="0" smtClean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</a:t>
            </a:r>
            <a:r>
              <a:rPr lang="en-US" altLang="ko-KR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300" i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 확정함 </a:t>
            </a:r>
            <a:endParaRPr lang="ko-KR" altLang="en-US" sz="1300" i="1" dirty="0">
              <a:solidFill>
                <a:srgbClr val="002060"/>
              </a:solidFill>
              <a:latin typeface="맑은 고딕"/>
              <a:ea typeface="맑은 고딕"/>
            </a:endParaRP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08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 프로젝트에서 검토가 필요한 핵심 기술요소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ependency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아키텍처 구성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향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을 고려하여 평가 방식을 결정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grpSp>
        <p:nvGrpSpPr>
          <p:cNvPr id="44" name="그룹 43"/>
          <p:cNvGrpSpPr/>
          <p:nvPr/>
        </p:nvGrpSpPr>
        <p:grpSpPr>
          <a:xfrm>
            <a:off x="344360" y="1800225"/>
            <a:ext cx="1224170" cy="2062825"/>
            <a:chOff x="304604" y="1800225"/>
            <a:chExt cx="1224170" cy="2062825"/>
          </a:xfrm>
        </p:grpSpPr>
        <p:sp>
          <p:nvSpPr>
            <p:cNvPr id="45" name="순서도: 페이지 연결자 44"/>
            <p:cNvSpPr/>
            <p:nvPr/>
          </p:nvSpPr>
          <p:spPr>
            <a:xfrm>
              <a:off x="304604" y="1800225"/>
              <a:ext cx="1224170" cy="1080150"/>
            </a:xfrm>
            <a:prstGeom prst="flowChartOffpageConnector">
              <a:avLst/>
            </a:prstGeom>
            <a:solidFill>
              <a:srgbClr val="00338D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indent="-82550" algn="ctr" eaLnBrk="0" latinLnBrk="0">
                <a:lnSpc>
                  <a:spcPct val="120000"/>
                </a:lnSpc>
                <a:spcBef>
                  <a:spcPct val="20000"/>
                </a:spcBef>
                <a:buClr>
                  <a:srgbClr val="1D1F6F"/>
                </a:buClr>
                <a:buSzPct val="80000"/>
                <a:tabLst>
                  <a:tab pos="93663" algn="l"/>
                </a:tabLst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적용 기술요소 검토</a:t>
              </a:r>
            </a:p>
          </p:txBody>
        </p:sp>
        <p:sp>
          <p:nvSpPr>
            <p:cNvPr id="46" name="순서도: 페이지 연결자 45"/>
            <p:cNvSpPr/>
            <p:nvPr/>
          </p:nvSpPr>
          <p:spPr>
            <a:xfrm>
              <a:off x="304604" y="2782900"/>
              <a:ext cx="1224170" cy="1080150"/>
            </a:xfrm>
            <a:prstGeom prst="flowChartOffpageConnector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sm" len="sm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indent="-82550" algn="ctr" eaLnBrk="0" latinLnBrk="0">
                <a:lnSpc>
                  <a:spcPct val="120000"/>
                </a:lnSpc>
                <a:spcBef>
                  <a:spcPct val="20000"/>
                </a:spcBef>
                <a:buClr>
                  <a:srgbClr val="1D1F6F"/>
                </a:buClr>
                <a:buSzPct val="80000"/>
                <a:tabLst>
                  <a:tab pos="93663" algn="l"/>
                </a:tabLst>
              </a:pPr>
              <a:r>
                <a:rPr lang="ko-KR" altLang="en-US" sz="12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심 아키텍처 이슈 정리</a:t>
              </a:r>
            </a:p>
          </p:txBody>
        </p:sp>
      </p:grpSp>
      <p:sp>
        <p:nvSpPr>
          <p:cNvPr id="30" name="TextBox 29"/>
          <p:cNvSpPr txBox="1"/>
          <p:nvPr/>
        </p:nvSpPr>
        <p:spPr bwMode="auto">
          <a:xfrm>
            <a:off x="3745429" y="1898517"/>
            <a:ext cx="3997881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정의 및 평가방안 수립</a:t>
            </a:r>
          </a:p>
        </p:txBody>
      </p:sp>
      <p:grpSp>
        <p:nvGrpSpPr>
          <p:cNvPr id="24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6" name="TextBox 3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" name="그룹 1"/>
          <p:cNvGrpSpPr/>
          <p:nvPr/>
        </p:nvGrpSpPr>
        <p:grpSpPr>
          <a:xfrm>
            <a:off x="2000672" y="2279841"/>
            <a:ext cx="4896544" cy="3917093"/>
            <a:chOff x="294832" y="1362654"/>
            <a:chExt cx="5924819" cy="5060320"/>
          </a:xfrm>
        </p:grpSpPr>
        <p:grpSp>
          <p:nvGrpSpPr>
            <p:cNvPr id="40" name="Group 179"/>
            <p:cNvGrpSpPr/>
            <p:nvPr/>
          </p:nvGrpSpPr>
          <p:grpSpPr>
            <a:xfrm>
              <a:off x="333242" y="1362654"/>
              <a:ext cx="3746160" cy="357843"/>
              <a:chOff x="1308402" y="1453059"/>
              <a:chExt cx="4123442" cy="357843"/>
            </a:xfrm>
          </p:grpSpPr>
          <p:sp>
            <p:nvSpPr>
              <p:cNvPr id="41" name="TextBox 40"/>
              <p:cNvSpPr txBox="1"/>
              <p:nvPr/>
            </p:nvSpPr>
            <p:spPr>
              <a:xfrm>
                <a:off x="1308402" y="1453059"/>
                <a:ext cx="4123442" cy="357843"/>
              </a:xfrm>
              <a:prstGeom prst="rect">
                <a:avLst/>
              </a:prstGeom>
              <a:noFill/>
            </p:spPr>
            <p:txBody>
              <a:bodyPr wrap="none" rtlCol="0" anchor="b" anchorCtr="0">
                <a:spAutoFit/>
              </a:bodyPr>
              <a:lstStyle/>
              <a:p>
                <a:pPr algn="ctr" fontAlgn="auto" latinLnBrk="0">
                  <a:spcBef>
                    <a:spcPct val="20000"/>
                  </a:spcBef>
                  <a:spcAft>
                    <a:spcPts val="0"/>
                  </a:spcAft>
                  <a:buClr>
                    <a:srgbClr val="FFD200"/>
                  </a:buClr>
                  <a:buSzPct val="75000"/>
                </a:pPr>
                <a:r>
                  <a:rPr lang="ko-KR" altLang="en-US" sz="1200" dirty="0" smtClean="0">
                    <a:solidFill>
                      <a:srgbClr val="333333"/>
                    </a:solidFill>
                    <a:latin typeface="맑은 고딕" panose="020B0503020000020004" pitchFamily="50" charset="-127"/>
                    <a:ea typeface="맑은 고딕"/>
                  </a:rPr>
                  <a:t>차세대 기술요소 정의 및 솔루션 도입 </a:t>
                </a:r>
                <a:r>
                  <a:rPr lang="ko-KR" altLang="en-US" sz="1200" dirty="0">
                    <a:solidFill>
                      <a:srgbClr val="333333"/>
                    </a:solidFill>
                    <a:latin typeface="맑은 고딕" panose="020B0503020000020004" pitchFamily="50" charset="-127"/>
                    <a:ea typeface="맑은 고딕"/>
                  </a:rPr>
                  <a:t>영역</a:t>
                </a:r>
                <a:endParaRPr lang="en-US" altLang="ko-KR" sz="120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</a:endParaRPr>
              </a:p>
            </p:txBody>
          </p:sp>
          <p:cxnSp>
            <p:nvCxnSpPr>
              <p:cNvPr id="42" name="Straight Connector 181"/>
              <p:cNvCxnSpPr/>
              <p:nvPr/>
            </p:nvCxnSpPr>
            <p:spPr bwMode="auto">
              <a:xfrm>
                <a:off x="1308402" y="1805083"/>
                <a:ext cx="412344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 type="none" w="med" len="med"/>
                <a:tailEnd type="none"/>
              </a:ln>
              <a:effectLst/>
            </p:spPr>
          </p:cxnSp>
        </p:grpSp>
        <p:pic>
          <p:nvPicPr>
            <p:cNvPr id="4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832" y="1869614"/>
              <a:ext cx="3816015" cy="2165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7" name="Rectangle 189"/>
            <p:cNvSpPr/>
            <p:nvPr/>
          </p:nvSpPr>
          <p:spPr>
            <a:xfrm>
              <a:off x="920440" y="2586002"/>
              <a:ext cx="2376330" cy="199995"/>
            </a:xfrm>
            <a:prstGeom prst="rect">
              <a:avLst/>
            </a:prstGeom>
            <a:solidFill>
              <a:srgbClr val="002060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1050" kern="0" dirty="0">
                  <a:latin typeface="맑은 고딕" panose="020B0503020000020004" pitchFamily="50" charset="-127"/>
                  <a:ea typeface="맑은 고딕"/>
                </a:rPr>
                <a:t>Task </a:t>
              </a:r>
              <a:r>
                <a:rPr lang="ko-KR" altLang="en-US" sz="1050" kern="0" dirty="0">
                  <a:latin typeface="맑은 고딕" panose="020B0503020000020004" pitchFamily="50" charset="-127"/>
                  <a:ea typeface="맑은 고딕"/>
                </a:rPr>
                <a:t>수행 방안</a:t>
              </a:r>
            </a:p>
          </p:txBody>
        </p:sp>
        <p:pic>
          <p:nvPicPr>
            <p:cNvPr id="50" name="Picture 19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112" y="4213337"/>
              <a:ext cx="3795972" cy="2209637"/>
            </a:xfrm>
            <a:prstGeom prst="rect">
              <a:avLst/>
            </a:prstGeom>
          </p:spPr>
        </p:pic>
        <p:pic>
          <p:nvPicPr>
            <p:cNvPr id="51" name="Picture 19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78186" y="2364853"/>
              <a:ext cx="2041465" cy="3938357"/>
            </a:xfrm>
            <a:prstGeom prst="rect">
              <a:avLst/>
            </a:prstGeom>
          </p:spPr>
        </p:pic>
      </p:grpSp>
      <p:graphicFrame>
        <p:nvGraphicFramePr>
          <p:cNvPr id="52" name="Group 9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2091196"/>
              </p:ext>
            </p:extLst>
          </p:nvPr>
        </p:nvGraphicFramePr>
        <p:xfrm>
          <a:off x="6972300" y="2593644"/>
          <a:ext cx="2650958" cy="3603290"/>
        </p:xfrm>
        <a:graphic>
          <a:graphicData uri="http://schemas.openxmlformats.org/drawingml/2006/table">
            <a:tbl>
              <a:tblPr/>
              <a:tblGrid>
                <a:gridCol w="689510"/>
                <a:gridCol w="607357"/>
                <a:gridCol w="1354091"/>
              </a:tblGrid>
              <a:tr h="293804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상 솔루션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46800" marB="468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선정 시점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46800" marB="468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 사항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46800" marB="468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83284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플랫폼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언어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본 프로젝트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5725" indent="-85725" algn="l" fontAlgn="ctr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buFont typeface="Wingdings" pitchFamily="2" charset="2"/>
                        <a:buChar char="§"/>
                      </a:pPr>
                      <a:r>
                        <a:rPr lang="ko-KR" altLang="en-US" sz="800" b="1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이 의사 결정이 가능하도록 보고서 작성</a:t>
                      </a:r>
                      <a:endParaRPr lang="en-US" altLang="ko-KR" sz="800" b="1" i="0" u="none" strike="noStrike" baseline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85725" indent="-85725" algn="l" fontAlgn="ctr" latinLnBrk="0">
                        <a:lnSpc>
                          <a:spcPct val="100000"/>
                        </a:lnSpc>
                        <a:spcBef>
                          <a:spcPts val="200"/>
                        </a:spcBef>
                        <a:buFont typeface="Wingdings" pitchFamily="2" charset="2"/>
                        <a:buChar char="§"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필요 시 프로젝트 기간 내에 </a:t>
                      </a:r>
                      <a:r>
                        <a:rPr kumimoji="0" lang="en-US" altLang="ko-KR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oC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또는 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MT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를 수행 하여 의사 결정 지원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57784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ramework, 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단말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MCA, EAI, FEP, BI 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등</a:t>
                      </a:r>
                      <a:endParaRPr kumimoji="0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 프로젝트 착수 전</a:t>
                      </a:r>
                      <a:endParaRPr kumimoji="0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5725" marR="0" lvl="0" indent="-8572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NH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농협카드에 적용 가능한 솔루션 목록</a:t>
                      </a: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장단점 제시</a:t>
                      </a:r>
                      <a:endParaRPr lang="en-US" altLang="ko-KR" sz="800" b="1" i="0" u="none" strike="noStrike" kern="1200" baseline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85725" marR="0" lvl="0" indent="-8572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필요 시 </a:t>
                      </a:r>
                      <a:r>
                        <a:rPr lang="en-US" altLang="ko-KR" sz="800" b="1" i="0" u="none" strike="noStrike" kern="1200" baseline="0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PoC</a:t>
                      </a: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BMT 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수행 방안 정의</a:t>
                      </a: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007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작업관리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품질관리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DB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안 등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/A</a:t>
                      </a: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5725" indent="-8572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buFont typeface="Wingdings" pitchFamily="2" charset="2"/>
                        <a:buChar char="§"/>
                      </a:pP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기술 요소만 식별하고</a:t>
                      </a: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마스터 플랜 수립 시 </a:t>
                      </a: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License </a:t>
                      </a:r>
                      <a:r>
                        <a:rPr lang="ko-KR" altLang="en-US" sz="800" b="1" i="0" u="none" strike="noStrike" kern="1200" baseline="0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증분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예산을 적용함</a:t>
                      </a:r>
                      <a:endParaRPr lang="en-US" altLang="ko-KR" sz="800" b="1" i="0" u="none" strike="noStrike" kern="1200" baseline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0877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통합로그관리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Sort/Unload, Reorg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도구</a:t>
                      </a: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등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축 사업자 협상 시</a:t>
                      </a:r>
                      <a:endParaRPr kumimoji="0" lang="en-US" altLang="ko-KR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4138" marR="0" lvl="0" indent="-84138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기술 요소만 식별하고</a:t>
                      </a:r>
                      <a:r>
                        <a:rPr lang="en-US" altLang="ko-KR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800" b="1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대표 솔루션의 가격을 기준으로 마스터 플랜 수립 시 예산을 적용함</a:t>
                      </a:r>
                      <a:endParaRPr lang="en-US" altLang="ko-KR" sz="800" b="1" i="0" u="none" strike="noStrike" kern="1200" baseline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anchor="ctr" horzOverflow="overflow">
                    <a:lnL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7053311" y="2256754"/>
            <a:ext cx="2457724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defRPr/>
            </a:pPr>
            <a:r>
              <a:rPr kumimoji="1"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평가 방안 수립을 위한 고려 사항</a:t>
            </a:r>
          </a:p>
        </p:txBody>
      </p:sp>
      <p:cxnSp>
        <p:nvCxnSpPr>
          <p:cNvPr id="56" name="Straight Connector 181"/>
          <p:cNvCxnSpPr/>
          <p:nvPr/>
        </p:nvCxnSpPr>
        <p:spPr bwMode="auto">
          <a:xfrm>
            <a:off x="7002835" y="2529249"/>
            <a:ext cx="2558677" cy="0"/>
          </a:xfrm>
          <a:prstGeom prst="line">
            <a:avLst/>
          </a:prstGeom>
          <a:noFill/>
          <a:ln w="9525">
            <a:solidFill>
              <a:srgbClr val="000000"/>
            </a:solidFill>
            <a:miter lim="800000"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46988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영역 별 핵심적으로 정의해야 할 이슈에 대한 장단점 분석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 권고안을 수립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45" name="순서도: 페이지 연결자 44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적용 기술요소 검토</a:t>
            </a:r>
          </a:p>
        </p:txBody>
      </p:sp>
      <p:sp>
        <p:nvSpPr>
          <p:cNvPr id="46" name="순서도: 페이지 연결자 45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심 아키텍처 이슈 정리</a:t>
            </a:r>
          </a:p>
        </p:txBody>
      </p:sp>
      <p:sp>
        <p:nvSpPr>
          <p:cNvPr id="25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3745429" y="1898517"/>
            <a:ext cx="3997881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핵심 아키텍처 이슈 정리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결과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5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1" name="TextBox 5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별 핵심 이슈 도출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기 도출된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별 핵심이슈 확인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현황 분석 및 타사 사례를 바탕으로 핵심적으로 다뤄야 할 대상 추가 식별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별 핵심이슈 장단점 분석 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구성에 대한 비교 방안 작성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구축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타사 사례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검토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각 방안별 장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단점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분석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핵심 아키텍처 권고안 작성 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핵심 아키텍처 구성안에 대한 최적 권고안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grpSp>
        <p:nvGrpSpPr>
          <p:cNvPr id="23" name="Group 53"/>
          <p:cNvGrpSpPr/>
          <p:nvPr/>
        </p:nvGrpSpPr>
        <p:grpSpPr>
          <a:xfrm>
            <a:off x="1517455" y="2215750"/>
            <a:ext cx="5639769" cy="3946894"/>
            <a:chOff x="3512800" y="1808261"/>
            <a:chExt cx="6203748" cy="3907814"/>
          </a:xfrm>
        </p:grpSpPr>
        <p:sp>
          <p:nvSpPr>
            <p:cNvPr id="24" name="직사각형 51"/>
            <p:cNvSpPr/>
            <p:nvPr/>
          </p:nvSpPr>
          <p:spPr>
            <a:xfrm>
              <a:off x="3512800" y="1808261"/>
              <a:ext cx="3637549" cy="360000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아키텍처 이슈 목록 </a:t>
              </a:r>
              <a:r>
                <a:rPr kumimoji="0" lang="en-US" altLang="ko-KR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(</a:t>
              </a:r>
              <a:r>
                <a:rPr kumimoji="0" lang="ko-KR" altLang="en-US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예상</a:t>
              </a:r>
              <a:r>
                <a:rPr kumimoji="0" lang="en-US" altLang="ko-KR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)</a:t>
              </a:r>
            </a:p>
          </p:txBody>
        </p:sp>
        <p:grpSp>
          <p:nvGrpSpPr>
            <p:cNvPr id="26" name="Group 56"/>
            <p:cNvGrpSpPr/>
            <p:nvPr/>
          </p:nvGrpSpPr>
          <p:grpSpPr>
            <a:xfrm>
              <a:off x="4021144" y="2132260"/>
              <a:ext cx="2808390" cy="2952970"/>
              <a:chOff x="5942857" y="1932085"/>
              <a:chExt cx="3246646" cy="4104569"/>
            </a:xfrm>
          </p:grpSpPr>
          <p:grpSp>
            <p:nvGrpSpPr>
              <p:cNvPr id="29" name="Group 58"/>
              <p:cNvGrpSpPr/>
              <p:nvPr/>
            </p:nvGrpSpPr>
            <p:grpSpPr>
              <a:xfrm>
                <a:off x="5942857" y="1932085"/>
                <a:ext cx="518974" cy="4104569"/>
                <a:chOff x="970019" y="1484784"/>
                <a:chExt cx="886636" cy="5040592"/>
              </a:xfrm>
            </p:grpSpPr>
            <p:sp>
              <p:nvSpPr>
                <p:cNvPr id="40" name="직사각형 15"/>
                <p:cNvSpPr/>
                <p:nvPr/>
              </p:nvSpPr>
              <p:spPr>
                <a:xfrm>
                  <a:off x="970019" y="1484784"/>
                  <a:ext cx="886636" cy="1152106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ysClr val="window" lastClr="FFFFFF">
                      <a:lumMod val="50000"/>
                    </a:sysClr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AA</a:t>
                  </a:r>
                </a:p>
              </p:txBody>
            </p:sp>
            <p:sp>
              <p:nvSpPr>
                <p:cNvPr id="41" name="직사각형 15"/>
                <p:cNvSpPr/>
                <p:nvPr/>
              </p:nvSpPr>
              <p:spPr>
                <a:xfrm>
                  <a:off x="970019" y="2780910"/>
                  <a:ext cx="886636" cy="1152106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ysClr val="window" lastClr="FFFFFF">
                      <a:lumMod val="50000"/>
                    </a:sysClr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DA</a:t>
                  </a:r>
                </a:p>
              </p:txBody>
            </p:sp>
            <p:sp>
              <p:nvSpPr>
                <p:cNvPr id="42" name="직사각형 15"/>
                <p:cNvSpPr/>
                <p:nvPr/>
              </p:nvSpPr>
              <p:spPr>
                <a:xfrm>
                  <a:off x="970019" y="4077090"/>
                  <a:ext cx="886636" cy="1152106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ysClr val="window" lastClr="FFFFFF">
                      <a:lumMod val="50000"/>
                    </a:sysClr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TA</a:t>
                  </a:r>
                </a:p>
              </p:txBody>
            </p:sp>
            <p:sp>
              <p:nvSpPr>
                <p:cNvPr id="43" name="직사각형 15"/>
                <p:cNvSpPr/>
                <p:nvPr/>
              </p:nvSpPr>
              <p:spPr>
                <a:xfrm>
                  <a:off x="970019" y="5373270"/>
                  <a:ext cx="886636" cy="1152106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ysClr val="window" lastClr="FFFFFF">
                      <a:lumMod val="50000"/>
                    </a:sysClr>
                  </a:solidFill>
                  <a:round/>
                  <a:headEnd/>
                  <a:tailEnd/>
                </a:ln>
              </p:spPr>
              <p:txBody>
                <a:bodyPr lIns="0" tIns="72000" rIns="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SA</a:t>
                  </a:r>
                  <a:b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</a:b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(</a:t>
                  </a:r>
                  <a:r>
                    <a:rPr kumimoji="0" lang="ko-KR" altLang="en-US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보안</a:t>
                  </a:r>
                  <a:r>
                    <a:rPr kumimoji="0" lang="en-US" altLang="ko-KR" sz="10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itchFamily="50" charset="-127"/>
                      <a:ea typeface="맑은 고딕"/>
                      <a:cs typeface="Arial" charset="0"/>
                    </a:rPr>
                    <a:t>)</a:t>
                  </a:r>
                </a:p>
              </p:txBody>
            </p:sp>
          </p:grpSp>
          <p:sp>
            <p:nvSpPr>
              <p:cNvPr id="31" name="AutoShape 16"/>
              <p:cNvSpPr>
                <a:spLocks noChangeArrowheads="1"/>
              </p:cNvSpPr>
              <p:nvPr/>
            </p:nvSpPr>
            <p:spPr bwMode="auto">
              <a:xfrm>
                <a:off x="6525133" y="1932085"/>
                <a:ext cx="2664370" cy="938162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  <a:extLst/>
            </p:spPr>
            <p:txBody>
              <a:bodyPr lIns="90732" tIns="45367" rIns="90732" bIns="45367" anchor="t" anchorCtr="0"/>
              <a:lstStyle/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①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Language Set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결정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(C or JAVA)</a:t>
                </a: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② 일자 전환 체계 정의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(</a:t>
                </a:r>
                <a:r>
                  <a:rPr kumimoji="0" lang="en-US" altLang="ko-KR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24X365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방안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)</a:t>
                </a: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③ </a:t>
                </a:r>
                <a:r>
                  <a:rPr kumimoji="0" 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GUID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관리 방안 정의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④ 배치 아키텍처 결정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</p:txBody>
          </p:sp>
          <p:sp>
            <p:nvSpPr>
              <p:cNvPr id="36" name="AutoShape 16"/>
              <p:cNvSpPr>
                <a:spLocks noChangeArrowheads="1"/>
              </p:cNvSpPr>
              <p:nvPr/>
            </p:nvSpPr>
            <p:spPr bwMode="auto">
              <a:xfrm>
                <a:off x="6525133" y="2987525"/>
                <a:ext cx="2664370" cy="938162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  <a:extLst/>
            </p:spPr>
            <p:txBody>
              <a:bodyPr lIns="90732" tIns="45367" rIns="90732" bIns="45367" anchor="t" anchorCtr="0"/>
              <a:lstStyle/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① 다국어 지원 모델링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② 개인정보 암호화를 고려한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DB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설계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③ 표준 데이터 관리 범위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④ 장기 데이터 사용 및 경량화 방안</a:t>
                </a: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</p:txBody>
          </p:sp>
          <p:sp>
            <p:nvSpPr>
              <p:cNvPr id="38" name="AutoShape 16"/>
              <p:cNvSpPr>
                <a:spLocks noChangeArrowheads="1"/>
              </p:cNvSpPr>
              <p:nvPr/>
            </p:nvSpPr>
            <p:spPr bwMode="auto">
              <a:xfrm>
                <a:off x="6525133" y="4043007"/>
                <a:ext cx="2664370" cy="938162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  <a:extLst/>
            </p:spPr>
            <p:txBody>
              <a:bodyPr lIns="90732" tIns="45367" rIns="90732" bIns="45367" anchor="t" anchorCtr="0"/>
              <a:lstStyle/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① 카드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/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승인계 분리 및 데이터 동기화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② 대외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FEP Stratus Vs. Unix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③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Open API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구축 범위 및 방법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④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SSD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스토리지 적용 여부 및 범위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</p:txBody>
          </p:sp>
          <p:sp>
            <p:nvSpPr>
              <p:cNvPr id="39" name="AutoShape 16"/>
              <p:cNvSpPr>
                <a:spLocks noChangeArrowheads="1"/>
              </p:cNvSpPr>
              <p:nvPr/>
            </p:nvSpPr>
            <p:spPr bwMode="auto">
              <a:xfrm>
                <a:off x="6525133" y="5098491"/>
                <a:ext cx="2664370" cy="938162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  <a:extLst/>
            </p:spPr>
            <p:txBody>
              <a:bodyPr lIns="90732" tIns="45367" rIns="90732" bIns="45367" anchor="t" anchorCtr="0"/>
              <a:lstStyle/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① 물리적 망분리 적용 여부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②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DB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암호화 범위 및 적용 방식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③ 보안 포털 및 관제 시스템 구축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  <a:p>
                <a:pPr marL="0" marR="0" lvl="0" indent="0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④ </a:t>
                </a: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OTP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</a:rPr>
                  <a:t>전사 확대 및 바이오 인증 적용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endParaRPr>
              </a:p>
            </p:txBody>
          </p:sp>
        </p:grpSp>
        <p:pic>
          <p:nvPicPr>
            <p:cNvPr id="27" name="Picture 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6098" y="3402997"/>
              <a:ext cx="3240450" cy="23130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직사각형 51"/>
            <p:cNvSpPr/>
            <p:nvPr/>
          </p:nvSpPr>
          <p:spPr>
            <a:xfrm>
              <a:off x="6579021" y="3152088"/>
              <a:ext cx="3006239" cy="245885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ts val="11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아키텍처 이슈</a:t>
              </a:r>
              <a:r>
                <a:rPr kumimoji="0" lang="en-US" altLang="ko-KR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/</a:t>
              </a:r>
              <a:r>
                <a:rPr kumimoji="0" lang="ko-KR" altLang="en-US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리스크</a:t>
              </a:r>
              <a:r>
                <a:rPr kumimoji="0" lang="en-US" altLang="ko-KR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mitigation Plan</a:t>
              </a:r>
              <a:r>
                <a:rPr kumimoji="0" lang="ko-KR" altLang="en-US" sz="11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수립</a:t>
              </a:r>
              <a:endParaRPr kumimoji="0" lang="en-US" altLang="ko-KR" sz="11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186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/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5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아키텍처 이슈 및 의사결정 사항 항목별 아키텍처 구성 및 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점을 분석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교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석을 통해 의사결정을 지원함</a:t>
            </a:r>
          </a:p>
        </p:txBody>
      </p:sp>
      <p:sp>
        <p:nvSpPr>
          <p:cNvPr id="37" name="직사각형 13"/>
          <p:cNvSpPr>
            <a:spLocks noChangeArrowheads="1"/>
          </p:cNvSpPr>
          <p:nvPr/>
        </p:nvSpPr>
        <p:spPr bwMode="auto">
          <a:xfrm>
            <a:off x="1855788" y="1800225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설계 및 개발계획 수립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  <p:sp>
        <p:nvSpPr>
          <p:cNvPr id="45" name="순서도: 페이지 연결자 44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적용 기술요소 검토</a:t>
            </a:r>
          </a:p>
        </p:txBody>
      </p:sp>
      <p:sp>
        <p:nvSpPr>
          <p:cNvPr id="46" name="순서도: 페이지 연결자 45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심 아키텍처 이슈 정리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3083779" y="1870224"/>
            <a:ext cx="5321180" cy="3126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핵심 아키텍처 이슈 정리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kumimoji="1" lang="ko-KR" altLang="en-US" sz="1400" kern="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별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슈 및 결정사항 도출</a:t>
            </a:r>
            <a:endParaRPr kumimoji="1" lang="en-US" altLang="ko-KR" sz="14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51" name="TextBox 5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이슈 별 장단점 분석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구성에 대한 비교 방안 작성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구축 타사 사례 검토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각 방안별 장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단점 분석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이슈 별 비교 평가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아키텍처 기능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/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비기능 속성에 대한 상호 평가 수행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(Scoring)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의사결정을 위한 권고안 도출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913" y="2255018"/>
            <a:ext cx="5209175" cy="3923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</p:spTree>
    <p:extLst>
      <p:ext uri="{BB962C8B-B14F-4D97-AF65-F5344CB8AC3E}">
        <p14:creationId xmlns:p14="http://schemas.microsoft.com/office/powerpoint/2010/main" val="1694036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Language Se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려 사항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계와 승인계 분리를 검토하면서 각 업무시스템의 기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기능적인 특성을 종합적으로 고려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anguage Se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검토해야 함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344488" y="1423268"/>
            <a:ext cx="9139126" cy="4838714"/>
            <a:chOff x="371995" y="1374578"/>
            <a:chExt cx="9230517" cy="4935973"/>
          </a:xfrm>
        </p:grpSpPr>
        <p:sp>
          <p:nvSpPr>
            <p:cNvPr id="70" name="Pentagon 90"/>
            <p:cNvSpPr/>
            <p:nvPr/>
          </p:nvSpPr>
          <p:spPr>
            <a:xfrm flipH="1">
              <a:off x="3075173" y="2024973"/>
              <a:ext cx="725666" cy="4284347"/>
            </a:xfrm>
            <a:custGeom>
              <a:avLst/>
              <a:gdLst>
                <a:gd name="connsiteX0" fmla="*/ 0 w 525529"/>
                <a:gd name="connsiteY0" fmla="*/ 0 h 4535986"/>
                <a:gd name="connsiteX1" fmla="*/ 0 w 525529"/>
                <a:gd name="connsiteY1" fmla="*/ 0 h 4535986"/>
                <a:gd name="connsiteX2" fmla="*/ 525529 w 525529"/>
                <a:gd name="connsiteY2" fmla="*/ 2267993 h 4535986"/>
                <a:gd name="connsiteX3" fmla="*/ 0 w 525529"/>
                <a:gd name="connsiteY3" fmla="*/ 4535986 h 4535986"/>
                <a:gd name="connsiteX4" fmla="*/ 0 w 525529"/>
                <a:gd name="connsiteY4" fmla="*/ 4535986 h 4535986"/>
                <a:gd name="connsiteX5" fmla="*/ 0 w 525529"/>
                <a:gd name="connsiteY5" fmla="*/ 0 h 4535986"/>
                <a:gd name="connsiteX0" fmla="*/ 0 w 797672"/>
                <a:gd name="connsiteY0" fmla="*/ 0 h 4535986"/>
                <a:gd name="connsiteX1" fmla="*/ 0 w 797672"/>
                <a:gd name="connsiteY1" fmla="*/ 0 h 4535986"/>
                <a:gd name="connsiteX2" fmla="*/ 797672 w 797672"/>
                <a:gd name="connsiteY2" fmla="*/ 733107 h 4535986"/>
                <a:gd name="connsiteX3" fmla="*/ 0 w 797672"/>
                <a:gd name="connsiteY3" fmla="*/ 4535986 h 4535986"/>
                <a:gd name="connsiteX4" fmla="*/ 0 w 797672"/>
                <a:gd name="connsiteY4" fmla="*/ 4535986 h 4535986"/>
                <a:gd name="connsiteX5" fmla="*/ 0 w 797672"/>
                <a:gd name="connsiteY5" fmla="*/ 0 h 4535986"/>
                <a:gd name="connsiteX0" fmla="*/ 0 w 797672"/>
                <a:gd name="connsiteY0" fmla="*/ 0 h 4535986"/>
                <a:gd name="connsiteX1" fmla="*/ 0 w 797672"/>
                <a:gd name="connsiteY1" fmla="*/ 0 h 4535986"/>
                <a:gd name="connsiteX2" fmla="*/ 797672 w 797672"/>
                <a:gd name="connsiteY2" fmla="*/ 548050 h 4535986"/>
                <a:gd name="connsiteX3" fmla="*/ 0 w 797672"/>
                <a:gd name="connsiteY3" fmla="*/ 4535986 h 4535986"/>
                <a:gd name="connsiteX4" fmla="*/ 0 w 797672"/>
                <a:gd name="connsiteY4" fmla="*/ 4535986 h 4535986"/>
                <a:gd name="connsiteX5" fmla="*/ 0 w 797672"/>
                <a:gd name="connsiteY5" fmla="*/ 0 h 4535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7672" h="4535986">
                  <a:moveTo>
                    <a:pt x="0" y="0"/>
                  </a:moveTo>
                  <a:lnTo>
                    <a:pt x="0" y="0"/>
                  </a:lnTo>
                  <a:lnTo>
                    <a:pt x="797672" y="548050"/>
                  </a:lnTo>
                  <a:lnTo>
                    <a:pt x="0" y="4535986"/>
                  </a:lnTo>
                  <a:lnTo>
                    <a:pt x="0" y="4535986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lumMod val="50000"/>
                  </a:srgbClr>
                </a:gs>
                <a:gs pos="100000">
                  <a:srgbClr val="FFFFFF">
                    <a:lumMod val="9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268288" marR="0" lvl="0" indent="-21590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</a:endParaRPr>
            </a:p>
          </p:txBody>
        </p:sp>
        <p:grpSp>
          <p:nvGrpSpPr>
            <p:cNvPr id="71" name="Group 76"/>
            <p:cNvGrpSpPr/>
            <p:nvPr/>
          </p:nvGrpSpPr>
          <p:grpSpPr>
            <a:xfrm>
              <a:off x="371996" y="1374578"/>
              <a:ext cx="2975322" cy="344542"/>
              <a:chOff x="4321494" y="2775642"/>
              <a:chExt cx="7730228" cy="344542"/>
            </a:xfrm>
          </p:grpSpPr>
          <p:sp>
            <p:nvSpPr>
              <p:cNvPr id="114" name="TextBox 113"/>
              <p:cNvSpPr txBox="1"/>
              <p:nvPr/>
            </p:nvSpPr>
            <p:spPr>
              <a:xfrm>
                <a:off x="4321494" y="2775642"/>
                <a:ext cx="7730223" cy="313963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려사항</a:t>
                </a:r>
              </a:p>
            </p:txBody>
          </p:sp>
          <p:cxnSp>
            <p:nvCxnSpPr>
              <p:cNvPr id="115" name="Straight Connector 114"/>
              <p:cNvCxnSpPr/>
              <p:nvPr/>
            </p:nvCxnSpPr>
            <p:spPr bwMode="auto">
              <a:xfrm>
                <a:off x="4321494" y="3120184"/>
                <a:ext cx="773022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 type="none" w="med" len="med"/>
                <a:tailEnd type="none"/>
              </a:ln>
              <a:effectLst/>
            </p:spPr>
          </p:cxnSp>
        </p:grpSp>
        <p:sp>
          <p:nvSpPr>
            <p:cNvPr id="72" name="TextBox 71"/>
            <p:cNvSpPr txBox="1"/>
            <p:nvPr/>
          </p:nvSpPr>
          <p:spPr>
            <a:xfrm>
              <a:off x="371995" y="1749700"/>
              <a:ext cx="2975322" cy="455970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333333">
                  <a:lumMod val="40000"/>
                  <a:lumOff val="60000"/>
                </a:srgbClr>
              </a:solidFill>
            </a:ln>
          </p:spPr>
          <p:txBody>
            <a:bodyPr wrap="square" lIns="72000" tIns="72000" rIns="72000" bIns="72000" rtlCol="0">
              <a:noAutofit/>
            </a:bodyPr>
            <a:lstStyle/>
            <a:p>
              <a:pPr marL="131763" marR="0" lvl="0" indent="-131763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거래처리 성능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안정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승인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 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거래 성능 보장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서버 자원 사용율 및 메모리 관리의 안정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266700" marR="0" lvl="0" indent="-841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131763" marR="0" lvl="0" indent="-131763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확장성 및 연계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신규 비즈니스 확장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최신 기술 트랜드 적용 수용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268288" marR="0" lvl="0" indent="-1730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  <a:p>
              <a:pPr marL="131763" marR="0" lvl="0" indent="-131763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통합개발 환경 수용성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동일한 구조의 표준 프레임워크 도입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  <a:p>
              <a:pPr marL="266700" marR="0" lvl="0" indent="-8413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131763" marR="0" lvl="0" indent="-131763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운영 역량 및 유지보수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346075" marR="0" lvl="1" indent="-165100" defTabSz="873125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charset="0"/>
                <a:buChar char="–"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Language 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운영 역량 및 향후 운영관리 효율성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, 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pitchFamily="34" charset="0"/>
                </a:rPr>
                <a:t>비용절감 </a:t>
              </a:r>
              <a:endPara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pitchFamily="34" charset="0"/>
              </a:endParaRPr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3872850" y="1374578"/>
              <a:ext cx="5616780" cy="344542"/>
              <a:chOff x="4321494" y="2775642"/>
              <a:chExt cx="7730228" cy="344542"/>
            </a:xfrm>
          </p:grpSpPr>
          <p:sp>
            <p:nvSpPr>
              <p:cNvPr id="112" name="TextBox 111"/>
              <p:cNvSpPr txBox="1"/>
              <p:nvPr/>
            </p:nvSpPr>
            <p:spPr>
              <a:xfrm>
                <a:off x="4321494" y="2775642"/>
                <a:ext cx="7730222" cy="313963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타사 </a:t>
                </a:r>
                <a:r>
                  <a:rPr kumimoji="1" lang="en-US" altLang="ko-KR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Language </a:t>
                </a:r>
                <a:r>
                  <a:rPr kumimoji="1" lang="ko-KR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구현 </a:t>
                </a:r>
                <a:r>
                  <a:rPr kumimoji="1" lang="ko-KR" alt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사례를 통한 </a:t>
                </a:r>
                <a:r>
                  <a:rPr kumimoji="1" lang="ko-KR" alt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고려사항 도출</a:t>
                </a:r>
              </a:p>
            </p:txBody>
          </p:sp>
          <p:cxnSp>
            <p:nvCxnSpPr>
              <p:cNvPr id="113" name="Straight Connector 112"/>
              <p:cNvCxnSpPr/>
              <p:nvPr/>
            </p:nvCxnSpPr>
            <p:spPr bwMode="auto">
              <a:xfrm>
                <a:off x="4321494" y="3120184"/>
                <a:ext cx="773022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 type="none" w="med" len="med"/>
                <a:tailEnd type="none"/>
              </a:ln>
              <a:effectLst/>
            </p:spPr>
          </p:cxnSp>
        </p:grpSp>
        <p:grpSp>
          <p:nvGrpSpPr>
            <p:cNvPr id="74" name="Group 73"/>
            <p:cNvGrpSpPr/>
            <p:nvPr/>
          </p:nvGrpSpPr>
          <p:grpSpPr>
            <a:xfrm>
              <a:off x="3872849" y="2149142"/>
              <a:ext cx="5729663" cy="3728198"/>
              <a:chOff x="3872849" y="2338097"/>
              <a:chExt cx="5729663" cy="3728198"/>
            </a:xfrm>
          </p:grpSpPr>
          <p:sp>
            <p:nvSpPr>
              <p:cNvPr id="76" name="AutoShape 16"/>
              <p:cNvSpPr>
                <a:spLocks noChangeArrowheads="1"/>
              </p:cNvSpPr>
              <p:nvPr/>
            </p:nvSpPr>
            <p:spPr bwMode="auto">
              <a:xfrm>
                <a:off x="6876076" y="2338097"/>
                <a:ext cx="2726436" cy="322601"/>
              </a:xfrm>
              <a:prstGeom prst="roundRect">
                <a:avLst>
                  <a:gd name="adj" fmla="val 0"/>
                </a:avLst>
              </a:prstGeom>
              <a:solidFill>
                <a:srgbClr val="333333">
                  <a:lumMod val="60000"/>
                  <a:lumOff val="40000"/>
                </a:srgbClr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lIns="90732" tIns="45367" rIns="90732" bIns="45367" anchor="ctr"/>
              <a:lstStyle/>
              <a:p>
                <a:pPr marL="0" marR="0" lvl="0" indent="0" algn="ctr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계정계에서 </a:t>
                </a: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AVA</a:t>
                </a: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를 사용하는 이유</a:t>
                </a:r>
                <a:endPara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77" name="AutoShape 41"/>
              <p:cNvSpPr>
                <a:spLocks noChangeArrowheads="1"/>
              </p:cNvSpPr>
              <p:nvPr/>
            </p:nvSpPr>
            <p:spPr bwMode="auto">
              <a:xfrm>
                <a:off x="6874949" y="2662341"/>
                <a:ext cx="2727075" cy="1501509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6350" algn="ctr">
                <a:solidFill>
                  <a:srgbClr val="F0F0F0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lIns="90732" tIns="45367" rIns="90732" bIns="45367"/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“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업무 확장 및 최신기술 수용성이 우수함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”</a:t>
                </a:r>
              </a:p>
              <a:p>
                <a:pPr marL="85725" marR="0" lvl="0" indent="-85725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최신 기술은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Web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을 기반으로 발전하고 있어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AVA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기반의 시스템과 유연하게 연동이 가능함</a:t>
                </a:r>
                <a:endParaRPr kumimoji="0" lang="en-US" altLang="ko-K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  <a:p>
                <a:pPr marL="85725" marR="0" lvl="0" indent="-85725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AVA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의 컴포넌트화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,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표준 </a:t>
                </a:r>
                <a:r>
                  <a:rPr kumimoji="0" lang="en-US" altLang="ko-KR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API </a:t>
                </a:r>
                <a:r>
                  <a:rPr kumimoji="0" lang="ko-KR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적용 범위가 넓어 업무 변화 및 추가에 따른 확장성이 뛰어남</a:t>
                </a:r>
              </a:p>
            </p:txBody>
          </p:sp>
          <p:sp>
            <p:nvSpPr>
              <p:cNvPr id="78" name="AutoShape 16"/>
              <p:cNvSpPr>
                <a:spLocks noChangeArrowheads="1"/>
              </p:cNvSpPr>
              <p:nvPr/>
            </p:nvSpPr>
            <p:spPr bwMode="auto">
              <a:xfrm>
                <a:off x="6876077" y="4231996"/>
                <a:ext cx="2726341" cy="322601"/>
              </a:xfrm>
              <a:prstGeom prst="roundRect">
                <a:avLst>
                  <a:gd name="adj" fmla="val 0"/>
                </a:avLst>
              </a:prstGeom>
              <a:solidFill>
                <a:srgbClr val="333333">
                  <a:lumMod val="20000"/>
                  <a:lumOff val="80000"/>
                </a:srgbClr>
              </a:solidFill>
              <a:ln>
                <a:solidFill>
                  <a:srgbClr val="F0F0F0">
                    <a:lumMod val="50000"/>
                  </a:srgbClr>
                </a:solidFill>
              </a:ln>
              <a:extLst/>
            </p:spPr>
            <p:txBody>
              <a:bodyPr lIns="90732" tIns="45367" rIns="90732" bIns="45367" anchor="ctr"/>
              <a:lstStyle/>
              <a:p>
                <a:pPr marL="0" marR="0" lvl="0" indent="0" algn="ctr" defTabSz="908447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승인계에서 </a:t>
                </a: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C</a:t>
                </a: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를 사용하는 이유</a:t>
                </a:r>
                <a:endPara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79" name="AutoShape 41"/>
              <p:cNvSpPr>
                <a:spLocks noChangeArrowheads="1"/>
              </p:cNvSpPr>
              <p:nvPr/>
            </p:nvSpPr>
            <p:spPr bwMode="auto">
              <a:xfrm>
                <a:off x="6874949" y="4549810"/>
                <a:ext cx="2727169" cy="1516485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6350" algn="ctr">
                <a:solidFill>
                  <a:srgbClr val="F0F0F0">
                    <a:lumMod val="50000"/>
                  </a:srgbClr>
                </a:solidFill>
                <a:round/>
                <a:headEnd/>
                <a:tailEnd/>
              </a:ln>
            </p:spPr>
            <p:txBody>
              <a:bodyPr lIns="90732" tIns="45367" rIns="90732" bIns="45367"/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“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성능과 안정성을 중요시 하였음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”</a:t>
                </a:r>
              </a:p>
              <a:p>
                <a:pPr marL="85725" marR="0" lvl="0" indent="-85725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대량의 거래를 빠르게 처리하기 위한 성능은 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C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언어가 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AVA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보다 상대적으로 유리함 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(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단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, JAVA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에서 </a:t>
                </a:r>
                <a:r>
                  <a:rPr kumimoji="0" lang="en-US" altLang="ko-KR" sz="105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IT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컴파일 사용으로 최근에는 처리속도가 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C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에 근접하였음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)</a:t>
                </a:r>
              </a:p>
              <a:p>
                <a:pPr marL="85725" marR="0" lvl="0" indent="-85725" defTabSz="914400" eaLnBrk="0" fontAlgn="auto" latinLnBrk="0" hangingPunct="0">
                  <a:lnSpc>
                    <a:spcPct val="100000"/>
                  </a:lnSpc>
                  <a:spcBef>
                    <a:spcPts val="200"/>
                  </a:spcBef>
                  <a:spcAft>
                    <a:spcPts val="20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JAVA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는 </a:t>
                </a:r>
                <a:r>
                  <a:rPr kumimoji="0" lang="en-US" altLang="ko-KR" sz="105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OOM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 등 메모리 관리 안정성이 </a:t>
                </a:r>
                <a:r>
                  <a:rPr kumimoji="0" lang="en-US" altLang="ko-K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C</a:t>
                </a:r>
                <a:r>
                  <a:rPr kumimoji="0" lang="ko-KR" altLang="en-US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에 비해 상대적으로 낮음</a:t>
                </a: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3872849" y="2358408"/>
                <a:ext cx="3002100" cy="3694268"/>
                <a:chOff x="3872849" y="2173695"/>
                <a:chExt cx="3002100" cy="4063695"/>
              </a:xfrm>
            </p:grpSpPr>
            <p:sp>
              <p:nvSpPr>
                <p:cNvPr id="81" name="AutoShape 16"/>
                <p:cNvSpPr>
                  <a:spLocks noChangeArrowheads="1"/>
                </p:cNvSpPr>
                <p:nvPr/>
              </p:nvSpPr>
              <p:spPr bwMode="auto">
                <a:xfrm>
                  <a:off x="3872849" y="2173695"/>
                  <a:ext cx="1189381" cy="86412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FFFF"/>
                </a:solidFill>
                <a:ln w="6350">
                  <a:solidFill>
                    <a:srgbClr val="F0F0F0">
                      <a:lumMod val="50000"/>
                    </a:srgbClr>
                  </a:solidFill>
                </a:ln>
                <a:extLst/>
              </p:spPr>
              <p:txBody>
                <a:bodyPr lIns="90732" tIns="45367" rIns="90732" bIns="45367" anchor="ctr"/>
                <a:lstStyle/>
                <a:p>
                  <a:pPr marL="0" marR="0" lvl="0" indent="0" algn="ctr" defTabSz="908447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82" name="AutoShape 16"/>
                <p:cNvSpPr>
                  <a:spLocks noChangeArrowheads="1"/>
                </p:cNvSpPr>
                <p:nvPr/>
              </p:nvSpPr>
              <p:spPr bwMode="auto">
                <a:xfrm>
                  <a:off x="3872849" y="3212970"/>
                  <a:ext cx="1189381" cy="86412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FFFF"/>
                </a:solidFill>
                <a:ln w="6350">
                  <a:solidFill>
                    <a:srgbClr val="F0F0F0">
                      <a:lumMod val="50000"/>
                    </a:srgbClr>
                  </a:solidFill>
                </a:ln>
                <a:extLst/>
              </p:spPr>
              <p:txBody>
                <a:bodyPr lIns="90732" tIns="45367" rIns="90732" bIns="45367" anchor="ctr"/>
                <a:lstStyle/>
                <a:p>
                  <a:pPr marL="0" marR="0" lvl="0" indent="0" algn="ctr" defTabSz="908447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83" name="AutoShape 16"/>
                <p:cNvSpPr>
                  <a:spLocks noChangeArrowheads="1"/>
                </p:cNvSpPr>
                <p:nvPr/>
              </p:nvSpPr>
              <p:spPr bwMode="auto">
                <a:xfrm>
                  <a:off x="3872849" y="4293120"/>
                  <a:ext cx="1189381" cy="86412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FFFF"/>
                </a:solidFill>
                <a:ln w="6350">
                  <a:solidFill>
                    <a:srgbClr val="F0F0F0">
                      <a:lumMod val="50000"/>
                    </a:srgbClr>
                  </a:solidFill>
                </a:ln>
                <a:extLst/>
              </p:spPr>
              <p:txBody>
                <a:bodyPr lIns="90732" tIns="45367" rIns="90732" bIns="45367" anchor="ctr"/>
                <a:lstStyle/>
                <a:p>
                  <a:pPr marL="0" marR="0" lvl="0" indent="0" algn="ctr" defTabSz="908447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84" name="AutoShape 16"/>
                <p:cNvSpPr>
                  <a:spLocks noChangeArrowheads="1"/>
                </p:cNvSpPr>
                <p:nvPr/>
              </p:nvSpPr>
              <p:spPr bwMode="auto">
                <a:xfrm>
                  <a:off x="3872849" y="5373270"/>
                  <a:ext cx="1189381" cy="86412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FFFFF"/>
                </a:solidFill>
                <a:ln w="6350">
                  <a:solidFill>
                    <a:srgbClr val="F0F0F0">
                      <a:lumMod val="50000"/>
                    </a:srgbClr>
                  </a:solidFill>
                </a:ln>
                <a:extLst/>
              </p:spPr>
              <p:txBody>
                <a:bodyPr lIns="90732" tIns="45367" rIns="90732" bIns="45367" anchor="ctr"/>
                <a:lstStyle/>
                <a:p>
                  <a:pPr marL="0" marR="0" lvl="0" indent="0" algn="ctr" defTabSz="908447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85" name="직사각형 15"/>
                <p:cNvSpPr/>
                <p:nvPr/>
              </p:nvSpPr>
              <p:spPr>
                <a:xfrm>
                  <a:off x="5123724" y="2173695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계정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86" name="직사각형 15"/>
                <p:cNvSpPr/>
                <p:nvPr/>
              </p:nvSpPr>
              <p:spPr>
                <a:xfrm>
                  <a:off x="5123724" y="2644989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승인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87" name="직사각형 15"/>
                <p:cNvSpPr/>
                <p:nvPr/>
              </p:nvSpPr>
              <p:spPr>
                <a:xfrm>
                  <a:off x="5905235" y="2173695"/>
                  <a:ext cx="656995" cy="392825"/>
                </a:xfrm>
                <a:prstGeom prst="rect">
                  <a:avLst/>
                </a:prstGeom>
                <a:solidFill>
                  <a:srgbClr val="333333">
                    <a:lumMod val="60000"/>
                    <a:lumOff val="4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JAVA</a:t>
                  </a:r>
                </a:p>
              </p:txBody>
            </p:sp>
            <p:sp>
              <p:nvSpPr>
                <p:cNvPr id="88" name="직사각형 15"/>
                <p:cNvSpPr/>
                <p:nvPr/>
              </p:nvSpPr>
              <p:spPr>
                <a:xfrm>
                  <a:off x="5905235" y="2644989"/>
                  <a:ext cx="656995" cy="392825"/>
                </a:xfrm>
                <a:prstGeom prst="rect">
                  <a:avLst/>
                </a:prstGeom>
                <a:solidFill>
                  <a:srgbClr val="C0C0C0">
                    <a:lumMod val="40000"/>
                    <a:lumOff val="6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C</a:t>
                  </a:r>
                </a:p>
              </p:txBody>
            </p:sp>
            <p:sp>
              <p:nvSpPr>
                <p:cNvPr id="89" name="직사각형 15"/>
                <p:cNvSpPr/>
                <p:nvPr/>
              </p:nvSpPr>
              <p:spPr>
                <a:xfrm>
                  <a:off x="5123724" y="3212971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계정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0" name="직사각형 15"/>
                <p:cNvSpPr/>
                <p:nvPr/>
              </p:nvSpPr>
              <p:spPr>
                <a:xfrm>
                  <a:off x="5123724" y="3684265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승인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1" name="직사각형 15"/>
                <p:cNvSpPr/>
                <p:nvPr/>
              </p:nvSpPr>
              <p:spPr>
                <a:xfrm>
                  <a:off x="5905235" y="3212971"/>
                  <a:ext cx="656995" cy="392825"/>
                </a:xfrm>
                <a:prstGeom prst="rect">
                  <a:avLst/>
                </a:prstGeom>
                <a:solidFill>
                  <a:srgbClr val="333333">
                    <a:lumMod val="60000"/>
                    <a:lumOff val="4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JAVA</a:t>
                  </a:r>
                </a:p>
              </p:txBody>
            </p:sp>
            <p:sp>
              <p:nvSpPr>
                <p:cNvPr id="92" name="직사각형 15"/>
                <p:cNvSpPr/>
                <p:nvPr/>
              </p:nvSpPr>
              <p:spPr>
                <a:xfrm>
                  <a:off x="5905235" y="3684265"/>
                  <a:ext cx="656995" cy="392825"/>
                </a:xfrm>
                <a:prstGeom prst="rect">
                  <a:avLst/>
                </a:prstGeom>
                <a:solidFill>
                  <a:srgbClr val="C0C0C0">
                    <a:lumMod val="40000"/>
                    <a:lumOff val="6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C</a:t>
                  </a:r>
                </a:p>
              </p:txBody>
            </p:sp>
            <p:sp>
              <p:nvSpPr>
                <p:cNvPr id="93" name="직사각형 15"/>
                <p:cNvSpPr/>
                <p:nvPr/>
              </p:nvSpPr>
              <p:spPr>
                <a:xfrm>
                  <a:off x="5123724" y="4293121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계정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4" name="직사각형 15"/>
                <p:cNvSpPr/>
                <p:nvPr/>
              </p:nvSpPr>
              <p:spPr>
                <a:xfrm>
                  <a:off x="5123724" y="4764415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승인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5" name="직사각형 15"/>
                <p:cNvSpPr/>
                <p:nvPr/>
              </p:nvSpPr>
              <p:spPr>
                <a:xfrm>
                  <a:off x="5905235" y="4293121"/>
                  <a:ext cx="656995" cy="392825"/>
                </a:xfrm>
                <a:prstGeom prst="rect">
                  <a:avLst/>
                </a:prstGeom>
                <a:solidFill>
                  <a:srgbClr val="333333">
                    <a:lumMod val="60000"/>
                    <a:lumOff val="4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COBOL</a:t>
                  </a:r>
                </a:p>
              </p:txBody>
            </p:sp>
            <p:sp>
              <p:nvSpPr>
                <p:cNvPr id="96" name="직사각형 15"/>
                <p:cNvSpPr/>
                <p:nvPr/>
              </p:nvSpPr>
              <p:spPr>
                <a:xfrm>
                  <a:off x="5905235" y="4764415"/>
                  <a:ext cx="656995" cy="392825"/>
                </a:xfrm>
                <a:prstGeom prst="rect">
                  <a:avLst/>
                </a:prstGeom>
                <a:solidFill>
                  <a:srgbClr val="C0C0C0">
                    <a:lumMod val="40000"/>
                    <a:lumOff val="6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TAL/C</a:t>
                  </a:r>
                </a:p>
              </p:txBody>
            </p:sp>
            <p:sp>
              <p:nvSpPr>
                <p:cNvPr id="97" name="직사각형 15"/>
                <p:cNvSpPr/>
                <p:nvPr/>
              </p:nvSpPr>
              <p:spPr>
                <a:xfrm>
                  <a:off x="5123724" y="5373271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err="1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계정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8" name="직사각형 15"/>
                <p:cNvSpPr/>
                <p:nvPr/>
              </p:nvSpPr>
              <p:spPr>
                <a:xfrm>
                  <a:off x="5123724" y="5844565"/>
                  <a:ext cx="718858" cy="392825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승인계</a:t>
                  </a:r>
                  <a:endParaRPr kumimoji="0" lang="en-US" altLang="ko-KR" sz="1200" b="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endParaRPr>
                </a:p>
              </p:txBody>
            </p:sp>
            <p:sp>
              <p:nvSpPr>
                <p:cNvPr id="99" name="직사각형 15"/>
                <p:cNvSpPr/>
                <p:nvPr/>
              </p:nvSpPr>
              <p:spPr>
                <a:xfrm>
                  <a:off x="5905235" y="5373271"/>
                  <a:ext cx="656995" cy="392825"/>
                </a:xfrm>
                <a:prstGeom prst="rect">
                  <a:avLst/>
                </a:prstGeom>
                <a:solidFill>
                  <a:srgbClr val="333333">
                    <a:lumMod val="60000"/>
                    <a:lumOff val="4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JAVA</a:t>
                  </a:r>
                </a:p>
              </p:txBody>
            </p:sp>
            <p:sp>
              <p:nvSpPr>
                <p:cNvPr id="100" name="직사각형 15"/>
                <p:cNvSpPr/>
                <p:nvPr/>
              </p:nvSpPr>
              <p:spPr>
                <a:xfrm>
                  <a:off x="5905235" y="5844565"/>
                  <a:ext cx="656995" cy="392825"/>
                </a:xfrm>
                <a:prstGeom prst="rect">
                  <a:avLst/>
                </a:prstGeom>
                <a:solidFill>
                  <a:srgbClr val="C0C0C0">
                    <a:lumMod val="40000"/>
                    <a:lumOff val="60000"/>
                  </a:srgbClr>
                </a:solidFill>
                <a:ln w="6350" algn="ctr">
                  <a:solidFill>
                    <a:srgbClr val="F0F0F0">
                      <a:lumMod val="50000"/>
                    </a:srgbClr>
                  </a:solidFill>
                  <a:prstDash val="dash"/>
                  <a:round/>
                  <a:headEnd/>
                  <a:tailEnd/>
                </a:ln>
              </p:spPr>
              <p:txBody>
                <a:bodyPr lIns="72000" tIns="72000" rIns="72000" bIns="72000" rtlCol="0" anchor="ctr"/>
                <a:lstStyle/>
                <a:p>
                  <a:pPr marL="0" marR="0" lvl="0" indent="0" algn="ctr" defTabSz="914400" eaLnBrk="0" fontAlgn="auto" latinLnBrk="0" hangingPunct="0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200" b="0" i="0" u="none" strike="noStrike" kern="0" cap="none" spc="-5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Arial" charset="0"/>
                    </a:rPr>
                    <a:t>TAL/C</a:t>
                  </a:r>
                </a:p>
              </p:txBody>
            </p:sp>
            <p:cxnSp>
              <p:nvCxnSpPr>
                <p:cNvPr id="101" name="Straight Arrow Connector 100"/>
                <p:cNvCxnSpPr>
                  <a:stCxn id="87" idx="3"/>
                  <a:endCxn id="77" idx="1"/>
                </p:cNvCxnSpPr>
                <p:nvPr/>
              </p:nvCxnSpPr>
              <p:spPr>
                <a:xfrm>
                  <a:off x="6562230" y="2370108"/>
                  <a:ext cx="312719" cy="963744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2" name="Straight Arrow Connector 101"/>
                <p:cNvCxnSpPr>
                  <a:stCxn id="91" idx="3"/>
                  <a:endCxn id="77" idx="1"/>
                </p:cNvCxnSpPr>
                <p:nvPr/>
              </p:nvCxnSpPr>
              <p:spPr>
                <a:xfrm flipV="1">
                  <a:off x="6562230" y="3333852"/>
                  <a:ext cx="312719" cy="75532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3" name="Straight Arrow Connector 102"/>
                <p:cNvCxnSpPr>
                  <a:stCxn id="99" idx="3"/>
                  <a:endCxn id="77" idx="1"/>
                </p:cNvCxnSpPr>
                <p:nvPr/>
              </p:nvCxnSpPr>
              <p:spPr>
                <a:xfrm flipV="1">
                  <a:off x="6562230" y="3333852"/>
                  <a:ext cx="312719" cy="2235832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4" name="Straight Arrow Connector 103"/>
                <p:cNvCxnSpPr>
                  <a:stCxn id="88" idx="3"/>
                  <a:endCxn id="79" idx="1"/>
                </p:cNvCxnSpPr>
                <p:nvPr/>
              </p:nvCxnSpPr>
              <p:spPr>
                <a:xfrm>
                  <a:off x="6562230" y="2841402"/>
                  <a:ext cx="312719" cy="2576903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5" name="Straight Arrow Connector 104"/>
                <p:cNvCxnSpPr>
                  <a:stCxn id="92" idx="3"/>
                  <a:endCxn id="79" idx="1"/>
                </p:cNvCxnSpPr>
                <p:nvPr/>
              </p:nvCxnSpPr>
              <p:spPr>
                <a:xfrm>
                  <a:off x="6562230" y="3880677"/>
                  <a:ext cx="312719" cy="1537627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6" name="Straight Arrow Connector 105"/>
                <p:cNvCxnSpPr>
                  <a:stCxn id="96" idx="3"/>
                  <a:endCxn id="79" idx="1"/>
                </p:cNvCxnSpPr>
                <p:nvPr/>
              </p:nvCxnSpPr>
              <p:spPr>
                <a:xfrm>
                  <a:off x="6562230" y="4960828"/>
                  <a:ext cx="312719" cy="457477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7" name="Straight Arrow Connector 106"/>
                <p:cNvCxnSpPr>
                  <a:stCxn id="100" idx="3"/>
                  <a:endCxn id="79" idx="1"/>
                </p:cNvCxnSpPr>
                <p:nvPr/>
              </p:nvCxnSpPr>
              <p:spPr>
                <a:xfrm flipV="1">
                  <a:off x="6562230" y="5418305"/>
                  <a:ext cx="312719" cy="622673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F0F0F0">
                      <a:lumMod val="50000"/>
                    </a:srgbClr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108" name="Picture 107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73113" y="5650489"/>
                  <a:ext cx="1025524" cy="309682"/>
                </a:xfrm>
                <a:prstGeom prst="rect">
                  <a:avLst/>
                </a:prstGeom>
              </p:spPr>
            </p:pic>
            <p:pic>
              <p:nvPicPr>
                <p:cNvPr id="109" name="Picture 10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67078" y="4586838"/>
                  <a:ext cx="1000443" cy="232590"/>
                </a:xfrm>
                <a:prstGeom prst="rect">
                  <a:avLst/>
                </a:prstGeom>
              </p:spPr>
            </p:pic>
            <p:pic>
              <p:nvPicPr>
                <p:cNvPr id="110" name="Picture 15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94078" y="3525289"/>
                  <a:ext cx="904295" cy="2825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1" name="Picture 110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16881" y="2492827"/>
                  <a:ext cx="858688" cy="204912"/>
                </a:xfrm>
                <a:prstGeom prst="rect">
                  <a:avLst/>
                </a:prstGeom>
              </p:spPr>
            </p:pic>
          </p:grpSp>
        </p:grpSp>
        <p:sp>
          <p:nvSpPr>
            <p:cNvPr id="75" name="직사각형 42"/>
            <p:cNvSpPr/>
            <p:nvPr/>
          </p:nvSpPr>
          <p:spPr>
            <a:xfrm>
              <a:off x="3996875" y="5877340"/>
              <a:ext cx="5564765" cy="433211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1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최근 차세대를 구축한 타 카드사는 계정계는 </a:t>
              </a:r>
              <a:r>
                <a:rPr kumimoji="0" lang="en-US" altLang="ko-KR" sz="1100" b="0" i="1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JAVA, </a:t>
              </a:r>
              <a:r>
                <a:rPr kumimoji="0" lang="ko-KR" altLang="en-US" sz="1100" b="0" i="1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승인계는 </a:t>
              </a:r>
              <a:r>
                <a:rPr kumimoji="0" lang="en-US" altLang="ko-KR" sz="1100" b="0" i="1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C</a:t>
              </a:r>
              <a:r>
                <a:rPr kumimoji="0" lang="ko-KR" altLang="en-US" sz="1100" b="0" i="1" u="sng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를 적용 하였음</a:t>
              </a:r>
            </a:p>
          </p:txBody>
        </p:sp>
      </p:grpSp>
      <p:sp>
        <p:nvSpPr>
          <p:cNvPr id="5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설계 및 개발계획 수립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748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Language Se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결정 방법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839694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개발언어는 타행 사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동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기능 요소에 대한 평가를 수행하여 차세대 개발언어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정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Rectangle 122"/>
          <p:cNvSpPr>
            <a:spLocks noChangeArrowheads="1"/>
          </p:cNvSpPr>
          <p:nvPr/>
        </p:nvSpPr>
        <p:spPr bwMode="gray">
          <a:xfrm>
            <a:off x="272726" y="1358290"/>
            <a:ext cx="9350166" cy="303280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85725" marR="0" lvl="0" indent="-85725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Language Set </a:t>
            </a: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결정 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Approach (1/2)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124" name="AutoShape 16"/>
          <p:cNvSpPr>
            <a:spLocks noChangeArrowheads="1"/>
          </p:cNvSpPr>
          <p:nvPr/>
        </p:nvSpPr>
        <p:spPr bwMode="auto">
          <a:xfrm>
            <a:off x="283263" y="2631742"/>
            <a:ext cx="595077" cy="1390504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>
            <a:noFill/>
          </a:ln>
          <a:extLst/>
        </p:spPr>
        <p:txBody>
          <a:bodyPr lIns="90732" tIns="45367" rIns="90732" bIns="45367" anchor="ctr"/>
          <a:lstStyle/>
          <a:p>
            <a:pPr marL="0" marR="0" lvl="0" indent="0" algn="ctr" defTabSz="90844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수행</a:t>
            </a:r>
            <a:endParaRPr kumimoji="0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  <a:p>
            <a:pPr marL="0" marR="0" lvl="0" indent="0" algn="ctr" defTabSz="90844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방</a:t>
            </a: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안</a:t>
            </a: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125" name="직사각형 15"/>
          <p:cNvSpPr/>
          <p:nvPr/>
        </p:nvSpPr>
        <p:spPr>
          <a:xfrm>
            <a:off x="1082785" y="1845965"/>
            <a:ext cx="2633390" cy="660858"/>
          </a:xfrm>
          <a:prstGeom prst="rect">
            <a:avLst/>
          </a:prstGeom>
          <a:pattFill prst="ltUpDiag">
            <a:fgClr>
              <a:srgbClr val="C0C0C0"/>
            </a:fgClr>
            <a:bgClr>
              <a:srgbClr val="FFFFFF"/>
            </a:bgClr>
          </a:pattFill>
          <a:ln w="6350" algn="ctr">
            <a:solidFill>
              <a:sysClr val="window" lastClr="FFFFFF">
                <a:lumMod val="50000"/>
              </a:sysClr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개발언어</a:t>
            </a:r>
            <a:r>
              <a:rPr lang="en-US" altLang="ko-KR" sz="1200" kern="0" spc="-50" dirty="0">
                <a:solidFill>
                  <a:prstClr val="black"/>
                </a:solidFill>
                <a:latin typeface="맑은 고딕" pitchFamily="50" charset="-127"/>
                <a:ea typeface="맑은 고딕"/>
                <a:cs typeface="Arial" charset="0"/>
              </a:rPr>
              <a:t> </a:t>
            </a:r>
            <a:r>
              <a:rPr kumimoji="0" lang="ko-KR" altLang="en-US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rPr>
              <a:t>현황 조사</a:t>
            </a:r>
            <a:endParaRPr kumimoji="0" lang="en-US" altLang="ko-KR" sz="1200" i="0" u="none" strike="noStrike" kern="0" cap="none" spc="-5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</a:endParaRPr>
          </a:p>
        </p:txBody>
      </p:sp>
      <p:sp>
        <p:nvSpPr>
          <p:cNvPr id="126" name="Rounded Rectangle 125"/>
          <p:cNvSpPr/>
          <p:nvPr/>
        </p:nvSpPr>
        <p:spPr>
          <a:xfrm>
            <a:off x="1216392" y="1960631"/>
            <a:ext cx="251022" cy="431526"/>
          </a:xfrm>
          <a:prstGeom prst="roundRect">
            <a:avLst/>
          </a:prstGeom>
          <a:solidFill>
            <a:srgbClr val="F0F0F0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1</a:t>
            </a: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cxnSp>
        <p:nvCxnSpPr>
          <p:cNvPr id="127" name="Straight Arrow Connector 126"/>
          <p:cNvCxnSpPr>
            <a:stCxn id="125" idx="3"/>
            <a:endCxn id="141" idx="1"/>
          </p:cNvCxnSpPr>
          <p:nvPr/>
        </p:nvCxnSpPr>
        <p:spPr bwMode="auto">
          <a:xfrm>
            <a:off x="3716175" y="2176394"/>
            <a:ext cx="350297" cy="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28" name="Straight Arrow Connector 127"/>
          <p:cNvCxnSpPr>
            <a:stCxn id="141" idx="3"/>
            <a:endCxn id="136" idx="1"/>
          </p:cNvCxnSpPr>
          <p:nvPr/>
        </p:nvCxnSpPr>
        <p:spPr bwMode="auto">
          <a:xfrm>
            <a:off x="6681240" y="2176394"/>
            <a:ext cx="326322" cy="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29" name="AutoShape 16"/>
          <p:cNvSpPr>
            <a:spLocks noChangeArrowheads="1"/>
          </p:cNvSpPr>
          <p:nvPr/>
        </p:nvSpPr>
        <p:spPr bwMode="auto">
          <a:xfrm>
            <a:off x="283263" y="1845965"/>
            <a:ext cx="595077" cy="660858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>
            <a:noFill/>
          </a:ln>
          <a:extLst/>
        </p:spPr>
        <p:txBody>
          <a:bodyPr lIns="90732" tIns="45367" rIns="90732" bIns="45367" anchor="ctr"/>
          <a:lstStyle/>
          <a:p>
            <a:pPr marL="0" marR="0" lvl="0" indent="0" algn="ctr" defTabSz="90844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Task</a:t>
            </a:r>
          </a:p>
        </p:txBody>
      </p:sp>
      <p:sp>
        <p:nvSpPr>
          <p:cNvPr id="130" name="AutoShape 16"/>
          <p:cNvSpPr>
            <a:spLocks noChangeArrowheads="1"/>
          </p:cNvSpPr>
          <p:nvPr/>
        </p:nvSpPr>
        <p:spPr bwMode="auto">
          <a:xfrm>
            <a:off x="283263" y="4132301"/>
            <a:ext cx="595077" cy="2130727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>
            <a:noFill/>
          </a:ln>
          <a:extLst/>
        </p:spPr>
        <p:txBody>
          <a:bodyPr lIns="90732" tIns="45367" rIns="90732" bIns="45367" anchor="ctr"/>
          <a:lstStyle/>
          <a:p>
            <a:pPr marL="0" marR="0" lvl="0" indent="0" algn="ctr" defTabSz="90844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예시</a:t>
            </a: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131" name="직사각형 42"/>
          <p:cNvSpPr/>
          <p:nvPr/>
        </p:nvSpPr>
        <p:spPr>
          <a:xfrm>
            <a:off x="1082785" y="4132323"/>
            <a:ext cx="2633390" cy="21360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0F0F0">
                <a:lumMod val="50000"/>
              </a:srgbClr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t" anchorCtr="0"/>
          <a:lstStyle/>
          <a:p>
            <a:pPr marL="108000" marR="0" lvl="0" indent="-108000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  <a:sym typeface="Monotype Sorts" pitchFamily="2" charset="2"/>
            </a:endParaRPr>
          </a:p>
        </p:txBody>
      </p:sp>
      <p:pic>
        <p:nvPicPr>
          <p:cNvPr id="132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10" y="4326494"/>
            <a:ext cx="2468369" cy="1747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" name="직사각형 42"/>
          <p:cNvSpPr/>
          <p:nvPr/>
        </p:nvSpPr>
        <p:spPr>
          <a:xfrm>
            <a:off x="1082785" y="2631742"/>
            <a:ext cx="2633390" cy="13905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0F0F0">
                <a:lumMod val="50000"/>
              </a:srgbClr>
            </a:solidFill>
            <a:prstDash val="solid"/>
            <a:round/>
            <a:headEnd/>
            <a:tailEnd/>
          </a:ln>
        </p:spPr>
        <p:txBody>
          <a:bodyPr lIns="72000" tIns="72000" rIns="72000" bIns="72000" rtlCol="0" anchor="t" anchorCtr="0"/>
          <a:lstStyle/>
          <a:p>
            <a:pPr marL="108000" marR="0" lvl="0" indent="-108000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NH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농협카드에서 사용중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As-Is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 업무시스템의 개발 언어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(C/Java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등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)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 현황을 조사 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  <a:sym typeface="Monotype Sorts" pitchFamily="2" charset="2"/>
            </a:endParaRPr>
          </a:p>
          <a:p>
            <a:pPr marL="108000" marR="0" lvl="0" indent="-108000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개발언어와 함께 사용중인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 Framework, Middleware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rPr>
              <a:t>도 함께 확인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/>
              <a:cs typeface="Arial" charset="0"/>
              <a:sym typeface="Monotype Sorts" pitchFamily="2" charset="2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4066039" y="1845965"/>
            <a:ext cx="2615201" cy="4422447"/>
            <a:chOff x="4042373" y="1900395"/>
            <a:chExt cx="2633826" cy="4422447"/>
          </a:xfrm>
        </p:grpSpPr>
        <p:sp>
          <p:nvSpPr>
            <p:cNvPr id="141" name="직사각형 15"/>
            <p:cNvSpPr/>
            <p:nvPr/>
          </p:nvSpPr>
          <p:spPr>
            <a:xfrm>
              <a:off x="4042809" y="1900395"/>
              <a:ext cx="2633390" cy="660858"/>
            </a:xfrm>
            <a:prstGeom prst="rect">
              <a:avLst/>
            </a:prstGeom>
            <a:pattFill prst="ltUpDiag">
              <a:fgClr>
                <a:srgbClr val="C0C0C0"/>
              </a:fgClr>
              <a:bgClr>
                <a:srgbClr val="FFFFFF"/>
              </a:bgClr>
            </a:pattFill>
            <a:ln w="6350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개발 환경 별 특성 분석</a:t>
              </a:r>
              <a:endParaRPr kumimoji="0" lang="en-US" altLang="ko-KR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4165090" y="2015061"/>
              <a:ext cx="251022" cy="431526"/>
            </a:xfrm>
            <a:prstGeom prst="roundRect">
              <a:avLst/>
            </a:prstGeom>
            <a:solidFill>
              <a:srgbClr val="F0F0F0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2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sp>
          <p:nvSpPr>
            <p:cNvPr id="143" name="직사각형 42"/>
            <p:cNvSpPr/>
            <p:nvPr/>
          </p:nvSpPr>
          <p:spPr>
            <a:xfrm>
              <a:off x="4042373" y="4186753"/>
              <a:ext cx="2633390" cy="21360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pic>
          <p:nvPicPr>
            <p:cNvPr id="144" name="Picture 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8152" y="4218102"/>
              <a:ext cx="2462701" cy="1910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5" name="직사각형 42"/>
            <p:cNvSpPr/>
            <p:nvPr/>
          </p:nvSpPr>
          <p:spPr>
            <a:xfrm>
              <a:off x="4042373" y="2686172"/>
              <a:ext cx="2633390" cy="139050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업무시스템 별 업무 특성에 따른 개발언어 도입 현황 분석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사용중인 개발 언어와의 종속적인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SW 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및 기능 식별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Wingdings" pitchFamily="2" charset="2"/>
              </a:endParaRPr>
            </a:p>
            <a:p>
              <a:pPr marL="174625" marR="0" lvl="0" indent="-87313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- Framework, Middleware, 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사용자 단말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SW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Wingdings" pitchFamily="2" charset="2"/>
                </a:rPr>
                <a:t> 등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Wingdings" pitchFamily="2" charset="2"/>
              </a:endParaRP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7007562" y="1845965"/>
            <a:ext cx="2615330" cy="4422447"/>
            <a:chOff x="6989502" y="1900395"/>
            <a:chExt cx="2633390" cy="4422447"/>
          </a:xfrm>
        </p:grpSpPr>
        <p:sp>
          <p:nvSpPr>
            <p:cNvPr id="136" name="직사각형 15"/>
            <p:cNvSpPr/>
            <p:nvPr/>
          </p:nvSpPr>
          <p:spPr>
            <a:xfrm>
              <a:off x="6989502" y="1900395"/>
              <a:ext cx="2633390" cy="660858"/>
            </a:xfrm>
            <a:prstGeom prst="rect">
              <a:avLst/>
            </a:prstGeom>
            <a:pattFill prst="ltUpDiag">
              <a:fgClr>
                <a:srgbClr val="C0C0C0"/>
              </a:fgClr>
              <a:bgClr>
                <a:srgbClr val="FFFFFF"/>
              </a:bgClr>
            </a:pattFill>
            <a:ln w="6350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개발언어 </a:t>
              </a:r>
              <a:r>
                <a:rPr kumimoji="0" lang="en-US" altLang="ko-KR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/>
              </a:r>
              <a:br>
                <a:rPr kumimoji="0" lang="en-US" altLang="ko-KR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</a:b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기술동향 </a:t>
              </a:r>
              <a:r>
                <a:rPr kumimoji="0" lang="en-US" altLang="ko-KR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/</a:t>
              </a:r>
              <a:r>
                <a:rPr kumimoji="0" lang="en-US" altLang="ko-KR" sz="1200" i="0" u="none" strike="noStrike" kern="0" cap="none" spc="-5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 </a:t>
              </a: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타행사례</a:t>
              </a:r>
              <a:endParaRPr kumimoji="0" lang="en-US" altLang="ko-KR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7086824" y="2015061"/>
              <a:ext cx="251022" cy="431526"/>
            </a:xfrm>
            <a:prstGeom prst="roundRect">
              <a:avLst/>
            </a:prstGeom>
            <a:solidFill>
              <a:srgbClr val="F0F0F0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3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sp>
          <p:nvSpPr>
            <p:cNvPr id="138" name="직사각형 42"/>
            <p:cNvSpPr/>
            <p:nvPr/>
          </p:nvSpPr>
          <p:spPr>
            <a:xfrm>
              <a:off x="6989502" y="4186753"/>
              <a:ext cx="2633390" cy="213608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pic>
          <p:nvPicPr>
            <p:cNvPr id="139" name="Picture 9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9185" y="4251462"/>
              <a:ext cx="2485261" cy="19708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0" name="직사각형 42"/>
            <p:cNvSpPr/>
            <p:nvPr/>
          </p:nvSpPr>
          <p:spPr>
            <a:xfrm>
              <a:off x="6989502" y="2686172"/>
              <a:ext cx="2633390" cy="139050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개발언어별 특성 및 기술 동향을 분석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(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국내외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Research 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기관 활용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)</a:t>
              </a:r>
            </a:p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타사 차세대 개발언어 도입사례 분석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(C, JAVA)</a:t>
              </a:r>
            </a:p>
          </p:txBody>
        </p:sp>
      </p:grpSp>
      <p:sp>
        <p:nvSpPr>
          <p:cNvPr id="2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설계 및 개발계획 수립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4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Language Se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결정 방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839694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개발언어는 모든 아키텍처에 영향을 주는 요소이므로 아키텍처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 단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전에 관련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수행하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anguage Se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 smtClean="0"/>
              <a:t>검토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272725" y="1358290"/>
            <a:ext cx="9350039" cy="4921008"/>
            <a:chOff x="272725" y="1412720"/>
            <a:chExt cx="9350039" cy="4921008"/>
          </a:xfrm>
        </p:grpSpPr>
        <p:sp>
          <p:nvSpPr>
            <p:cNvPr id="54" name="직사각형 15"/>
            <p:cNvSpPr/>
            <p:nvPr/>
          </p:nvSpPr>
          <p:spPr>
            <a:xfrm>
              <a:off x="4066039" y="1901780"/>
              <a:ext cx="2615201" cy="660830"/>
            </a:xfrm>
            <a:prstGeom prst="rect">
              <a:avLst/>
            </a:prstGeom>
            <a:pattFill prst="ltUpDiag">
              <a:fgClr>
                <a:srgbClr val="C0C0C0"/>
              </a:fgClr>
              <a:bgClr>
                <a:srgbClr val="FFFFFF"/>
              </a:bgClr>
            </a:pattFill>
            <a:ln w="6350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차세대 개발언어 평가</a:t>
              </a:r>
              <a:endParaRPr kumimoji="0" lang="en-US" altLang="ko-KR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55" name="직사각형 15"/>
            <p:cNvSpPr/>
            <p:nvPr/>
          </p:nvSpPr>
          <p:spPr>
            <a:xfrm>
              <a:off x="7007563" y="1901780"/>
              <a:ext cx="2615201" cy="660830"/>
            </a:xfrm>
            <a:prstGeom prst="rect">
              <a:avLst/>
            </a:prstGeom>
            <a:pattFill prst="ltUpDiag">
              <a:fgClr>
                <a:srgbClr val="C0C0C0"/>
              </a:fgClr>
              <a:bgClr>
                <a:srgbClr val="FFFFFF"/>
              </a:bgClr>
            </a:pattFill>
            <a:ln w="6350" algn="ctr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rPr>
                <a:t>차세대 개발언어 결정</a:t>
              </a:r>
              <a:endParaRPr kumimoji="0" lang="en-US" altLang="ko-KR" sz="1200" i="0" u="none" strike="noStrike" kern="0" cap="none" spc="-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4187476" y="2016441"/>
              <a:ext cx="249288" cy="431508"/>
            </a:xfrm>
            <a:prstGeom prst="roundRect">
              <a:avLst/>
            </a:prstGeom>
            <a:solidFill>
              <a:srgbClr val="F0F0F0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5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7104212" y="2016441"/>
              <a:ext cx="249288" cy="431508"/>
            </a:xfrm>
            <a:prstGeom prst="roundRect">
              <a:avLst/>
            </a:prstGeom>
            <a:solidFill>
              <a:srgbClr val="F0F0F0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6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cxnSp>
          <p:nvCxnSpPr>
            <p:cNvPr id="58" name="Straight Arrow Connector 57"/>
            <p:cNvCxnSpPr>
              <a:stCxn id="73" idx="3"/>
              <a:endCxn id="54" idx="1"/>
            </p:cNvCxnSpPr>
            <p:nvPr/>
          </p:nvCxnSpPr>
          <p:spPr bwMode="auto">
            <a:xfrm>
              <a:off x="3716175" y="2232195"/>
              <a:ext cx="349864" cy="0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59" name="Straight Arrow Connector 58"/>
            <p:cNvCxnSpPr>
              <a:stCxn id="54" idx="3"/>
              <a:endCxn id="55" idx="1"/>
            </p:cNvCxnSpPr>
            <p:nvPr/>
          </p:nvCxnSpPr>
          <p:spPr bwMode="auto">
            <a:xfrm>
              <a:off x="6681240" y="2232195"/>
              <a:ext cx="326323" cy="0"/>
            </a:xfrm>
            <a:prstGeom prst="straightConnector1">
              <a:avLst/>
            </a:prstGeom>
            <a:solidFill>
              <a:srgbClr val="FFD200"/>
            </a:solidFill>
            <a:ln w="952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sp>
          <p:nvSpPr>
            <p:cNvPr id="60" name="직사각형 42"/>
            <p:cNvSpPr/>
            <p:nvPr/>
          </p:nvSpPr>
          <p:spPr>
            <a:xfrm>
              <a:off x="4065606" y="2686242"/>
              <a:ext cx="2615201" cy="139044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개발언어 각 평가 항목별 장단점 분석 및 평가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(Scoring) 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수행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각 평가 항목의 수치 결과를 종합 점수로 산출하여 권고안 도출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sp>
          <p:nvSpPr>
            <p:cNvPr id="61" name="직사각형 42"/>
            <p:cNvSpPr/>
            <p:nvPr/>
          </p:nvSpPr>
          <p:spPr>
            <a:xfrm>
              <a:off x="7007562" y="2686242"/>
              <a:ext cx="2615201" cy="139044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차세대 개발언어 의사결정 수행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각 기술 아키텍처에 결과 반영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rPr>
                <a:t>현황분석 및 방향성 정의 단계에 개발언어를 선정하여 이후 아키텍처 정의 단계에 기준으로 활용해야 함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sp>
          <p:nvSpPr>
            <p:cNvPr id="62" name="직사각형 42"/>
            <p:cNvSpPr/>
            <p:nvPr/>
          </p:nvSpPr>
          <p:spPr>
            <a:xfrm>
              <a:off x="4065606" y="4197729"/>
              <a:ext cx="2615201" cy="213599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sp>
          <p:nvSpPr>
            <p:cNvPr id="63" name="직사각형 42"/>
            <p:cNvSpPr/>
            <p:nvPr/>
          </p:nvSpPr>
          <p:spPr>
            <a:xfrm>
              <a:off x="7007445" y="4197729"/>
              <a:ext cx="2615201" cy="213599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0F0F0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 lIns="72000" tIns="72000" rIns="72000" bIns="72000" rtlCol="0" anchor="t" anchorCtr="0"/>
            <a:lstStyle/>
            <a:p>
              <a:pPr marL="108000" marR="0" lvl="0" indent="-108000" defTabSz="91440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charset="0"/>
                <a:buChar char="•"/>
                <a:tabLst/>
                <a:defRPr/>
              </a:pP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Arial" charset="0"/>
                <a:sym typeface="Monotype Sorts" pitchFamily="2" charset="2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077366" y="1901780"/>
              <a:ext cx="2638809" cy="4431948"/>
              <a:chOff x="1066480" y="1901780"/>
              <a:chExt cx="2615201" cy="4431948"/>
            </a:xfrm>
          </p:grpSpPr>
          <p:sp>
            <p:nvSpPr>
              <p:cNvPr id="73" name="직사각형 15"/>
              <p:cNvSpPr/>
              <p:nvPr/>
            </p:nvSpPr>
            <p:spPr>
              <a:xfrm>
                <a:off x="1066480" y="1901780"/>
                <a:ext cx="2615201" cy="660830"/>
              </a:xfrm>
              <a:prstGeom prst="rect">
                <a:avLst/>
              </a:prstGeom>
              <a:pattFill prst="ltUpDiag">
                <a:fgClr>
                  <a:srgbClr val="C0C0C0"/>
                </a:fgClr>
                <a:bgClr>
                  <a:srgbClr val="FFFFFF"/>
                </a:bgClr>
              </a:pattFill>
              <a:ln w="6350" algn="ctr">
                <a:solidFill>
                  <a:sysClr val="window" lastClr="FFFFFF">
                    <a:lumMod val="50000"/>
                  </a:sysClr>
                </a:solidFill>
                <a:round/>
                <a:headEnd/>
                <a:tailEnd/>
              </a:ln>
            </p:spPr>
            <p:txBody>
              <a:bodyPr lIns="72000" tIns="72000" rIns="72000" bIns="72000" rtlCol="0" anchor="ctr"/>
              <a:lstStyle/>
              <a:p>
                <a:pPr marL="0" marR="0" lvl="0" indent="0" algn="ctr" defTabSz="914400" eaLnBrk="0" fontAlgn="auto" latinLnBrk="0" hangingPunct="0">
                  <a:lnSpc>
                    <a:spcPct val="9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</a:rPr>
                  <a:t>차세대 개발언어</a:t>
                </a:r>
                <a:r>
                  <a:rPr kumimoji="0" lang="en-US" altLang="ko-KR" sz="120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</a:rPr>
                  <a:t> </a:t>
                </a:r>
              </a:p>
              <a:p>
                <a:pPr marL="0" marR="0" lvl="0" indent="0" algn="ctr" defTabSz="914400" eaLnBrk="0" fontAlgn="auto" latinLnBrk="0" hangingPunct="0">
                  <a:lnSpc>
                    <a:spcPct val="9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-5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</a:rPr>
                  <a:t>평가절차 수립</a:t>
                </a:r>
                <a:endParaRPr kumimoji="0" lang="en-US" altLang="ko-KR" sz="1200" i="0" u="none" strike="noStrike" kern="0" cap="none" spc="-5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</a:endParaRPr>
              </a:p>
            </p:txBody>
          </p:sp>
          <p:sp>
            <p:nvSpPr>
              <p:cNvPr id="74" name="직사각형 42"/>
              <p:cNvSpPr/>
              <p:nvPr/>
            </p:nvSpPr>
            <p:spPr>
              <a:xfrm>
                <a:off x="1066480" y="2686242"/>
                <a:ext cx="2615201" cy="139044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F0F0F0">
                    <a:lumMod val="5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rtlCol="0" anchor="t" anchorCtr="0"/>
              <a:lstStyle/>
              <a:p>
                <a:pPr marL="108000" marR="0" lvl="0" indent="-108000" defTabSz="914400" eaLnBrk="0" fontAlgn="auto" latinLnBrk="0" hangingPunct="0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개발언어 기능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/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비기능 평가항목 정의 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(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거래처리성능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,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안정성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,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유지보수성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,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개발인력 수급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,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확장성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, </a:t>
                </a: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보안 적용성 등</a:t>
                </a: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)</a:t>
                </a:r>
              </a:p>
              <a:p>
                <a:pPr marL="108000" marR="0" lvl="0" indent="-108000" defTabSz="914400" eaLnBrk="0" fontAlgn="auto" latinLnBrk="0" hangingPunct="0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차세대 요건 관점 평가항목 정리</a:t>
                </a: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endParaRPr>
              </a:p>
              <a:p>
                <a:pPr marL="108000" marR="0" lvl="0" indent="-108000" defTabSz="914400" eaLnBrk="0" fontAlgn="auto" latinLnBrk="0" hangingPunct="0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/>
                    <a:cs typeface="Arial" charset="0"/>
                    <a:sym typeface="Monotype Sorts" pitchFamily="2" charset="2"/>
                  </a:rPr>
                  <a:t>평가항목 및 평가식 정량화</a:t>
                </a: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endParaRPr>
              </a:p>
            </p:txBody>
          </p:sp>
          <p:sp>
            <p:nvSpPr>
              <p:cNvPr id="75" name="Rounded Rectangle 74"/>
              <p:cNvSpPr/>
              <p:nvPr/>
            </p:nvSpPr>
            <p:spPr>
              <a:xfrm>
                <a:off x="1199164" y="2016441"/>
                <a:ext cx="249288" cy="431508"/>
              </a:xfrm>
              <a:prstGeom prst="roundRect">
                <a:avLst/>
              </a:prstGeom>
              <a:solidFill>
                <a:srgbClr val="F0F0F0">
                  <a:lumMod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/>
                    <a:cs typeface="Arial"/>
                  </a:rPr>
                  <a:t>4</a:t>
                </a:r>
                <a:endParaRPr kumimoji="0" lang="ko-KR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endParaRPr>
              </a:p>
            </p:txBody>
          </p:sp>
          <p:sp>
            <p:nvSpPr>
              <p:cNvPr id="76" name="직사각형 42"/>
              <p:cNvSpPr/>
              <p:nvPr/>
            </p:nvSpPr>
            <p:spPr>
              <a:xfrm>
                <a:off x="1066480" y="4197729"/>
                <a:ext cx="2615201" cy="2135999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F0F0F0">
                    <a:lumMod val="5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rtlCol="0" anchor="t" anchorCtr="0"/>
              <a:lstStyle/>
              <a:p>
                <a:pPr marL="108000" marR="0" lvl="0" indent="-108000" defTabSz="914400" eaLnBrk="0" fontAlgn="auto" latinLnBrk="0" hangingPunct="0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Arial" charset="0"/>
                  <a:sym typeface="Monotype Sorts" pitchFamily="2" charset="2"/>
                </a:endParaRPr>
              </a:p>
            </p:txBody>
          </p:sp>
          <p:pic>
            <p:nvPicPr>
              <p:cNvPr id="77" name="Picture 4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1411" y="4277808"/>
                <a:ext cx="2513516" cy="19894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65" name="Picture 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7935" y="5340958"/>
              <a:ext cx="2423914" cy="9262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6" name="Picture 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9992" y="4277808"/>
              <a:ext cx="2431857" cy="9789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7" name="Picture 1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3042" y="4272562"/>
              <a:ext cx="2318057" cy="6462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8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3042" y="5085491"/>
              <a:ext cx="2308568" cy="11293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" name="Rectangle 68"/>
            <p:cNvSpPr>
              <a:spLocks noChangeArrowheads="1"/>
            </p:cNvSpPr>
            <p:nvPr/>
          </p:nvSpPr>
          <p:spPr bwMode="gray">
            <a:xfrm>
              <a:off x="272725" y="1412720"/>
              <a:ext cx="9349921" cy="30328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85725" marR="0" lvl="0" indent="-85725" algn="ctr" defTabSz="9144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Language Set 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결정 </a:t>
              </a: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Approach (2/2)</a:t>
              </a:r>
            </a:p>
          </p:txBody>
        </p:sp>
        <p:sp>
          <p:nvSpPr>
            <p:cNvPr id="70" name="AutoShape 16"/>
            <p:cNvSpPr>
              <a:spLocks noChangeArrowheads="1"/>
            </p:cNvSpPr>
            <p:nvPr/>
          </p:nvSpPr>
          <p:spPr bwMode="auto">
            <a:xfrm>
              <a:off x="283263" y="2686172"/>
              <a:ext cx="595077" cy="1390504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>
              <a:noFill/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수행</a:t>
              </a:r>
              <a:endPara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방</a:t>
              </a:r>
              <a:r>
                <a:rPr kumimoji="0" lang="ko-KR" alt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안</a:t>
              </a:r>
              <a:endPara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71" name="AutoShape 16"/>
            <p:cNvSpPr>
              <a:spLocks noChangeArrowheads="1"/>
            </p:cNvSpPr>
            <p:nvPr/>
          </p:nvSpPr>
          <p:spPr bwMode="auto">
            <a:xfrm>
              <a:off x="283263" y="1900395"/>
              <a:ext cx="595077" cy="660858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>
              <a:noFill/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Task</a:t>
              </a:r>
            </a:p>
          </p:txBody>
        </p:sp>
        <p:sp>
          <p:nvSpPr>
            <p:cNvPr id="72" name="AutoShape 16"/>
            <p:cNvSpPr>
              <a:spLocks noChangeArrowheads="1"/>
            </p:cNvSpPr>
            <p:nvPr/>
          </p:nvSpPr>
          <p:spPr bwMode="auto">
            <a:xfrm>
              <a:off x="283263" y="4186731"/>
              <a:ext cx="595077" cy="2130727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>
              <a:noFill/>
            </a:ln>
            <a:extLst/>
          </p:spPr>
          <p:txBody>
            <a:bodyPr lIns="90732" tIns="45367" rIns="90732" bIns="45367" anchor="ctr"/>
            <a:lstStyle/>
            <a:p>
              <a:pPr marL="0" marR="0" lvl="0" indent="0" algn="ctr" defTabSz="908447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</a:rPr>
                <a:t>예시</a:t>
              </a:r>
              <a:endPara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</p:grpSp>
      <p:sp>
        <p:nvSpPr>
          <p:cNvPr id="2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설계 및 개발계획 수립</a:t>
            </a:r>
            <a:endParaRPr lang="ko-KR" altLang="en-US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382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그림 32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범위 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비전 및 추진전략을 반영하여 효과적인 차세대 구축이 이뤄질 수 있도록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범위를 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 유형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범위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일정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타 과제 간 선후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연관 관계를 분석하고 비즈니스 중요도와 추진효과를 고려하여 프로젝트 단위를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정의함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2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발계획 정의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프로젝트 추진 단위 과제 도출</a:t>
            </a:r>
          </a:p>
          <a:p>
            <a:pPr marL="82550" lvl="0" indent="-82550" defTabSz="760413" fontAlgn="auto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과제 별 우선순위 평가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Framework(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중요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구현 난이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별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시급성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)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정의 및 평가</a:t>
            </a: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algn="ctr" defTabSz="72390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과제 정의 및 추진 우선순위 선정</a:t>
            </a:r>
          </a:p>
        </p:txBody>
      </p:sp>
      <p:sp>
        <p:nvSpPr>
          <p:cNvPr id="24" name="Rectangle 32"/>
          <p:cNvSpPr>
            <a:spLocks noChangeArrowheads="1"/>
          </p:cNvSpPr>
          <p:nvPr/>
        </p:nvSpPr>
        <p:spPr bwMode="auto">
          <a:xfrm>
            <a:off x="2346325" y="5004885"/>
            <a:ext cx="5270500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세대 시스템 구현을 위한 어플리케이션과 인프라 기준의 구축범위 정의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268288" lvl="1" indent="-174625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ü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 추진 프로젝트 및 유관 과제 검토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268288" lvl="1" indent="-174625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ü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타사 차세대 구축 프로젝트 검토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73050" y="5004885"/>
            <a:ext cx="2022475" cy="123240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lvl="0" indent="-82550" algn="ctr" defTabSz="72390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프로세스 체계 정의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3207618" y="2228193"/>
            <a:ext cx="383492" cy="133086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6295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범위 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와 연계된 시스템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를 정의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략과제별 비즈니스 중요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난이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급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별성을 고려하여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를 선정함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정의 및 추진 </a:t>
            </a: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</a:t>
            </a:r>
            <a:endParaRPr lang="en-US" altLang="ko-KR" sz="120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정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순서도: 페이지 연결자 38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spcBef>
                <a:spcPct val="20000"/>
              </a:spcBef>
              <a:buClr>
                <a:srgbClr val="1D1F6F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별 범위 및 개발방식 정의</a:t>
            </a:r>
          </a:p>
        </p:txBody>
      </p:sp>
      <p:sp>
        <p:nvSpPr>
          <p:cNvPr id="126" name="Text Box 11"/>
          <p:cNvSpPr txBox="1">
            <a:spLocks noChangeArrowheads="1"/>
          </p:cNvSpPr>
          <p:nvPr/>
        </p:nvSpPr>
        <p:spPr bwMode="auto">
          <a:xfrm>
            <a:off x="2541604" y="2006600"/>
            <a:ext cx="270619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4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의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 평가 방안</a:t>
            </a:r>
          </a:p>
        </p:txBody>
      </p:sp>
      <p:sp>
        <p:nvSpPr>
          <p:cNvPr id="127" name="Text Box 12"/>
          <p:cNvSpPr txBox="1">
            <a:spLocks noChangeArrowheads="1"/>
          </p:cNvSpPr>
          <p:nvPr/>
        </p:nvSpPr>
        <p:spPr bwMode="auto">
          <a:xfrm>
            <a:off x="6370220" y="2006600"/>
            <a:ext cx="28632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우선순위 정의 및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Roadmap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수립</a:t>
            </a:r>
          </a:p>
        </p:txBody>
      </p:sp>
      <p:sp>
        <p:nvSpPr>
          <p:cNvPr id="128" name="Text Box 63"/>
          <p:cNvSpPr txBox="1">
            <a:spLocks noChangeArrowheads="1"/>
          </p:cNvSpPr>
          <p:nvPr/>
        </p:nvSpPr>
        <p:spPr bwMode="gray">
          <a:xfrm>
            <a:off x="2031441" y="4935698"/>
            <a:ext cx="3546476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88900" indent="-88900">
              <a:buFont typeface="Wingdings" pitchFamily="2" charset="2"/>
              <a:buChar char="§"/>
              <a:defRPr sz="1200" b="0" kern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defRPr>
            </a:lvl1pPr>
          </a:lstStyle>
          <a:p>
            <a:pPr latinLnBrk="0"/>
            <a:r>
              <a:rPr lang="en-US" altLang="ko-KR" dirty="0"/>
              <a:t>Business </a:t>
            </a:r>
            <a:r>
              <a:rPr lang="ko-KR" altLang="en-US" dirty="0"/>
              <a:t>중요도 </a:t>
            </a:r>
            <a:r>
              <a:rPr lang="en-US" altLang="ko-KR" dirty="0"/>
              <a:t>(Benefit/Impact) :</a:t>
            </a:r>
            <a:br>
              <a:rPr lang="en-US" altLang="ko-KR" dirty="0"/>
            </a:br>
            <a:r>
              <a:rPr lang="ko-KR" altLang="en-US" dirty="0"/>
              <a:t>과제 실행을 통해 기대할 수 있는 비즈니스 효과</a:t>
            </a:r>
          </a:p>
          <a:p>
            <a:pPr latinLnBrk="0"/>
            <a:r>
              <a:rPr lang="ko-KR" altLang="en-US" dirty="0"/>
              <a:t>구현 용이성 </a:t>
            </a:r>
            <a:r>
              <a:rPr lang="en-US" altLang="ko-KR" dirty="0"/>
              <a:t>: </a:t>
            </a:r>
            <a:r>
              <a:rPr lang="ko-KR" altLang="en-US" dirty="0" smtClean="0"/>
              <a:t>구현 </a:t>
            </a:r>
            <a:r>
              <a:rPr lang="ko-KR" altLang="en-US" dirty="0"/>
              <a:t>복잡 </a:t>
            </a:r>
            <a:r>
              <a:rPr lang="en-US" altLang="ko-KR" dirty="0"/>
              <a:t>/ </a:t>
            </a:r>
            <a:r>
              <a:rPr lang="ko-KR" altLang="en-US" dirty="0"/>
              <a:t>타 프로세스와 시스템에 영향을 미치는 정도 </a:t>
            </a:r>
          </a:p>
          <a:p>
            <a:pPr latinLnBrk="0"/>
            <a:r>
              <a:rPr lang="ko-KR" altLang="en-US" dirty="0"/>
              <a:t>시급성 </a:t>
            </a:r>
            <a:r>
              <a:rPr lang="en-US" altLang="ko-KR" dirty="0"/>
              <a:t>: </a:t>
            </a:r>
            <a:r>
              <a:rPr lang="ko-KR" altLang="en-US" dirty="0" smtClean="0"/>
              <a:t>개선 요인의 수준</a:t>
            </a:r>
            <a:endParaRPr lang="en-US" altLang="ko-KR" dirty="0"/>
          </a:p>
          <a:p>
            <a:pPr latinLnBrk="0"/>
            <a:r>
              <a:rPr lang="ko-KR" altLang="en-US" dirty="0"/>
              <a:t>차별성 </a:t>
            </a:r>
            <a:r>
              <a:rPr lang="en-US" altLang="ko-KR" dirty="0" smtClean="0"/>
              <a:t>: </a:t>
            </a:r>
            <a:r>
              <a:rPr lang="ko-KR" altLang="en-US" dirty="0" smtClean="0"/>
              <a:t>경쟁사 대비 차별성</a:t>
            </a:r>
            <a:endParaRPr lang="en-US" altLang="ko-KR" dirty="0"/>
          </a:p>
        </p:txBody>
      </p:sp>
      <p:grpSp>
        <p:nvGrpSpPr>
          <p:cNvPr id="129" name="그룹 128"/>
          <p:cNvGrpSpPr/>
          <p:nvPr/>
        </p:nvGrpSpPr>
        <p:grpSpPr>
          <a:xfrm>
            <a:off x="2035281" y="2574749"/>
            <a:ext cx="3596238" cy="2025826"/>
            <a:chOff x="1724565" y="2565224"/>
            <a:chExt cx="3995420" cy="2025826"/>
          </a:xfrm>
        </p:grpSpPr>
        <p:sp>
          <p:nvSpPr>
            <p:cNvPr id="130" name="Text Box 15"/>
            <p:cNvSpPr txBox="1">
              <a:spLocks noChangeArrowheads="1"/>
            </p:cNvSpPr>
            <p:nvPr/>
          </p:nvSpPr>
          <p:spPr bwMode="auto">
            <a:xfrm>
              <a:off x="2101057" y="4339576"/>
              <a:ext cx="967404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defRPr/>
              </a:pP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구현 용이성</a:t>
              </a:r>
            </a:p>
          </p:txBody>
        </p:sp>
        <p:sp>
          <p:nvSpPr>
            <p:cNvPr id="131" name="Text Box 16"/>
            <p:cNvSpPr txBox="1">
              <a:spLocks noChangeArrowheads="1"/>
            </p:cNvSpPr>
            <p:nvPr/>
          </p:nvSpPr>
          <p:spPr bwMode="auto">
            <a:xfrm rot="16200000">
              <a:off x="1303088" y="3558215"/>
              <a:ext cx="1136850" cy="27355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latinLnBrk="0"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Business </a:t>
              </a:r>
              <a:r>
                <a:rPr lang="ko-KR" altLang="en-US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중요도</a:t>
              </a:r>
            </a:p>
          </p:txBody>
        </p:sp>
        <p:sp>
          <p:nvSpPr>
            <p:cNvPr id="132" name="Text Box 17"/>
            <p:cNvSpPr txBox="1">
              <a:spLocks noChangeArrowheads="1"/>
            </p:cNvSpPr>
            <p:nvPr/>
          </p:nvSpPr>
          <p:spPr bwMode="auto">
            <a:xfrm>
              <a:off x="2175971" y="4130392"/>
              <a:ext cx="27818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L</a:t>
              </a:r>
            </a:p>
          </p:txBody>
        </p:sp>
        <p:sp>
          <p:nvSpPr>
            <p:cNvPr id="133" name="Text Box 18"/>
            <p:cNvSpPr txBox="1">
              <a:spLocks noChangeArrowheads="1"/>
            </p:cNvSpPr>
            <p:nvPr/>
          </p:nvSpPr>
          <p:spPr bwMode="auto">
            <a:xfrm>
              <a:off x="2419922" y="4130392"/>
              <a:ext cx="34229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</a:t>
              </a:r>
            </a:p>
          </p:txBody>
        </p:sp>
        <p:sp>
          <p:nvSpPr>
            <p:cNvPr id="134" name="Text Box 19"/>
            <p:cNvSpPr txBox="1">
              <a:spLocks noChangeArrowheads="1"/>
            </p:cNvSpPr>
            <p:nvPr/>
          </p:nvSpPr>
          <p:spPr bwMode="auto">
            <a:xfrm>
              <a:off x="2723421" y="4130392"/>
              <a:ext cx="315582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H</a:t>
              </a:r>
            </a:p>
          </p:txBody>
        </p:sp>
        <p:sp>
          <p:nvSpPr>
            <p:cNvPr id="135" name="Text Box 20"/>
            <p:cNvSpPr txBox="1">
              <a:spLocks noChangeArrowheads="1"/>
            </p:cNvSpPr>
            <p:nvPr/>
          </p:nvSpPr>
          <p:spPr bwMode="auto">
            <a:xfrm>
              <a:off x="1932020" y="3855707"/>
              <a:ext cx="27818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L</a:t>
              </a:r>
            </a:p>
          </p:txBody>
        </p:sp>
        <p:sp>
          <p:nvSpPr>
            <p:cNvPr id="136" name="Text Box 21"/>
            <p:cNvSpPr txBox="1">
              <a:spLocks noChangeArrowheads="1"/>
            </p:cNvSpPr>
            <p:nvPr/>
          </p:nvSpPr>
          <p:spPr bwMode="auto">
            <a:xfrm>
              <a:off x="1901286" y="3551441"/>
              <a:ext cx="34229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</a:t>
              </a:r>
            </a:p>
          </p:txBody>
        </p:sp>
        <p:sp>
          <p:nvSpPr>
            <p:cNvPr id="137" name="Text Box 22"/>
            <p:cNvSpPr txBox="1">
              <a:spLocks noChangeArrowheads="1"/>
            </p:cNvSpPr>
            <p:nvPr/>
          </p:nvSpPr>
          <p:spPr bwMode="auto">
            <a:xfrm>
              <a:off x="1920495" y="3240836"/>
              <a:ext cx="315582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0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H</a:t>
              </a:r>
            </a:p>
          </p:txBody>
        </p:sp>
        <p:sp>
          <p:nvSpPr>
            <p:cNvPr id="138" name="Rectangle 23"/>
            <p:cNvSpPr>
              <a:spLocks noChangeArrowheads="1"/>
            </p:cNvSpPr>
            <p:nvPr/>
          </p:nvSpPr>
          <p:spPr bwMode="auto">
            <a:xfrm>
              <a:off x="2187497" y="3209141"/>
              <a:ext cx="278526" cy="31060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H</a:t>
              </a:r>
              <a:endParaRPr lang="el-GR" altLang="ko-KR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139" name="Rectangle 24"/>
            <p:cNvSpPr>
              <a:spLocks noChangeArrowheads="1"/>
            </p:cNvSpPr>
            <p:nvPr/>
          </p:nvSpPr>
          <p:spPr bwMode="auto">
            <a:xfrm>
              <a:off x="2466023" y="3209141"/>
              <a:ext cx="276606" cy="31060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H</a:t>
              </a:r>
            </a:p>
          </p:txBody>
        </p:sp>
        <p:sp>
          <p:nvSpPr>
            <p:cNvPr id="140" name="Rectangle 25"/>
            <p:cNvSpPr>
              <a:spLocks noChangeArrowheads="1"/>
            </p:cNvSpPr>
            <p:nvPr/>
          </p:nvSpPr>
          <p:spPr bwMode="auto">
            <a:xfrm>
              <a:off x="2742629" y="3209141"/>
              <a:ext cx="278527" cy="31060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</a:t>
              </a:r>
            </a:p>
          </p:txBody>
        </p:sp>
        <p:sp>
          <p:nvSpPr>
            <p:cNvPr id="141" name="Rectangle 26"/>
            <p:cNvSpPr>
              <a:spLocks noChangeArrowheads="1"/>
            </p:cNvSpPr>
            <p:nvPr/>
          </p:nvSpPr>
          <p:spPr bwMode="auto">
            <a:xfrm>
              <a:off x="2187497" y="3519747"/>
              <a:ext cx="278526" cy="3127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H</a:t>
              </a:r>
            </a:p>
          </p:txBody>
        </p:sp>
        <p:sp>
          <p:nvSpPr>
            <p:cNvPr id="142" name="Rectangle 27"/>
            <p:cNvSpPr>
              <a:spLocks noChangeArrowheads="1"/>
            </p:cNvSpPr>
            <p:nvPr/>
          </p:nvSpPr>
          <p:spPr bwMode="auto">
            <a:xfrm>
              <a:off x="2466023" y="3519747"/>
              <a:ext cx="276606" cy="3127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</a:t>
              </a:r>
            </a:p>
          </p:txBody>
        </p:sp>
        <p:sp>
          <p:nvSpPr>
            <p:cNvPr id="143" name="Rectangle 28"/>
            <p:cNvSpPr>
              <a:spLocks noChangeArrowheads="1"/>
            </p:cNvSpPr>
            <p:nvPr/>
          </p:nvSpPr>
          <p:spPr bwMode="auto">
            <a:xfrm>
              <a:off x="2742629" y="3519747"/>
              <a:ext cx="278527" cy="3127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L</a:t>
              </a:r>
            </a:p>
          </p:txBody>
        </p:sp>
        <p:sp>
          <p:nvSpPr>
            <p:cNvPr id="144" name="Rectangle 29"/>
            <p:cNvSpPr>
              <a:spLocks noChangeArrowheads="1"/>
            </p:cNvSpPr>
            <p:nvPr/>
          </p:nvSpPr>
          <p:spPr bwMode="auto">
            <a:xfrm>
              <a:off x="2187497" y="3824014"/>
              <a:ext cx="278526" cy="31060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</a:t>
              </a:r>
            </a:p>
          </p:txBody>
        </p:sp>
        <p:sp>
          <p:nvSpPr>
            <p:cNvPr id="145" name="Rectangle 30"/>
            <p:cNvSpPr>
              <a:spLocks noChangeArrowheads="1"/>
            </p:cNvSpPr>
            <p:nvPr/>
          </p:nvSpPr>
          <p:spPr bwMode="auto">
            <a:xfrm>
              <a:off x="2466023" y="3824014"/>
              <a:ext cx="276606" cy="31060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L</a:t>
              </a:r>
            </a:p>
          </p:txBody>
        </p:sp>
        <p:sp>
          <p:nvSpPr>
            <p:cNvPr id="146" name="Rectangle 31"/>
            <p:cNvSpPr>
              <a:spLocks noChangeArrowheads="1"/>
            </p:cNvSpPr>
            <p:nvPr/>
          </p:nvSpPr>
          <p:spPr bwMode="auto">
            <a:xfrm>
              <a:off x="2742629" y="3824014"/>
              <a:ext cx="278527" cy="31060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L</a:t>
              </a:r>
            </a:p>
          </p:txBody>
        </p:sp>
        <p:sp>
          <p:nvSpPr>
            <p:cNvPr id="147" name="Text Box 32"/>
            <p:cNvSpPr txBox="1">
              <a:spLocks noChangeArrowheads="1"/>
            </p:cNvSpPr>
            <p:nvPr/>
          </p:nvSpPr>
          <p:spPr bwMode="auto">
            <a:xfrm>
              <a:off x="4089163" y="3577472"/>
              <a:ext cx="109489" cy="1698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10800" tIns="10800" rIns="10800" bIns="10800" anchor="ctr">
              <a:spAutoFit/>
            </a:bodyPr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+</a:t>
              </a:r>
            </a:p>
          </p:txBody>
        </p:sp>
        <p:grpSp>
          <p:nvGrpSpPr>
            <p:cNvPr id="148" name="Group 33"/>
            <p:cNvGrpSpPr>
              <a:grpSpLocks/>
            </p:cNvGrpSpPr>
            <p:nvPr/>
          </p:nvGrpSpPr>
          <p:grpSpPr bwMode="auto">
            <a:xfrm>
              <a:off x="3211323" y="3209141"/>
              <a:ext cx="280448" cy="925478"/>
              <a:chOff x="2219" y="1519"/>
              <a:chExt cx="342" cy="843"/>
            </a:xfrm>
          </p:grpSpPr>
          <p:sp>
            <p:nvSpPr>
              <p:cNvPr id="175" name="Rectangle 34"/>
              <p:cNvSpPr>
                <a:spLocks noChangeArrowheads="1"/>
              </p:cNvSpPr>
              <p:nvPr/>
            </p:nvSpPr>
            <p:spPr bwMode="auto">
              <a:xfrm>
                <a:off x="2219" y="1519"/>
                <a:ext cx="342" cy="28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H</a:t>
                </a:r>
              </a:p>
            </p:txBody>
          </p:sp>
          <p:sp>
            <p:nvSpPr>
              <p:cNvPr id="176" name="Rectangle 35"/>
              <p:cNvSpPr>
                <a:spLocks noChangeArrowheads="1"/>
              </p:cNvSpPr>
              <p:nvPr/>
            </p:nvSpPr>
            <p:spPr bwMode="auto">
              <a:xfrm>
                <a:off x="2219" y="1804"/>
                <a:ext cx="342" cy="283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M</a:t>
                </a:r>
              </a:p>
            </p:txBody>
          </p:sp>
          <p:sp>
            <p:nvSpPr>
              <p:cNvPr id="177" name="Rectangle 36"/>
              <p:cNvSpPr>
                <a:spLocks noChangeArrowheads="1"/>
              </p:cNvSpPr>
              <p:nvPr/>
            </p:nvSpPr>
            <p:spPr bwMode="auto">
              <a:xfrm>
                <a:off x="2219" y="2077"/>
                <a:ext cx="342" cy="28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L</a:t>
                </a:r>
              </a:p>
            </p:txBody>
          </p:sp>
        </p:grpSp>
        <p:grpSp>
          <p:nvGrpSpPr>
            <p:cNvPr id="149" name="Group 37"/>
            <p:cNvGrpSpPr>
              <a:grpSpLocks/>
            </p:cNvGrpSpPr>
            <p:nvPr/>
          </p:nvGrpSpPr>
          <p:grpSpPr bwMode="auto">
            <a:xfrm>
              <a:off x="3741484" y="3209141"/>
              <a:ext cx="280448" cy="925478"/>
              <a:chOff x="2219" y="1519"/>
              <a:chExt cx="342" cy="843"/>
            </a:xfrm>
          </p:grpSpPr>
          <p:sp>
            <p:nvSpPr>
              <p:cNvPr id="172" name="Rectangle 38"/>
              <p:cNvSpPr>
                <a:spLocks noChangeArrowheads="1"/>
              </p:cNvSpPr>
              <p:nvPr/>
            </p:nvSpPr>
            <p:spPr bwMode="auto">
              <a:xfrm>
                <a:off x="2219" y="1519"/>
                <a:ext cx="342" cy="28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3</a:t>
                </a:r>
              </a:p>
            </p:txBody>
          </p:sp>
          <p:sp>
            <p:nvSpPr>
              <p:cNvPr id="173" name="Rectangle 39"/>
              <p:cNvSpPr>
                <a:spLocks noChangeArrowheads="1"/>
              </p:cNvSpPr>
              <p:nvPr/>
            </p:nvSpPr>
            <p:spPr bwMode="auto">
              <a:xfrm>
                <a:off x="2219" y="1804"/>
                <a:ext cx="342" cy="283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2</a:t>
                </a:r>
              </a:p>
            </p:txBody>
          </p:sp>
          <p:sp>
            <p:nvSpPr>
              <p:cNvPr id="174" name="Rectangle 40"/>
              <p:cNvSpPr>
                <a:spLocks noChangeArrowheads="1"/>
              </p:cNvSpPr>
              <p:nvPr/>
            </p:nvSpPr>
            <p:spPr bwMode="auto">
              <a:xfrm>
                <a:off x="2219" y="2077"/>
                <a:ext cx="342" cy="28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1</a:t>
                </a:r>
              </a:p>
            </p:txBody>
          </p:sp>
        </p:grpSp>
        <p:sp>
          <p:nvSpPr>
            <p:cNvPr id="150" name="AutoShape 41"/>
            <p:cNvSpPr>
              <a:spLocks noChangeArrowheads="1"/>
            </p:cNvSpPr>
            <p:nvPr/>
          </p:nvSpPr>
          <p:spPr bwMode="gray">
            <a:xfrm rot="5400000">
              <a:off x="3397648" y="3602535"/>
              <a:ext cx="507111" cy="134461"/>
            </a:xfrm>
            <a:prstGeom prst="triangle">
              <a:avLst>
                <a:gd name="adj" fmla="val 50000"/>
              </a:avLst>
            </a:prstGeom>
            <a:solidFill>
              <a:srgbClr val="96969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latinLnBrk="0">
                <a:defRPr/>
              </a:pPr>
              <a:endParaRPr lang="ko-KR" alt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1" name="Line 42"/>
            <p:cNvSpPr>
              <a:spLocks noChangeShapeType="1"/>
            </p:cNvSpPr>
            <p:nvPr/>
          </p:nvSpPr>
          <p:spPr bwMode="auto">
            <a:xfrm>
              <a:off x="3063416" y="3369726"/>
              <a:ext cx="11141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 latinLnBrk="0">
                <a:defRPr/>
              </a:pPr>
              <a:endParaRPr lang="ko-KR" alt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2" name="Line 43"/>
            <p:cNvSpPr>
              <a:spLocks noChangeShapeType="1"/>
            </p:cNvSpPr>
            <p:nvPr/>
          </p:nvSpPr>
          <p:spPr bwMode="auto">
            <a:xfrm>
              <a:off x="3063416" y="3659202"/>
              <a:ext cx="11141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 latinLnBrk="0">
                <a:defRPr/>
              </a:pPr>
              <a:endParaRPr lang="ko-KR" alt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3" name="Line 44"/>
            <p:cNvSpPr>
              <a:spLocks noChangeShapeType="1"/>
            </p:cNvSpPr>
            <p:nvPr/>
          </p:nvSpPr>
          <p:spPr bwMode="auto">
            <a:xfrm>
              <a:off x="3063416" y="3976147"/>
              <a:ext cx="11141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 latinLnBrk="0">
                <a:defRPr/>
              </a:pPr>
              <a:endParaRPr lang="ko-KR" alt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4" name="Text Box 45"/>
            <p:cNvSpPr txBox="1">
              <a:spLocks noChangeArrowheads="1"/>
            </p:cNvSpPr>
            <p:nvPr/>
          </p:nvSpPr>
          <p:spPr bwMode="auto">
            <a:xfrm>
              <a:off x="4596274" y="3577472"/>
              <a:ext cx="111411" cy="1698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10800" tIns="10800" rIns="10800" bIns="10800" anchor="ctr">
              <a:spAutoFit/>
            </a:bodyPr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+</a:t>
              </a:r>
            </a:p>
          </p:txBody>
        </p:sp>
        <p:sp>
          <p:nvSpPr>
            <p:cNvPr id="155" name="Rectangle 46"/>
            <p:cNvSpPr>
              <a:spLocks noChangeArrowheads="1"/>
            </p:cNvSpPr>
            <p:nvPr/>
          </p:nvSpPr>
          <p:spPr bwMode="auto">
            <a:xfrm>
              <a:off x="4250516" y="3323241"/>
              <a:ext cx="280448" cy="3127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Y=1</a:t>
              </a:r>
            </a:p>
          </p:txBody>
        </p:sp>
        <p:sp>
          <p:nvSpPr>
            <p:cNvPr id="156" name="Rectangle 47"/>
            <p:cNvSpPr>
              <a:spLocks noChangeArrowheads="1"/>
            </p:cNvSpPr>
            <p:nvPr/>
          </p:nvSpPr>
          <p:spPr bwMode="auto">
            <a:xfrm>
              <a:off x="4250516" y="3750059"/>
              <a:ext cx="280448" cy="31060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N=2</a:t>
              </a:r>
            </a:p>
          </p:txBody>
        </p:sp>
        <p:sp>
          <p:nvSpPr>
            <p:cNvPr id="157" name="Rectangle 48"/>
            <p:cNvSpPr>
              <a:spLocks noChangeArrowheads="1"/>
            </p:cNvSpPr>
            <p:nvPr/>
          </p:nvSpPr>
          <p:spPr bwMode="auto">
            <a:xfrm>
              <a:off x="4740339" y="3323241"/>
              <a:ext cx="278527" cy="31271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Y=1</a:t>
              </a:r>
            </a:p>
          </p:txBody>
        </p:sp>
        <p:sp>
          <p:nvSpPr>
            <p:cNvPr id="158" name="Rectangle 49"/>
            <p:cNvSpPr>
              <a:spLocks noChangeArrowheads="1"/>
            </p:cNvSpPr>
            <p:nvPr/>
          </p:nvSpPr>
          <p:spPr bwMode="auto">
            <a:xfrm>
              <a:off x="4740339" y="3750059"/>
              <a:ext cx="278527" cy="31060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9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N=2</a:t>
              </a:r>
            </a:p>
          </p:txBody>
        </p:sp>
        <p:sp>
          <p:nvSpPr>
            <p:cNvPr id="159" name="Text Box 50"/>
            <p:cNvSpPr txBox="1">
              <a:spLocks noChangeArrowheads="1"/>
            </p:cNvSpPr>
            <p:nvPr/>
          </p:nvSpPr>
          <p:spPr bwMode="auto">
            <a:xfrm>
              <a:off x="5120672" y="3577472"/>
              <a:ext cx="111411" cy="1698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10800" tIns="10800" rIns="10800" bIns="10800" anchor="ctr">
              <a:spAutoFit/>
            </a:bodyPr>
            <a:lstStyle/>
            <a:p>
              <a:pPr latinLnBrk="0">
                <a:lnSpc>
                  <a:spcPct val="104000"/>
                </a:lnSpc>
                <a:spcBef>
                  <a:spcPct val="20000"/>
                </a:spcBef>
                <a:buClr>
                  <a:srgbClr val="BC2102"/>
                </a:buClr>
                <a:defRPr/>
              </a:pPr>
              <a:r>
                <a:rPr lang="en-US" altLang="ko-KR" sz="10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=</a:t>
              </a:r>
            </a:p>
          </p:txBody>
        </p:sp>
        <p:grpSp>
          <p:nvGrpSpPr>
            <p:cNvPr id="160" name="Group 51"/>
            <p:cNvGrpSpPr>
              <a:grpSpLocks/>
            </p:cNvGrpSpPr>
            <p:nvPr/>
          </p:nvGrpSpPr>
          <p:grpSpPr bwMode="auto">
            <a:xfrm>
              <a:off x="5335810" y="3046443"/>
              <a:ext cx="278527" cy="1229744"/>
              <a:chOff x="2529" y="1946"/>
              <a:chExt cx="184" cy="899"/>
            </a:xfrm>
          </p:grpSpPr>
          <p:sp>
            <p:nvSpPr>
              <p:cNvPr id="167" name="Rectangle 52"/>
              <p:cNvSpPr>
                <a:spLocks noChangeArrowheads="1"/>
              </p:cNvSpPr>
              <p:nvPr/>
            </p:nvSpPr>
            <p:spPr bwMode="auto">
              <a:xfrm>
                <a:off x="2529" y="1946"/>
                <a:ext cx="184" cy="181"/>
              </a:xfrm>
              <a:prstGeom prst="rect">
                <a:avLst/>
              </a:prstGeom>
              <a:solidFill>
                <a:srgbClr val="CCCC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5</a:t>
                </a:r>
              </a:p>
            </p:txBody>
          </p:sp>
          <p:sp>
            <p:nvSpPr>
              <p:cNvPr id="168" name="Rectangle 53"/>
              <p:cNvSpPr>
                <a:spLocks noChangeArrowheads="1"/>
              </p:cNvSpPr>
              <p:nvPr/>
            </p:nvSpPr>
            <p:spPr bwMode="auto">
              <a:xfrm>
                <a:off x="2529" y="2127"/>
                <a:ext cx="184" cy="181"/>
              </a:xfrm>
              <a:prstGeom prst="rect">
                <a:avLst/>
              </a:prstGeom>
              <a:solidFill>
                <a:srgbClr val="CCCC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4</a:t>
                </a:r>
              </a:p>
            </p:txBody>
          </p:sp>
          <p:sp>
            <p:nvSpPr>
              <p:cNvPr id="169" name="Rectangle 54"/>
              <p:cNvSpPr>
                <a:spLocks noChangeArrowheads="1"/>
              </p:cNvSpPr>
              <p:nvPr/>
            </p:nvSpPr>
            <p:spPr bwMode="auto">
              <a:xfrm>
                <a:off x="2529" y="2301"/>
                <a:ext cx="184" cy="181"/>
              </a:xfrm>
              <a:prstGeom prst="rect">
                <a:avLst/>
              </a:prstGeom>
              <a:solidFill>
                <a:srgbClr val="CCCC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3</a:t>
                </a:r>
              </a:p>
            </p:txBody>
          </p:sp>
          <p:sp>
            <p:nvSpPr>
              <p:cNvPr id="170" name="Rectangle 55"/>
              <p:cNvSpPr>
                <a:spLocks noChangeArrowheads="1"/>
              </p:cNvSpPr>
              <p:nvPr/>
            </p:nvSpPr>
            <p:spPr bwMode="auto">
              <a:xfrm>
                <a:off x="2529" y="2484"/>
                <a:ext cx="184" cy="181"/>
              </a:xfrm>
              <a:prstGeom prst="rect">
                <a:avLst/>
              </a:prstGeom>
              <a:solidFill>
                <a:srgbClr val="CCCC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2</a:t>
                </a:r>
              </a:p>
            </p:txBody>
          </p:sp>
          <p:sp>
            <p:nvSpPr>
              <p:cNvPr id="171" name="Rectangle 56"/>
              <p:cNvSpPr>
                <a:spLocks noChangeArrowheads="1"/>
              </p:cNvSpPr>
              <p:nvPr/>
            </p:nvSpPr>
            <p:spPr bwMode="auto">
              <a:xfrm>
                <a:off x="2529" y="2664"/>
                <a:ext cx="184" cy="181"/>
              </a:xfrm>
              <a:prstGeom prst="rect">
                <a:avLst/>
              </a:prstGeom>
              <a:solidFill>
                <a:srgbClr val="CCCCFF"/>
              </a:solidFill>
              <a:ln w="9525" algn="ctr">
                <a:solidFill>
                  <a:srgbClr val="80808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latinLnBrk="0">
                  <a:lnSpc>
                    <a:spcPct val="104000"/>
                  </a:lnSpc>
                  <a:spcBef>
                    <a:spcPct val="20000"/>
                  </a:spcBef>
                  <a:buClr>
                    <a:srgbClr val="BC2102"/>
                  </a:buClr>
                  <a:defRPr/>
                </a:pPr>
                <a:r>
                  <a:rPr lang="en-US" altLang="ko-KR" sz="1000" kern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charset="0"/>
                  </a:rPr>
                  <a:t>1</a:t>
                </a:r>
              </a:p>
            </p:txBody>
          </p:sp>
        </p:grpSp>
        <p:sp>
          <p:nvSpPr>
            <p:cNvPr id="161" name="Text Box 57"/>
            <p:cNvSpPr txBox="1">
              <a:spLocks noChangeArrowheads="1"/>
            </p:cNvSpPr>
            <p:nvPr/>
          </p:nvSpPr>
          <p:spPr bwMode="auto">
            <a:xfrm>
              <a:off x="4091083" y="2719113"/>
              <a:ext cx="59547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8000" tIns="0" rIns="18000" bIns="0" anchor="ctr">
              <a:spAutoFit/>
            </a:bodyPr>
            <a:lstStyle/>
            <a:p>
              <a:pPr algn="ctr" latinLnBrk="0">
                <a:defRPr/>
              </a:pPr>
              <a:r>
                <a:rPr lang="ko-KR" altLang="en-US" sz="1000" i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시급성</a:t>
              </a:r>
            </a:p>
          </p:txBody>
        </p:sp>
        <p:sp>
          <p:nvSpPr>
            <p:cNvPr id="162" name="Text Box 58"/>
            <p:cNvSpPr txBox="1">
              <a:spLocks noChangeArrowheads="1"/>
            </p:cNvSpPr>
            <p:nvPr/>
          </p:nvSpPr>
          <p:spPr bwMode="auto">
            <a:xfrm>
              <a:off x="4598194" y="2719113"/>
              <a:ext cx="60315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8000" tIns="0" rIns="18000" bIns="0" anchor="ctr">
              <a:spAutoFit/>
            </a:bodyPr>
            <a:lstStyle/>
            <a:p>
              <a:pPr algn="ctr" latinLnBrk="0">
                <a:defRPr/>
              </a:pPr>
              <a:r>
                <a:rPr lang="ko-KR" altLang="en-US" sz="1000" i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차별성</a:t>
              </a:r>
            </a:p>
          </p:txBody>
        </p:sp>
        <p:sp>
          <p:nvSpPr>
            <p:cNvPr id="163" name="Text Box 59"/>
            <p:cNvSpPr txBox="1">
              <a:spLocks noChangeArrowheads="1"/>
            </p:cNvSpPr>
            <p:nvPr/>
          </p:nvSpPr>
          <p:spPr bwMode="auto">
            <a:xfrm>
              <a:off x="5295472" y="2643225"/>
              <a:ext cx="42451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8000" tIns="0" rIns="18000" bIns="0" anchor="ctr">
              <a:spAutoFit/>
            </a:bodyPr>
            <a:lstStyle/>
            <a:p>
              <a:pPr latinLnBrk="0">
                <a:defRPr/>
              </a:pPr>
              <a:r>
                <a:rPr lang="ko-KR" altLang="en-US" sz="1000" i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종합</a:t>
              </a:r>
              <a:endParaRPr lang="en-US" altLang="ko-KR" sz="10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endParaRPr>
            </a:p>
            <a:p>
              <a:pPr latinLnBrk="0">
                <a:defRPr/>
              </a:pPr>
              <a:r>
                <a:rPr lang="ko-KR" altLang="en-US" sz="1000" i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평가</a:t>
              </a:r>
            </a:p>
          </p:txBody>
        </p:sp>
        <p:sp>
          <p:nvSpPr>
            <p:cNvPr id="164" name="Text Box 60"/>
            <p:cNvSpPr txBox="1">
              <a:spLocks noChangeArrowheads="1"/>
            </p:cNvSpPr>
            <p:nvPr/>
          </p:nvSpPr>
          <p:spPr bwMode="auto">
            <a:xfrm>
              <a:off x="3653124" y="2565224"/>
              <a:ext cx="45909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8000" tIns="0" rIns="18000" bIns="0" anchor="ctr">
              <a:spAutoFit/>
            </a:bodyPr>
            <a:lstStyle/>
            <a:p>
              <a:pPr algn="ctr" latinLnBrk="0">
                <a:defRPr/>
              </a:pPr>
              <a:r>
                <a:rPr lang="ko-KR" altLang="en-US" sz="1000" i="1" kern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과제 평가 결과</a:t>
              </a:r>
              <a:endParaRPr lang="ko-KR" altLang="en-US" sz="10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165" name="Text Box 61"/>
            <p:cNvSpPr txBox="1">
              <a:spLocks noChangeArrowheads="1"/>
            </p:cNvSpPr>
            <p:nvPr/>
          </p:nvSpPr>
          <p:spPr bwMode="auto">
            <a:xfrm>
              <a:off x="2024222" y="2693578"/>
              <a:ext cx="1264821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tIns="0" bIns="0">
              <a:spAutoFit/>
            </a:bodyPr>
            <a:lstStyle/>
            <a:p>
              <a:pPr latinLnBrk="0">
                <a:defRPr/>
              </a:pPr>
              <a:r>
                <a:rPr lang="ko-KR" altLang="en-US" sz="1000" i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과제평가 </a:t>
              </a:r>
              <a:r>
                <a:rPr lang="en-US" altLang="ko-KR" sz="1000" i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charset="0"/>
                </a:rPr>
                <a:t>Matrix</a:t>
              </a:r>
            </a:p>
          </p:txBody>
        </p:sp>
        <p:sp>
          <p:nvSpPr>
            <p:cNvPr id="166" name="Rectangle 62"/>
            <p:cNvSpPr>
              <a:spLocks noChangeArrowheads="1"/>
            </p:cNvSpPr>
            <p:nvPr/>
          </p:nvSpPr>
          <p:spPr bwMode="auto">
            <a:xfrm>
              <a:off x="1724565" y="3021088"/>
              <a:ext cx="1832515" cy="1569962"/>
            </a:xfrm>
            <a:prstGeom prst="rect">
              <a:avLst/>
            </a:prstGeom>
            <a:noFill/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latinLnBrk="0">
                <a:defRPr/>
              </a:pPr>
              <a:endParaRPr lang="ko-KR" alt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78" name="그룹 177"/>
          <p:cNvGrpSpPr/>
          <p:nvPr/>
        </p:nvGrpSpPr>
        <p:grpSpPr>
          <a:xfrm>
            <a:off x="6115505" y="2371725"/>
            <a:ext cx="3372715" cy="3671969"/>
            <a:chOff x="6115505" y="2371725"/>
            <a:chExt cx="3372715" cy="3671969"/>
          </a:xfrm>
        </p:grpSpPr>
        <p:pic>
          <p:nvPicPr>
            <p:cNvPr id="179" name="Picture 65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3162" y="2371725"/>
              <a:ext cx="2831147" cy="2378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0" name="Text Box 67"/>
            <p:cNvSpPr txBox="1">
              <a:spLocks noChangeArrowheads="1"/>
            </p:cNvSpPr>
            <p:nvPr/>
          </p:nvSpPr>
          <p:spPr bwMode="auto">
            <a:xfrm>
              <a:off x="6115505" y="4935698"/>
              <a:ext cx="3372715" cy="11079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88900" indent="-88900" latinLnBrk="0">
                <a:buFont typeface="Wingdings" pitchFamily="2" charset="2"/>
                <a:buChar char="§"/>
                <a:defRPr/>
              </a:pP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우선순위 평가 및 </a:t>
              </a:r>
              <a:r>
                <a:rPr lang="ko-KR" altLang="en-US" sz="1200" b="0" kern="0" dirty="0" err="1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포지셔닝</a:t>
              </a:r>
              <a:endPara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anose="020B0503020000020004" pitchFamily="50" charset="-127"/>
              </a:endParaRPr>
            </a:p>
            <a:p>
              <a:pPr marL="88900" indent="-88900" latinLnBrk="0">
                <a:buFont typeface="Wingdings" pitchFamily="2" charset="2"/>
                <a:buChar char="§"/>
                <a:defRPr/>
              </a:pPr>
              <a:r>
                <a:rPr lang="en-US" altLang="ko-KR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I </a:t>
              </a:r>
              <a:r>
                <a:rPr lang="en-US" altLang="ko-KR" sz="12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: </a:t>
              </a: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전략적 가치 매우 높고 구현 시급성 높음</a:t>
              </a:r>
            </a:p>
            <a:p>
              <a:pPr marL="88900" indent="-88900" latinLnBrk="0">
                <a:buFont typeface="Wingdings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II : </a:t>
              </a: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전략적 가치 높고 경영에 미치는 영향이 큼</a:t>
              </a:r>
            </a:p>
            <a:p>
              <a:pPr marL="88900" indent="-88900" latinLnBrk="0">
                <a:buFont typeface="Wingdings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III : </a:t>
              </a: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가치 낮으나 구현이 용이하고 가시적 성과 기대</a:t>
              </a:r>
            </a:p>
            <a:p>
              <a:pPr marL="88900" indent="-88900" latinLnBrk="0">
                <a:buFont typeface="Wingdings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IV</a:t>
              </a:r>
              <a:r>
                <a:rPr lang="ko-KR" altLang="en-US" sz="12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: </a:t>
              </a: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구현 복잡 및 가치 낮음</a:t>
              </a:r>
              <a:r>
                <a:rPr lang="en-US" altLang="ko-KR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anose="020B0503020000020004" pitchFamily="50" charset="-127"/>
                </a:rPr>
                <a:t>제외 가능</a:t>
              </a:r>
            </a:p>
          </p:txBody>
        </p:sp>
      </p:grpSp>
      <p:cxnSp>
        <p:nvCxnSpPr>
          <p:cNvPr id="181" name="직선 연결선 180"/>
          <p:cNvCxnSpPr/>
          <p:nvPr/>
        </p:nvCxnSpPr>
        <p:spPr bwMode="auto">
          <a:xfrm>
            <a:off x="5744369" y="1930400"/>
            <a:ext cx="0" cy="410742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grpSp>
        <p:nvGrpSpPr>
          <p:cNvPr id="7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71" name="TextBox 7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5087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범위 정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구축 시 과제 구현을 위한 어플리케이션과 인프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 개발범위를 도출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spcBef>
                <a:spcPct val="20000"/>
              </a:spcBef>
              <a:buClr>
                <a:srgbClr val="1D1F6F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정의 및 추진 우선순위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indent="-82550" algn="ctr" eaLnBrk="0" latinLnBrk="0">
              <a:spcBef>
                <a:spcPct val="20000"/>
              </a:spcBef>
              <a:buClr>
                <a:srgbClr val="1D1F6F"/>
              </a:buClr>
              <a:buSzPct val="80000"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정</a:t>
            </a:r>
          </a:p>
        </p:txBody>
      </p:sp>
      <p:sp>
        <p:nvSpPr>
          <p:cNvPr id="39" name="순서도: 페이지 연결자 38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별 범위 및 개발방식 정의</a:t>
            </a:r>
          </a:p>
        </p:txBody>
      </p:sp>
      <p:pic>
        <p:nvPicPr>
          <p:cNvPr id="71" name="그림 70"/>
          <p:cNvPicPr>
            <a:picLocks noChangeAspect="1"/>
          </p:cNvPicPr>
          <p:nvPr/>
        </p:nvPicPr>
        <p:blipFill rotWithShape="1">
          <a:blip r:embed="rId2"/>
          <a:srcRect l="22268" t="33823" r="20682" b="11213"/>
          <a:stretch/>
        </p:blipFill>
        <p:spPr>
          <a:xfrm>
            <a:off x="2004932" y="2469535"/>
            <a:ext cx="3612529" cy="195678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72" name="TextBox 71"/>
          <p:cNvSpPr txBox="1"/>
          <p:nvPr/>
        </p:nvSpPr>
        <p:spPr bwMode="auto">
          <a:xfrm>
            <a:off x="1946059" y="4972460"/>
            <a:ext cx="3744520" cy="7190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별된 구현 우선순위에 따라 차세대 구축 범위 정의</a:t>
            </a:r>
            <a:endParaRPr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 추진 중인 선행과제와의 업무적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적 연관성 및 타당성에 대한 검토를 수행하여 중복투자 최소화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3" name="직선 연결선 72"/>
          <p:cNvCxnSpPr/>
          <p:nvPr/>
        </p:nvCxnSpPr>
        <p:spPr bwMode="auto">
          <a:xfrm>
            <a:off x="5744369" y="1930400"/>
            <a:ext cx="0" cy="410742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74" name="TextBox 73"/>
          <p:cNvSpPr txBox="1"/>
          <p:nvPr/>
        </p:nvSpPr>
        <p:spPr bwMode="auto">
          <a:xfrm>
            <a:off x="5825902" y="1956472"/>
            <a:ext cx="3792287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spcBef>
                <a:spcPct val="30000"/>
              </a:spcBef>
              <a:defRPr sz="1200" b="1">
                <a:solidFill>
                  <a:srgbClr val="000000"/>
                </a:solidFill>
                <a:latin typeface="맑은 고딕"/>
                <a:ea typeface="맑은 고딕"/>
              </a:defRPr>
            </a:lvl1pPr>
          </a:lstStyle>
          <a:p>
            <a:pPr latinLnBrk="0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별 우선순위 및 개발 방안 수립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2462148" y="1956472"/>
            <a:ext cx="2605449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범위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 bwMode="auto">
          <a:xfrm>
            <a:off x="5816400" y="4972460"/>
            <a:ext cx="3744520" cy="5343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간 선후관계 등 정의</a:t>
            </a:r>
            <a:endParaRPr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려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항 및 전제 조건 등 주요 사항 제시</a:t>
            </a:r>
          </a:p>
        </p:txBody>
      </p:sp>
      <p:pic>
        <p:nvPicPr>
          <p:cNvPr id="77" name="Picture 2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98278" y="2445345"/>
            <a:ext cx="3447534" cy="198097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grpSp>
        <p:nvGrpSpPr>
          <p:cNvPr id="2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3" name="TextBox 22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0325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일정 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식별된 과제 우선순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별 범위를 기반으로 소요예산을 산정하고 차세대 실행력을 갖추기 위한 </a:t>
            </a:r>
            <a:r>
              <a:rPr lang="ko-KR" altLang="en-US" dirty="0" smtClean="0"/>
              <a:t>일정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함</a:t>
            </a: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구축 실행과제를 원활히 구현하기 위하여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각 과제의 구현난이도 및 실행 기간을 고려한 이행계획을 수립함</a:t>
            </a: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2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발계획 정의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개선과제 상세화 범위 확인 및 구축과제 선정</a:t>
            </a:r>
          </a:p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Quick Win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과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차세대 실행과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중장기 구현 과제 선정</a:t>
            </a:r>
          </a:p>
          <a:p>
            <a:pPr marL="82550" indent="-82550" defTabSz="760413" latinLnBrk="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각 구축 과제의 일정을 반영한 이행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로드맵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 수립</a:t>
            </a: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82550" indent="-82550" algn="ctr" defTabSz="723900" latinLnBrk="0" hangingPunct="0">
              <a:lnSpc>
                <a:spcPct val="120000"/>
              </a:lnSpc>
              <a:buClr>
                <a:srgbClr val="000000"/>
              </a:buClr>
              <a:buSzPct val="80000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행계획 수립</a:t>
            </a:r>
          </a:p>
        </p:txBody>
      </p:sp>
      <p:pic>
        <p:nvPicPr>
          <p:cNvPr id="27" name="그림 26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 bwMode="auto">
          <a:xfrm>
            <a:off x="3207618" y="2403240"/>
            <a:ext cx="383492" cy="133086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47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자유형: 도형 29"/>
          <p:cNvSpPr/>
          <p:nvPr/>
        </p:nvSpPr>
        <p:spPr bwMode="auto">
          <a:xfrm>
            <a:off x="376111" y="1870687"/>
            <a:ext cx="3236416" cy="3506275"/>
          </a:xfrm>
          <a:custGeom>
            <a:avLst/>
            <a:gdLst>
              <a:gd name="connsiteX0" fmla="*/ 14068 w 9179169"/>
              <a:gd name="connsiteY0" fmla="*/ 91440 h 2159390"/>
              <a:gd name="connsiteX1" fmla="*/ 0 w 9179169"/>
              <a:gd name="connsiteY1" fmla="*/ 2152357 h 2159390"/>
              <a:gd name="connsiteX2" fmla="*/ 3242603 w 9179169"/>
              <a:gd name="connsiteY2" fmla="*/ 2159390 h 2159390"/>
              <a:gd name="connsiteX3" fmla="*/ 3242603 w 9179169"/>
              <a:gd name="connsiteY3" fmla="*/ 1730326 h 2159390"/>
              <a:gd name="connsiteX4" fmla="*/ 9179169 w 9179169"/>
              <a:gd name="connsiteY4" fmla="*/ 1730326 h 2159390"/>
              <a:gd name="connsiteX5" fmla="*/ 9165101 w 9179169"/>
              <a:gd name="connsiteY5" fmla="*/ 0 h 2159390"/>
              <a:gd name="connsiteX6" fmla="*/ 28135 w 9179169"/>
              <a:gd name="connsiteY6" fmla="*/ 0 h 2159390"/>
              <a:gd name="connsiteX7" fmla="*/ 42203 w 9179169"/>
              <a:gd name="connsiteY7" fmla="*/ 140677 h 2159390"/>
              <a:gd name="connsiteX0" fmla="*/ 14068 w 9179169"/>
              <a:gd name="connsiteY0" fmla="*/ 91440 h 2159390"/>
              <a:gd name="connsiteX1" fmla="*/ 0 w 9179169"/>
              <a:gd name="connsiteY1" fmla="*/ 2152357 h 2159390"/>
              <a:gd name="connsiteX2" fmla="*/ 3242603 w 9179169"/>
              <a:gd name="connsiteY2" fmla="*/ 2159390 h 2159390"/>
              <a:gd name="connsiteX3" fmla="*/ 3242603 w 9179169"/>
              <a:gd name="connsiteY3" fmla="*/ 1730326 h 2159390"/>
              <a:gd name="connsiteX4" fmla="*/ 9179169 w 9179169"/>
              <a:gd name="connsiteY4" fmla="*/ 1730326 h 2159390"/>
              <a:gd name="connsiteX5" fmla="*/ 9165101 w 9179169"/>
              <a:gd name="connsiteY5" fmla="*/ 0 h 2159390"/>
              <a:gd name="connsiteX6" fmla="*/ 28135 w 9179169"/>
              <a:gd name="connsiteY6" fmla="*/ 0 h 2159390"/>
              <a:gd name="connsiteX7" fmla="*/ 4103 w 9179169"/>
              <a:gd name="connsiteY7" fmla="*/ 105752 h 2159390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4103 w 9179169"/>
              <a:gd name="connsiteY7" fmla="*/ 108133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46966 w 9179169"/>
              <a:gd name="connsiteY7" fmla="*/ 86702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16010 w 9179169"/>
              <a:gd name="connsiteY7" fmla="*/ 95036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7676 w 9179169"/>
              <a:gd name="connsiteY7" fmla="*/ 100989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7676 w 9179169"/>
              <a:gd name="connsiteY7" fmla="*/ 100989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16010 w 9179169"/>
              <a:gd name="connsiteY7" fmla="*/ 90274 h 2161771"/>
              <a:gd name="connsiteX0" fmla="*/ 14068 w 9179169"/>
              <a:gd name="connsiteY0" fmla="*/ 93821 h 2161771"/>
              <a:gd name="connsiteX1" fmla="*/ 0 w 9179169"/>
              <a:gd name="connsiteY1" fmla="*/ 2154738 h 2161771"/>
              <a:gd name="connsiteX2" fmla="*/ 3242603 w 9179169"/>
              <a:gd name="connsiteY2" fmla="*/ 2161771 h 2161771"/>
              <a:gd name="connsiteX3" fmla="*/ 3242603 w 9179169"/>
              <a:gd name="connsiteY3" fmla="*/ 1732707 h 2161771"/>
              <a:gd name="connsiteX4" fmla="*/ 9179169 w 9179169"/>
              <a:gd name="connsiteY4" fmla="*/ 1732707 h 2161771"/>
              <a:gd name="connsiteX5" fmla="*/ 9165101 w 9179169"/>
              <a:gd name="connsiteY5" fmla="*/ 2381 h 2161771"/>
              <a:gd name="connsiteX6" fmla="*/ 15038 w 9179169"/>
              <a:gd name="connsiteY6" fmla="*/ 0 h 2161771"/>
              <a:gd name="connsiteX7" fmla="*/ 14819 w 9179169"/>
              <a:gd name="connsiteY7" fmla="*/ 97417 h 2161771"/>
              <a:gd name="connsiteX0" fmla="*/ 14068 w 9179169"/>
              <a:gd name="connsiteY0" fmla="*/ 93821 h 3678837"/>
              <a:gd name="connsiteX1" fmla="*/ 0 w 9179169"/>
              <a:gd name="connsiteY1" fmla="*/ 3678837 h 3678837"/>
              <a:gd name="connsiteX2" fmla="*/ 3242603 w 9179169"/>
              <a:gd name="connsiteY2" fmla="*/ 2161771 h 3678837"/>
              <a:gd name="connsiteX3" fmla="*/ 3242603 w 9179169"/>
              <a:gd name="connsiteY3" fmla="*/ 1732707 h 3678837"/>
              <a:gd name="connsiteX4" fmla="*/ 9179169 w 9179169"/>
              <a:gd name="connsiteY4" fmla="*/ 1732707 h 3678837"/>
              <a:gd name="connsiteX5" fmla="*/ 9165101 w 9179169"/>
              <a:gd name="connsiteY5" fmla="*/ 2381 h 3678837"/>
              <a:gd name="connsiteX6" fmla="*/ 15038 w 9179169"/>
              <a:gd name="connsiteY6" fmla="*/ 0 h 3678837"/>
              <a:gd name="connsiteX7" fmla="*/ 14819 w 9179169"/>
              <a:gd name="connsiteY7" fmla="*/ 97417 h 3678837"/>
              <a:gd name="connsiteX0" fmla="*/ 7718 w 9172819"/>
              <a:gd name="connsiteY0" fmla="*/ 93821 h 3658957"/>
              <a:gd name="connsiteX1" fmla="*/ 0 w 9172819"/>
              <a:gd name="connsiteY1" fmla="*/ 3658957 h 3658957"/>
              <a:gd name="connsiteX2" fmla="*/ 3236253 w 9172819"/>
              <a:gd name="connsiteY2" fmla="*/ 2161771 h 3658957"/>
              <a:gd name="connsiteX3" fmla="*/ 3236253 w 9172819"/>
              <a:gd name="connsiteY3" fmla="*/ 1732707 h 3658957"/>
              <a:gd name="connsiteX4" fmla="*/ 9172819 w 9172819"/>
              <a:gd name="connsiteY4" fmla="*/ 1732707 h 3658957"/>
              <a:gd name="connsiteX5" fmla="*/ 9158751 w 9172819"/>
              <a:gd name="connsiteY5" fmla="*/ 2381 h 3658957"/>
              <a:gd name="connsiteX6" fmla="*/ 8688 w 9172819"/>
              <a:gd name="connsiteY6" fmla="*/ 0 h 3658957"/>
              <a:gd name="connsiteX7" fmla="*/ 8469 w 9172819"/>
              <a:gd name="connsiteY7" fmla="*/ 97417 h 3658957"/>
              <a:gd name="connsiteX0" fmla="*/ 7718 w 9172819"/>
              <a:gd name="connsiteY0" fmla="*/ 93821 h 3658957"/>
              <a:gd name="connsiteX1" fmla="*/ 0 w 9172819"/>
              <a:gd name="connsiteY1" fmla="*/ 3658957 h 3658957"/>
              <a:gd name="connsiteX2" fmla="*/ 3223553 w 9172819"/>
              <a:gd name="connsiteY2" fmla="*/ 3652736 h 3658957"/>
              <a:gd name="connsiteX3" fmla="*/ 3236253 w 9172819"/>
              <a:gd name="connsiteY3" fmla="*/ 1732707 h 3658957"/>
              <a:gd name="connsiteX4" fmla="*/ 9172819 w 9172819"/>
              <a:gd name="connsiteY4" fmla="*/ 1732707 h 3658957"/>
              <a:gd name="connsiteX5" fmla="*/ 9158751 w 9172819"/>
              <a:gd name="connsiteY5" fmla="*/ 2381 h 3658957"/>
              <a:gd name="connsiteX6" fmla="*/ 8688 w 9172819"/>
              <a:gd name="connsiteY6" fmla="*/ 0 h 3658957"/>
              <a:gd name="connsiteX7" fmla="*/ 8469 w 9172819"/>
              <a:gd name="connsiteY7" fmla="*/ 97417 h 3658957"/>
              <a:gd name="connsiteX0" fmla="*/ 7718 w 9158751"/>
              <a:gd name="connsiteY0" fmla="*/ 93821 h 3658957"/>
              <a:gd name="connsiteX1" fmla="*/ 0 w 9158751"/>
              <a:gd name="connsiteY1" fmla="*/ 3658957 h 3658957"/>
              <a:gd name="connsiteX2" fmla="*/ 3223553 w 9158751"/>
              <a:gd name="connsiteY2" fmla="*/ 3652736 h 3658957"/>
              <a:gd name="connsiteX3" fmla="*/ 3236253 w 9158751"/>
              <a:gd name="connsiteY3" fmla="*/ 1732707 h 3658957"/>
              <a:gd name="connsiteX4" fmla="*/ 9140922 w 9158751"/>
              <a:gd name="connsiteY4" fmla="*/ 1643943 h 3658957"/>
              <a:gd name="connsiteX5" fmla="*/ 9158751 w 9158751"/>
              <a:gd name="connsiteY5" fmla="*/ 2381 h 3658957"/>
              <a:gd name="connsiteX6" fmla="*/ 8688 w 9158751"/>
              <a:gd name="connsiteY6" fmla="*/ 0 h 3658957"/>
              <a:gd name="connsiteX7" fmla="*/ 8469 w 9158751"/>
              <a:gd name="connsiteY7" fmla="*/ 97417 h 3658957"/>
              <a:gd name="connsiteX0" fmla="*/ 7718 w 9158751"/>
              <a:gd name="connsiteY0" fmla="*/ 93821 h 3658957"/>
              <a:gd name="connsiteX1" fmla="*/ 0 w 9158751"/>
              <a:gd name="connsiteY1" fmla="*/ 3658957 h 3658957"/>
              <a:gd name="connsiteX2" fmla="*/ 3223553 w 9158751"/>
              <a:gd name="connsiteY2" fmla="*/ 3652736 h 3658957"/>
              <a:gd name="connsiteX3" fmla="*/ 3236253 w 9158751"/>
              <a:gd name="connsiteY3" fmla="*/ 1732707 h 3658957"/>
              <a:gd name="connsiteX4" fmla="*/ 9158751 w 9158751"/>
              <a:gd name="connsiteY4" fmla="*/ 2381 h 3658957"/>
              <a:gd name="connsiteX5" fmla="*/ 8688 w 9158751"/>
              <a:gd name="connsiteY5" fmla="*/ 0 h 3658957"/>
              <a:gd name="connsiteX6" fmla="*/ 8469 w 9158751"/>
              <a:gd name="connsiteY6" fmla="*/ 97417 h 3658957"/>
              <a:gd name="connsiteX0" fmla="*/ 7718 w 3236416"/>
              <a:gd name="connsiteY0" fmla="*/ 93821 h 3658957"/>
              <a:gd name="connsiteX1" fmla="*/ 0 w 3236416"/>
              <a:gd name="connsiteY1" fmla="*/ 3658957 h 3658957"/>
              <a:gd name="connsiteX2" fmla="*/ 3223553 w 3236416"/>
              <a:gd name="connsiteY2" fmla="*/ 3652736 h 3658957"/>
              <a:gd name="connsiteX3" fmla="*/ 3236253 w 3236416"/>
              <a:gd name="connsiteY3" fmla="*/ 1732707 h 3658957"/>
              <a:gd name="connsiteX4" fmla="*/ 3236416 w 3236416"/>
              <a:gd name="connsiteY4" fmla="*/ 2381 h 3658957"/>
              <a:gd name="connsiteX5" fmla="*/ 8688 w 3236416"/>
              <a:gd name="connsiteY5" fmla="*/ 0 h 3658957"/>
              <a:gd name="connsiteX6" fmla="*/ 8469 w 3236416"/>
              <a:gd name="connsiteY6" fmla="*/ 97417 h 3658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6416" h="3658957">
                <a:moveTo>
                  <a:pt x="7718" y="93821"/>
                </a:moveTo>
                <a:cubicBezTo>
                  <a:pt x="3029" y="780793"/>
                  <a:pt x="4689" y="2971985"/>
                  <a:pt x="0" y="3658957"/>
                </a:cubicBezTo>
                <a:lnTo>
                  <a:pt x="3223553" y="3652736"/>
                </a:lnTo>
                <a:cubicBezTo>
                  <a:pt x="3227786" y="3012726"/>
                  <a:pt x="3232020" y="2372717"/>
                  <a:pt x="3236253" y="1732707"/>
                </a:cubicBezTo>
                <a:cubicBezTo>
                  <a:pt x="3236307" y="1155932"/>
                  <a:pt x="3236362" y="579156"/>
                  <a:pt x="3236416" y="2381"/>
                </a:cubicBezTo>
                <a:lnTo>
                  <a:pt x="8688" y="0"/>
                </a:lnTo>
                <a:lnTo>
                  <a:pt x="8469" y="97417"/>
                </a:lnTo>
              </a:path>
            </a:pathLst>
          </a:custGeom>
          <a:gradFill flip="none" rotWithShape="1">
            <a:gsLst>
              <a:gs pos="23000">
                <a:schemeClr val="accent1">
                  <a:lumMod val="5000"/>
                  <a:lumOff val="95000"/>
                </a:schemeClr>
              </a:gs>
              <a:gs pos="41000">
                <a:schemeClr val="accent1">
                  <a:lumMod val="45000"/>
                  <a:lumOff val="55000"/>
                  <a:alpha val="34000"/>
                </a:schemeClr>
              </a:gs>
            </a:gsLst>
            <a:lin ang="10800000" scaled="1"/>
            <a:tileRect/>
          </a:gra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en-US" altLang="ko-KR" dirty="0">
                <a:solidFill>
                  <a:srgbClr val="FFFFFF"/>
                </a:solidFill>
                <a:cs typeface="Arial" charset="0"/>
              </a:rPr>
              <a:t>NH</a:t>
            </a:r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농협카드 </a:t>
            </a:r>
            <a:r>
              <a:rPr lang="en-US" altLang="ko-KR" dirty="0">
                <a:solidFill>
                  <a:srgbClr val="FFFFFF"/>
                </a:solidFill>
                <a:cs typeface="Arial" charset="0"/>
              </a:rPr>
              <a:t>MP </a:t>
            </a:r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경험을 토대로 효과적인 현황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분석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</a:t>
            </a:r>
            <a:r>
              <a:rPr lang="en-US" altLang="ko-KR" dirty="0" smtClean="0"/>
              <a:t>MP </a:t>
            </a:r>
            <a:r>
              <a:rPr lang="ko-KR" altLang="en-US" dirty="0" smtClean="0"/>
              <a:t>경험을 토대로</a:t>
            </a:r>
            <a:r>
              <a:rPr lang="en-US" altLang="ko-KR" dirty="0" smtClean="0"/>
              <a:t> </a:t>
            </a:r>
            <a:r>
              <a:rPr lang="ko-KR" altLang="en-US" dirty="0" smtClean="0"/>
              <a:t>업무별 결과물에 대한 신속한 검토를 통해</a:t>
            </a:r>
            <a:r>
              <a:rPr lang="en-US" altLang="ko-KR" dirty="0" smtClean="0"/>
              <a:t>,</a:t>
            </a:r>
            <a:r>
              <a:rPr lang="ko-KR" altLang="en-US" dirty="0" smtClean="0"/>
              <a:t> 프로젝트 착수 시 시행착오를 최소화하고 현황 분석을 효과적으로 진행할 수 있음</a:t>
            </a:r>
            <a:endParaRPr lang="ko-KR" altLang="en-US" dirty="0"/>
          </a:p>
        </p:txBody>
      </p:sp>
      <p:sp>
        <p:nvSpPr>
          <p:cNvPr id="81" name="직사각형 8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7018767" y="4365104"/>
            <a:ext cx="2592243" cy="18417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화살표: 오각형 4"/>
          <p:cNvSpPr/>
          <p:nvPr/>
        </p:nvSpPr>
        <p:spPr bwMode="auto">
          <a:xfrm>
            <a:off x="3822856" y="1351816"/>
            <a:ext cx="5788154" cy="432000"/>
          </a:xfrm>
          <a:prstGeom prst="homePlate">
            <a:avLst>
              <a:gd name="adj" fmla="val 30889"/>
            </a:avLst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500" dirty="0">
                <a:latin typeface="맑은 고딕" pitchFamily="50" charset="-127"/>
                <a:ea typeface="맑은 고딕" pitchFamily="50" charset="-127"/>
              </a:rPr>
              <a:t>Process Innovation </a:t>
            </a:r>
            <a:r>
              <a:rPr kumimoji="1" lang="ko-KR" altLang="en-US" sz="1500" dirty="0">
                <a:latin typeface="맑은 고딕" pitchFamily="50" charset="-127"/>
                <a:ea typeface="맑은 고딕" pitchFamily="50" charset="-127"/>
              </a:rPr>
              <a:t>단계</a:t>
            </a:r>
          </a:p>
        </p:txBody>
      </p:sp>
      <p:sp>
        <p:nvSpPr>
          <p:cNvPr id="53" name="화살표: 오각형 5"/>
          <p:cNvSpPr/>
          <p:nvPr/>
        </p:nvSpPr>
        <p:spPr bwMode="auto">
          <a:xfrm>
            <a:off x="294990" y="1351816"/>
            <a:ext cx="3816424" cy="432000"/>
          </a:xfrm>
          <a:prstGeom prst="homePlate">
            <a:avLst>
              <a:gd name="adj" fmla="val 32359"/>
            </a:avLst>
          </a:prstGeom>
          <a:solidFill>
            <a:schemeClr val="accent3">
              <a:lumMod val="6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ster Planning </a:t>
            </a:r>
            <a:r>
              <a:rPr kumimoji="1" lang="ko-KR" altLang="en-US" sz="13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계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484282" y="194030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i="1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방향성</a:t>
            </a:r>
            <a:endParaRPr kumimoji="1" lang="ko-KR" altLang="en-US" sz="1200" i="1" dirty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84282" y="266038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i="1" dirty="0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분석 결과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484282" y="338046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i="1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방향성</a:t>
            </a:r>
            <a:endParaRPr kumimoji="1" lang="ko-KR" altLang="en-US" sz="1200" i="1" dirty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84282" y="410054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i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i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484282" y="482062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i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i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3949523" y="1918461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3949523" y="2476904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선사항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3949523" y="3035347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확정 및 상세화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3949523" y="3593790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3949967" y="4152232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건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3949523" y="4710675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3949523" y="5269118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기술요소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949523" y="5827561"/>
            <a:ext cx="2700000" cy="411380"/>
          </a:xfrm>
          <a:prstGeom prst="rect">
            <a:avLst/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차세대 개발 범위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일정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예산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정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0" name="직선 화살표 연결선 89"/>
          <p:cNvCxnSpPr>
            <a:stCxn id="54" idx="3"/>
            <a:endCxn id="84" idx="1"/>
          </p:cNvCxnSpPr>
          <p:nvPr/>
        </p:nvCxnSpPr>
        <p:spPr bwMode="auto">
          <a:xfrm>
            <a:off x="2887064" y="2156279"/>
            <a:ext cx="1062459" cy="108475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1" name="직선 화살표 연결선 90"/>
          <p:cNvCxnSpPr>
            <a:stCxn id="58" idx="3"/>
            <a:endCxn id="83" idx="1"/>
          </p:cNvCxnSpPr>
          <p:nvPr/>
        </p:nvCxnSpPr>
        <p:spPr bwMode="auto">
          <a:xfrm flipV="1">
            <a:off x="2887064" y="2682594"/>
            <a:ext cx="1062459" cy="19376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2" name="직선 화살표 연결선 91"/>
          <p:cNvCxnSpPr>
            <a:stCxn id="58" idx="3"/>
            <a:endCxn id="80" idx="1"/>
          </p:cNvCxnSpPr>
          <p:nvPr/>
        </p:nvCxnSpPr>
        <p:spPr bwMode="auto">
          <a:xfrm flipV="1">
            <a:off x="2887064" y="2124151"/>
            <a:ext cx="1062459" cy="75220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3" name="직선 화살표 연결선 92"/>
          <p:cNvCxnSpPr>
            <a:stCxn id="69" idx="3"/>
            <a:endCxn id="83" idx="1"/>
          </p:cNvCxnSpPr>
          <p:nvPr/>
        </p:nvCxnSpPr>
        <p:spPr bwMode="auto">
          <a:xfrm flipV="1">
            <a:off x="2887064" y="2682594"/>
            <a:ext cx="1062459" cy="91384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4" name="직선 화살표 연결선 93"/>
          <p:cNvCxnSpPr>
            <a:stCxn id="76" idx="3"/>
            <a:endCxn id="84" idx="1"/>
          </p:cNvCxnSpPr>
          <p:nvPr/>
        </p:nvCxnSpPr>
        <p:spPr bwMode="auto">
          <a:xfrm flipV="1">
            <a:off x="2887064" y="3241037"/>
            <a:ext cx="1062459" cy="10754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5" name="직선 화살표 연결선 94"/>
          <p:cNvCxnSpPr>
            <a:stCxn id="77" idx="3"/>
            <a:endCxn id="87" idx="1"/>
          </p:cNvCxnSpPr>
          <p:nvPr/>
        </p:nvCxnSpPr>
        <p:spPr bwMode="auto">
          <a:xfrm flipV="1">
            <a:off x="2887064" y="4916365"/>
            <a:ext cx="1062459" cy="12023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6" name="직선 화살표 연결선 95"/>
          <p:cNvCxnSpPr>
            <a:stCxn id="76" idx="3"/>
            <a:endCxn id="86" idx="1"/>
          </p:cNvCxnSpPr>
          <p:nvPr/>
        </p:nvCxnSpPr>
        <p:spPr bwMode="auto">
          <a:xfrm>
            <a:off x="2887064" y="4316519"/>
            <a:ext cx="1062903" cy="414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cxnSp>
        <p:nvCxnSpPr>
          <p:cNvPr id="97" name="직선 화살표 연결선 96"/>
          <p:cNvCxnSpPr>
            <a:stCxn id="77" idx="3"/>
            <a:endCxn id="88" idx="1"/>
          </p:cNvCxnSpPr>
          <p:nvPr/>
        </p:nvCxnSpPr>
        <p:spPr bwMode="auto">
          <a:xfrm>
            <a:off x="2887064" y="5036599"/>
            <a:ext cx="1062459" cy="4382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  <p:sp>
        <p:nvSpPr>
          <p:cNvPr id="100" name="TextBox 55"/>
          <p:cNvSpPr txBox="1"/>
          <p:nvPr/>
        </p:nvSpPr>
        <p:spPr bwMode="auto">
          <a:xfrm>
            <a:off x="7368934" y="1902204"/>
            <a:ext cx="1656184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3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sk]</a:t>
            </a:r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이등변 삼각형 100"/>
          <p:cNvSpPr/>
          <p:nvPr/>
        </p:nvSpPr>
        <p:spPr bwMode="auto">
          <a:xfrm flipV="1">
            <a:off x="7679539" y="3629549"/>
            <a:ext cx="1152128" cy="165759"/>
          </a:xfrm>
          <a:prstGeom prst="triangle">
            <a:avLst/>
          </a:prstGeom>
          <a:solidFill>
            <a:schemeClr val="accent5">
              <a:lumMod val="5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7121479" y="4446664"/>
            <a:ext cx="2386147" cy="33850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P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계 수행인력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투입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3" name="그룹 102"/>
          <p:cNvGrpSpPr/>
          <p:nvPr/>
        </p:nvGrpSpPr>
        <p:grpSpPr>
          <a:xfrm>
            <a:off x="7084090" y="2189477"/>
            <a:ext cx="2386147" cy="1275063"/>
            <a:chOff x="7178563" y="2094042"/>
            <a:chExt cx="2386147" cy="1334958"/>
          </a:xfrm>
        </p:grpSpPr>
        <p:sp>
          <p:nvSpPr>
            <p:cNvPr id="104" name="직사각형 103"/>
            <p:cNvSpPr/>
            <p:nvPr/>
          </p:nvSpPr>
          <p:spPr bwMode="auto">
            <a:xfrm>
              <a:off x="7178563" y="2094042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s-Is </a:t>
              </a: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황자료 수집</a:t>
              </a: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7178563" y="2554894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업</a:t>
              </a: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IT </a:t>
              </a: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담당자 인터뷰</a:t>
              </a:r>
            </a:p>
          </p:txBody>
        </p:sp>
        <p:sp>
          <p:nvSpPr>
            <p:cNvPr id="106" name="직사각형 105"/>
            <p:cNvSpPr/>
            <p:nvPr/>
          </p:nvSpPr>
          <p:spPr bwMode="auto">
            <a:xfrm>
              <a:off x="7178563" y="3015746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슈 및 개선사항 분석</a:t>
              </a: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7178563" y="3246170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향성 수립</a:t>
              </a: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7178563" y="2785320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업</a:t>
              </a: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IT </a:t>
              </a: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업무 절차 분석</a:t>
              </a: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7178563" y="2324468"/>
              <a:ext cx="2386147" cy="18283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P </a:t>
              </a: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단계 산출물 검토</a:t>
              </a:r>
            </a:p>
          </p:txBody>
        </p:sp>
      </p:grpSp>
      <p:sp>
        <p:nvSpPr>
          <p:cNvPr id="110" name="직사각형 109"/>
          <p:cNvSpPr/>
          <p:nvPr/>
        </p:nvSpPr>
        <p:spPr bwMode="auto">
          <a:xfrm>
            <a:off x="7129163" y="4899764"/>
            <a:ext cx="2386147" cy="33850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별 선행결과 사전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검토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7120902" y="5352864"/>
            <a:ext cx="2386147" cy="33850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행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벤토리화 효율적 진행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7129162" y="5805963"/>
            <a:ext cx="2386147" cy="33850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업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진 의사소통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고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지원 </a:t>
            </a:r>
          </a:p>
        </p:txBody>
      </p:sp>
      <p:sp>
        <p:nvSpPr>
          <p:cNvPr id="113" name="TextBox 65"/>
          <p:cNvSpPr txBox="1"/>
          <p:nvPr/>
        </p:nvSpPr>
        <p:spPr bwMode="auto">
          <a:xfrm>
            <a:off x="7098183" y="3822981"/>
            <a:ext cx="2351018" cy="5035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30000"/>
              </a:spcBef>
            </a:pPr>
            <a:r>
              <a:rPr lang="en-US" altLang="ko-KR" sz="1400" i="1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400" i="1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분석 </a:t>
            </a:r>
            <a:r>
              <a:rPr lang="en-US" altLang="ko-KR" sz="1400" i="1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-work </a:t>
            </a:r>
            <a:r>
              <a:rPr lang="ko-KR" altLang="en-US" sz="1400" i="1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소화 및 과제상세화 집중</a:t>
            </a:r>
            <a:r>
              <a:rPr lang="en-US" altLang="ko-KR" sz="1400" i="1" dirty="0">
                <a:solidFill>
                  <a:srgbClr val="1B3A87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endParaRPr lang="ko-KR" altLang="en-US" sz="1400" i="1" dirty="0">
              <a:solidFill>
                <a:srgbClr val="1B3A87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70904" y="5453706"/>
            <a:ext cx="3236621" cy="602395"/>
          </a:xfrm>
          <a:prstGeom prst="rect">
            <a:avLst/>
          </a:prstGeom>
          <a:solidFill>
            <a:schemeClr val="accent1">
              <a:lumMod val="20000"/>
              <a:lumOff val="80000"/>
              <a:alpha val="54000"/>
            </a:schemeClr>
          </a:solidFill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eaLnBrk="0" latinLnBrk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이등변 삼각형 114"/>
          <p:cNvSpPr/>
          <p:nvPr/>
        </p:nvSpPr>
        <p:spPr bwMode="auto">
          <a:xfrm rot="16200000" flipV="1">
            <a:off x="6277705" y="5169693"/>
            <a:ext cx="1152128" cy="165759"/>
          </a:xfrm>
          <a:prstGeom prst="triangle">
            <a:avLst/>
          </a:prstGeom>
          <a:solidFill>
            <a:schemeClr val="accent5">
              <a:lumMod val="5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9" name="Group 4"/>
          <p:cNvGrpSpPr>
            <a:grpSpLocks noChangeAspect="1"/>
          </p:cNvGrpSpPr>
          <p:nvPr/>
        </p:nvGrpSpPr>
        <p:grpSpPr bwMode="auto">
          <a:xfrm>
            <a:off x="867578" y="1337937"/>
            <a:ext cx="426030" cy="383328"/>
            <a:chOff x="3109" y="1896"/>
            <a:chExt cx="369" cy="316"/>
          </a:xfrm>
        </p:grpSpPr>
        <p:sp>
          <p:nvSpPr>
            <p:cNvPr id="5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0" name="Group 4"/>
          <p:cNvGrpSpPr>
            <a:grpSpLocks noChangeAspect="1"/>
          </p:cNvGrpSpPr>
          <p:nvPr/>
        </p:nvGrpSpPr>
        <p:grpSpPr bwMode="auto">
          <a:xfrm>
            <a:off x="488504" y="6092942"/>
            <a:ext cx="240484" cy="216378"/>
            <a:chOff x="3109" y="1896"/>
            <a:chExt cx="369" cy="316"/>
          </a:xfrm>
        </p:grpSpPr>
        <p:sp>
          <p:nvSpPr>
            <p:cNvPr id="7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6" name="직사각형 115"/>
          <p:cNvSpPr/>
          <p:nvPr/>
        </p:nvSpPr>
        <p:spPr bwMode="auto">
          <a:xfrm>
            <a:off x="743501" y="6131529"/>
            <a:ext cx="1113155" cy="1746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05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KPMG </a:t>
            </a:r>
            <a:r>
              <a:rPr kumimoji="1" lang="ko-KR" altLang="en-US" sz="105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 수행</a:t>
            </a:r>
            <a:endParaRPr kumimoji="1" lang="ko-KR" altLang="en-US" sz="105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84282" y="5540704"/>
            <a:ext cx="2402782" cy="43194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i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차세대 개발 로드맵</a:t>
            </a:r>
            <a:r>
              <a:rPr kumimoji="1" lang="en-US" altLang="ko-KR" sz="1200" i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i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예산</a:t>
            </a:r>
          </a:p>
        </p:txBody>
      </p:sp>
      <p:cxnSp>
        <p:nvCxnSpPr>
          <p:cNvPr id="98" name="직선 화살표 연결선 97"/>
          <p:cNvCxnSpPr>
            <a:stCxn id="79" idx="3"/>
            <a:endCxn id="89" idx="1"/>
          </p:cNvCxnSpPr>
          <p:nvPr/>
        </p:nvCxnSpPr>
        <p:spPr bwMode="auto">
          <a:xfrm>
            <a:off x="2887064" y="5756679"/>
            <a:ext cx="1062459" cy="27657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sm" len="sm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4483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일정 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는 차세대 구축을 목적으로 구현의 시급성과 중요도에 따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Quick-Win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축 실행과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과제로 분류하여 </a:t>
            </a:r>
            <a:r>
              <a:rPr lang="ko-KR" altLang="en-US" dirty="0" smtClean="0"/>
              <a:t>개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획을 수립함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	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행계획 수립</a:t>
            </a:r>
            <a:endParaRPr lang="ko-KR" altLang="en-US" sz="120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0" name="Picture 5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20668" y="2340300"/>
            <a:ext cx="3253243" cy="27591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2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38081" y="2340300"/>
            <a:ext cx="3253243" cy="27591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TextBox 71"/>
          <p:cNvSpPr txBox="1"/>
          <p:nvPr/>
        </p:nvSpPr>
        <p:spPr bwMode="auto">
          <a:xfrm>
            <a:off x="1946059" y="5226460"/>
            <a:ext cx="374452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의 중요도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우선순위를 고려하여 구축 순서를 정의함</a:t>
            </a:r>
          </a:p>
        </p:txBody>
      </p:sp>
      <p:cxnSp>
        <p:nvCxnSpPr>
          <p:cNvPr id="73" name="직선 연결선 72"/>
          <p:cNvCxnSpPr/>
          <p:nvPr/>
        </p:nvCxnSpPr>
        <p:spPr bwMode="auto">
          <a:xfrm>
            <a:off x="5744369" y="1930400"/>
            <a:ext cx="0" cy="410742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sm" len="sm"/>
            <a:tailEnd type="none" w="med" len="med"/>
          </a:ln>
          <a:effectLst/>
        </p:spPr>
      </p:cxnSp>
      <p:sp>
        <p:nvSpPr>
          <p:cNvPr id="74" name="TextBox 73"/>
          <p:cNvSpPr txBox="1"/>
          <p:nvPr/>
        </p:nvSpPr>
        <p:spPr bwMode="auto">
          <a:xfrm>
            <a:off x="6347685" y="1956472"/>
            <a:ext cx="2647726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spcBef>
                <a:spcPct val="30000"/>
              </a:spcBef>
              <a:defRPr sz="1200" b="1">
                <a:solidFill>
                  <a:srgbClr val="000000"/>
                </a:solidFill>
                <a:latin typeface="맑은 고딕"/>
                <a:ea typeface="맑은 고딕"/>
              </a:defRPr>
            </a:lvl1pPr>
          </a:lstStyle>
          <a:p>
            <a:pPr latinLnBrk="0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드맵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수립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2672944" y="1956472"/>
            <a:ext cx="218385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우선순위 선정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 bwMode="auto">
          <a:xfrm>
            <a:off x="5816400" y="5226460"/>
            <a:ext cx="3744520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88900" indent="-88900" latinLnBrk="0"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별 이행 평가 결과를 바탕으로 단기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드맵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립</a:t>
            </a:r>
          </a:p>
        </p:txBody>
      </p:sp>
      <p:grpSp>
        <p:nvGrpSpPr>
          <p:cNvPr id="20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21" name="TextBox 2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09082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용량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대상 시스템의 목표용량을 산정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이슈 및 인프라 재활용 여부 등에 따른 인프라 도입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략을 수립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0413" latinLnBrk="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목표 시스템 용량 산정을 통해 구축 전략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립함</a:t>
            </a:r>
            <a:endParaRPr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2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1" name="Rectangle 36"/>
          <p:cNvSpPr>
            <a:spLocks noChangeArrowheads="1"/>
          </p:cNvSpPr>
          <p:nvPr/>
        </p:nvSpPr>
        <p:spPr bwMode="auto">
          <a:xfrm>
            <a:off x="7669212" y="3716337"/>
            <a:ext cx="1963737" cy="2520951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발계획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정의서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용량 산정 결과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Rectangle 32"/>
          <p:cNvSpPr>
            <a:spLocks noChangeArrowheads="1"/>
          </p:cNvSpPr>
          <p:nvPr/>
        </p:nvSpPr>
        <p:spPr bwMode="auto">
          <a:xfrm>
            <a:off x="2346325" y="3716336"/>
            <a:ext cx="5270500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량 및 리소스 사용량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 사용량 분석하여</a:t>
            </a:r>
            <a:r>
              <a:rPr kumimoji="1"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NH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시스템 및 </a:t>
            </a:r>
            <a:r>
              <a:rPr kumimoji="1" lang="ko-KR" altLang="en-US" sz="12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에</a:t>
            </a: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한 목표 용량 산정</a:t>
            </a:r>
          </a:p>
          <a:p>
            <a:pPr marL="185738" indent="-185738" eaLnBrk="0" latinLnBrk="0" hangingPunct="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정된 목표 용량 기반 시스템 구축 전략 수립</a:t>
            </a:r>
          </a:p>
        </p:txBody>
      </p:sp>
      <p:sp>
        <p:nvSpPr>
          <p:cNvPr id="23" name="Rectangle 33"/>
          <p:cNvSpPr>
            <a:spLocks noChangeArrowheads="1"/>
          </p:cNvSpPr>
          <p:nvPr/>
        </p:nvSpPr>
        <p:spPr bwMode="auto">
          <a:xfrm>
            <a:off x="273050" y="3716336"/>
            <a:ext cx="2022475" cy="2520952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23900" hangingPunct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목표 용량 산정</a:t>
            </a:r>
          </a:p>
        </p:txBody>
      </p:sp>
      <p:pic>
        <p:nvPicPr>
          <p:cNvPr id="27" name="그림 26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 bwMode="auto">
          <a:xfrm>
            <a:off x="3207618" y="2575834"/>
            <a:ext cx="383492" cy="133086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2747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용량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대상 시스템의 목표용량을 산정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능이슈 및 인프라 재활용 여부 등에 따른 인프라 도입 전략을 수립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 용량 산정</a:t>
            </a:r>
          </a:p>
        </p:txBody>
      </p:sp>
      <p:sp>
        <p:nvSpPr>
          <p:cNvPr id="21" name="직사각형 58"/>
          <p:cNvSpPr/>
          <p:nvPr/>
        </p:nvSpPr>
        <p:spPr bwMode="gray">
          <a:xfrm>
            <a:off x="7257256" y="2577536"/>
            <a:ext cx="2304256" cy="3600000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목표시스템 정의 및 용량 산정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구축 대상 시스템 정의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시스템의 목표 성능과 필요 용량을 산정</a:t>
            </a:r>
          </a:p>
          <a:p>
            <a:pPr marL="180975" marR="0" lvl="0" indent="-180975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•"/>
              <a:tabLst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목표시스템 구축 전략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구축 단계의 목표시스템 구축 전략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목표 용량 대비</a:t>
            </a:r>
            <a:r>
              <a:rPr lang="en-US" altLang="ko-KR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,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오픈 전후의 성능 이슈를 감안하여 구축방안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차세대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/>
              </a:rPr>
              <a:t>구축 단계 테스트 시스템 구성 및 차세대 이행 방안 수립</a:t>
            </a:r>
          </a:p>
          <a:p>
            <a:pPr marL="363538" marR="0" lvl="0" indent="-188913" defTabSz="91440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grpSp>
        <p:nvGrpSpPr>
          <p:cNvPr id="23" name="Group 44"/>
          <p:cNvGrpSpPr/>
          <p:nvPr/>
        </p:nvGrpSpPr>
        <p:grpSpPr>
          <a:xfrm>
            <a:off x="1946501" y="1988840"/>
            <a:ext cx="5250449" cy="3996511"/>
            <a:chOff x="3800841" y="1965475"/>
            <a:chExt cx="5984857" cy="4440123"/>
          </a:xfrm>
        </p:grpSpPr>
        <p:pic>
          <p:nvPicPr>
            <p:cNvPr id="24" name="Picture 6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25"/>
            <a:stretch/>
          </p:blipFill>
          <p:spPr bwMode="auto">
            <a:xfrm>
              <a:off x="6393200" y="2304733"/>
              <a:ext cx="3252582" cy="191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00841" y="2262304"/>
              <a:ext cx="2880400" cy="1769480"/>
            </a:xfrm>
            <a:prstGeom prst="rect">
              <a:avLst/>
            </a:prstGeom>
          </p:spPr>
        </p:pic>
        <p:sp>
          <p:nvSpPr>
            <p:cNvPr id="26" name="Text Box 54"/>
            <p:cNvSpPr txBox="1">
              <a:spLocks noChangeArrowheads="1"/>
            </p:cNvSpPr>
            <p:nvPr/>
          </p:nvSpPr>
          <p:spPr bwMode="auto">
            <a:xfrm>
              <a:off x="4052354" y="2043495"/>
              <a:ext cx="2451665" cy="2034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tIns="0" rIns="5400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74625" indent="-174625" algn="ctr" latinLnBrk="0">
                <a:lnSpc>
                  <a:spcPct val="120000"/>
                </a:lnSpc>
                <a:spcBef>
                  <a:spcPct val="50000"/>
                </a:spcBef>
                <a:defRPr/>
              </a:pPr>
              <a:r>
                <a:rPr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</a:rPr>
                <a:t>시스템 용량 산정 방식</a:t>
              </a:r>
              <a:endPara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endParaRPr>
            </a:p>
          </p:txBody>
        </p:sp>
        <p:sp>
          <p:nvSpPr>
            <p:cNvPr id="27" name="직사각형 51"/>
            <p:cNvSpPr/>
            <p:nvPr/>
          </p:nvSpPr>
          <p:spPr>
            <a:xfrm>
              <a:off x="6706757" y="1965475"/>
              <a:ext cx="3078941" cy="326318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ctr" anchorCtr="0">
              <a:noAutofit/>
            </a:bodyPr>
            <a:lstStyle/>
            <a:p>
              <a:pPr algn="ctr" eaLnBrk="0" fontAlgn="auto" latinLnBrk="0" hangingPunct="0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ko-KR" altLang="en-US" sz="1100" kern="0" spc="-50" dirty="0" smtClean="0">
                  <a:solidFill>
                    <a:prstClr val="black"/>
                  </a:solidFill>
                  <a:latin typeface="맑은 고딕" pitchFamily="50" charset="-127"/>
                  <a:ea typeface="맑은 고딕"/>
                  <a:cs typeface="Arial" charset="0"/>
                </a:rPr>
                <a:t>운영정책을 반영한 용량산정 보정 수행</a:t>
              </a:r>
              <a:endParaRPr lang="en-US" altLang="ko-KR" sz="1100" kern="0" spc="-50" dirty="0" smtClean="0">
                <a:solidFill>
                  <a:prstClr val="black"/>
                </a:solidFill>
                <a:latin typeface="맑은 고딕" pitchFamily="50" charset="-127"/>
                <a:ea typeface="맑은 고딕"/>
                <a:cs typeface="Arial" charset="0"/>
              </a:endParaRPr>
            </a:p>
          </p:txBody>
        </p:sp>
        <p:pic>
          <p:nvPicPr>
            <p:cNvPr id="28" name="Picture 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36969" y="4537840"/>
              <a:ext cx="4609401" cy="1867758"/>
            </a:xfrm>
            <a:prstGeom prst="rect">
              <a:avLst/>
            </a:prstGeom>
          </p:spPr>
        </p:pic>
        <p:sp>
          <p:nvSpPr>
            <p:cNvPr id="29" name="Text Box 54"/>
            <p:cNvSpPr txBox="1">
              <a:spLocks noChangeArrowheads="1"/>
            </p:cNvSpPr>
            <p:nvPr/>
          </p:nvSpPr>
          <p:spPr bwMode="auto">
            <a:xfrm>
              <a:off x="4015208" y="4238524"/>
              <a:ext cx="5331162" cy="2034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4000" tIns="0" rIns="5400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174625" indent="-174625" algn="ctr" latinLnBrk="0">
                <a:lnSpc>
                  <a:spcPct val="120000"/>
                </a:lnSpc>
                <a:spcBef>
                  <a:spcPct val="50000"/>
                </a:spcBef>
                <a:defRPr/>
              </a:pPr>
              <a:r>
                <a:rPr lang="ko-KR" altLang="en-US" sz="11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/>
                  <a:cs typeface="Arial" pitchFamily="34" charset="0"/>
                </a:rPr>
                <a:t>차세대시스템 개발 단계를 고려한 인프라 구축 방안 수립 </a:t>
              </a:r>
              <a:endPara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endParaRPr>
            </a:p>
          </p:txBody>
        </p:sp>
      </p:grpSp>
      <p:sp>
        <p:nvSpPr>
          <p:cNvPr id="30" name="직사각형 8"/>
          <p:cNvSpPr/>
          <p:nvPr/>
        </p:nvSpPr>
        <p:spPr bwMode="auto">
          <a:xfrm>
            <a:off x="7257256" y="2233246"/>
            <a:ext cx="2304256" cy="308287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/>
              </a:rPr>
              <a:t> Approach</a:t>
            </a:r>
          </a:p>
        </p:txBody>
      </p:sp>
      <p:grpSp>
        <p:nvGrpSpPr>
          <p:cNvPr id="3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59357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프라 용량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pPr defTabSz="839694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표 용량을 산정하기 위해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eak-Time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거래량을 분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목표년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까지의 예상 거래량을 예측하여 업무 특성에 맞는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항목값을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적용한 목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PS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산출함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순서도: 페이지 연결자 37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2997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 용량 산정</a:t>
            </a:r>
          </a:p>
        </p:txBody>
      </p:sp>
      <p:grpSp>
        <p:nvGrpSpPr>
          <p:cNvPr id="31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2" name="TextBox 3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4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Box 19"/>
          <p:cNvSpPr txBox="1"/>
          <p:nvPr/>
        </p:nvSpPr>
        <p:spPr bwMode="auto">
          <a:xfrm>
            <a:off x="5017123" y="1835584"/>
            <a:ext cx="1454492" cy="30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174625" lvl="0" indent="-174625" algn="ctr" latinLnBrk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시스템 용량 산정</a:t>
            </a:r>
          </a:p>
        </p:txBody>
      </p:sp>
      <p:sp>
        <p:nvSpPr>
          <p:cNvPr id="36" name="직사각형 297"/>
          <p:cNvSpPr/>
          <p:nvPr/>
        </p:nvSpPr>
        <p:spPr>
          <a:xfrm>
            <a:off x="2000672" y="2179230"/>
            <a:ext cx="3734204" cy="283694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최대 거래량 산정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671" y="4662961"/>
            <a:ext cx="3657205" cy="1534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직사각형 297"/>
          <p:cNvSpPr/>
          <p:nvPr/>
        </p:nvSpPr>
        <p:spPr>
          <a:xfrm>
            <a:off x="2000672" y="4296768"/>
            <a:ext cx="3734204" cy="283694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목표거래량 산정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</p:txBody>
      </p:sp>
      <p:sp>
        <p:nvSpPr>
          <p:cNvPr id="40" name="직사각형 297"/>
          <p:cNvSpPr/>
          <p:nvPr/>
        </p:nvSpPr>
        <p:spPr>
          <a:xfrm>
            <a:off x="4341919" y="5318514"/>
            <a:ext cx="1392958" cy="6667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round/>
            <a:headEnd/>
            <a:tailEnd/>
          </a:ln>
        </p:spPr>
        <p:txBody>
          <a:bodyPr lIns="72000" tIns="36000" rIns="72000" bIns="3600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현재 거래를 기준으로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3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년후 목표 거래량을 산출함</a:t>
            </a:r>
          </a:p>
        </p:txBody>
      </p:sp>
      <p:sp>
        <p:nvSpPr>
          <p:cNvPr id="41" name="Oval 84"/>
          <p:cNvSpPr/>
          <p:nvPr/>
        </p:nvSpPr>
        <p:spPr>
          <a:xfrm>
            <a:off x="5448550" y="4878327"/>
            <a:ext cx="166255" cy="182880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pic>
        <p:nvPicPr>
          <p:cNvPr id="4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671" y="2534044"/>
            <a:ext cx="3657205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" name="직선 화살표 연결선 486"/>
          <p:cNvCxnSpPr>
            <a:endCxn id="41" idx="4"/>
          </p:cNvCxnSpPr>
          <p:nvPr/>
        </p:nvCxnSpPr>
        <p:spPr bwMode="auto">
          <a:xfrm flipV="1">
            <a:off x="5531677" y="5061207"/>
            <a:ext cx="0" cy="257307"/>
          </a:xfrm>
          <a:prstGeom prst="straightConnector1">
            <a:avLst/>
          </a:prstGeom>
          <a:solidFill>
            <a:srgbClr val="B4B4B4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Rectangle 87"/>
          <p:cNvSpPr/>
          <p:nvPr/>
        </p:nvSpPr>
        <p:spPr>
          <a:xfrm>
            <a:off x="4442212" y="2606832"/>
            <a:ext cx="263388" cy="150836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 w="28575" cap="flat" cmpd="sng" algn="ctr">
            <a:solidFill>
              <a:srgbClr val="0070C0"/>
            </a:solidFill>
            <a:prstDash val="sysDot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45" name="직사각형 297"/>
          <p:cNvSpPr/>
          <p:nvPr/>
        </p:nvSpPr>
        <p:spPr>
          <a:xfrm>
            <a:off x="2342446" y="2749249"/>
            <a:ext cx="1392958" cy="6667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noFill/>
            <a:round/>
            <a:headEnd/>
            <a:tailEnd/>
          </a:ln>
        </p:spPr>
        <p:txBody>
          <a:bodyPr lIns="72000" tIns="36000" rIns="72000" bIns="3600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최근 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3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년의 거래량 중 최대 거래 시점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Arial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(Peak-Time)</a:t>
            </a: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을 분석함</a:t>
            </a:r>
          </a:p>
        </p:txBody>
      </p:sp>
      <p:cxnSp>
        <p:nvCxnSpPr>
          <p:cNvPr id="46" name="직선 화살표 연결선 486"/>
          <p:cNvCxnSpPr>
            <a:stCxn id="45" idx="3"/>
          </p:cNvCxnSpPr>
          <p:nvPr/>
        </p:nvCxnSpPr>
        <p:spPr bwMode="auto">
          <a:xfrm>
            <a:off x="3735404" y="3082641"/>
            <a:ext cx="794175" cy="0"/>
          </a:xfrm>
          <a:prstGeom prst="straightConnector1">
            <a:avLst/>
          </a:prstGeom>
          <a:solidFill>
            <a:srgbClr val="B4B4B4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7" name="Rectangle 96"/>
          <p:cNvSpPr/>
          <p:nvPr/>
        </p:nvSpPr>
        <p:spPr>
          <a:xfrm>
            <a:off x="2342447" y="2455942"/>
            <a:ext cx="1392958" cy="288040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200" kern="0" dirty="0">
                <a:latin typeface="맑은 고딕" panose="020B0503020000020004" pitchFamily="50" charset="-127"/>
                <a:ea typeface="맑은 고딕"/>
              </a:rPr>
              <a:t>Task </a:t>
            </a:r>
            <a:r>
              <a:rPr lang="ko-KR" altLang="en-US" sz="1200" kern="0" dirty="0">
                <a:latin typeface="맑은 고딕" panose="020B0503020000020004" pitchFamily="50" charset="-127"/>
                <a:ea typeface="맑은 고딕"/>
              </a:rPr>
              <a:t>수행 방안</a:t>
            </a:r>
          </a:p>
        </p:txBody>
      </p:sp>
      <p:sp>
        <p:nvSpPr>
          <p:cNvPr id="48" name="Rectangle 97"/>
          <p:cNvSpPr/>
          <p:nvPr/>
        </p:nvSpPr>
        <p:spPr>
          <a:xfrm>
            <a:off x="4339309" y="5936572"/>
            <a:ext cx="1392958" cy="288040"/>
          </a:xfrm>
          <a:prstGeom prst="rect">
            <a:avLst/>
          </a:prstGeom>
          <a:solidFill>
            <a:srgbClr val="002060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1200" kern="0" dirty="0">
                <a:latin typeface="맑은 고딕" panose="020B0503020000020004" pitchFamily="50" charset="-127"/>
                <a:ea typeface="맑은 고딕"/>
              </a:rPr>
              <a:t>Task </a:t>
            </a:r>
            <a:r>
              <a:rPr lang="ko-KR" altLang="en-US" sz="1200" kern="0" dirty="0">
                <a:latin typeface="맑은 고딕" panose="020B0503020000020004" pitchFamily="50" charset="-127"/>
                <a:ea typeface="맑은 고딕"/>
              </a:rPr>
              <a:t>수행 방안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5868976" y="2179464"/>
            <a:ext cx="3739144" cy="3949222"/>
            <a:chOff x="5520462" y="2204864"/>
            <a:chExt cx="4113058" cy="3949222"/>
          </a:xfrm>
        </p:grpSpPr>
        <p:sp>
          <p:nvSpPr>
            <p:cNvPr id="49" name="직사각형 297"/>
            <p:cNvSpPr/>
            <p:nvPr/>
          </p:nvSpPr>
          <p:spPr>
            <a:xfrm>
              <a:off x="5520462" y="2204864"/>
              <a:ext cx="4107625" cy="283694"/>
            </a:xfrm>
            <a:prstGeom prst="rect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3175" algn="ctr">
              <a:noFill/>
              <a:round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Arial"/>
                </a:rPr>
                <a:t>목표 용량 산정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pic>
          <p:nvPicPr>
            <p:cNvPr id="50" name="Picture 8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9915" y="2753628"/>
              <a:ext cx="4083605" cy="3400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직사각형 53"/>
            <p:cNvSpPr>
              <a:spLocks noChangeArrowheads="1"/>
            </p:cNvSpPr>
            <p:nvPr/>
          </p:nvSpPr>
          <p:spPr bwMode="auto">
            <a:xfrm flipV="1">
              <a:off x="5553611" y="3170931"/>
              <a:ext cx="4074475" cy="27485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93663" marR="0" lvl="0" indent="-93663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</a:endParaRPr>
            </a:p>
          </p:txBody>
        </p:sp>
        <p:sp>
          <p:nvSpPr>
            <p:cNvPr id="52" name="직사각형 297"/>
            <p:cNvSpPr/>
            <p:nvPr/>
          </p:nvSpPr>
          <p:spPr>
            <a:xfrm>
              <a:off x="6780855" y="3713048"/>
              <a:ext cx="1828507" cy="12056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 algn="ctr">
              <a:noFill/>
              <a:round/>
              <a:headEnd/>
              <a:tailEnd/>
            </a:ln>
          </p:spPr>
          <p:txBody>
            <a:bodyPr lIns="72000" tIns="36000" rIns="72000" bIns="36000" rtlCol="0" anchor="ctr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</a:pPr>
              <a:r>
                <a:rPr lang="ko-KR" altLang="en-US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시스템 거래 특성에 맞는 보정 항목을 적용하여 목표 용량</a:t>
              </a:r>
              <a:r>
                <a:rPr lang="en-US" altLang="ko-KR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(</a:t>
              </a:r>
              <a:r>
                <a:rPr lang="en-US" altLang="ko-KR" sz="1000" b="0" kern="0" dirty="0" err="1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TPS</a:t>
              </a:r>
              <a:r>
                <a:rPr lang="en-US" altLang="ko-KR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)</a:t>
              </a:r>
              <a:r>
                <a:rPr lang="ko-KR" altLang="en-US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을 산정</a:t>
              </a:r>
              <a:endParaRPr lang="en-US" altLang="ko-KR" sz="1000" b="0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/>
              </a:endParaRPr>
            </a:p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</a:pPr>
              <a:r>
                <a:rPr lang="en-US" altLang="ko-KR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※ </a:t>
              </a:r>
              <a:r>
                <a:rPr lang="ko-KR" altLang="en-US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한국정보통신기술협회 </a:t>
              </a:r>
              <a:r>
                <a:rPr lang="en-US" altLang="ko-KR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“</a:t>
              </a:r>
              <a:r>
                <a:rPr lang="ko-KR" altLang="en-US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정보시스템 하드웨어 규모산정지침</a:t>
              </a:r>
              <a:r>
                <a:rPr lang="en-US" altLang="ko-KR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”</a:t>
              </a:r>
              <a:r>
                <a:rPr lang="ko-KR" altLang="en-US" sz="1000" b="0" kern="0" dirty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/>
                  <a:cs typeface="Arial"/>
                </a:rPr>
                <a:t> 참고</a:t>
              </a:r>
              <a:endParaRPr lang="en-US" altLang="ko-KR" sz="1000" b="0" kern="0" dirty="0">
                <a:solidFill>
                  <a:srgbClr val="333333"/>
                </a:solidFill>
                <a:latin typeface="맑은 고딕" panose="020B0503020000020004" pitchFamily="50" charset="-127"/>
                <a:ea typeface="맑은 고딕"/>
                <a:cs typeface="Arial"/>
              </a:endParaRPr>
            </a:p>
          </p:txBody>
        </p:sp>
        <p:cxnSp>
          <p:nvCxnSpPr>
            <p:cNvPr id="53" name="직선 화살표 연결선 486"/>
            <p:cNvCxnSpPr/>
            <p:nvPr/>
          </p:nvCxnSpPr>
          <p:spPr bwMode="auto">
            <a:xfrm flipV="1">
              <a:off x="7979267" y="3455742"/>
              <a:ext cx="0" cy="257307"/>
            </a:xfrm>
            <a:prstGeom prst="straightConnector1">
              <a:avLst/>
            </a:prstGeom>
            <a:solidFill>
              <a:srgbClr val="B4B4B4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4" name="Rectangle 98"/>
            <p:cNvSpPr/>
            <p:nvPr/>
          </p:nvSpPr>
          <p:spPr>
            <a:xfrm>
              <a:off x="6778322" y="4905083"/>
              <a:ext cx="1831040" cy="288040"/>
            </a:xfrm>
            <a:prstGeom prst="rect">
              <a:avLst/>
            </a:prstGeom>
            <a:solidFill>
              <a:srgbClr val="002060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1200" kern="0" dirty="0">
                  <a:latin typeface="맑은 고딕" panose="020B0503020000020004" pitchFamily="50" charset="-127"/>
                  <a:ea typeface="맑은 고딕"/>
                </a:rPr>
                <a:t>Task </a:t>
              </a:r>
              <a:r>
                <a:rPr lang="ko-KR" altLang="en-US" sz="1200" kern="0" dirty="0">
                  <a:latin typeface="맑은 고딕" panose="020B0503020000020004" pitchFamily="50" charset="-127"/>
                  <a:ea typeface="맑은 고딕"/>
                </a:rPr>
                <a:t>수행 방안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590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비용 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24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식별된 과제 우선순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별 범위를 기반으로 소요예산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정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2" name="Rectangle 37"/>
          <p:cNvSpPr>
            <a:spLocks noChangeArrowheads="1"/>
          </p:cNvSpPr>
          <p:nvPr/>
        </p:nvSpPr>
        <p:spPr bwMode="auto">
          <a:xfrm>
            <a:off x="4008438" y="1820863"/>
            <a:ext cx="4537075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유지보수 비용까지 고려한 차세대 추진 전반에 걸친 예산을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산정</a:t>
            </a:r>
            <a:endParaRPr lang="en-US" altLang="ko-KR" sz="1200" kern="0" dirty="0" smtClean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  <a:p>
            <a:pPr marL="82552" indent="-82552" defTabSz="761996" latinLnBrk="0" hangingPunct="0">
              <a:lnSpc>
                <a:spcPct val="120000"/>
              </a:lnSpc>
              <a:spcBef>
                <a:spcPts val="300"/>
              </a:spcBef>
              <a:buClr>
                <a:srgbClr val="000000"/>
              </a:buClr>
              <a:buSzPct val="100000"/>
              <a:buFont typeface="Wingdings" pitchFamily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</a:rPr>
              <a:t>다양한 관점에서 차세대 시스템 개발 비용 고려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한쪽 모서리가 잘린 사각형 23"/>
          <p:cNvSpPr>
            <a:spLocks noChangeArrowheads="1"/>
          </p:cNvSpPr>
          <p:nvPr/>
        </p:nvSpPr>
        <p:spPr bwMode="auto">
          <a:xfrm>
            <a:off x="4008438" y="1492250"/>
            <a:ext cx="4537075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명</a:t>
            </a:r>
          </a:p>
        </p:txBody>
      </p:sp>
      <p:sp>
        <p:nvSpPr>
          <p:cNvPr id="4103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4104" name="Rectangle 35"/>
          <p:cNvSpPr>
            <a:spLocks noChangeArrowheads="1"/>
          </p:cNvSpPr>
          <p:nvPr/>
        </p:nvSpPr>
        <p:spPr bwMode="auto">
          <a:xfrm>
            <a:off x="2354263" y="3357563"/>
            <a:ext cx="527208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수행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방법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05" name="Rectangle 39"/>
          <p:cNvSpPr>
            <a:spLocks noChangeArrowheads="1"/>
          </p:cNvSpPr>
          <p:nvPr/>
        </p:nvSpPr>
        <p:spPr bwMode="auto">
          <a:xfrm>
            <a:off x="7677149" y="3357563"/>
            <a:ext cx="1963737" cy="2936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핵심 산출물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112" name="Rectangle 37"/>
          <p:cNvSpPr>
            <a:spLocks noChangeArrowheads="1"/>
          </p:cNvSpPr>
          <p:nvPr/>
        </p:nvSpPr>
        <p:spPr bwMode="auto">
          <a:xfrm>
            <a:off x="8616950" y="1820863"/>
            <a:ext cx="1016000" cy="1438275"/>
          </a:xfrm>
          <a:prstGeom prst="rect">
            <a:avLst/>
          </a:prstGeom>
          <a:noFill/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 anchor="ctr"/>
          <a:lstStyle/>
          <a:p>
            <a:pPr algn="ctr" defTabSz="761996" latinLnBrk="0">
              <a:lnSpc>
                <a:spcPct val="14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2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/>
              </a:rPr>
              <a:t>주</a:t>
            </a:r>
            <a:endParaRPr lang="en-US" sz="1200" b="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/>
            </a:endParaRPr>
          </a:p>
        </p:txBody>
      </p:sp>
      <p:sp>
        <p:nvSpPr>
          <p:cNvPr id="3" name="Rectangle 37"/>
          <p:cNvSpPr>
            <a:spLocks noChangeArrowheads="1"/>
          </p:cNvSpPr>
          <p:nvPr/>
        </p:nvSpPr>
        <p:spPr bwMode="auto">
          <a:xfrm>
            <a:off x="8616950" y="1492250"/>
            <a:ext cx="1016000" cy="2952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기간</a:t>
            </a:r>
            <a:endParaRPr 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gray">
          <a:xfrm>
            <a:off x="273050" y="3355975"/>
            <a:ext cx="2022475" cy="2936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9" name="직사각형 20"/>
          <p:cNvSpPr>
            <a:spLocks noChangeArrowheads="1"/>
          </p:cNvSpPr>
          <p:nvPr/>
        </p:nvSpPr>
        <p:spPr bwMode="auto">
          <a:xfrm>
            <a:off x="285443" y="1484313"/>
            <a:ext cx="3605213" cy="1771650"/>
          </a:xfrm>
          <a:prstGeom prst="rect">
            <a:avLst/>
          </a:prstGeom>
          <a:noFill/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/>
            </a:pP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273050" y="3356993"/>
            <a:ext cx="2030413" cy="294258"/>
          </a:xfrm>
          <a:prstGeom prst="rect">
            <a:avLst/>
          </a:prstGeom>
          <a:solidFill>
            <a:schemeClr val="bg1">
              <a:lumMod val="85000"/>
            </a:schemeClr>
          </a:solidFill>
          <a:ln w="9528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760413" latinLnBrk="0">
              <a:lnSpc>
                <a:spcPct val="140000"/>
              </a:lnSpc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상세</a:t>
            </a:r>
            <a:r>
              <a:rPr 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charset="0"/>
              </a:rPr>
              <a:t>Task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20" name="Rectangle 36"/>
          <p:cNvSpPr>
            <a:spLocks noChangeArrowheads="1"/>
          </p:cNvSpPr>
          <p:nvPr/>
        </p:nvSpPr>
        <p:spPr bwMode="auto">
          <a:xfrm>
            <a:off x="7669212" y="3695701"/>
            <a:ext cx="1963737" cy="2541588"/>
          </a:xfrm>
          <a:prstGeom prst="rect">
            <a:avLst/>
          </a:prstGeom>
          <a:solidFill>
            <a:srgbClr val="FFFFFF">
              <a:alpha val="10196"/>
            </a:srgbClr>
          </a:solidFill>
          <a:ln w="3172">
            <a:solidFill>
              <a:srgbClr val="7F7F7F"/>
            </a:solidFill>
            <a:miter lim="800000"/>
            <a:headEnd/>
            <a:tailEnd/>
          </a:ln>
        </p:spPr>
        <p:txBody>
          <a:bodyPr lIns="35999" tIns="35999" rIns="35999" bIns="35999"/>
          <a:lstStyle/>
          <a:p>
            <a:pPr marL="82550" indent="-82550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1200" ker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개발계획 정의서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69081" y="3706813"/>
            <a:ext cx="7347744" cy="2530476"/>
            <a:chOff x="269081" y="3706813"/>
            <a:chExt cx="7347744" cy="1710657"/>
          </a:xfrm>
        </p:grpSpPr>
        <p:sp>
          <p:nvSpPr>
            <p:cNvPr id="24" name="Rectangle 33"/>
            <p:cNvSpPr>
              <a:spLocks noChangeArrowheads="1"/>
            </p:cNvSpPr>
            <p:nvPr/>
          </p:nvSpPr>
          <p:spPr bwMode="gray">
            <a:xfrm>
              <a:off x="269081" y="3706813"/>
              <a:ext cx="2030413" cy="741079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 anchorCtr="1"/>
            <a:lstStyle/>
            <a:p>
              <a:pPr marL="82550" indent="-82550" algn="ctr" defTabSz="762000" eaLnBrk="0" latinLnBrk="0" hangingPunct="0">
                <a:lnSpc>
                  <a:spcPct val="120000"/>
                </a:lnSpc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80000"/>
                <a:defRPr/>
              </a:pPr>
              <a:r>
                <a:rPr lang="en-US" altLang="ko-KR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TCO</a:t>
              </a: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관점의 예산안 산정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6" name="Rectangle 33"/>
            <p:cNvSpPr>
              <a:spLocks noChangeArrowheads="1"/>
            </p:cNvSpPr>
            <p:nvPr/>
          </p:nvSpPr>
          <p:spPr bwMode="gray">
            <a:xfrm>
              <a:off x="269081" y="4488034"/>
              <a:ext cx="2030413" cy="929436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 anchorCtr="1"/>
            <a:lstStyle/>
            <a:p>
              <a:pPr marL="82550" indent="-82550" algn="ctr" defTabSz="762000" latinLnBrk="0"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80000"/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공수 산정 방법론 고려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2346325" y="3706813"/>
              <a:ext cx="5270500" cy="737991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82550" indent="-82550" defTabSz="762000" latinLnBrk="0"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시스템 구축 비용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,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유관 사업비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,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운영비용 등의 비용을 고려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32" name="Rectangle 32"/>
            <p:cNvSpPr>
              <a:spLocks noChangeArrowheads="1"/>
            </p:cNvSpPr>
            <p:nvPr/>
          </p:nvSpPr>
          <p:spPr bwMode="auto">
            <a:xfrm>
              <a:off x="2346325" y="4484946"/>
              <a:ext cx="5270500" cy="932524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3172">
              <a:solidFill>
                <a:srgbClr val="7F7F7F"/>
              </a:solidFill>
              <a:miter lim="800000"/>
              <a:headEnd/>
              <a:tailEnd/>
            </a:ln>
          </p:spPr>
          <p:txBody>
            <a:bodyPr lIns="35999" tIns="35999" rIns="35999" bIns="35999" anchor="ctr"/>
            <a:lstStyle/>
            <a:p>
              <a:pPr marL="82550" indent="-82550" defTabSz="762000" latinLnBrk="0"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투입 필요인력 산정 시 고려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marL="82550" indent="-82550" defTabSz="762000" latinLnBrk="0"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To-Be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기능점수 산정 후 변화비율 추정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marL="82550" indent="-82550" defTabSz="762000" latinLnBrk="0">
                <a:spcBef>
                  <a:spcPct val="10000"/>
                </a:spcBef>
                <a:spcAft>
                  <a:spcPct val="10000"/>
                </a:spcAft>
                <a:buClr>
                  <a:srgbClr val="0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총량 기반의 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FP 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anose="020B0503020000020004" pitchFamily="50" charset="-127"/>
                  <a:cs typeface="Arial" pitchFamily="34" charset="0"/>
                </a:rPr>
                <a:t>기준 정의 후 단계별 비용 산정</a:t>
              </a:r>
              <a:endPara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</p:grpSp>
      <p:pic>
        <p:nvPicPr>
          <p:cNvPr id="37" name="그림 36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6049" y="1597938"/>
            <a:ext cx="3384000" cy="1544400"/>
          </a:xfrm>
          <a:prstGeom prst="rect">
            <a:avLst/>
          </a:prstGeom>
        </p:spPr>
      </p:pic>
      <p:sp>
        <p:nvSpPr>
          <p:cNvPr id="38" name="직사각형 37"/>
          <p:cNvSpPr/>
          <p:nvPr/>
        </p:nvSpPr>
        <p:spPr bwMode="auto">
          <a:xfrm>
            <a:off x="3207618" y="2747587"/>
            <a:ext cx="383492" cy="133086"/>
          </a:xfrm>
          <a:prstGeom prst="rect">
            <a:avLst/>
          </a:prstGeom>
          <a:solidFill>
            <a:schemeClr val="accent1">
              <a:lumMod val="75000"/>
              <a:alpha val="30000"/>
            </a:schemeClr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341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비용 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예산안 수립 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구축 비용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관 내부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비를 고려한 예산안을 작성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순서도: 페이지 연결자 19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en-US" altLang="ko-KR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CO</a:t>
            </a: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의 예산안 산정</a:t>
            </a:r>
          </a:p>
        </p:txBody>
      </p:sp>
      <p:sp>
        <p:nvSpPr>
          <p:cNvPr id="21" name="순서도: 페이지 연결자 20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82550" indent="-82550" algn="ctr" defTabSz="762000" latinLnBrk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80000"/>
              <a:defRPr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공수 산정 방법론 고려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4230850" y="1844824"/>
            <a:ext cx="3027038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vl="0" algn="ctr" latinLnBrk="0">
              <a:spcBef>
                <a:spcPct val="30000"/>
              </a:spcBef>
              <a:defRPr/>
            </a:pP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구축 비용 산정 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05216" y="2273222"/>
            <a:ext cx="5882071" cy="346003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AutoShape 14"/>
          <p:cNvSpPr>
            <a:spLocks/>
          </p:cNvSpPr>
          <p:nvPr/>
        </p:nvSpPr>
        <p:spPr bwMode="gray">
          <a:xfrm>
            <a:off x="7944732" y="2345576"/>
            <a:ext cx="1638790" cy="462272"/>
          </a:xfrm>
          <a:prstGeom prst="accentBorderCallout1">
            <a:avLst>
              <a:gd name="adj1" fmla="val 12042"/>
              <a:gd name="adj2" fmla="val -4755"/>
              <a:gd name="adj3" fmla="val 60513"/>
              <a:gd name="adj4" fmla="val -27857"/>
            </a:avLst>
          </a:prstGeom>
          <a:noFill/>
          <a:ln w="19050" cap="rnd" algn="ctr">
            <a:solidFill>
              <a:srgbClr val="808080"/>
            </a:solidFill>
            <a:miter lim="800000"/>
            <a:headEnd/>
            <a:tailEnd type="oval" w="med" len="med"/>
          </a:ln>
          <a:effectLst/>
        </p:spPr>
        <p:txBody>
          <a:bodyPr lIns="72000" tIns="72000" rIns="72000" bIns="72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비용</a:t>
            </a:r>
          </a:p>
        </p:txBody>
      </p:sp>
      <p:sp>
        <p:nvSpPr>
          <p:cNvPr id="28" name="AutoShape 14"/>
          <p:cNvSpPr>
            <a:spLocks/>
          </p:cNvSpPr>
          <p:nvPr/>
        </p:nvSpPr>
        <p:spPr bwMode="gray">
          <a:xfrm>
            <a:off x="7944732" y="3023495"/>
            <a:ext cx="1638790" cy="792207"/>
          </a:xfrm>
          <a:prstGeom prst="accentBorderCallout1">
            <a:avLst>
              <a:gd name="adj1" fmla="val 12042"/>
              <a:gd name="adj2" fmla="val -4755"/>
              <a:gd name="adj3" fmla="val 29839"/>
              <a:gd name="adj4" fmla="val -25962"/>
            </a:avLst>
          </a:prstGeom>
          <a:noFill/>
          <a:ln w="19050" cap="rnd" algn="ctr">
            <a:solidFill>
              <a:srgbClr val="808080"/>
            </a:solidFill>
            <a:miter lim="800000"/>
            <a:headEnd/>
            <a:tailEnd type="oval" w="med" len="med"/>
          </a:ln>
          <a:effectLst/>
        </p:spPr>
        <p:txBody>
          <a:bodyPr lIns="36000" tIns="72000" rIns="36000" bIns="72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비용에 대한 차세대 감가상각 비용</a:t>
            </a:r>
            <a:endParaRPr lang="en-US" altLang="ko-KR" sz="1100" b="0" kern="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 </a:t>
            </a: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고객사 내부 감가상각 원칙을 적용</a:t>
            </a:r>
            <a:endParaRPr lang="ko-KR" altLang="en-US" sz="1100" b="0" kern="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AutoShape 14"/>
          <p:cNvSpPr>
            <a:spLocks/>
          </p:cNvSpPr>
          <p:nvPr/>
        </p:nvSpPr>
        <p:spPr bwMode="gray">
          <a:xfrm>
            <a:off x="7944732" y="4014658"/>
            <a:ext cx="1638790" cy="792207"/>
          </a:xfrm>
          <a:prstGeom prst="accentBorderCallout1">
            <a:avLst>
              <a:gd name="adj1" fmla="val 12042"/>
              <a:gd name="adj2" fmla="val -4755"/>
              <a:gd name="adj3" fmla="val -6651"/>
              <a:gd name="adj4" fmla="val -27226"/>
            </a:avLst>
          </a:prstGeom>
          <a:noFill/>
          <a:ln w="19050" cap="rnd" algn="ctr">
            <a:solidFill>
              <a:srgbClr val="808080"/>
            </a:solidFill>
            <a:miter lim="800000"/>
            <a:headEnd/>
            <a:tailEnd type="oval" w="med" len="med"/>
          </a:ln>
          <a:effectLst/>
        </p:spPr>
        <p:txBody>
          <a:bodyPr lIns="72000" tIns="72000" rIns="72000" bIns="72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재 </a:t>
            </a:r>
            <a:r>
              <a:rPr lang="en-US" altLang="ko-KR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용과 차세대 추진 및 </a:t>
            </a:r>
            <a:r>
              <a:rPr lang="ko-KR" altLang="en-US" sz="1100" b="0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시</a:t>
            </a: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예상 비용 비교</a:t>
            </a:r>
          </a:p>
        </p:txBody>
      </p:sp>
      <p:sp>
        <p:nvSpPr>
          <p:cNvPr id="30" name="AutoShape 14"/>
          <p:cNvSpPr>
            <a:spLocks/>
          </p:cNvSpPr>
          <p:nvPr/>
        </p:nvSpPr>
        <p:spPr bwMode="gray">
          <a:xfrm>
            <a:off x="7944732" y="5022934"/>
            <a:ext cx="1638790" cy="657854"/>
          </a:xfrm>
          <a:prstGeom prst="accentBorderCallout1">
            <a:avLst>
              <a:gd name="adj1" fmla="val 12042"/>
              <a:gd name="adj2" fmla="val -4755"/>
              <a:gd name="adj3" fmla="val -20686"/>
              <a:gd name="adj4" fmla="val -25962"/>
            </a:avLst>
          </a:prstGeom>
          <a:noFill/>
          <a:ln w="19050" cap="rnd" algn="ctr">
            <a:solidFill>
              <a:srgbClr val="808080"/>
            </a:solidFill>
            <a:miter lim="800000"/>
            <a:headEnd/>
            <a:tailEnd type="oval" w="med" len="med"/>
          </a:ln>
          <a:effectLst/>
        </p:spPr>
        <p:txBody>
          <a:bodyPr lIns="72000" tIns="72000" rIns="72000" bIns="72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100" b="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 비용과 비교하여 추가 부담 비용을 경영진에게 보고</a:t>
            </a:r>
          </a:p>
        </p:txBody>
      </p:sp>
      <p:sp>
        <p:nvSpPr>
          <p:cNvPr id="31" name="모서리가 둥근 직사각형 30"/>
          <p:cNvSpPr/>
          <p:nvPr/>
        </p:nvSpPr>
        <p:spPr bwMode="auto">
          <a:xfrm>
            <a:off x="2598373" y="2785611"/>
            <a:ext cx="1309273" cy="304749"/>
          </a:xfrm>
          <a:prstGeom prst="roundRect">
            <a:avLst/>
          </a:prstGeom>
          <a:noFill/>
          <a:ln w="28575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err="1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2306336" y="5811388"/>
            <a:ext cx="693402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개발비용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인력 산정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 타사 사례 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램 본 수를 기준으로 필요 개발 인력을 산정하고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테스트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 단계로 확대하여 </a:t>
            </a:r>
            <a:r>
              <a:rPr lang="en-US" altLang="ko-KR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/M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r>
              <a:rPr lang="en-US" altLang="ko-KR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i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정함</a:t>
            </a:r>
          </a:p>
        </p:txBody>
      </p:sp>
      <p:grpSp>
        <p:nvGrpSpPr>
          <p:cNvPr id="25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34" name="TextBox 3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3347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아래쪽 화살표 19"/>
          <p:cNvSpPr/>
          <p:nvPr/>
        </p:nvSpPr>
        <p:spPr bwMode="auto">
          <a:xfrm>
            <a:off x="2234899" y="2289755"/>
            <a:ext cx="314486" cy="923221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/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" name="아래쪽 화살표 18"/>
          <p:cNvSpPr/>
          <p:nvPr/>
        </p:nvSpPr>
        <p:spPr bwMode="auto">
          <a:xfrm>
            <a:off x="2234899" y="3246329"/>
            <a:ext cx="314486" cy="723580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/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2" name="아래쪽 화살표 41"/>
          <p:cNvSpPr/>
          <p:nvPr/>
        </p:nvSpPr>
        <p:spPr bwMode="auto">
          <a:xfrm>
            <a:off x="2234899" y="4050562"/>
            <a:ext cx="314486" cy="79203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/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147" name="제목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>
              <a:defRPr/>
            </a:pP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수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비용 산정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48" name="내용 개체 틀 2"/>
          <p:cNvSpPr txBox="1"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투입 필요 인력 산정 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행 사례와 검증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수 산정 방법론에 기반하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정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준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정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3. To-Be </a:t>
            </a:r>
            <a:r>
              <a:rPr lang="ko-KR" altLang="en-US" sz="1400" kern="0" dirty="0">
                <a:solidFill>
                  <a:srgbClr val="FFFFFF"/>
                </a:solidFill>
              </a:rPr>
              <a:t>설계 및 개발계획 수립</a:t>
            </a:r>
          </a:p>
        </p:txBody>
      </p:sp>
      <p:sp>
        <p:nvSpPr>
          <p:cNvPr id="33" name="직사각형 13"/>
          <p:cNvSpPr/>
          <p:nvPr/>
        </p:nvSpPr>
        <p:spPr>
          <a:xfrm>
            <a:off x="1855788" y="1800224"/>
            <a:ext cx="7777162" cy="4437063"/>
          </a:xfrm>
          <a:prstGeom prst="rect">
            <a:avLst/>
          </a:prstGeom>
          <a:noFill/>
          <a:ln w="9528">
            <a:solidFill>
              <a:schemeClr val="bg1">
                <a:lumMod val="50000"/>
              </a:schemeClr>
            </a:solidFill>
            <a:prstDash val="solid"/>
            <a:miter/>
          </a:ln>
        </p:spPr>
        <p:txBody>
          <a:bodyPr anchor="ctr" anchorCtr="1"/>
          <a:lstStyle/>
          <a:p>
            <a:pPr algn="ctr" latinLnBrk="0">
              <a:spcBef>
                <a:spcPts val="7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순서도: 페이지 연결자 12"/>
          <p:cNvSpPr/>
          <p:nvPr/>
        </p:nvSpPr>
        <p:spPr>
          <a:xfrm>
            <a:off x="344360" y="1800225"/>
            <a:ext cx="1224170" cy="1080150"/>
          </a:xfrm>
          <a:prstGeom prst="flowChartOffpageConnector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spcBef>
                <a:spcPct val="20000"/>
              </a:spcBef>
              <a:buClr>
                <a:srgbClr val="1D1F6F"/>
              </a:buClr>
              <a:buSzPct val="80000"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CO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관점의 예산안 산정</a:t>
            </a:r>
          </a:p>
        </p:txBody>
      </p:sp>
      <p:sp>
        <p:nvSpPr>
          <p:cNvPr id="14" name="순서도: 페이지 연결자 13"/>
          <p:cNvSpPr/>
          <p:nvPr/>
        </p:nvSpPr>
        <p:spPr>
          <a:xfrm>
            <a:off x="344360" y="2782900"/>
            <a:ext cx="1224170" cy="1080150"/>
          </a:xfrm>
          <a:prstGeom prst="flowChartOffpageConnector">
            <a:avLst/>
          </a:prstGeom>
          <a:solidFill>
            <a:srgbClr val="00338D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82550" algn="ctr" eaLnBrk="0" latinLnBrk="0">
              <a:lnSpc>
                <a:spcPct val="120000"/>
              </a:lnSpc>
              <a:spcBef>
                <a:spcPct val="20000"/>
              </a:spcBef>
              <a:buClr>
                <a:srgbClr val="1D1F6F"/>
              </a:buClr>
              <a:buSzPct val="80000"/>
              <a:tabLst>
                <a:tab pos="93663" algn="l"/>
              </a:tabLst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수 산정 방법론 고려</a:t>
            </a:r>
          </a:p>
        </p:txBody>
      </p:sp>
      <p:sp>
        <p:nvSpPr>
          <p:cNvPr id="16" name="TextBox 15"/>
          <p:cNvSpPr txBox="1"/>
          <p:nvPr/>
        </p:nvSpPr>
        <p:spPr bwMode="auto">
          <a:xfrm>
            <a:off x="3404502" y="1844824"/>
            <a:ext cx="4679734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vl="0" algn="ctr" latinLnBrk="0">
              <a:spcBef>
                <a:spcPct val="30000"/>
              </a:spcBef>
              <a:defRPr/>
            </a:pP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구축 인건비 산정 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FP</a:t>
            </a:r>
            <a:r>
              <a:rPr lang="en-US" altLang="ko-KR" sz="1400" kern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반 기능 점수 적용 사례</a:t>
            </a:r>
          </a:p>
        </p:txBody>
      </p:sp>
      <p:sp>
        <p:nvSpPr>
          <p:cNvPr id="18" name="TextBox 17"/>
          <p:cNvSpPr txBox="1"/>
          <p:nvPr/>
        </p:nvSpPr>
        <p:spPr bwMode="auto">
          <a:xfrm>
            <a:off x="1865580" y="5780516"/>
            <a:ext cx="4599589" cy="4605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177800" indent="-177800" latinLnBrk="0">
              <a:spcBef>
                <a:spcPct val="30000"/>
              </a:spcBef>
              <a:buAutoNum type="arabicParenR"/>
            </a:pPr>
            <a:r>
              <a:rPr lang="en-US" altLang="ko-KR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P (Function Point) : </a:t>
            </a:r>
            <a:r>
              <a:rPr lang="ko-KR" altLang="en-US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처리규모와 기능적 복잡도를 점수로 측정하여 소프트웨어 규모를 산정하는 </a:t>
            </a:r>
            <a:r>
              <a:rPr lang="ko-KR" altLang="en-US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</a:t>
            </a:r>
            <a:endParaRPr lang="en-US" altLang="ko-KR" sz="700" b="0" dirty="0" smtClean="0">
              <a:solidFill>
                <a:srgbClr val="7F7F7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7800" indent="-177800" latinLnBrk="0">
              <a:spcBef>
                <a:spcPct val="30000"/>
              </a:spcBef>
              <a:buAutoNum type="arabicParenR"/>
            </a:pPr>
            <a:r>
              <a:rPr lang="en-US" altLang="ko-KR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COMO (</a:t>
            </a:r>
            <a:r>
              <a:rPr lang="en-US" altLang="ko-KR" sz="700" b="0" dirty="0" err="1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structive</a:t>
            </a:r>
            <a:r>
              <a:rPr lang="en-US" altLang="ko-KR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00" b="0" dirty="0" err="1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st</a:t>
            </a:r>
            <a:r>
              <a:rPr lang="en-US" altLang="ko-KR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00" b="0" dirty="0" err="1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Odel</a:t>
            </a:r>
            <a:r>
              <a:rPr lang="en-US" altLang="ko-KR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LOC(Line Of Code) </a:t>
            </a:r>
            <a:r>
              <a:rPr lang="ko-KR" altLang="en-US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의 인력 규모 산정 방식</a:t>
            </a:r>
            <a:endParaRPr lang="en-US" altLang="ko-KR" sz="700" b="0" dirty="0" smtClean="0">
              <a:solidFill>
                <a:srgbClr val="7F7F7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7800" indent="-177800" latinLnBrk="0">
              <a:spcBef>
                <a:spcPct val="30000"/>
              </a:spcBef>
              <a:buAutoNum type="arabicParenR"/>
            </a:pPr>
            <a:r>
              <a:rPr lang="en-US" altLang="ko-KR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OSA </a:t>
            </a:r>
            <a:r>
              <a:rPr lang="ko-KR" altLang="en-US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 </a:t>
            </a:r>
            <a:r>
              <a:rPr lang="en-US" altLang="ko-KR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W</a:t>
            </a:r>
            <a:r>
              <a:rPr lang="ko-KR" altLang="en-US" sz="700" b="0" dirty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가산정 가이드 기준 각 단계별 기능점수 가중치 </a:t>
            </a:r>
            <a:r>
              <a:rPr lang="ko-KR" altLang="en-US" sz="700" b="0" dirty="0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  <a:endParaRPr lang="ko-KR" altLang="en-US" sz="700" b="0" dirty="0">
              <a:solidFill>
                <a:srgbClr val="7F7F7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928664" y="2188227"/>
            <a:ext cx="926957" cy="849855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lnSpc>
                <a:spcPct val="150000"/>
              </a:lnSpc>
            </a:pPr>
            <a:r>
              <a:rPr lang="en-US" altLang="ko-KR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</a:t>
            </a:r>
          </a:p>
          <a:p>
            <a:pPr algn="ctr" latinLnBrk="0">
              <a:lnSpc>
                <a:spcPct val="150000"/>
              </a:lnSpc>
            </a:pPr>
            <a:r>
              <a:rPr lang="ko-KR" altLang="en-US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능점수 </a:t>
            </a:r>
            <a:r>
              <a:rPr lang="ko-KR" altLang="en-US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산정 </a:t>
            </a:r>
            <a:endParaRPr lang="en-US" altLang="ko-KR" sz="1050" b="1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866227" y="2188227"/>
            <a:ext cx="2720416" cy="84985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별 기능 세분화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P</a:t>
            </a:r>
            <a:r>
              <a:rPr lang="en-US" altLang="ko-KR" sz="1050" b="0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)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간이법을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활용한 기능점수 산정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난이도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형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환경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에 따른 가중치 적용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1928664" y="3221586"/>
            <a:ext cx="926957" cy="579670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lnSpc>
                <a:spcPct val="150000"/>
              </a:lnSpc>
            </a:pPr>
            <a:r>
              <a:rPr lang="ko-KR" altLang="en-US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화 </a:t>
            </a:r>
            <a:r>
              <a:rPr lang="ko-KR" altLang="en-US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율</a:t>
            </a:r>
            <a:endParaRPr lang="en-US" altLang="ko-KR" sz="1050" b="1" dirty="0" smtClean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ctr" latinLnBrk="0">
              <a:lnSpc>
                <a:spcPct val="150000"/>
              </a:lnSpc>
            </a:pPr>
            <a:r>
              <a:rPr lang="ko-KR" altLang="en-US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추정</a:t>
            </a:r>
            <a:endParaRPr lang="ko-KR" altLang="en-US" sz="1050" b="1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866227" y="3221586"/>
            <a:ext cx="2720416" cy="57967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의 예상 변화 비율 추정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트랜잭션 </a:t>
            </a:r>
            <a:r>
              <a:rPr lang="en-US" altLang="ko-KR" sz="105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P </a:t>
            </a:r>
            <a:r>
              <a:rPr lang="ko-KR" altLang="en-US" sz="105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변화비율을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곱함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27" name="그룹 26"/>
          <p:cNvGrpSpPr/>
          <p:nvPr/>
        </p:nvGrpSpPr>
        <p:grpSpPr>
          <a:xfrm>
            <a:off x="6035950" y="2288348"/>
            <a:ext cx="403935" cy="591292"/>
            <a:chOff x="519796" y="3573016"/>
            <a:chExt cx="548270" cy="1008112"/>
          </a:xfrm>
        </p:grpSpPr>
        <p:pic>
          <p:nvPicPr>
            <p:cNvPr id="28" name="Picture 55" descr="Document Sm"/>
            <p:cNvPicPr preferRelativeResize="0">
              <a:picLocks noGrp="1"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528" y="3573016"/>
              <a:ext cx="363538" cy="763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55" descr="Document Sm"/>
            <p:cNvPicPr preferRelativeResize="0">
              <a:picLocks noGrp="1"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691" y="3670884"/>
              <a:ext cx="363538" cy="763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55" descr="Document Sm"/>
            <p:cNvPicPr preferRelativeResize="0">
              <a:picLocks noGrp="1"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9796" y="3817540"/>
              <a:ext cx="363538" cy="763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오른쪽 화살표 30"/>
          <p:cNvSpPr/>
          <p:nvPr/>
        </p:nvSpPr>
        <p:spPr>
          <a:xfrm>
            <a:off x="6496300" y="2304565"/>
            <a:ext cx="112884" cy="56994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kumimoji="0" lang="ko-KR" alt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2" name="Group 17"/>
          <p:cNvGraphicFramePr>
            <a:graphicFrameLocks noGrp="1"/>
          </p:cNvGraphicFramePr>
          <p:nvPr>
            <p:extLst/>
          </p:nvPr>
        </p:nvGraphicFramePr>
        <p:xfrm>
          <a:off x="5817332" y="3446933"/>
          <a:ext cx="3730855" cy="1063171"/>
        </p:xfrm>
        <a:graphic>
          <a:graphicData uri="http://schemas.openxmlformats.org/drawingml/2006/table">
            <a:tbl>
              <a:tblPr/>
              <a:tblGrid>
                <a:gridCol w="736442"/>
                <a:gridCol w="616496"/>
                <a:gridCol w="524172"/>
                <a:gridCol w="454394"/>
                <a:gridCol w="450141"/>
                <a:gridCol w="450141"/>
                <a:gridCol w="499069"/>
              </a:tblGrid>
              <a:tr h="177195">
                <a:tc rowSpan="3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gridSpan="2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 </a:t>
                      </a: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정결과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 </a:t>
                      </a: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정결과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</a:tr>
              <a:tr h="17648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</a:t>
                      </a: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</a:t>
                      </a: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rowSpan="2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 </a:t>
                      </a: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정치</a:t>
                      </a: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rowSpan="2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화</a:t>
                      </a:r>
                      <a:endParaRPr kumimoji="1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정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gridSpan="2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추정</a:t>
                      </a:r>
                      <a:endParaRPr kumimoji="1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hMerge="1"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648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  <a:endParaRPr kumimoji="1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M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1DA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8624"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,436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,161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5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,426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195"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,32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,516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5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,962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195"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kumimoji="1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3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1pPr>
                      <a:lvl2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2pPr>
                      <a:lvl3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1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3pPr>
                      <a:lvl4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1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4pPr>
                      <a:lvl5pPr algn="l">
                        <a:lnSpc>
                          <a:spcPct val="95000"/>
                        </a:lnSpc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5pPr>
                      <a:lvl6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6pPr>
                      <a:lvl7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7pPr>
                      <a:lvl8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8pPr>
                      <a:lvl9pPr fontAlgn="base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defRPr kumimoji="1" sz="9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34" name="직선 연결선 33"/>
          <p:cNvCxnSpPr/>
          <p:nvPr/>
        </p:nvCxnSpPr>
        <p:spPr bwMode="auto">
          <a:xfrm flipH="1">
            <a:off x="5801902" y="3122075"/>
            <a:ext cx="905794" cy="3135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35" name="TextBox 115"/>
          <p:cNvSpPr txBox="1"/>
          <p:nvPr/>
        </p:nvSpPr>
        <p:spPr>
          <a:xfrm>
            <a:off x="5889104" y="2894747"/>
            <a:ext cx="697627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능목록</a:t>
            </a:r>
            <a:endParaRPr lang="ko-KR" altLang="en-US" sz="10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6" name="직선 연결선 35"/>
          <p:cNvCxnSpPr/>
          <p:nvPr/>
        </p:nvCxnSpPr>
        <p:spPr bwMode="auto">
          <a:xfrm>
            <a:off x="9516009" y="3122075"/>
            <a:ext cx="32178" cy="32485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graphicFrame>
        <p:nvGraphicFramePr>
          <p:cNvPr id="37" name="표 36"/>
          <p:cNvGraphicFramePr>
            <a:graphicFrameLocks noGrp="1"/>
          </p:cNvGraphicFramePr>
          <p:nvPr>
            <p:extLst/>
          </p:nvPr>
        </p:nvGraphicFramePr>
        <p:xfrm>
          <a:off x="6707696" y="2161416"/>
          <a:ext cx="2808313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123"/>
                <a:gridCol w="437238"/>
                <a:gridCol w="437238"/>
                <a:gridCol w="437238"/>
                <a:gridCol w="437238"/>
                <a:gridCol w="437238"/>
              </a:tblGrid>
              <a:tr h="17674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D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기능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D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랜잭션기능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D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278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논리파일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연계파일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입력</a:t>
                      </a:r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8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I)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출력</a:t>
                      </a:r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O)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조회</a:t>
                      </a:r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Q)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67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잡도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5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,4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0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9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67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점수단가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인건비 </a:t>
                      </a:r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1MM</a:t>
                      </a:r>
                      <a:r>
                        <a:rPr lang="ko-KR" altLang="en-US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</a:t>
                      </a:r>
                      <a:r>
                        <a:rPr lang="en-US" altLang="ko-KR" sz="8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FP</a:t>
                      </a:r>
                      <a:endParaRPr lang="ko-KR" altLang="en-US" sz="8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9" name="직사각형 38"/>
          <p:cNvSpPr/>
          <p:nvPr/>
        </p:nvSpPr>
        <p:spPr>
          <a:xfrm>
            <a:off x="6130562" y="4728095"/>
            <a:ext cx="160524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 latinLnBrk="0"/>
            <a:r>
              <a:rPr lang="en-US" altLang="ko-KR" sz="11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P </a:t>
            </a:r>
            <a:r>
              <a:rPr lang="ko-KR" altLang="en-US" sz="11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별 비율</a:t>
            </a:r>
            <a:r>
              <a:rPr lang="en-US" altLang="ko-KR" sz="1100" b="1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100" b="1" baseline="30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100" b="1" baseline="30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아래쪽 화살표 39"/>
          <p:cNvSpPr/>
          <p:nvPr/>
        </p:nvSpPr>
        <p:spPr>
          <a:xfrm>
            <a:off x="7941969" y="4610851"/>
            <a:ext cx="1256044" cy="15122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</a:pPr>
            <a:endParaRPr lang="ko-KR" altLang="en-US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1" name="표 40"/>
          <p:cNvGraphicFramePr>
            <a:graphicFrameLocks noGrp="1"/>
          </p:cNvGraphicFramePr>
          <p:nvPr>
            <p:extLst/>
          </p:nvPr>
        </p:nvGraphicFramePr>
        <p:xfrm>
          <a:off x="7591795" y="4841376"/>
          <a:ext cx="1956392" cy="1291490"/>
        </p:xfrm>
        <a:graphic>
          <a:graphicData uri="http://schemas.openxmlformats.org/drawingml/2006/table">
            <a:tbl>
              <a:tblPr/>
              <a:tblGrid>
                <a:gridCol w="443741"/>
                <a:gridCol w="584435"/>
                <a:gridCol w="464108"/>
                <a:gridCol w="464108"/>
              </a:tblGrid>
              <a:tr h="274070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1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 </a:t>
                      </a:r>
                      <a:r>
                        <a:rPr lang="en-US" altLang="ko-KR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/M)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1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급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1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급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1DA"/>
                    </a:solidFill>
                  </a:tcPr>
                </a:tc>
              </a:tr>
              <a:tr h="16957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석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5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설계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5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개발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5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테스트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57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총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/M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57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인건비 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3" name="직사각형 42"/>
          <p:cNvSpPr/>
          <p:nvPr/>
        </p:nvSpPr>
        <p:spPr>
          <a:xfrm>
            <a:off x="1943215" y="4851206"/>
            <a:ext cx="926957" cy="702947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lnSpc>
                <a:spcPct val="150000"/>
              </a:lnSpc>
            </a:pPr>
            <a:r>
              <a:rPr lang="ko-KR" altLang="en-US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단계별 </a:t>
            </a:r>
            <a:r>
              <a:rPr lang="ko-KR" altLang="en-US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용</a:t>
            </a:r>
            <a:endParaRPr lang="en-US" altLang="ko-KR" sz="1050" b="1" dirty="0" smtClean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ctr" latinLnBrk="0">
              <a:lnSpc>
                <a:spcPct val="150000"/>
              </a:lnSpc>
            </a:pPr>
            <a:r>
              <a:rPr lang="ko-KR" altLang="en-US" sz="1050" b="1" dirty="0" smtClean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산정</a:t>
            </a:r>
            <a:endParaRPr lang="ko-KR" altLang="en-US" sz="1050" b="1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2880778" y="4851206"/>
            <a:ext cx="2720416" cy="70294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행 유사과제 구축 사례 대비 적정성 검증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총량 기반의 기능점수 기준을 활용한 보정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가 적용한 예상 인건비 산정</a:t>
            </a:r>
            <a:endParaRPr lang="en-US" altLang="ko-KR" sz="105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2866227" y="3978519"/>
            <a:ext cx="2720416" cy="69338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능점수 산정결과에 따른 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화면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치 개당 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P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endParaRPr lang="en-US" altLang="ko-KR" sz="1050" b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indent="-92075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5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행 사례 기반의 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/M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당 </a:t>
            </a:r>
            <a:r>
              <a:rPr lang="en-US" altLang="ko-KR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P</a:t>
            </a:r>
            <a:r>
              <a:rPr lang="ko-KR" altLang="en-US" sz="105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 정의</a:t>
            </a:r>
            <a:endParaRPr lang="en-US" altLang="ko-KR" sz="105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928664" y="3978519"/>
            <a:ext cx="926957" cy="693389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lnSpc>
                <a:spcPct val="150000"/>
              </a:lnSpc>
            </a:pPr>
            <a:r>
              <a:rPr lang="ko-KR" altLang="en-US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총량 기반의 </a:t>
            </a:r>
            <a:r>
              <a:rPr lang="en-US" altLang="ko-KR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P</a:t>
            </a:r>
            <a:r>
              <a:rPr lang="ko-KR" altLang="en-US" sz="1050" b="1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준 정의</a:t>
            </a:r>
          </a:p>
        </p:txBody>
      </p:sp>
      <p:graphicFrame>
        <p:nvGraphicFramePr>
          <p:cNvPr id="69" name="차트 68"/>
          <p:cNvGraphicFramePr/>
          <p:nvPr>
            <p:extLst/>
          </p:nvPr>
        </p:nvGraphicFramePr>
        <p:xfrm>
          <a:off x="5745022" y="4778104"/>
          <a:ext cx="2376330" cy="1598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6" name="Group 154"/>
          <p:cNvGrpSpPr/>
          <p:nvPr/>
        </p:nvGrpSpPr>
        <p:grpSpPr>
          <a:xfrm>
            <a:off x="8523182" y="1500091"/>
            <a:ext cx="1109768" cy="246221"/>
            <a:chOff x="8019945" y="1816742"/>
            <a:chExt cx="1109768" cy="246221"/>
          </a:xfrm>
        </p:grpSpPr>
        <p:sp>
          <p:nvSpPr>
            <p:cNvPr id="47" name="TextBox 4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39978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409032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304798" y="2640660"/>
            <a:ext cx="4328154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lang="en-US" altLang="ko-KR" sz="2000" dirty="0" smtClean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en-US" altLang="ko-KR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설계 및 개발계획 수립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추진 조직 및 일정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V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656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atinLnBrk="0"/>
            <a:r>
              <a:rPr lang="ko-KR" altLang="en-US" dirty="0"/>
              <a:t>프로젝트는 </a:t>
            </a:r>
            <a:r>
              <a:rPr lang="en-US" altLang="ko-KR" dirty="0"/>
              <a:t>As-Is </a:t>
            </a:r>
            <a:r>
              <a:rPr lang="ko-KR" altLang="en-US" dirty="0"/>
              <a:t>분석</a:t>
            </a:r>
            <a:r>
              <a:rPr lang="en-US" altLang="ko-KR" dirty="0"/>
              <a:t>, </a:t>
            </a:r>
            <a:r>
              <a:rPr lang="ko-KR" altLang="en-US" dirty="0"/>
              <a:t>과제 상세화</a:t>
            </a:r>
            <a:r>
              <a:rPr lang="en-US" altLang="ko-KR" dirty="0"/>
              <a:t>, To-Be </a:t>
            </a:r>
            <a:r>
              <a:rPr lang="ko-KR" altLang="en-US" dirty="0"/>
              <a:t>설계의 </a:t>
            </a:r>
            <a:r>
              <a:rPr lang="en-US" altLang="ko-KR" dirty="0"/>
              <a:t>3</a:t>
            </a:r>
            <a:r>
              <a:rPr lang="ko-KR" altLang="en-US" dirty="0"/>
              <a:t>단계로 이루어지며</a:t>
            </a:r>
            <a:r>
              <a:rPr lang="en-US" altLang="ko-KR" dirty="0"/>
              <a:t>,</a:t>
            </a:r>
            <a:r>
              <a:rPr lang="ko-KR" altLang="en-US" dirty="0"/>
              <a:t> 각 단계 별로 다음과 같이 세부 업무를 수행함</a:t>
            </a:r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 일정</a:t>
            </a:r>
          </a:p>
        </p:txBody>
      </p:sp>
      <p:sp>
        <p:nvSpPr>
          <p:cNvPr id="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</a:t>
            </a:r>
            <a:r>
              <a:rPr lang="en-US" altLang="ko-KR" sz="1400" kern="0" dirty="0" smtClean="0">
                <a:solidFill>
                  <a:srgbClr val="FFFFFF"/>
                </a:solidFill>
              </a:rPr>
              <a:t>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추진 조직 및 일정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aphicFrame>
        <p:nvGraphicFramePr>
          <p:cNvPr id="7" name="내용 개체 틀 1"/>
          <p:cNvGraphicFramePr>
            <a:graphicFrameLocks/>
          </p:cNvGraphicFramePr>
          <p:nvPr>
            <p:extLst/>
          </p:nvPr>
        </p:nvGraphicFramePr>
        <p:xfrm>
          <a:off x="297755" y="1412778"/>
          <a:ext cx="9316155" cy="48245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7127"/>
                <a:gridCol w="593152"/>
                <a:gridCol w="155702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  <a:gridCol w="173654"/>
              </a:tblGrid>
              <a:tr h="18568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3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9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47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210671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</a:t>
                      </a: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5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분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-IS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 분석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 및 개선 기회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사 사례 검토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</a:t>
                      </a:r>
                      <a:endParaRPr lang="en-US" altLang="ko-KR" sz="1000" b="1" u="none" strike="noStrike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화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도출</a:t>
                      </a:r>
                      <a:r>
                        <a:rPr lang="en-US" altLang="ko-KR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완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과제</a:t>
                      </a:r>
                      <a:r>
                        <a:rPr lang="en-US" altLang="ko-KR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Biz)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화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과제</a:t>
                      </a:r>
                      <a:r>
                        <a:rPr lang="en-US" altLang="ko-KR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IT)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화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7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</a:t>
                      </a: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5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1B3A87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체계 정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작성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건 정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 설계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요소 검토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프라 용량산정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계획</a:t>
                      </a:r>
                      <a:endParaRPr lang="en-US" altLang="ko-KR" sz="1000" b="1" u="none" strike="noStrike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립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범위 정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일정 수립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비용 산정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0671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계획 수립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226" marR="1226" marT="1226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64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 조직 구성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성공적인 프로젝트 수행을 위하여 </a:t>
            </a:r>
            <a:r>
              <a:rPr lang="en-US" altLang="ko-KR" dirty="0"/>
              <a:t>NH</a:t>
            </a:r>
            <a:r>
              <a:rPr lang="ko-KR" altLang="en-US" dirty="0"/>
              <a:t>농협카드와의 유기적 협조 체계가 필수적이며</a:t>
            </a:r>
            <a:r>
              <a:rPr lang="en-US" altLang="ko-KR" dirty="0"/>
              <a:t>, KPMG</a:t>
            </a:r>
            <a:r>
              <a:rPr lang="ko-KR" altLang="en-US" dirty="0"/>
              <a:t>는 인력의 역량과 전문성을 종합적으로 검토하여 최적의 팀을 구성하였음</a:t>
            </a:r>
          </a:p>
        </p:txBody>
      </p:sp>
      <p:sp>
        <p:nvSpPr>
          <p:cNvPr id="1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추진 조직 및 일정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827875" y="2511344"/>
            <a:ext cx="2178242" cy="360040"/>
          </a:xfrm>
          <a:prstGeom prst="rect">
            <a:avLst/>
          </a:prstGeom>
          <a:solidFill>
            <a:srgbClr val="1B3A87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프로젝트 </a:t>
            </a:r>
            <a:r>
              <a:rPr kumimoji="1" lang="en-US" altLang="ko-KR" sz="1200" dirty="0">
                <a:latin typeface="맑은 고딕" pitchFamily="50" charset="-127"/>
                <a:ea typeface="맑은 고딕" pitchFamily="50" charset="-127"/>
              </a:rPr>
              <a:t>PM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827875" y="2871384"/>
            <a:ext cx="2178242" cy="84377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재박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파트너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젝트 담당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윤필석 상무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PM)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8" name="연결선: 꺾임 9"/>
          <p:cNvCxnSpPr>
            <a:stCxn id="77" idx="2"/>
            <a:endCxn id="92" idx="0"/>
          </p:cNvCxnSpPr>
          <p:nvPr/>
        </p:nvCxnSpPr>
        <p:spPr bwMode="auto">
          <a:xfrm rot="5400000">
            <a:off x="3023307" y="2116449"/>
            <a:ext cx="294984" cy="349239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79" name="연결선: 꺾임 51"/>
          <p:cNvCxnSpPr>
            <a:stCxn id="77" idx="2"/>
            <a:endCxn id="108" idx="0"/>
          </p:cNvCxnSpPr>
          <p:nvPr/>
        </p:nvCxnSpPr>
        <p:spPr bwMode="auto">
          <a:xfrm rot="5400000">
            <a:off x="4200382" y="3293524"/>
            <a:ext cx="294984" cy="113824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0" name="연결선: 꺾임 54"/>
          <p:cNvCxnSpPr>
            <a:stCxn id="77" idx="2"/>
            <a:endCxn id="100" idx="0"/>
          </p:cNvCxnSpPr>
          <p:nvPr/>
        </p:nvCxnSpPr>
        <p:spPr bwMode="auto">
          <a:xfrm rot="16200000" flipH="1">
            <a:off x="5377456" y="3254693"/>
            <a:ext cx="294984" cy="121590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1" name="연결선: 꺾임 57"/>
          <p:cNvCxnSpPr>
            <a:stCxn id="77" idx="2"/>
            <a:endCxn id="145" idx="0"/>
          </p:cNvCxnSpPr>
          <p:nvPr/>
        </p:nvCxnSpPr>
        <p:spPr bwMode="auto">
          <a:xfrm rot="16200000" flipH="1">
            <a:off x="6554531" y="2077619"/>
            <a:ext cx="294984" cy="357005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85" name="그룹 84"/>
          <p:cNvGrpSpPr/>
          <p:nvPr/>
        </p:nvGrpSpPr>
        <p:grpSpPr>
          <a:xfrm>
            <a:off x="3827875" y="1340768"/>
            <a:ext cx="2178242" cy="1008112"/>
            <a:chOff x="3872880" y="2348880"/>
            <a:chExt cx="1800200" cy="10081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직사각형 85"/>
            <p:cNvSpPr/>
            <p:nvPr/>
          </p:nvSpPr>
          <p:spPr bwMode="auto">
            <a:xfrm>
              <a:off x="3872880" y="2348880"/>
              <a:ext cx="1800200" cy="360040"/>
            </a:xfrm>
            <a:prstGeom prst="rect">
              <a:avLst/>
            </a:prstGeom>
            <a:solidFill>
              <a:srgbClr val="1B3A87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Steering </a:t>
              </a:r>
              <a:r>
                <a:rPr kumimoji="1" lang="en-US" altLang="ko-KR" sz="1200" dirty="0" smtClean="0">
                  <a:latin typeface="맑은 고딕" pitchFamily="50" charset="-127"/>
                  <a:ea typeface="맑은 고딕" pitchFamily="50" charset="-127"/>
                </a:rPr>
                <a:t>Committee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3872880" y="2708920"/>
              <a:ext cx="1800200" cy="648072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장지수 </a:t>
              </a:r>
              <a:r>
                <a:rPr kumimoji="1" lang="ko-KR" altLang="en-US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전무</a:t>
              </a:r>
              <a:endPara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8" name="직선 연결선 87"/>
          <p:cNvCxnSpPr>
            <a:stCxn id="87" idx="2"/>
            <a:endCxn id="76" idx="0"/>
          </p:cNvCxnSpPr>
          <p:nvPr/>
        </p:nvCxnSpPr>
        <p:spPr bwMode="auto">
          <a:xfrm>
            <a:off x="4916996" y="2348880"/>
            <a:ext cx="0" cy="1624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91" name="그룹 90"/>
          <p:cNvGrpSpPr/>
          <p:nvPr/>
        </p:nvGrpSpPr>
        <p:grpSpPr>
          <a:xfrm>
            <a:off x="297750" y="4010138"/>
            <a:ext cx="2253703" cy="1800200"/>
            <a:chOff x="297750" y="4221088"/>
            <a:chExt cx="2253703" cy="18002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2" name="직사각형 91"/>
            <p:cNvSpPr/>
            <p:nvPr/>
          </p:nvSpPr>
          <p:spPr bwMode="auto">
            <a:xfrm>
              <a:off x="297750" y="4221088"/>
              <a:ext cx="2253703" cy="360040"/>
            </a:xfrm>
            <a:prstGeom prst="rect">
              <a:avLst/>
            </a:prstGeom>
            <a:solidFill>
              <a:srgbClr val="1B3A87"/>
            </a:solidFill>
            <a:ln w="158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>
                  <a:latin typeface="맑은 고딕" pitchFamily="50" charset="-127"/>
                  <a:ea typeface="맑은 고딕" pitchFamily="50" charset="-127"/>
                </a:rPr>
                <a:t>비즈니스 그룹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297751" y="4581128"/>
              <a:ext cx="2253700" cy="648072"/>
              <a:chOff x="297751" y="4869160"/>
              <a:chExt cx="2253700" cy="936000"/>
            </a:xfrm>
          </p:grpSpPr>
          <p:sp>
            <p:nvSpPr>
              <p:cNvPr id="97" name="직사각형 96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상품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8" name="직사각형 97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박연호 차장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강우 차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94" name="그룹 93"/>
            <p:cNvGrpSpPr/>
            <p:nvPr/>
          </p:nvGrpSpPr>
          <p:grpSpPr>
            <a:xfrm>
              <a:off x="297750" y="5229200"/>
              <a:ext cx="2253700" cy="792088"/>
              <a:chOff x="297751" y="4869160"/>
              <a:chExt cx="2253700" cy="936000"/>
            </a:xfrm>
          </p:grpSpPr>
          <p:sp>
            <p:nvSpPr>
              <p:cNvPr id="95" name="직사각형 94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고객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영업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마케팅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6" name="직사각형 95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김세호 이사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윤민정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동규 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과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99" name="그룹 98"/>
          <p:cNvGrpSpPr/>
          <p:nvPr/>
        </p:nvGrpSpPr>
        <p:grpSpPr>
          <a:xfrm>
            <a:off x="5005618" y="4010138"/>
            <a:ext cx="2254134" cy="2150165"/>
            <a:chOff x="5005618" y="4221088"/>
            <a:chExt cx="2254134" cy="21501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0" name="직사각형 99"/>
            <p:cNvSpPr/>
            <p:nvPr/>
          </p:nvSpPr>
          <p:spPr bwMode="auto">
            <a:xfrm>
              <a:off x="5006049" y="4221088"/>
              <a:ext cx="2253703" cy="360040"/>
            </a:xfrm>
            <a:prstGeom prst="rect">
              <a:avLst/>
            </a:prstGeom>
            <a:solidFill>
              <a:srgbClr val="1B3A87"/>
            </a:solidFill>
            <a:ln w="158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>
                  <a:latin typeface="맑은 고딕" pitchFamily="50" charset="-127"/>
                  <a:ea typeface="맑은 고딕" pitchFamily="50" charset="-127"/>
                </a:rPr>
                <a:t>경영관리 그룹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5005619" y="4581128"/>
              <a:ext cx="2253700" cy="931103"/>
              <a:chOff x="297751" y="4869160"/>
              <a:chExt cx="2253700" cy="1344777"/>
            </a:xfrm>
          </p:grpSpPr>
          <p:sp>
            <p:nvSpPr>
              <p:cNvPr id="105" name="직사각형 104"/>
              <p:cNvSpPr/>
              <p:nvPr/>
            </p:nvSpPr>
            <p:spPr bwMode="auto">
              <a:xfrm>
                <a:off x="297751" y="4869160"/>
                <a:ext cx="838826" cy="134477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회계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b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경영관리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6" name="직사각형 105"/>
              <p:cNvSpPr/>
              <p:nvPr/>
            </p:nvSpPr>
            <p:spPr bwMode="auto">
              <a:xfrm>
                <a:off x="1136576" y="4869161"/>
                <a:ext cx="1414875" cy="1344776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강문식 이사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김지환 부장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송현선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02" name="그룹 101"/>
            <p:cNvGrpSpPr/>
            <p:nvPr/>
          </p:nvGrpSpPr>
          <p:grpSpPr>
            <a:xfrm>
              <a:off x="5005618" y="5512231"/>
              <a:ext cx="2253700" cy="859022"/>
              <a:chOff x="297751" y="5277979"/>
              <a:chExt cx="2253700" cy="1240809"/>
            </a:xfrm>
          </p:grpSpPr>
          <p:sp>
            <p:nvSpPr>
              <p:cNvPr id="103" name="직사각형 102"/>
              <p:cNvSpPr/>
              <p:nvPr/>
            </p:nvSpPr>
            <p:spPr bwMode="auto">
              <a:xfrm>
                <a:off x="297751" y="5277980"/>
                <a:ext cx="838826" cy="124080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4" name="직사각형 103"/>
              <p:cNvSpPr/>
              <p:nvPr/>
            </p:nvSpPr>
            <p:spPr bwMode="auto">
              <a:xfrm>
                <a:off x="1136576" y="5277979"/>
                <a:ext cx="1414875" cy="1240808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유승열 이사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최진영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07" name="그룹 106"/>
          <p:cNvGrpSpPr/>
          <p:nvPr/>
        </p:nvGrpSpPr>
        <p:grpSpPr>
          <a:xfrm>
            <a:off x="2651665" y="4010138"/>
            <a:ext cx="2253937" cy="2297858"/>
            <a:chOff x="2651665" y="4221088"/>
            <a:chExt cx="2253937" cy="22978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8" name="직사각형 107"/>
            <p:cNvSpPr/>
            <p:nvPr/>
          </p:nvSpPr>
          <p:spPr bwMode="auto">
            <a:xfrm>
              <a:off x="2651899" y="4221088"/>
              <a:ext cx="2253703" cy="360040"/>
            </a:xfrm>
            <a:prstGeom prst="rect">
              <a:avLst/>
            </a:prstGeom>
            <a:solidFill>
              <a:srgbClr val="1B3A87"/>
            </a:solidFill>
            <a:ln w="158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err="1" smtClean="0">
                  <a:latin typeface="맑은 고딕" pitchFamily="50" charset="-127"/>
                  <a:ea typeface="맑은 고딕" pitchFamily="50" charset="-127"/>
                </a:rPr>
                <a:t>카드프로세싱</a:t>
              </a:r>
              <a:r>
                <a:rPr kumimoji="1" lang="ko-KR" altLang="en-US" sz="12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그룹</a:t>
              </a:r>
            </a:p>
          </p:txBody>
        </p:sp>
        <p:grpSp>
          <p:nvGrpSpPr>
            <p:cNvPr id="109" name="그룹 108"/>
            <p:cNvGrpSpPr/>
            <p:nvPr/>
          </p:nvGrpSpPr>
          <p:grpSpPr>
            <a:xfrm>
              <a:off x="2651665" y="4581128"/>
              <a:ext cx="2253700" cy="432000"/>
              <a:chOff x="297751" y="4869160"/>
              <a:chExt cx="2253700" cy="936000"/>
            </a:xfrm>
          </p:grpSpPr>
          <p:sp>
            <p:nvSpPr>
              <p:cNvPr id="131" name="직사각형 130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승인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매출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매입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1" name="직사각형 140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김진유 이사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10" name="그룹 109"/>
            <p:cNvGrpSpPr/>
            <p:nvPr/>
          </p:nvGrpSpPr>
          <p:grpSpPr>
            <a:xfrm>
              <a:off x="2651665" y="5013176"/>
              <a:ext cx="2253700" cy="648072"/>
              <a:chOff x="297751" y="4869160"/>
              <a:chExt cx="2253700" cy="936000"/>
            </a:xfrm>
          </p:grpSpPr>
          <p:sp>
            <p:nvSpPr>
              <p:cNvPr id="117" name="직사각형 116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청구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입금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결제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8" name="직사각형 117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김대익 부장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송영근 차장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11" name="그룹 110"/>
            <p:cNvGrpSpPr/>
            <p:nvPr/>
          </p:nvGrpSpPr>
          <p:grpSpPr>
            <a:xfrm>
              <a:off x="2651665" y="5659561"/>
              <a:ext cx="2253700" cy="432000"/>
              <a:chOff x="297751" y="4869160"/>
              <a:chExt cx="2253700" cy="936000"/>
            </a:xfrm>
          </p:grpSpPr>
          <p:sp>
            <p:nvSpPr>
              <p:cNvPr id="115" name="직사각형 114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산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b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포인트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6" name="직사각형 115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김정호 차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12" name="그룹 111"/>
            <p:cNvGrpSpPr/>
            <p:nvPr/>
          </p:nvGrpSpPr>
          <p:grpSpPr>
            <a:xfrm>
              <a:off x="2651665" y="6086946"/>
              <a:ext cx="2253700" cy="432000"/>
              <a:chOff x="297751" y="4869160"/>
              <a:chExt cx="2253700" cy="936000"/>
            </a:xfrm>
          </p:grpSpPr>
          <p:sp>
            <p:nvSpPr>
              <p:cNvPr id="113" name="직사각형 112"/>
              <p:cNvSpPr/>
              <p:nvPr/>
            </p:nvSpPr>
            <p:spPr bwMode="auto">
              <a:xfrm>
                <a:off x="297751" y="4869160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용</a:t>
                </a: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채권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4" name="직사각형 113"/>
              <p:cNvSpPr/>
              <p:nvPr/>
            </p:nvSpPr>
            <p:spPr bwMode="auto">
              <a:xfrm>
                <a:off x="1136576" y="4869160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신현숙 이사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42" name="그룹 141"/>
          <p:cNvGrpSpPr/>
          <p:nvPr/>
        </p:nvGrpSpPr>
        <p:grpSpPr>
          <a:xfrm>
            <a:off x="7360198" y="4010138"/>
            <a:ext cx="2255839" cy="2150163"/>
            <a:chOff x="7360198" y="4221088"/>
            <a:chExt cx="2255839" cy="215016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5" name="직사각형 144"/>
            <p:cNvSpPr/>
            <p:nvPr/>
          </p:nvSpPr>
          <p:spPr bwMode="auto">
            <a:xfrm>
              <a:off x="7360198" y="4221088"/>
              <a:ext cx="2253703" cy="360040"/>
            </a:xfrm>
            <a:prstGeom prst="rect">
              <a:avLst/>
            </a:prstGeom>
            <a:solidFill>
              <a:srgbClr val="1B3A87"/>
            </a:solidFill>
            <a:ln w="158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아키텍처 그룹</a:t>
              </a:r>
            </a:p>
          </p:txBody>
        </p:sp>
        <p:grpSp>
          <p:nvGrpSpPr>
            <p:cNvPr id="146" name="그룹 145"/>
            <p:cNvGrpSpPr/>
            <p:nvPr/>
          </p:nvGrpSpPr>
          <p:grpSpPr>
            <a:xfrm>
              <a:off x="7362335" y="5512229"/>
              <a:ext cx="2253700" cy="432000"/>
              <a:chOff x="297749" y="5485257"/>
              <a:chExt cx="2253700" cy="936000"/>
            </a:xfrm>
          </p:grpSpPr>
          <p:sp>
            <p:nvSpPr>
              <p:cNvPr id="169" name="직사각형 168"/>
              <p:cNvSpPr/>
              <p:nvPr/>
            </p:nvSpPr>
            <p:spPr bwMode="auto">
              <a:xfrm>
                <a:off x="297749" y="5485257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A</a:t>
                </a:r>
              </a:p>
            </p:txBody>
          </p:sp>
          <p:sp>
            <p:nvSpPr>
              <p:cNvPr id="170" name="직사각형 169"/>
              <p:cNvSpPr/>
              <p:nvPr/>
            </p:nvSpPr>
            <p:spPr bwMode="auto">
              <a:xfrm>
                <a:off x="1136574" y="5485257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박춘근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47" name="그룹 146"/>
            <p:cNvGrpSpPr/>
            <p:nvPr/>
          </p:nvGrpSpPr>
          <p:grpSpPr>
            <a:xfrm>
              <a:off x="7362337" y="4581126"/>
              <a:ext cx="2253700" cy="931104"/>
              <a:chOff x="297751" y="4869159"/>
              <a:chExt cx="2253700" cy="1344928"/>
            </a:xfrm>
          </p:grpSpPr>
          <p:sp>
            <p:nvSpPr>
              <p:cNvPr id="165" name="직사각형 164"/>
              <p:cNvSpPr/>
              <p:nvPr/>
            </p:nvSpPr>
            <p:spPr bwMode="auto">
              <a:xfrm>
                <a:off x="297751" y="4869159"/>
                <a:ext cx="838826" cy="1344927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TA/SA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8" name="직사각형 167"/>
              <p:cNvSpPr/>
              <p:nvPr/>
            </p:nvSpPr>
            <p:spPr bwMode="auto">
              <a:xfrm>
                <a:off x="1136576" y="4869160"/>
                <a:ext cx="1414875" cy="1344927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이동철 이사</a:t>
                </a:r>
                <a:endParaRPr kumimoji="1" lang="en-US" altLang="ko-KR" sz="12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박화선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148" name="그룹 147"/>
            <p:cNvGrpSpPr/>
            <p:nvPr/>
          </p:nvGrpSpPr>
          <p:grpSpPr>
            <a:xfrm>
              <a:off x="7362335" y="5939251"/>
              <a:ext cx="2253700" cy="432000"/>
              <a:chOff x="297749" y="5485257"/>
              <a:chExt cx="2253700" cy="936000"/>
            </a:xfrm>
          </p:grpSpPr>
          <p:sp>
            <p:nvSpPr>
              <p:cNvPr id="163" name="직사각형 162"/>
              <p:cNvSpPr/>
              <p:nvPr/>
            </p:nvSpPr>
            <p:spPr bwMode="auto">
              <a:xfrm>
                <a:off x="297749" y="5485257"/>
                <a:ext cx="838826" cy="936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20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DA</a:t>
                </a:r>
              </a:p>
            </p:txBody>
          </p:sp>
          <p:sp>
            <p:nvSpPr>
              <p:cNvPr id="164" name="직사각형 163"/>
              <p:cNvSpPr/>
              <p:nvPr/>
            </p:nvSpPr>
            <p:spPr bwMode="auto">
              <a:xfrm>
                <a:off x="1136574" y="5485257"/>
                <a:ext cx="1414875" cy="936000"/>
              </a:xfrm>
              <a:prstGeom prst="rect">
                <a:avLst/>
              </a:prstGeom>
              <a:solidFill>
                <a:schemeClr val="bg1"/>
              </a:solidFill>
              <a:ln w="158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marL="182563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2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민정혜 부장</a:t>
                </a:r>
                <a:endPara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cxnSp>
        <p:nvCxnSpPr>
          <p:cNvPr id="19" name="직선 연결선 18"/>
          <p:cNvCxnSpPr>
            <a:stCxn id="77" idx="3"/>
            <a:endCxn id="90" idx="1"/>
          </p:cNvCxnSpPr>
          <p:nvPr/>
        </p:nvCxnSpPr>
        <p:spPr bwMode="auto">
          <a:xfrm>
            <a:off x="6006117" y="3293269"/>
            <a:ext cx="108912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89" name="직사각형 88"/>
          <p:cNvSpPr/>
          <p:nvPr/>
        </p:nvSpPr>
        <p:spPr bwMode="auto">
          <a:xfrm>
            <a:off x="7095238" y="2511344"/>
            <a:ext cx="2178242" cy="360040"/>
          </a:xfrm>
          <a:prstGeom prst="rect">
            <a:avLst/>
          </a:prstGeom>
          <a:solidFill>
            <a:srgbClr val="1B3A87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latin typeface="맑은 고딕" pitchFamily="50" charset="-127"/>
                <a:ea typeface="맑은 고딕" pitchFamily="50" charset="-127"/>
              </a:rPr>
              <a:t>프로젝트 자문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7095238" y="2871384"/>
            <a:ext cx="2178242" cy="84377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조기욱 파트너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KPMG)</a:t>
            </a: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임상표 파트너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PWC)</a:t>
            </a:r>
          </a:p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임성준 파트너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EY)</a:t>
            </a:r>
            <a:endParaRPr kumimoji="1"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442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제목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    선도 카드사 차세대 경험을 보유한 정예 인력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투입 </a:t>
            </a:r>
            <a:r>
              <a:rPr lang="en-US" altLang="ko-KR" dirty="0" smtClean="0">
                <a:solidFill>
                  <a:srgbClr val="FFFFFF"/>
                </a:solidFill>
                <a:cs typeface="Arial" charset="0"/>
              </a:rPr>
              <a:t>(</a:t>
            </a:r>
            <a:r>
              <a:rPr lang="en-US" altLang="ko-KR" dirty="0">
                <a:solidFill>
                  <a:srgbClr val="FFFFFF"/>
                </a:solidFill>
                <a:cs typeface="Arial" charset="0"/>
              </a:rPr>
              <a:t>1/3)</a:t>
            </a:r>
            <a:endParaRPr lang="ko-KR" altLang="en-US" dirty="0"/>
          </a:p>
        </p:txBody>
      </p:sp>
      <p:sp>
        <p:nvSpPr>
          <p:cNvPr id="40" name="내용 개체 틀 3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의 성공적 수행을 위해 업계 최고의 역량과 </a:t>
            </a:r>
            <a:r>
              <a:rPr lang="ko-KR" altLang="en-US" dirty="0" smtClean="0"/>
              <a:t>전문 </a:t>
            </a:r>
            <a:r>
              <a:rPr lang="ko-KR" altLang="en-US" dirty="0"/>
              <a:t>경험을 보유한</a:t>
            </a:r>
            <a:r>
              <a:rPr lang="en-US" altLang="ko-KR" dirty="0"/>
              <a:t> KPMG</a:t>
            </a:r>
            <a:r>
              <a:rPr lang="ko-KR" altLang="en-US" dirty="0"/>
              <a:t>와 </a:t>
            </a:r>
            <a:r>
              <a:rPr lang="en-US" altLang="ko-KR" dirty="0" smtClean="0"/>
              <a:t>PwC, EY</a:t>
            </a:r>
            <a:r>
              <a:rPr lang="ko-KR" altLang="en-US" dirty="0" smtClean="0"/>
              <a:t>가 협업함</a:t>
            </a:r>
            <a:endParaRPr lang="ko-KR" altLang="en-US" dirty="0"/>
          </a:p>
        </p:txBody>
      </p:sp>
      <p:sp>
        <p:nvSpPr>
          <p:cNvPr id="65" name="object 17"/>
          <p:cNvSpPr/>
          <p:nvPr/>
        </p:nvSpPr>
        <p:spPr>
          <a:xfrm>
            <a:off x="5149597" y="2104224"/>
            <a:ext cx="4511039" cy="29870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object 18"/>
          <p:cNvSpPr/>
          <p:nvPr/>
        </p:nvSpPr>
        <p:spPr>
          <a:xfrm>
            <a:off x="5233417" y="2133180"/>
            <a:ext cx="4398645" cy="2874645"/>
          </a:xfrm>
          <a:custGeom>
            <a:avLst/>
            <a:gdLst/>
            <a:ahLst/>
            <a:cxnLst/>
            <a:rect l="l" t="t" r="r" b="b"/>
            <a:pathLst>
              <a:path w="4398645" h="2874645">
                <a:moveTo>
                  <a:pt x="4398264" y="0"/>
                </a:moveTo>
                <a:lnTo>
                  <a:pt x="407670" y="0"/>
                </a:lnTo>
                <a:lnTo>
                  <a:pt x="0" y="1437132"/>
                </a:lnTo>
                <a:lnTo>
                  <a:pt x="407670" y="2874264"/>
                </a:lnTo>
                <a:lnTo>
                  <a:pt x="4398264" y="2874264"/>
                </a:lnTo>
                <a:lnTo>
                  <a:pt x="43982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object 19"/>
          <p:cNvSpPr/>
          <p:nvPr/>
        </p:nvSpPr>
        <p:spPr>
          <a:xfrm>
            <a:off x="5233417" y="2133180"/>
            <a:ext cx="4398645" cy="2874645"/>
          </a:xfrm>
          <a:custGeom>
            <a:avLst/>
            <a:gdLst/>
            <a:ahLst/>
            <a:cxnLst/>
            <a:rect l="l" t="t" r="r" b="b"/>
            <a:pathLst>
              <a:path w="4398645" h="2874645">
                <a:moveTo>
                  <a:pt x="4398264" y="2874264"/>
                </a:moveTo>
                <a:lnTo>
                  <a:pt x="407670" y="2874264"/>
                </a:lnTo>
                <a:lnTo>
                  <a:pt x="0" y="1437132"/>
                </a:lnTo>
                <a:lnTo>
                  <a:pt x="407670" y="0"/>
                </a:lnTo>
                <a:lnTo>
                  <a:pt x="4398264" y="0"/>
                </a:lnTo>
                <a:lnTo>
                  <a:pt x="4398264" y="2874264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object 20"/>
          <p:cNvSpPr/>
          <p:nvPr/>
        </p:nvSpPr>
        <p:spPr>
          <a:xfrm>
            <a:off x="245365" y="2104224"/>
            <a:ext cx="4480560" cy="29870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object 21"/>
          <p:cNvSpPr/>
          <p:nvPr/>
        </p:nvSpPr>
        <p:spPr>
          <a:xfrm>
            <a:off x="274320" y="2133180"/>
            <a:ext cx="4368165" cy="2874645"/>
          </a:xfrm>
          <a:custGeom>
            <a:avLst/>
            <a:gdLst/>
            <a:ahLst/>
            <a:cxnLst/>
            <a:rect l="l" t="t" r="r" b="b"/>
            <a:pathLst>
              <a:path w="4368165" h="2874645">
                <a:moveTo>
                  <a:pt x="3960114" y="0"/>
                </a:moveTo>
                <a:lnTo>
                  <a:pt x="0" y="0"/>
                </a:lnTo>
                <a:lnTo>
                  <a:pt x="0" y="2874264"/>
                </a:lnTo>
                <a:lnTo>
                  <a:pt x="3960114" y="2874264"/>
                </a:lnTo>
                <a:lnTo>
                  <a:pt x="4367783" y="1437132"/>
                </a:lnTo>
                <a:lnTo>
                  <a:pt x="39601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object 22"/>
          <p:cNvSpPr/>
          <p:nvPr/>
        </p:nvSpPr>
        <p:spPr>
          <a:xfrm>
            <a:off x="274320" y="2133180"/>
            <a:ext cx="4368165" cy="2874645"/>
          </a:xfrm>
          <a:custGeom>
            <a:avLst/>
            <a:gdLst/>
            <a:ahLst/>
            <a:cxnLst/>
            <a:rect l="l" t="t" r="r" b="b"/>
            <a:pathLst>
              <a:path w="4368165" h="2874645">
                <a:moveTo>
                  <a:pt x="0" y="0"/>
                </a:moveTo>
                <a:lnTo>
                  <a:pt x="3960114" y="0"/>
                </a:lnTo>
                <a:lnTo>
                  <a:pt x="4367783" y="1437132"/>
                </a:lnTo>
                <a:lnTo>
                  <a:pt x="3960114" y="2874264"/>
                </a:lnTo>
                <a:lnTo>
                  <a:pt x="0" y="287426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object 23"/>
          <p:cNvSpPr txBox="1"/>
          <p:nvPr/>
        </p:nvSpPr>
        <p:spPr>
          <a:xfrm>
            <a:off x="263652" y="5322912"/>
            <a:ext cx="9324340" cy="6983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392430" indent="42863" algn="ctr" latinLnBrk="0"/>
            <a:r>
              <a:rPr lang="ko-KR" altLang="en-US" sz="1600" b="1" spc="-7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카드 </a:t>
            </a:r>
            <a:r>
              <a:rPr sz="1600" b="1" spc="-7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차세대</a:t>
            </a:r>
            <a:r>
              <a:rPr sz="1600" b="1" spc="-10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프로젝트</a:t>
            </a:r>
            <a:r>
              <a:rPr sz="1600" b="1" spc="-8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최다</a:t>
            </a:r>
            <a:r>
              <a:rPr sz="1600" b="1" spc="-10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 err="1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경험</a:t>
            </a:r>
            <a:r>
              <a:rPr lang="ko-KR" altLang="en-US" sz="1600" spc="-7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을</a:t>
            </a:r>
            <a:r>
              <a:rPr lang="en-US" sz="1600" spc="-7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lang="ko-KR" altLang="en-US" sz="1600" spc="-7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보유하고</a:t>
            </a:r>
            <a:r>
              <a:rPr lang="ko-KR" altLang="en-US" sz="1600" b="1" spc="-7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lang="en-US" altLang="ko-KR" sz="1600" b="1" spc="-7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NH</a:t>
            </a:r>
            <a:r>
              <a:rPr lang="ko-KR" altLang="en-US" sz="1600" b="1" spc="-7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농협카드에 대한 이해도과 높은 </a:t>
            </a:r>
            <a:r>
              <a:rPr lang="en-US" sz="1600" b="1" i="1" spc="-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KPMG</a:t>
            </a:r>
            <a:r>
              <a:rPr sz="1600" b="1" spc="-7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와</a:t>
            </a:r>
            <a:r>
              <a:rPr sz="1600" b="1" spc="-13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lang="en-US" sz="1600" i="1" spc="-1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wC, EY</a:t>
            </a:r>
            <a:r>
              <a:rPr lang="ko-KR" altLang="en-US" sz="1600" i="1" spc="-1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가</a:t>
            </a:r>
            <a:r>
              <a:rPr sz="1600" b="1" spc="-12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 err="1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협업을</a:t>
            </a:r>
            <a:r>
              <a:rPr sz="1600" b="1" spc="-80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60" dirty="0" err="1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통해</a:t>
            </a:r>
            <a:r>
              <a:rPr sz="1600" b="1" spc="-125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60" dirty="0" err="1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성공적인</a:t>
            </a:r>
            <a:r>
              <a:rPr sz="1600" b="1" spc="-110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수행을</a:t>
            </a:r>
            <a:r>
              <a:rPr sz="1600" b="1" spc="-10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600" b="1" spc="-75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담보함</a:t>
            </a:r>
            <a:endParaRPr sz="1600" dirty="0"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</p:txBody>
      </p:sp>
      <p:sp>
        <p:nvSpPr>
          <p:cNvPr id="73" name="object 25"/>
          <p:cNvSpPr/>
          <p:nvPr/>
        </p:nvSpPr>
        <p:spPr>
          <a:xfrm>
            <a:off x="272480" y="1470240"/>
            <a:ext cx="1490472" cy="6309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object 27"/>
          <p:cNvSpPr txBox="1"/>
          <p:nvPr/>
        </p:nvSpPr>
        <p:spPr>
          <a:xfrm>
            <a:off x="344488" y="2261993"/>
            <a:ext cx="3621153" cy="26715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lvl="0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투입 인력이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한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삼성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민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C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/ISP/MP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터 개발 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르기까지 실제적인 경험 보유</a:t>
            </a:r>
            <a:endParaRPr lang="en-US" altLang="ko-KR" sz="14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2563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도 카드사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널 등에서 전략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행</a:t>
            </a:r>
            <a:r>
              <a:rPr lang="en-US" altLang="ko-KR" sz="1400" b="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련 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수행</a:t>
            </a:r>
          </a:p>
          <a:p>
            <a:pPr marL="182563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금융지주 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컨설팅 다수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을 통한 경영관리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등 포괄적인 이해도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활용</a:t>
            </a:r>
            <a:endParaRPr lang="en-GB" altLang="ko-KR" sz="14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object 31"/>
          <p:cNvSpPr txBox="1"/>
          <p:nvPr/>
        </p:nvSpPr>
        <p:spPr>
          <a:xfrm>
            <a:off x="3939305" y="2745088"/>
            <a:ext cx="1908000" cy="1476000"/>
          </a:xfrm>
          <a:prstGeom prst="ellipse">
            <a:avLst/>
          </a:prstGeom>
          <a:solidFill>
            <a:srgbClr val="1B3A87"/>
          </a:solidFill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 indent="5715" algn="ctr">
              <a:lnSpc>
                <a:spcPct val="94800"/>
              </a:lnSpc>
            </a:pPr>
            <a:r>
              <a:rPr lang="ko-KR" altLang="en-US" sz="1600" i="1" spc="1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차세대 시스템 구축을 위한 </a:t>
            </a:r>
            <a:r>
              <a:rPr lang="en-US" altLang="ko-KR" sz="1600" i="1" spc="1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600" i="1" spc="1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600" i="1" spc="1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실행력 확보</a:t>
            </a:r>
            <a:endParaRPr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</p:txBody>
      </p:sp>
      <p:pic>
        <p:nvPicPr>
          <p:cNvPr id="80" name="Picture 2" descr="File:Pwc logo.sv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432" y="1508803"/>
            <a:ext cx="790630" cy="580943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18" name="object 27"/>
          <p:cNvSpPr txBox="1"/>
          <p:nvPr/>
        </p:nvSpPr>
        <p:spPr>
          <a:xfrm>
            <a:off x="5942031" y="2261993"/>
            <a:ext cx="3621153" cy="20251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lvl="0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수의 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컨설팅 프로젝트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수행  경험으로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해도 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높음</a:t>
            </a:r>
            <a:endParaRPr lang="en-US" altLang="ko-KR" sz="1400" u="sng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2563" lvl="0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근까지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삼성카드 상품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컨설팅을 수행한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문인력 투입</a:t>
            </a:r>
            <a:endParaRPr lang="en-US" altLang="ko-KR" sz="1400" u="sng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2563" lvl="0" indent="-182563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삼성</a:t>
            </a:r>
            <a:r>
              <a:rPr lang="en-US" altLang="ko-KR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u="sng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롯데카드</a:t>
            </a:r>
            <a:r>
              <a:rPr lang="ko-KR" altLang="en-US" sz="1400" u="sng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사 </a:t>
            </a:r>
            <a:r>
              <a:rPr lang="en-US" altLang="ko-KR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 </a:t>
            </a:r>
            <a:r>
              <a:rPr lang="ko-KR" altLang="en-US" sz="1400" u="sng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험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해 다양한 카드사 </a:t>
            </a:r>
            <a:r>
              <a:rPr lang="ko-KR" altLang="en-US" sz="14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레퍼런스</a:t>
            </a:r>
            <a:r>
              <a:rPr lang="ko-KR" altLang="en-US" sz="14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유</a:t>
            </a:r>
            <a:endParaRPr lang="ko-KR" altLang="en-US" sz="14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095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추진 조직 구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할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효율적 프로젝트 운영을 위하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업무 영역별 담당 역할을 명확히 정의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행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4" name="Group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907029"/>
              </p:ext>
            </p:extLst>
          </p:nvPr>
        </p:nvGraphicFramePr>
        <p:xfrm>
          <a:off x="449399" y="1439670"/>
          <a:ext cx="9007202" cy="4461363"/>
        </p:xfrm>
        <a:graphic>
          <a:graphicData uri="http://schemas.openxmlformats.org/drawingml/2006/table">
            <a:tbl>
              <a:tblPr/>
              <a:tblGrid>
                <a:gridCol w="11074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43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1451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4708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31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91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9194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9194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요</a:t>
                      </a: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</a:t>
                      </a:r>
                      <a:r>
                        <a:rPr kumimoji="0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역할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919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659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roject Mgmt. Office</a:t>
                      </a:r>
                      <a:b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PMO)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공통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teering Committee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방향성 제시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및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Sponsorship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제공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핵심 이슈 논의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4342">
                <a:tc vMerge="1">
                  <a:txBody>
                    <a:bodyPr/>
                    <a:lstStyle/>
                    <a:p>
                      <a:pPr marL="92075" marR="0" lvl="0" indent="-92075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NH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차세대 </a:t>
                      </a: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TFT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내부 커뮤니케이션 수행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단계별 프로젝트 산출물 리뷰 및 확인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이슈 및 현업과의 협의 필요 시 협의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사결정 지원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50872">
                <a:tc vMerge="1">
                  <a:txBody>
                    <a:bodyPr/>
                    <a:lstStyle/>
                    <a:p>
                      <a:pPr marL="92075" marR="0" lvl="0" indent="-92075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KPMG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roject Executive</a:t>
                      </a:r>
                    </a:p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roject</a:t>
                      </a:r>
                      <a:r>
                        <a:rPr kumimoji="1" lang="en-US" altLang="ko-KR" sz="1200" b="1" kern="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Manager</a:t>
                      </a:r>
                    </a:p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ko-KR" altLang="en-US" sz="1200" b="1" kern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젝트 자문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담당 파트너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방향성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지휘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및 변화관리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roject Manager :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전반적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관리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정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품질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이슈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소통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자문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각 전문 영역에 대한 프로젝트 자문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품질보증 지원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8082">
                <a:tc rowSpan="2">
                  <a:txBody>
                    <a:bodyPr/>
                    <a:lstStyle/>
                    <a:p>
                      <a:pPr marL="92075" marR="0" lvl="0" indent="-92075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실무 조직</a:t>
                      </a: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NH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ko-KR" altLang="en-US" sz="1200" b="1" kern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상주</a:t>
                      </a:r>
                      <a:r>
                        <a:rPr kumimoji="1" lang="en-US" altLang="ko-KR" sz="1200" b="1" kern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 b="1" kern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비상주</a:t>
                      </a:r>
                      <a:r>
                        <a:rPr kumimoji="1" lang="ko-KR" altLang="en-US" sz="1200" b="1" kern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력</a:t>
                      </a: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분사</a:t>
                      </a: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IT</a:t>
                      </a:r>
                      <a:r>
                        <a:rPr kumimoji="1" lang="ko-KR" altLang="en-US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본부분사</a:t>
                      </a:r>
                      <a:r>
                        <a:rPr kumimoji="1" lang="en-US" altLang="ko-KR" sz="1200" b="1" kern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s-Is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 프로세스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정리 및 작성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To-Be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세스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작성 지원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요건 정의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개발계획 작성 지원 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66575">
                <a:tc vMerge="1">
                  <a:txBody>
                    <a:bodyPr/>
                    <a:lstStyle/>
                    <a:p>
                      <a:pPr marL="92075" marR="0" lvl="0" indent="-92075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KPMG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영역별 컨설턴트</a:t>
                      </a:r>
                      <a:endParaRPr kumimoji="0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s-Is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 프로세스 작성에 대해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NH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가이드 및 관리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To-Be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세스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작성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요건 정의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개발계획 수립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D4D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추진 조직 및 일정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137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투입 인력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획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 수행을 위하여 전체 </a:t>
            </a:r>
            <a:r>
              <a:rPr lang="en-US" altLang="ko-KR" dirty="0"/>
              <a:t>9</a:t>
            </a:r>
            <a:r>
              <a:rPr lang="ko-KR" altLang="en-US" dirty="0"/>
              <a:t>개월간</a:t>
            </a:r>
            <a:r>
              <a:rPr lang="en-US" altLang="ko-KR" dirty="0"/>
              <a:t> 136.8MM</a:t>
            </a:r>
            <a:r>
              <a:rPr lang="ko-KR" altLang="en-US" dirty="0"/>
              <a:t>의 인력을 투입함</a:t>
            </a:r>
          </a:p>
        </p:txBody>
      </p:sp>
      <p:sp>
        <p:nvSpPr>
          <p:cNvPr id="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안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추진 조직 및 일정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516302"/>
              </p:ext>
            </p:extLst>
          </p:nvPr>
        </p:nvGraphicFramePr>
        <p:xfrm>
          <a:off x="286039" y="1268700"/>
          <a:ext cx="9347481" cy="50765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0537"/>
                <a:gridCol w="1066037"/>
                <a:gridCol w="1238219"/>
                <a:gridCol w="576064"/>
                <a:gridCol w="505778"/>
                <a:gridCol w="521175"/>
                <a:gridCol w="504364"/>
                <a:gridCol w="453923"/>
                <a:gridCol w="453923"/>
                <a:gridCol w="453923"/>
                <a:gridCol w="453923"/>
                <a:gridCol w="453923"/>
                <a:gridCol w="453923"/>
                <a:gridCol w="453923"/>
                <a:gridCol w="453923"/>
                <a:gridCol w="453923"/>
              </a:tblGrid>
              <a:tr h="19394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 구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급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사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3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4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5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6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7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8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9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/M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214454">
                <a:tc rowSpan="3"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담당 파트너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재박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트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필석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무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gridSpan="2" v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 hMerge="1" v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 (</a:t>
                      </a:r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분석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류경범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즈니스 그룹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연호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강우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세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민정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동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프로세싱 그룹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프로세싱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입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진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영근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익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인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정호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현숙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룹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계획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문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지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현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승열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진영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룹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춘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정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/S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동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4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/T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화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60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2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7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2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.7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2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2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2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.7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.7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6.8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149" marR="1149" marT="114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002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4598920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174847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관리 방안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검증된 글로벌 방법론과 국내 대규모 구축 </a:t>
            </a:r>
            <a:r>
              <a:rPr lang="en-US" altLang="ko-KR" dirty="0"/>
              <a:t>PMO </a:t>
            </a:r>
            <a:r>
              <a:rPr lang="ko-KR" altLang="en-US" dirty="0"/>
              <a:t>프로젝트 경험을 통하여 표준 관리 방법론을 보유하고 있음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5787" y="1591067"/>
            <a:ext cx="2831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lobal KPMG </a:t>
            </a:r>
            <a:r>
              <a:rPr kumimoji="1"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법론 </a:t>
            </a:r>
            <a:r>
              <a:rPr kumimoji="1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ference</a:t>
            </a:r>
            <a:endParaRPr kumimoji="1" lang="ko-KR" altLang="en-US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AutoShape 74"/>
          <p:cNvSpPr>
            <a:spLocks noChangeArrowheads="1"/>
          </p:cNvSpPr>
          <p:nvPr/>
        </p:nvSpPr>
        <p:spPr bwMode="auto">
          <a:xfrm rot="16200000">
            <a:off x="1615363" y="3747646"/>
            <a:ext cx="4065890" cy="625648"/>
          </a:xfrm>
          <a:custGeom>
            <a:avLst/>
            <a:gdLst>
              <a:gd name="T0" fmla="*/ 3961108 w 21600"/>
              <a:gd name="T1" fmla="*/ 396081 h 21600"/>
              <a:gd name="T2" fmla="*/ 2079625 w 21600"/>
              <a:gd name="T3" fmla="*/ 792162 h 21600"/>
              <a:gd name="T4" fmla="*/ 198142 w 21600"/>
              <a:gd name="T5" fmla="*/ 396081 h 21600"/>
              <a:gd name="T6" fmla="*/ 2079625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29 w 21600"/>
              <a:gd name="T13" fmla="*/ 2829 h 21600"/>
              <a:gd name="T14" fmla="*/ 18771 w 21600"/>
              <a:gd name="T15" fmla="*/ 187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57" y="21600"/>
                </a:lnTo>
                <a:lnTo>
                  <a:pt x="19543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rgbClr val="FFFFFF">
                  <a:alpha val="42000"/>
                </a:srgbClr>
              </a:gs>
            </a:gsLst>
            <a:lin ang="5400000" scaled="1"/>
          </a:gra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273049" y="2018131"/>
            <a:ext cx="3285043" cy="397413"/>
          </a:xfrm>
          <a:prstGeom prst="rect">
            <a:avLst/>
          </a:prstGeom>
          <a:solidFill>
            <a:srgbClr val="00338D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kumimoji="1"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PM (Program and Project Management)</a:t>
            </a:r>
            <a:endParaRPr kumimoji="1" lang="ko-KR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273049" y="3461454"/>
            <a:ext cx="3285043" cy="397413"/>
          </a:xfrm>
          <a:prstGeom prst="rect">
            <a:avLst/>
          </a:prstGeom>
          <a:solidFill>
            <a:srgbClr val="00338D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kumimoji="1"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CM (Behavioral Change Management)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273049" y="4933659"/>
            <a:ext cx="3285043" cy="397413"/>
          </a:xfrm>
          <a:prstGeom prst="rect">
            <a:avLst/>
          </a:prstGeom>
          <a:solidFill>
            <a:srgbClr val="00338D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r>
              <a:rPr kumimoji="1"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AM</a:t>
            </a:r>
            <a:br>
              <a:rPr kumimoji="1"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roject Risk Assessment And Monitoring)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273049" y="2416470"/>
            <a:ext cx="3285043" cy="847843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en-US" altLang="ko-KR" sz="13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273049" y="3859600"/>
            <a:ext cx="3285043" cy="848229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en-US" altLang="ko-KR" sz="13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273049" y="5331805"/>
            <a:ext cx="3285043" cy="848229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latinLnBrk="0">
              <a:defRPr/>
            </a:pPr>
            <a:endParaRPr kumimoji="1" lang="en-US" altLang="ko-KR" sz="13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2817385" y="4073104"/>
            <a:ext cx="72773" cy="56828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</a:pPr>
            <a:endParaRPr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5" name="Picture 9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464" y="2670893"/>
            <a:ext cx="1091631" cy="56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66" y="3932897"/>
            <a:ext cx="656215" cy="630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804" y="5418522"/>
            <a:ext cx="865516" cy="630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직사각형 17"/>
          <p:cNvSpPr/>
          <p:nvPr/>
        </p:nvSpPr>
        <p:spPr>
          <a:xfrm>
            <a:off x="306063" y="2462348"/>
            <a:ext cx="217089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defRPr/>
            </a:pP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고유 관리 방법론으로 프로그램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fecycle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따른 실용적 통합적 관리 방안을 제시</a:t>
            </a:r>
            <a:endParaRPr kumimoji="1" lang="ko-KR" altLang="en-US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06063" y="3970899"/>
            <a:ext cx="217089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defRPr/>
            </a:pPr>
            <a:r>
              <a:rPr kumimoji="1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새로운 비즈니스 모델 구축</a:t>
            </a:r>
            <a:r>
              <a:rPr kumimoji="1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 재구성</a:t>
            </a:r>
            <a:r>
              <a:rPr kumimoji="1"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변경 시 효율적 변화 관리방안 제시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306063" y="5352807"/>
            <a:ext cx="217089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 관리의 근간이 되는 방법론으로 프로젝트 시작 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 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단계에 따른 </a:t>
            </a:r>
            <a:r>
              <a:rPr lang="ko-KR" altLang="en-US" sz="1100" b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도출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방안을 제시</a:t>
            </a:r>
            <a:endParaRPr kumimoji="1" lang="ko-KR" altLang="en-US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880992" y="1478291"/>
            <a:ext cx="3875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관리 관점</a:t>
            </a:r>
            <a:r>
              <a:rPr lang="en-US" altLang="ko-KR" sz="1400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의 </a:t>
            </a:r>
            <a:r>
              <a:rPr lang="ko-KR" altLang="en-US" sz="1400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1400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lang="en-US" altLang="ko-KR" sz="1400" b="1" i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45" name="그룹 44"/>
          <p:cNvGrpSpPr/>
          <p:nvPr/>
        </p:nvGrpSpPr>
        <p:grpSpPr>
          <a:xfrm>
            <a:off x="3837709" y="1844824"/>
            <a:ext cx="5795241" cy="521868"/>
            <a:chOff x="3837709" y="2422318"/>
            <a:chExt cx="5795241" cy="574055"/>
          </a:xfrm>
        </p:grpSpPr>
        <p:sp>
          <p:nvSpPr>
            <p:cNvPr id="22" name="Rectangle 74"/>
            <p:cNvSpPr>
              <a:spLocks noChangeArrowheads="1"/>
            </p:cNvSpPr>
            <p:nvPr/>
          </p:nvSpPr>
          <p:spPr bwMode="gray">
            <a:xfrm>
              <a:off x="3837709" y="2422318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정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sp>
          <p:nvSpPr>
            <p:cNvPr id="25" name="Rectangle 75"/>
            <p:cNvSpPr>
              <a:spLocks noChangeArrowheads="1"/>
            </p:cNvSpPr>
            <p:nvPr/>
          </p:nvSpPr>
          <p:spPr bwMode="gray">
            <a:xfrm>
              <a:off x="5167422" y="2422318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 범위 및 일정 정의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BS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에 의한 통합 일정관리</a:t>
              </a:r>
            </a:p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월간 진척 보고서 관리 및 진척도 모니터링</a:t>
              </a:r>
            </a:p>
          </p:txBody>
        </p:sp>
      </p:grpSp>
      <p:grpSp>
        <p:nvGrpSpPr>
          <p:cNvPr id="43" name="그룹 42"/>
          <p:cNvGrpSpPr/>
          <p:nvPr/>
        </p:nvGrpSpPr>
        <p:grpSpPr>
          <a:xfrm>
            <a:off x="3837709" y="2969663"/>
            <a:ext cx="5795241" cy="522654"/>
            <a:chOff x="3837709" y="3648055"/>
            <a:chExt cx="5795241" cy="574919"/>
          </a:xfrm>
        </p:grpSpPr>
        <p:sp>
          <p:nvSpPr>
            <p:cNvPr id="23" name="Rectangle 77"/>
            <p:cNvSpPr>
              <a:spLocks noChangeArrowheads="1"/>
            </p:cNvSpPr>
            <p:nvPr/>
          </p:nvSpPr>
          <p:spPr bwMode="gray">
            <a:xfrm>
              <a:off x="3837709" y="3648919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사소통 관리</a:t>
              </a:r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5167422" y="3648055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사소통 계획 수립 및 의사소통 수행</a:t>
              </a:r>
            </a:p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후 처리 </a:t>
              </a: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3837709" y="3532672"/>
            <a:ext cx="5795241" cy="523046"/>
            <a:chOff x="3837709" y="4260924"/>
            <a:chExt cx="5795241" cy="575350"/>
          </a:xfrm>
        </p:grpSpPr>
        <p:sp>
          <p:nvSpPr>
            <p:cNvPr id="24" name="Rectangle 77"/>
            <p:cNvSpPr>
              <a:spLocks noChangeArrowheads="1"/>
            </p:cNvSpPr>
            <p:nvPr/>
          </p:nvSpPr>
          <p:spPr bwMode="gray">
            <a:xfrm>
              <a:off x="3837709" y="4262219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 관리</a:t>
              </a:r>
            </a:p>
          </p:txBody>
        </p: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5167422" y="4260924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시 품질 관리</a:t>
              </a:r>
            </a:p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단계 별 산출물 승인 지원 관리</a:t>
              </a:r>
            </a:p>
          </p:txBody>
        </p:sp>
      </p:grpSp>
      <p:grpSp>
        <p:nvGrpSpPr>
          <p:cNvPr id="44" name="그룹 43"/>
          <p:cNvGrpSpPr/>
          <p:nvPr/>
        </p:nvGrpSpPr>
        <p:grpSpPr>
          <a:xfrm>
            <a:off x="3837709" y="2407047"/>
            <a:ext cx="5795241" cy="522261"/>
            <a:chOff x="3837709" y="3035186"/>
            <a:chExt cx="5795241" cy="574487"/>
          </a:xfrm>
        </p:grpSpPr>
        <p:sp>
          <p:nvSpPr>
            <p:cNvPr id="28" name="Rectangle 74"/>
            <p:cNvSpPr>
              <a:spLocks noChangeArrowheads="1"/>
            </p:cNvSpPr>
            <p:nvPr/>
          </p:nvSpPr>
          <p:spPr bwMode="gray">
            <a:xfrm>
              <a:off x="3837709" y="3035618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력 관리</a:t>
              </a:r>
            </a:p>
          </p:txBody>
        </p:sp>
        <p:sp>
          <p:nvSpPr>
            <p:cNvPr id="29" name="Rectangle 75"/>
            <p:cNvSpPr>
              <a:spLocks noChangeArrowheads="1"/>
            </p:cNvSpPr>
            <p:nvPr/>
          </p:nvSpPr>
          <p:spPr bwMode="gray">
            <a:xfrm>
              <a:off x="5167422" y="3035186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심인력은 프로젝트 초기 투입 시 별도 분류하여 관리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력 교체 등의 사유 발생 시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련자 협의를 통해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속히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해결</a:t>
              </a: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3837709" y="4659474"/>
            <a:ext cx="5795241" cy="523046"/>
            <a:chOff x="3837709" y="4888846"/>
            <a:chExt cx="5795241" cy="575350"/>
          </a:xfrm>
        </p:grpSpPr>
        <p:sp>
          <p:nvSpPr>
            <p:cNvPr id="31" name="Rectangle 77"/>
            <p:cNvSpPr>
              <a:spLocks noChangeArrowheads="1"/>
            </p:cNvSpPr>
            <p:nvPr/>
          </p:nvSpPr>
          <p:spPr bwMode="gray">
            <a:xfrm>
              <a:off x="3837709" y="4890141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슈</a:t>
              </a:r>
              <a:r>
                <a:rPr lang="en-US" altLang="ko-KR" sz="1200" b="1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1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위험 관리</a:t>
              </a:r>
              <a:endPara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22"/>
            <p:cNvSpPr>
              <a:spLocks noChangeArrowheads="1"/>
            </p:cNvSpPr>
            <p:nvPr/>
          </p:nvSpPr>
          <p:spPr bwMode="auto">
            <a:xfrm>
              <a:off x="5167422" y="4888846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슈 및 위험관리 경험을 체계적으로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형화하고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상되는 문제는 사전정의 하여 </a:t>
              </a:r>
              <a:r>
                <a:rPr lang="ko-KR" altLang="en-US" sz="1200" b="0" dirty="0" err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리스크를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최소화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3837709" y="4096073"/>
            <a:ext cx="5795241" cy="523046"/>
            <a:chOff x="3837709" y="5516768"/>
            <a:chExt cx="5795241" cy="575350"/>
          </a:xfrm>
        </p:grpSpPr>
        <p:sp>
          <p:nvSpPr>
            <p:cNvPr id="33" name="Rectangle 77"/>
            <p:cNvSpPr>
              <a:spLocks noChangeArrowheads="1"/>
            </p:cNvSpPr>
            <p:nvPr/>
          </p:nvSpPr>
          <p:spPr bwMode="gray">
            <a:xfrm>
              <a:off x="3837709" y="5518063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진척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auto">
            <a:xfrm>
              <a:off x="5167422" y="5516768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수행 각 단계별로 프로젝트 수행 진척사항에 대하여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NH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농협카드 및 프로젝트 관리자에 의하여 검증 및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승인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3837709" y="5222875"/>
            <a:ext cx="5795241" cy="523046"/>
            <a:chOff x="3837709" y="5914153"/>
            <a:chExt cx="5795241" cy="575350"/>
          </a:xfrm>
        </p:grpSpPr>
        <p:sp>
          <p:nvSpPr>
            <p:cNvPr id="35" name="Rectangle 77"/>
            <p:cNvSpPr>
              <a:spLocks noChangeArrowheads="1"/>
            </p:cNvSpPr>
            <p:nvPr/>
          </p:nvSpPr>
          <p:spPr bwMode="gray">
            <a:xfrm>
              <a:off x="3837709" y="5915448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b="1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출물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sp>
          <p:nvSpPr>
            <p:cNvPr id="36" name="Rectangle 22"/>
            <p:cNvSpPr>
              <a:spLocks noChangeArrowheads="1"/>
            </p:cNvSpPr>
            <p:nvPr/>
          </p:nvSpPr>
          <p:spPr bwMode="auto">
            <a:xfrm>
              <a:off x="5167422" y="5914153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진행중인 산출물과 최종 산출물을 각각 다른 방법으로 검수 및 관리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3837709" y="5786274"/>
            <a:ext cx="5795241" cy="523046"/>
            <a:chOff x="3837709" y="6458045"/>
            <a:chExt cx="5795241" cy="575350"/>
          </a:xfrm>
        </p:grpSpPr>
        <p:sp>
          <p:nvSpPr>
            <p:cNvPr id="37" name="Rectangle 77"/>
            <p:cNvSpPr>
              <a:spLocks noChangeArrowheads="1"/>
            </p:cNvSpPr>
            <p:nvPr/>
          </p:nvSpPr>
          <p:spPr bwMode="gray">
            <a:xfrm>
              <a:off x="3837709" y="6459340"/>
              <a:ext cx="1264013" cy="574055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36000" tIns="36000" rIns="36000" bIns="36000" anchor="ctr"/>
            <a:lstStyle/>
            <a:p>
              <a:pPr algn="ctr" latinLnBrk="0">
                <a:lnSpc>
                  <a:spcPts val="1200"/>
                </a:lnSpc>
                <a:spcBef>
                  <a:spcPct val="50000"/>
                </a:spcBef>
              </a:pPr>
              <a:r>
                <a:rPr lang="ko-KR" altLang="en-US" sz="120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안</a:t>
              </a:r>
              <a:r>
                <a:rPr lang="ko-KR" altLang="en-US" sz="1200" b="1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리</a:t>
              </a:r>
            </a:p>
          </p:txBody>
        </p:sp>
        <p:sp>
          <p:nvSpPr>
            <p:cNvPr id="38" name="Rectangle 22"/>
            <p:cNvSpPr>
              <a:spLocks noChangeArrowheads="1"/>
            </p:cNvSpPr>
            <p:nvPr/>
          </p:nvSpPr>
          <p:spPr bwMode="auto">
            <a:xfrm>
              <a:off x="5167422" y="6458045"/>
              <a:ext cx="4465528" cy="57405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측 가능한 모든 부분에 대한 보안관리 대응전략을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유</a:t>
              </a:r>
              <a:endPara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8900" indent="-88900" latinLnBrk="0">
                <a:lnSpc>
                  <a:spcPts val="1200"/>
                </a:lnSpc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적 보안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료보안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장비보안으로 나누어 관리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4241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척 관리 방안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수행 각 단계별로 프로젝트 수행 진척사항에 대하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프로젝트 관리자에 의하여 검증 및 승인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364973"/>
              </p:ext>
            </p:extLst>
          </p:nvPr>
        </p:nvGraphicFramePr>
        <p:xfrm>
          <a:off x="272350" y="2014538"/>
          <a:ext cx="6120071" cy="4068762"/>
        </p:xfrm>
        <a:graphic>
          <a:graphicData uri="http://schemas.openxmlformats.org/drawingml/2006/table">
            <a:tbl>
              <a:tblPr/>
              <a:tblGrid>
                <a:gridCol w="1113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91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923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0963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카드</a:t>
                      </a:r>
                      <a:endParaRPr kumimoji="0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관리자</a:t>
                      </a: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수행팀</a:t>
                      </a: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446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lanning</a:t>
                      </a: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1450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anagement &amp; Contro</a:t>
                      </a:r>
                      <a:r>
                        <a:rPr kumimoji="0" lang="en-US" altLang="ko-KR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</a:t>
                      </a: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Optima" pitchFamily="2" charset="2"/>
                        <a:buNone/>
                        <a:tabLst/>
                      </a:pPr>
                      <a:endParaRPr kumimoji="0" lang="ko-KR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1985" marR="71985" marT="90008" marB="54005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Rectangle 60"/>
          <p:cNvSpPr>
            <a:spLocks noChangeArrowheads="1"/>
          </p:cNvSpPr>
          <p:nvPr/>
        </p:nvSpPr>
        <p:spPr bwMode="gray">
          <a:xfrm>
            <a:off x="1475934" y="2800350"/>
            <a:ext cx="850900" cy="4318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WBS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승인</a:t>
            </a:r>
          </a:p>
        </p:txBody>
      </p:sp>
      <p:sp>
        <p:nvSpPr>
          <p:cNvPr id="6" name="Rectangle 60"/>
          <p:cNvSpPr>
            <a:spLocks noChangeArrowheads="1"/>
          </p:cNvSpPr>
          <p:nvPr/>
        </p:nvSpPr>
        <p:spPr bwMode="gray">
          <a:xfrm>
            <a:off x="3380934" y="2800350"/>
            <a:ext cx="852487" cy="4318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WBS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검토</a:t>
            </a:r>
          </a:p>
        </p:txBody>
      </p:sp>
      <p:sp>
        <p:nvSpPr>
          <p:cNvPr id="7" name="Rectangle 60"/>
          <p:cNvSpPr>
            <a:spLocks noChangeArrowheads="1"/>
          </p:cNvSpPr>
          <p:nvPr/>
        </p:nvSpPr>
        <p:spPr bwMode="gray">
          <a:xfrm>
            <a:off x="5470084" y="2800350"/>
            <a:ext cx="850900" cy="4318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WBS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작성</a:t>
            </a:r>
          </a:p>
        </p:txBody>
      </p:sp>
      <p:sp>
        <p:nvSpPr>
          <p:cNvPr id="8" name="Rectangle 60"/>
          <p:cNvSpPr>
            <a:spLocks noChangeArrowheads="1"/>
          </p:cNvSpPr>
          <p:nvPr/>
        </p:nvSpPr>
        <p:spPr bwMode="gray">
          <a:xfrm>
            <a:off x="2793559" y="3384550"/>
            <a:ext cx="850900" cy="4318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통합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WBS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작성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60"/>
          <p:cNvSpPr>
            <a:spLocks noChangeArrowheads="1"/>
          </p:cNvSpPr>
          <p:nvPr/>
        </p:nvSpPr>
        <p:spPr bwMode="gray">
          <a:xfrm>
            <a:off x="4088959" y="3384550"/>
            <a:ext cx="850900" cy="4318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정 및 진척 관리방안 수립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gray">
          <a:xfrm>
            <a:off x="4017521" y="4333875"/>
            <a:ext cx="850900" cy="5762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젝트 진척 집계 및 모니터링</a:t>
            </a:r>
          </a:p>
        </p:txBody>
      </p:sp>
      <p:sp>
        <p:nvSpPr>
          <p:cNvPr id="11" name="Rectangle 60"/>
          <p:cNvSpPr>
            <a:spLocks noChangeArrowheads="1"/>
          </p:cNvSpPr>
          <p:nvPr/>
        </p:nvSpPr>
        <p:spPr bwMode="gray">
          <a:xfrm>
            <a:off x="5397059" y="4333875"/>
            <a:ext cx="852487" cy="5762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영역 별 프로젝트 수행</a:t>
            </a:r>
          </a:p>
        </p:txBody>
      </p:sp>
      <p:sp>
        <p:nvSpPr>
          <p:cNvPr id="12" name="Rectangle 60"/>
          <p:cNvSpPr>
            <a:spLocks noChangeArrowheads="1"/>
          </p:cNvSpPr>
          <p:nvPr/>
        </p:nvSpPr>
        <p:spPr bwMode="gray">
          <a:xfrm>
            <a:off x="2806259" y="4333875"/>
            <a:ext cx="850900" cy="5762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진척 보고서 작성</a:t>
            </a:r>
          </a:p>
        </p:txBody>
      </p:sp>
      <p:cxnSp>
        <p:nvCxnSpPr>
          <p:cNvPr id="13" name="꺾인 연결선 57"/>
          <p:cNvCxnSpPr>
            <a:cxnSpLocks noChangeShapeType="1"/>
            <a:stCxn id="7" idx="1"/>
            <a:endCxn id="6" idx="3"/>
          </p:cNvCxnSpPr>
          <p:nvPr/>
        </p:nvCxnSpPr>
        <p:spPr bwMode="auto">
          <a:xfrm rot="10800000">
            <a:off x="4233421" y="3016250"/>
            <a:ext cx="1236663" cy="1588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sp>
        <p:nvSpPr>
          <p:cNvPr id="14" name="Rectangle 60"/>
          <p:cNvSpPr>
            <a:spLocks noChangeArrowheads="1"/>
          </p:cNvSpPr>
          <p:nvPr/>
        </p:nvSpPr>
        <p:spPr bwMode="gray">
          <a:xfrm>
            <a:off x="1471171" y="4333875"/>
            <a:ext cx="850900" cy="5762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진척현황 보고접수 및 의사결정 </a:t>
            </a:r>
          </a:p>
        </p:txBody>
      </p:sp>
      <p:sp>
        <p:nvSpPr>
          <p:cNvPr id="15" name="Rectangle 60"/>
          <p:cNvSpPr>
            <a:spLocks noChangeArrowheads="1"/>
          </p:cNvSpPr>
          <p:nvPr/>
        </p:nvSpPr>
        <p:spPr bwMode="gray">
          <a:xfrm>
            <a:off x="3380934" y="5349875"/>
            <a:ext cx="852487" cy="4683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정 분석 및 조정</a:t>
            </a:r>
          </a:p>
        </p:txBody>
      </p:sp>
      <p:sp>
        <p:nvSpPr>
          <p:cNvPr id="16" name="Rectangle 60"/>
          <p:cNvSpPr>
            <a:spLocks noChangeArrowheads="1"/>
          </p:cNvSpPr>
          <p:nvPr/>
        </p:nvSpPr>
        <p:spPr bwMode="gray">
          <a:xfrm>
            <a:off x="5438334" y="5349875"/>
            <a:ext cx="850900" cy="4683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정 변경 발생</a:t>
            </a:r>
          </a:p>
        </p:txBody>
      </p:sp>
      <p:sp>
        <p:nvSpPr>
          <p:cNvPr id="17" name="Rectangle 60"/>
          <p:cNvSpPr>
            <a:spLocks noChangeArrowheads="1"/>
          </p:cNvSpPr>
          <p:nvPr/>
        </p:nvSpPr>
        <p:spPr bwMode="gray">
          <a:xfrm>
            <a:off x="1509271" y="5349875"/>
            <a:ext cx="850900" cy="4683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54000" rIns="36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정 변경 발생</a:t>
            </a:r>
          </a:p>
        </p:txBody>
      </p:sp>
      <p:cxnSp>
        <p:nvCxnSpPr>
          <p:cNvPr id="18" name="꺾인 연결선 62"/>
          <p:cNvCxnSpPr>
            <a:cxnSpLocks noChangeShapeType="1"/>
            <a:stCxn id="6" idx="1"/>
            <a:endCxn id="5" idx="3"/>
          </p:cNvCxnSpPr>
          <p:nvPr/>
        </p:nvCxnSpPr>
        <p:spPr bwMode="auto">
          <a:xfrm rot="10800000">
            <a:off x="2326834" y="3016250"/>
            <a:ext cx="1054100" cy="1588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19" name="Shape 36"/>
          <p:cNvCxnSpPr>
            <a:cxnSpLocks noChangeShapeType="1"/>
            <a:stCxn id="5" idx="2"/>
            <a:endCxn id="8" idx="1"/>
          </p:cNvCxnSpPr>
          <p:nvPr/>
        </p:nvCxnSpPr>
        <p:spPr bwMode="auto">
          <a:xfrm rot="16200000" flipH="1">
            <a:off x="2163322" y="2970212"/>
            <a:ext cx="368300" cy="892175"/>
          </a:xfrm>
          <a:prstGeom prst="bentConnector2">
            <a:avLst/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0" name="꺾인 연결선 37"/>
          <p:cNvCxnSpPr>
            <a:cxnSpLocks noChangeShapeType="1"/>
            <a:stCxn id="8" idx="3"/>
            <a:endCxn id="9" idx="1"/>
          </p:cNvCxnSpPr>
          <p:nvPr/>
        </p:nvCxnSpPr>
        <p:spPr bwMode="auto">
          <a:xfrm>
            <a:off x="3644459" y="3600450"/>
            <a:ext cx="444500" cy="0"/>
          </a:xfrm>
          <a:prstGeom prst="straightConnector1">
            <a:avLst/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1" name="꺾인 연결선 65"/>
          <p:cNvCxnSpPr>
            <a:cxnSpLocks noChangeShapeType="1"/>
            <a:stCxn id="11" idx="1"/>
            <a:endCxn id="10" idx="3"/>
          </p:cNvCxnSpPr>
          <p:nvPr/>
        </p:nvCxnSpPr>
        <p:spPr bwMode="auto">
          <a:xfrm rot="10800000">
            <a:off x="4868421" y="4621213"/>
            <a:ext cx="528638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2" name="꺾인 연결선 66"/>
          <p:cNvCxnSpPr>
            <a:cxnSpLocks noChangeShapeType="1"/>
            <a:stCxn id="10" idx="1"/>
            <a:endCxn id="12" idx="3"/>
          </p:cNvCxnSpPr>
          <p:nvPr/>
        </p:nvCxnSpPr>
        <p:spPr bwMode="auto">
          <a:xfrm rot="10800000">
            <a:off x="3657159" y="4621213"/>
            <a:ext cx="360362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3" name="꺾인 연결선 67"/>
          <p:cNvCxnSpPr>
            <a:cxnSpLocks noChangeShapeType="1"/>
            <a:stCxn id="12" idx="1"/>
            <a:endCxn id="14" idx="3"/>
          </p:cNvCxnSpPr>
          <p:nvPr/>
        </p:nvCxnSpPr>
        <p:spPr bwMode="auto">
          <a:xfrm rot="10800000">
            <a:off x="2322071" y="4621213"/>
            <a:ext cx="484188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4" name="꺾인 연결선 68"/>
          <p:cNvCxnSpPr>
            <a:cxnSpLocks noChangeShapeType="1"/>
            <a:stCxn id="14" idx="2"/>
            <a:endCxn id="15" idx="0"/>
          </p:cNvCxnSpPr>
          <p:nvPr/>
        </p:nvCxnSpPr>
        <p:spPr bwMode="auto">
          <a:xfrm rot="16200000" flipH="1">
            <a:off x="2632427" y="4174332"/>
            <a:ext cx="439737" cy="1911350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5" name="꺾인 연결선 69"/>
          <p:cNvCxnSpPr>
            <a:cxnSpLocks noChangeShapeType="1"/>
            <a:stCxn id="16" idx="1"/>
            <a:endCxn id="15" idx="3"/>
          </p:cNvCxnSpPr>
          <p:nvPr/>
        </p:nvCxnSpPr>
        <p:spPr bwMode="auto">
          <a:xfrm rot="10800000">
            <a:off x="4233421" y="5583238"/>
            <a:ext cx="1204913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cxnSp>
        <p:nvCxnSpPr>
          <p:cNvPr id="26" name="꺾인 연결선 70"/>
          <p:cNvCxnSpPr>
            <a:cxnSpLocks noChangeShapeType="1"/>
            <a:stCxn id="17" idx="3"/>
            <a:endCxn id="15" idx="1"/>
          </p:cNvCxnSpPr>
          <p:nvPr/>
        </p:nvCxnSpPr>
        <p:spPr bwMode="auto">
          <a:xfrm>
            <a:off x="2360171" y="5583238"/>
            <a:ext cx="1020763" cy="158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</p:cxnSp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6549584" y="2012950"/>
            <a:ext cx="285750" cy="377825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gray">
          <a:xfrm>
            <a:off x="6549584" y="2011363"/>
            <a:ext cx="3070225" cy="1392237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None/>
            </a:pPr>
            <a:endParaRPr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6895659" y="1989138"/>
            <a:ext cx="28813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44450" rIns="18000" bIns="44450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1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50000"/>
              <a:buFont typeface="Monotype Sorts"/>
              <a:buNone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주간회의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월간 보고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단계 말 보고를 통한 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주기적인 일정 및 진척도 관리 수행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76571" y="2489200"/>
            <a:ext cx="2990850" cy="877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2550" indent="-82550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일정과 프로젝트의 차질이 발생할 경우 이를 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Critical Risk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로 규정하고 단계별로 관리</a:t>
            </a:r>
            <a:endParaRPr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marL="95250" indent="-95250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  <a:defRPr/>
            </a:pP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주간보고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월간보고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중간보고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최종보고 등을 통해 주기적 일정 및 진척도 관리를 수행</a:t>
            </a: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auto">
          <a:xfrm>
            <a:off x="6543234" y="3536950"/>
            <a:ext cx="285750" cy="377825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2" name="Rectangle 6"/>
          <p:cNvSpPr>
            <a:spLocks noChangeArrowheads="1"/>
          </p:cNvSpPr>
          <p:nvPr/>
        </p:nvSpPr>
        <p:spPr bwMode="gray">
          <a:xfrm>
            <a:off x="6543234" y="3524250"/>
            <a:ext cx="3076575" cy="1487488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None/>
            </a:pPr>
            <a:endParaRPr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3" name="Rectangle 7"/>
          <p:cNvSpPr>
            <a:spLocks noChangeArrowheads="1"/>
          </p:cNvSpPr>
          <p:nvPr/>
        </p:nvSpPr>
        <p:spPr bwMode="auto">
          <a:xfrm>
            <a:off x="6903596" y="3587750"/>
            <a:ext cx="2930525" cy="260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44450" rIns="18000" bIns="44450">
            <a:spAutoFit/>
          </a:bodyPr>
          <a:lstStyle>
            <a:lvl1pPr marL="101600" indent="-101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1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50000"/>
              <a:buFont typeface="Monotype Sorts"/>
              <a:buNone/>
            </a:pP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WBS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</a:t>
            </a:r>
            <a:r>
              <a: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경에 대한 엄격한 관리 수행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570221" y="3897313"/>
            <a:ext cx="2997200" cy="110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2550" indent="-82550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  <a:defRPr/>
            </a:pP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WBS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대비 수행업무별 진척 정도의 차이 발생시 프로젝트 전체 일정에 대한 영향도 파악</a:t>
            </a:r>
            <a:endParaRPr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  <a:defRPr/>
            </a:pP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전체 일정에 차질이 없도록 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Catch–up Plan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수립</a:t>
            </a:r>
            <a:endParaRPr lang="en-US" altLang="ko-KR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  <a:p>
            <a:pPr marL="82550" indent="-82550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  <a:defRPr/>
            </a:pP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WBS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변경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필요 시 프로젝트 관리조직의 검증 및 승인 절차에 따라 수행 </a:t>
            </a:r>
            <a:r>
              <a:rPr lang="en-US" altLang="ko-KR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anose="020B0604020202020204" pitchFamily="34" charset="0"/>
              </a:rPr>
              <a:t> </a:t>
            </a:r>
            <a:endParaRPr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5" name="Rectangle 5"/>
          <p:cNvSpPr>
            <a:spLocks noChangeArrowheads="1"/>
          </p:cNvSpPr>
          <p:nvPr/>
        </p:nvSpPr>
        <p:spPr bwMode="auto">
          <a:xfrm>
            <a:off x="6544821" y="5121275"/>
            <a:ext cx="285750" cy="377825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>
                <a:srgbClr val="FFFFFF"/>
              </a:buClr>
              <a:buSzTx/>
              <a:buFont typeface="Monotype Sorts"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gray">
          <a:xfrm>
            <a:off x="6544821" y="5121275"/>
            <a:ext cx="3074988" cy="962025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54000" rIns="72000" bIns="54000" anchor="ctr"/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None/>
            </a:pPr>
            <a:endParaRPr lang="ko-KR" altLang="en-US" sz="11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6903596" y="5195888"/>
            <a:ext cx="2994025" cy="260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44450" rIns="18000" bIns="44450">
            <a:spAutoFit/>
          </a:bodyPr>
          <a:lstStyle>
            <a:lvl1pPr marL="101600" indent="-101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10000"/>
              </a:lnSpc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50000"/>
              <a:buFont typeface="Monotype Sorts"/>
              <a:buNone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다각적인 일정관리 지표 활용</a:t>
            </a:r>
          </a:p>
        </p:txBody>
      </p:sp>
      <p:sp>
        <p:nvSpPr>
          <p:cNvPr id="38" name="TextBox 55"/>
          <p:cNvSpPr txBox="1">
            <a:spLocks noChangeArrowheads="1"/>
          </p:cNvSpPr>
          <p:nvPr/>
        </p:nvSpPr>
        <p:spPr bwMode="auto">
          <a:xfrm>
            <a:off x="6573396" y="5611813"/>
            <a:ext cx="2994025" cy="443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다각적인 일정관리 지표를 활용하여 각 파트 별 작업자의 정확한 진척 현황 파악</a:t>
            </a:r>
            <a:endParaRPr lang="en-US" altLang="ko-KR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1218186" y="1616075"/>
            <a:ext cx="4517582" cy="325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None/>
            </a:pP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젝트 일정 및 진척 사항에 대한 검증 및 승인 절차</a:t>
            </a: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6671821" y="1616075"/>
            <a:ext cx="2933700" cy="325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1pPr>
            <a:lvl2pPr marL="742950" indent="-28575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2pPr>
            <a:lvl3pPr marL="11430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3pPr>
            <a:lvl4pPr marL="16002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4pPr>
            <a:lvl5pPr marL="2057400" indent="-228600" eaLnBrk="0" hangingPunct="0"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Optima" panose="00000400000000000000" pitchFamily="2" charset="2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20000"/>
              </a:lnSpc>
              <a:spcBef>
                <a:spcPct val="30000"/>
              </a:spcBef>
              <a:buFont typeface="Wingdings" panose="05000000000000000000" pitchFamily="2" charset="2"/>
              <a:buNone/>
            </a:pP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정 관리 방안</a:t>
            </a:r>
          </a:p>
        </p:txBody>
      </p:sp>
      <p:sp>
        <p:nvSpPr>
          <p:cNvPr id="4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49" name="Group 154"/>
          <p:cNvGrpSpPr/>
          <p:nvPr/>
        </p:nvGrpSpPr>
        <p:grpSpPr>
          <a:xfrm>
            <a:off x="8561282" y="1340768"/>
            <a:ext cx="1109768" cy="246221"/>
            <a:chOff x="8019945" y="1816742"/>
            <a:chExt cx="1109768" cy="246221"/>
          </a:xfrm>
        </p:grpSpPr>
        <p:sp>
          <p:nvSpPr>
            <p:cNvPr id="50" name="TextBox 4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5522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험 관리 방안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다양한 경험을 통해 축적된 이슈 및 위험관리 경험을 체계적으로 정형화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적으로 예상되는 문제에 대해서는 해결 방안의 사전 정의를 통해 프로젝트 리스크가 관리범위를 벗어나지 않도록 철저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273050" y="1656582"/>
            <a:ext cx="4608000" cy="3048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이슈 및 위험관리의 정의 및 목적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273050" y="1971089"/>
            <a:ext cx="4608000" cy="1843351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이슈는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Action Item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으로 의해 해결 가능한 반면</a:t>
            </a:r>
          </a:p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위험은 잠재적이고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가설을 근거로 도출되는 것이므로 즉각 해결방안은 없으나 “관리”  해야만 프로젝트에 부정적으로 미치는 영향을 방지할 수 있음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대부분의 이슈는 프로젝트 수행 중에 발견되나 위험은 주로 외부 영향으로부터 발생할 수 있기 때문에 더욱 신중한 평가 및 분석을 통해 대응방안을 수립해야 함</a:t>
            </a:r>
            <a:endParaRPr lang="en-US" altLang="ko-KR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273050" y="4183965"/>
            <a:ext cx="9359900" cy="210176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spcBef>
                <a:spcPct val="50000"/>
              </a:spcBef>
              <a:defRPr/>
            </a:pPr>
            <a:endParaRPr lang="ko-KR" altLang="en-US" dirty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5024950" y="1656582"/>
            <a:ext cx="4608000" cy="3048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이슈 및 위험관리 기대효과</a:t>
            </a:r>
            <a:endParaRPr kumimoji="1" lang="en-US" altLang="ko-KR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882650" y="4380829"/>
            <a:ext cx="1079500" cy="324000"/>
          </a:xfrm>
          <a:prstGeom prst="rect">
            <a:avLst/>
          </a:prstGeom>
          <a:solidFill>
            <a:srgbClr val="006699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위험 계획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421313" y="4380829"/>
            <a:ext cx="1081087" cy="324000"/>
          </a:xfrm>
          <a:prstGeom prst="rect">
            <a:avLst/>
          </a:prstGeom>
          <a:solidFill>
            <a:srgbClr val="006699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위험 분석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7796213" y="4380829"/>
            <a:ext cx="1079500" cy="324000"/>
          </a:xfrm>
          <a:prstGeom prst="rect">
            <a:avLst/>
          </a:prstGeom>
          <a:solidFill>
            <a:srgbClr val="006699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대응 방안</a:t>
            </a: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3187700" y="4380829"/>
            <a:ext cx="1079500" cy="324000"/>
          </a:xfrm>
          <a:prstGeom prst="rect">
            <a:avLst/>
          </a:prstGeom>
          <a:solidFill>
            <a:srgbClr val="006699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/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위험 평가</a:t>
            </a:r>
          </a:p>
        </p:txBody>
      </p:sp>
      <p:cxnSp>
        <p:nvCxnSpPr>
          <p:cNvPr id="12" name="AutoShape 14"/>
          <p:cNvCxnSpPr>
            <a:cxnSpLocks noChangeShapeType="1"/>
            <a:stCxn id="8" idx="3"/>
            <a:endCxn id="11" idx="1"/>
          </p:cNvCxnSpPr>
          <p:nvPr/>
        </p:nvCxnSpPr>
        <p:spPr bwMode="auto">
          <a:xfrm>
            <a:off x="1962150" y="4542829"/>
            <a:ext cx="1225550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none" w="sm" len="sm"/>
            <a:tailEnd type="triangle" w="med" len="med"/>
          </a:ln>
        </p:spPr>
      </p:cxnSp>
      <p:cxnSp>
        <p:nvCxnSpPr>
          <p:cNvPr id="13" name="AutoShape 15"/>
          <p:cNvCxnSpPr>
            <a:cxnSpLocks noChangeShapeType="1"/>
            <a:stCxn id="11" idx="3"/>
            <a:endCxn id="9" idx="1"/>
          </p:cNvCxnSpPr>
          <p:nvPr/>
        </p:nvCxnSpPr>
        <p:spPr bwMode="auto">
          <a:xfrm>
            <a:off x="4267200" y="4542829"/>
            <a:ext cx="1154113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none" w="sm" len="sm"/>
            <a:tailEnd type="triangle" w="med" len="med"/>
          </a:ln>
        </p:spPr>
      </p:cxnSp>
      <p:cxnSp>
        <p:nvCxnSpPr>
          <p:cNvPr id="14" name="AutoShape 16"/>
          <p:cNvCxnSpPr>
            <a:cxnSpLocks noChangeShapeType="1"/>
            <a:stCxn id="9" idx="3"/>
            <a:endCxn id="10" idx="1"/>
          </p:cNvCxnSpPr>
          <p:nvPr/>
        </p:nvCxnSpPr>
        <p:spPr bwMode="auto">
          <a:xfrm>
            <a:off x="6502400" y="4542829"/>
            <a:ext cx="1293813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none" w="sm" len="sm"/>
            <a:tailEnd type="triangle" w="med" len="med"/>
          </a:ln>
        </p:spPr>
      </p:cxnSp>
      <p:cxnSp>
        <p:nvCxnSpPr>
          <p:cNvPr id="15" name="AutoShape 17"/>
          <p:cNvCxnSpPr>
            <a:cxnSpLocks noChangeShapeType="1"/>
            <a:stCxn id="10" idx="0"/>
            <a:endCxn id="8" idx="0"/>
          </p:cNvCxnSpPr>
          <p:nvPr/>
        </p:nvCxnSpPr>
        <p:spPr bwMode="auto">
          <a:xfrm rot="16200000" flipV="1">
            <a:off x="4879182" y="924047"/>
            <a:ext cx="12700" cy="6913563"/>
          </a:xfrm>
          <a:prstGeom prst="bentConnector3">
            <a:avLst>
              <a:gd name="adj1" fmla="val 1224000"/>
            </a:avLst>
          </a:prstGeom>
          <a:noFill/>
          <a:ln w="12700">
            <a:solidFill>
              <a:srgbClr val="333333"/>
            </a:solidFill>
            <a:miter lim="800000"/>
            <a:headEnd type="none" w="sm" len="sm"/>
            <a:tailEnd type="triangle" w="med" len="med"/>
          </a:ln>
        </p:spPr>
      </p:cxnSp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776288" y="4722713"/>
            <a:ext cx="1835150" cy="1006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든 프로젝트간의 상호 연관관계 및 복잡성을 고려함</a:t>
            </a:r>
          </a:p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hought leadership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제공하고 위험 제거에 초점을 둠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3079750" y="4722713"/>
            <a:ext cx="2341563" cy="1311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이슈의 실제 발생 확률 및 잠재적 영향을 기준으로 위험도를 배분함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하로 배분함</a:t>
            </a:r>
          </a:p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위험에 대한 설명을 모든 팀에 최대한 명확히 전달함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복적이고 다양한 각도에서 위험을 평가함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 Box 20"/>
          <p:cNvSpPr txBox="1">
            <a:spLocks noChangeArrowheads="1"/>
          </p:cNvSpPr>
          <p:nvPr/>
        </p:nvSpPr>
        <p:spPr bwMode="auto">
          <a:xfrm>
            <a:off x="5311775" y="4714776"/>
            <a:ext cx="2198497" cy="1158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기적으로 위험 목록을 작성하여 모든 프로젝트 팀원에게 배포함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</a:p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위험이 실제 발생되어 이슈화 되었을 경우 각 프로젝트 및 프로그램 단위에 미치는 영향을 분석함</a:t>
            </a:r>
          </a:p>
        </p:txBody>
      </p:sp>
      <p:sp>
        <p:nvSpPr>
          <p:cNvPr id="19" name="Text Box 21"/>
          <p:cNvSpPr txBox="1">
            <a:spLocks noChangeArrowheads="1"/>
          </p:cNvSpPr>
          <p:nvPr/>
        </p:nvSpPr>
        <p:spPr bwMode="auto">
          <a:xfrm>
            <a:off x="7688263" y="4722713"/>
            <a:ext cx="1835150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74625" indent="-174625" eaLnBrk="0" latinLnBrk="0" hangingPunct="0">
              <a:lnSpc>
                <a:spcPct val="11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스트 노출을 최소화하고 잠재적인 손해를 최소화 할 수 있도록 방안을 제시함</a:t>
            </a: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5024950" y="1971089"/>
            <a:ext cx="4608000" cy="18433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실제적인 위험 및 잠재적인 리스트 도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구분 및 평가하여 적시에 대응 방안 수립</a:t>
            </a:r>
          </a:p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대응 방안 수립 시에 </a:t>
            </a:r>
          </a:p>
          <a:p>
            <a:pPr lvl="1" latinLnBrk="0">
              <a:spcBef>
                <a:spcPct val="20000"/>
              </a:spcBef>
              <a:buFont typeface="Arial" pitchFamily="34" charset="0"/>
              <a:buChar char="−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리스크에 대한 노출 최소화</a:t>
            </a:r>
          </a:p>
          <a:p>
            <a:pPr lvl="1" latinLnBrk="0">
              <a:spcBef>
                <a:spcPct val="20000"/>
              </a:spcBef>
              <a:buFont typeface="Arial" pitchFamily="34" charset="0"/>
              <a:buChar char="−"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복구 절차 수립 또는 개선</a:t>
            </a:r>
          </a:p>
          <a:p>
            <a:pPr marL="182563" indent="-182563" latinLnBrk="0">
              <a:spcBef>
                <a:spcPct val="2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이슈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범위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일정 등과 관련된 여러 종류의 리스크 관리</a:t>
            </a:r>
          </a:p>
          <a:p>
            <a:pPr lvl="1" latinLnBrk="0">
              <a:spcBef>
                <a:spcPct val="20000"/>
              </a:spcBef>
              <a:buFont typeface="Arial" pitchFamily="34" charset="0"/>
              <a:buChar char="−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프로젝트 계획 리스크</a:t>
            </a:r>
          </a:p>
          <a:p>
            <a:pPr lvl="1" latinLnBrk="0">
              <a:spcBef>
                <a:spcPct val="20000"/>
              </a:spcBef>
              <a:buFont typeface="Arial" pitchFamily="34" charset="0"/>
              <a:buChar char="−"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외부 의존적 리스크</a:t>
            </a:r>
          </a:p>
          <a:p>
            <a:pPr lvl="1" latinLnBrk="0">
              <a:spcBef>
                <a:spcPct val="20000"/>
              </a:spcBef>
              <a:buFont typeface="Arial" pitchFamily="34" charset="0"/>
              <a:buChar char="−"/>
            </a:pP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비즈니스 리스크 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(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법률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규정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</a:t>
            </a:r>
            <a:r>
              <a:rPr lang="ko-KR" altLang="en-US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시장변화 등의 요소</a:t>
            </a:r>
            <a:r>
              <a:rPr lang="en-US" altLang="ko-KR" sz="105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)</a:t>
            </a:r>
            <a:endParaRPr lang="en-US" altLang="ko-KR" sz="11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20" name="Rectangle 22"/>
          <p:cNvSpPr>
            <a:spLocks noChangeArrowheads="1"/>
          </p:cNvSpPr>
          <p:nvPr/>
        </p:nvSpPr>
        <p:spPr bwMode="auto">
          <a:xfrm>
            <a:off x="273050" y="3856980"/>
            <a:ext cx="9359900" cy="3048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위험관리 절차 </a:t>
            </a:r>
          </a:p>
        </p:txBody>
      </p:sp>
    </p:spTree>
    <p:extLst>
      <p:ext uri="{BB962C8B-B14F-4D97-AF65-F5344CB8AC3E}">
        <p14:creationId xmlns:p14="http://schemas.microsoft.com/office/powerpoint/2010/main" val="3394901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험 관리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절차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엄격한 이슈관리를 위하여 이슈관리 프로세스가 사용될 것이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부 프로젝트 팀 간의 상호 영향 및 의존도 파악뿐만 아니라 외부 조직과의 커뮤니케이션을 통하여 각 이슈를 신속히 해결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것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AutoShape 5"/>
          <p:cNvSpPr>
            <a:spLocks noChangeArrowheads="1"/>
          </p:cNvSpPr>
          <p:nvPr/>
        </p:nvSpPr>
        <p:spPr bwMode="gray">
          <a:xfrm>
            <a:off x="5237163" y="1700808"/>
            <a:ext cx="1293812" cy="685800"/>
          </a:xfrm>
          <a:prstGeom prst="homePlate">
            <a:avLst>
              <a:gd name="adj" fmla="val 47164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이슈 로그</a:t>
            </a:r>
          </a:p>
        </p:txBody>
      </p:sp>
      <p:sp>
        <p:nvSpPr>
          <p:cNvPr id="36" name="AutoShape 6"/>
          <p:cNvSpPr>
            <a:spLocks noChangeArrowheads="1"/>
          </p:cNvSpPr>
          <p:nvPr/>
        </p:nvSpPr>
        <p:spPr bwMode="gray">
          <a:xfrm>
            <a:off x="6657975" y="1700808"/>
            <a:ext cx="1293813" cy="685800"/>
          </a:xfrm>
          <a:prstGeom prst="homePlate">
            <a:avLst>
              <a:gd name="adj" fmla="val 47164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이슈 검토 및 지정</a:t>
            </a: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gray">
          <a:xfrm>
            <a:off x="5237163" y="3780532"/>
            <a:ext cx="1293812" cy="685800"/>
          </a:xfrm>
          <a:prstGeom prst="homePlate">
            <a:avLst>
              <a:gd name="adj" fmla="val 47164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해결방안 촉진</a:t>
            </a:r>
          </a:p>
        </p:txBody>
      </p:sp>
      <p:sp>
        <p:nvSpPr>
          <p:cNvPr id="38" name="AutoShape 8"/>
          <p:cNvSpPr>
            <a:spLocks noChangeArrowheads="1"/>
          </p:cNvSpPr>
          <p:nvPr/>
        </p:nvSpPr>
        <p:spPr bwMode="gray">
          <a:xfrm>
            <a:off x="6670675" y="3780532"/>
            <a:ext cx="1293813" cy="685800"/>
          </a:xfrm>
          <a:prstGeom prst="homePlate">
            <a:avLst>
              <a:gd name="adj" fmla="val 47164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해결방안 이슈보고서 작성</a:t>
            </a:r>
          </a:p>
        </p:txBody>
      </p:sp>
      <p:sp>
        <p:nvSpPr>
          <p:cNvPr id="39" name="AutoShape 9"/>
          <p:cNvSpPr>
            <a:spLocks noChangeArrowheads="1"/>
          </p:cNvSpPr>
          <p:nvPr/>
        </p:nvSpPr>
        <p:spPr bwMode="gray">
          <a:xfrm>
            <a:off x="8154988" y="3717032"/>
            <a:ext cx="1139825" cy="304800"/>
          </a:xfrm>
          <a:prstGeom prst="homePlate">
            <a:avLst>
              <a:gd name="adj" fmla="val 93490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이슈 종료</a:t>
            </a:r>
          </a:p>
        </p:txBody>
      </p:sp>
      <p:cxnSp>
        <p:nvCxnSpPr>
          <p:cNvPr id="40" name="AutoShape 10"/>
          <p:cNvCxnSpPr>
            <a:cxnSpLocks noChangeShapeType="1"/>
            <a:stCxn id="35" idx="3"/>
            <a:endCxn id="36" idx="1"/>
          </p:cNvCxnSpPr>
          <p:nvPr/>
        </p:nvCxnSpPr>
        <p:spPr bwMode="gray">
          <a:xfrm>
            <a:off x="6530975" y="2043708"/>
            <a:ext cx="127000" cy="0"/>
          </a:xfrm>
          <a:prstGeom prst="straightConnector1">
            <a:avLst/>
          </a:prstGeom>
          <a:noFill/>
          <a:ln w="3175">
            <a:solidFill>
              <a:srgbClr val="006699"/>
            </a:solidFill>
            <a:round/>
            <a:headEnd/>
            <a:tailEnd type="triangle" w="sm" len="sm"/>
          </a:ln>
        </p:spPr>
      </p:cxnSp>
      <p:cxnSp>
        <p:nvCxnSpPr>
          <p:cNvPr id="41" name="AutoShape 11"/>
          <p:cNvCxnSpPr>
            <a:cxnSpLocks noChangeShapeType="1"/>
            <a:stCxn id="37" idx="3"/>
            <a:endCxn id="38" idx="1"/>
          </p:cNvCxnSpPr>
          <p:nvPr/>
        </p:nvCxnSpPr>
        <p:spPr bwMode="gray">
          <a:xfrm>
            <a:off x="6530975" y="4123432"/>
            <a:ext cx="139700" cy="0"/>
          </a:xfrm>
          <a:prstGeom prst="straightConnector1">
            <a:avLst/>
          </a:prstGeom>
          <a:noFill/>
          <a:ln w="3175">
            <a:solidFill>
              <a:srgbClr val="006699"/>
            </a:solidFill>
            <a:round/>
            <a:headEnd/>
            <a:tailEnd type="triangle" w="sm" len="sm"/>
          </a:ln>
        </p:spPr>
      </p:cxnSp>
      <p:sp>
        <p:nvSpPr>
          <p:cNvPr id="42" name="Text Box 12"/>
          <p:cNvSpPr txBox="1">
            <a:spLocks noChangeArrowheads="1"/>
          </p:cNvSpPr>
          <p:nvPr/>
        </p:nvSpPr>
        <p:spPr bwMode="gray">
          <a:xfrm>
            <a:off x="4835780" y="2410817"/>
            <a:ext cx="1981200" cy="8716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자체에서 해결할 수 없는 이슈를 로그</a:t>
            </a:r>
          </a:p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존도가 파악된 외부 부서와의 이슈 로그</a:t>
            </a:r>
          </a:p>
        </p:txBody>
      </p:sp>
      <p:sp>
        <p:nvSpPr>
          <p:cNvPr id="43" name="Text Box 13"/>
          <p:cNvSpPr txBox="1">
            <a:spLocks noChangeArrowheads="1"/>
          </p:cNvSpPr>
          <p:nvPr/>
        </p:nvSpPr>
        <p:spPr bwMode="gray">
          <a:xfrm>
            <a:off x="6683375" y="2410817"/>
            <a:ext cx="2227263" cy="102553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팀 리드들과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M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에서는 주기적 회의를 통해 이슈 상태 파악</a:t>
            </a:r>
          </a:p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관리 팀 및 이슈 관련자와 이슈 상태 파악</a:t>
            </a:r>
          </a:p>
        </p:txBody>
      </p:sp>
      <p:sp>
        <p:nvSpPr>
          <p:cNvPr id="44" name="Text Box 14"/>
          <p:cNvSpPr txBox="1">
            <a:spLocks noChangeArrowheads="1"/>
          </p:cNvSpPr>
          <p:nvPr/>
        </p:nvSpPr>
        <p:spPr bwMode="gray">
          <a:xfrm>
            <a:off x="4835780" y="4660007"/>
            <a:ext cx="1779333" cy="170264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이슈에 대해 충분한 논의 및 분석 후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합한 이슈 담당자 지정</a:t>
            </a:r>
          </a:p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타 부서와의 상호 연관성을 자세히 파악하여 이슈 해결 예정일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잠정적인 이슈 해결 방안 제공</a:t>
            </a:r>
          </a:p>
        </p:txBody>
      </p:sp>
      <p:sp>
        <p:nvSpPr>
          <p:cNvPr id="45" name="Text Box 15"/>
          <p:cNvSpPr txBox="1">
            <a:spLocks noChangeArrowheads="1"/>
          </p:cNvSpPr>
          <p:nvPr/>
        </p:nvSpPr>
        <p:spPr bwMode="gray">
          <a:xfrm>
            <a:off x="6545961" y="4660007"/>
            <a:ext cx="1504950" cy="119481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 보고서 작성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</a:p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 로그에 현황 업데이트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종료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연기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결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규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46" name="Rectangle 16"/>
          <p:cNvSpPr>
            <a:spLocks noChangeArrowheads="1"/>
          </p:cNvSpPr>
          <p:nvPr/>
        </p:nvSpPr>
        <p:spPr bwMode="gray">
          <a:xfrm>
            <a:off x="815975" y="1842865"/>
            <a:ext cx="1085850" cy="34766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rgbClr val="6699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</a:t>
            </a:r>
          </a:p>
        </p:txBody>
      </p:sp>
      <p:sp>
        <p:nvSpPr>
          <p:cNvPr id="47" name="Rectangle 17"/>
          <p:cNvSpPr>
            <a:spLocks noChangeArrowheads="1"/>
          </p:cNvSpPr>
          <p:nvPr/>
        </p:nvSpPr>
        <p:spPr bwMode="gray">
          <a:xfrm>
            <a:off x="476250" y="2563590"/>
            <a:ext cx="1085850" cy="34766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rgbClr val="6699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</a:t>
            </a:r>
          </a:p>
        </p:txBody>
      </p:sp>
      <p:sp>
        <p:nvSpPr>
          <p:cNvPr id="48" name="Rectangle 18"/>
          <p:cNvSpPr>
            <a:spLocks noChangeArrowheads="1"/>
          </p:cNvSpPr>
          <p:nvPr/>
        </p:nvSpPr>
        <p:spPr bwMode="gray">
          <a:xfrm>
            <a:off x="611188" y="3282727"/>
            <a:ext cx="1085850" cy="34766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rgbClr val="6699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</a:t>
            </a:r>
          </a:p>
        </p:txBody>
      </p:sp>
      <p:sp>
        <p:nvSpPr>
          <p:cNvPr id="49" name="Oval 19"/>
          <p:cNvSpPr>
            <a:spLocks noChangeArrowheads="1"/>
          </p:cNvSpPr>
          <p:nvPr/>
        </p:nvSpPr>
        <p:spPr bwMode="gray">
          <a:xfrm>
            <a:off x="2516188" y="2203227"/>
            <a:ext cx="2011362" cy="1152525"/>
          </a:xfrm>
          <a:prstGeom prst="ellipse">
            <a:avLst/>
          </a:prstGeom>
          <a:solidFill>
            <a:srgbClr val="DEEBF2"/>
          </a:solidFill>
          <a:ln w="12700">
            <a:noFill/>
            <a:round/>
            <a:headEnd type="none" w="sm" len="sm"/>
            <a:tailEnd type="none" w="sm" len="sm"/>
          </a:ln>
        </p:spPr>
        <p:txBody>
          <a:bodyPr wrap="none" lIns="90000" tIns="46800" rIns="90000" bIns="46800"/>
          <a:lstStyle/>
          <a:p>
            <a:pPr fontAlgn="auto" latinLnBrk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fontAlgn="auto" latinLnBrk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조직 이슈관리 팀</a:t>
            </a:r>
          </a:p>
          <a:p>
            <a:pPr fontAlgn="auto" latinLnBrk="0">
              <a:spcBef>
                <a:spcPct val="50000"/>
              </a:spcBef>
              <a:spcAft>
                <a:spcPts val="0"/>
              </a:spcAft>
              <a:buFontTx/>
              <a:buChar char="-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팀 리드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M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</a:t>
            </a:r>
          </a:p>
        </p:txBody>
      </p:sp>
      <p:sp>
        <p:nvSpPr>
          <p:cNvPr id="50" name="Text Box 20"/>
          <p:cNvSpPr txBox="1">
            <a:spLocks noChangeArrowheads="1"/>
          </p:cNvSpPr>
          <p:nvPr/>
        </p:nvSpPr>
        <p:spPr bwMode="gray">
          <a:xfrm>
            <a:off x="593217" y="4337716"/>
            <a:ext cx="15621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0975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부서별 이슈 제기</a:t>
            </a:r>
          </a:p>
        </p:txBody>
      </p:sp>
      <p:cxnSp>
        <p:nvCxnSpPr>
          <p:cNvPr id="51" name="AutoShape 21"/>
          <p:cNvCxnSpPr>
            <a:cxnSpLocks noChangeShapeType="1"/>
            <a:stCxn id="36" idx="3"/>
            <a:endCxn id="37" idx="1"/>
          </p:cNvCxnSpPr>
          <p:nvPr/>
        </p:nvCxnSpPr>
        <p:spPr bwMode="gray">
          <a:xfrm flipH="1">
            <a:off x="5237163" y="2043708"/>
            <a:ext cx="2714625" cy="2079724"/>
          </a:xfrm>
          <a:prstGeom prst="bentConnector5">
            <a:avLst>
              <a:gd name="adj1" fmla="val -41637"/>
              <a:gd name="adj2" fmla="val 68930"/>
              <a:gd name="adj3" fmla="val 108421"/>
            </a:avLst>
          </a:prstGeom>
          <a:noFill/>
          <a:ln w="9525">
            <a:solidFill>
              <a:srgbClr val="006699"/>
            </a:solidFill>
            <a:miter lim="800000"/>
            <a:headEnd/>
            <a:tailEnd type="triangle" w="med" len="med"/>
          </a:ln>
        </p:spPr>
      </p:cxnSp>
      <p:sp>
        <p:nvSpPr>
          <p:cNvPr id="52" name="Arc 22"/>
          <p:cNvSpPr>
            <a:spLocks/>
          </p:cNvSpPr>
          <p:nvPr/>
        </p:nvSpPr>
        <p:spPr bwMode="gray">
          <a:xfrm flipH="1">
            <a:off x="612775" y="2058765"/>
            <a:ext cx="203200" cy="43180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3366FF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Arc 23"/>
          <p:cNvSpPr>
            <a:spLocks/>
          </p:cNvSpPr>
          <p:nvPr/>
        </p:nvSpPr>
        <p:spPr bwMode="gray">
          <a:xfrm rot="7336888" flipH="1">
            <a:off x="349250" y="2774727"/>
            <a:ext cx="357188" cy="509588"/>
          </a:xfrm>
          <a:custGeom>
            <a:avLst/>
            <a:gdLst>
              <a:gd name="T0" fmla="*/ 2147483647 w 35708"/>
              <a:gd name="T1" fmla="*/ 2147483647 h 26838"/>
              <a:gd name="T2" fmla="*/ 2147483647 w 35708"/>
              <a:gd name="T3" fmla="*/ 0 h 26838"/>
              <a:gd name="T4" fmla="*/ 2147483647 w 35708"/>
              <a:gd name="T5" fmla="*/ 2147483647 h 26838"/>
              <a:gd name="T6" fmla="*/ 0 60000 65536"/>
              <a:gd name="T7" fmla="*/ 0 60000 65536"/>
              <a:gd name="T8" fmla="*/ 0 60000 65536"/>
              <a:gd name="T9" fmla="*/ 0 w 35708"/>
              <a:gd name="T10" fmla="*/ 0 h 26838"/>
              <a:gd name="T11" fmla="*/ 35708 w 35708"/>
              <a:gd name="T12" fmla="*/ 26838 h 268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708" h="26838" fill="none" extrusionOk="0">
                <a:moveTo>
                  <a:pt x="35708" y="21594"/>
                </a:moveTo>
                <a:cubicBezTo>
                  <a:pt x="31786" y="24976"/>
                  <a:pt x="26779" y="26837"/>
                  <a:pt x="21600" y="26838"/>
                </a:cubicBezTo>
                <a:cubicBezTo>
                  <a:pt x="9670" y="26838"/>
                  <a:pt x="0" y="17167"/>
                  <a:pt x="0" y="5238"/>
                </a:cubicBezTo>
                <a:cubicBezTo>
                  <a:pt x="-1" y="3472"/>
                  <a:pt x="216" y="1713"/>
                  <a:pt x="644" y="-1"/>
                </a:cubicBezTo>
              </a:path>
              <a:path w="35708" h="26838" stroke="0" extrusionOk="0">
                <a:moveTo>
                  <a:pt x="35708" y="21594"/>
                </a:moveTo>
                <a:cubicBezTo>
                  <a:pt x="31786" y="24976"/>
                  <a:pt x="26779" y="26837"/>
                  <a:pt x="21600" y="26838"/>
                </a:cubicBezTo>
                <a:cubicBezTo>
                  <a:pt x="9670" y="26838"/>
                  <a:pt x="0" y="17167"/>
                  <a:pt x="0" y="5238"/>
                </a:cubicBezTo>
                <a:cubicBezTo>
                  <a:pt x="-1" y="3472"/>
                  <a:pt x="216" y="1713"/>
                  <a:pt x="644" y="-1"/>
                </a:cubicBezTo>
                <a:lnTo>
                  <a:pt x="21600" y="5238"/>
                </a:lnTo>
                <a:close/>
              </a:path>
            </a:pathLst>
          </a:custGeom>
          <a:noFill/>
          <a:ln w="9525">
            <a:solidFill>
              <a:srgbClr val="3366FF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Arc 24"/>
          <p:cNvSpPr>
            <a:spLocks/>
          </p:cNvSpPr>
          <p:nvPr/>
        </p:nvSpPr>
        <p:spPr bwMode="gray">
          <a:xfrm rot="6680937" flipH="1">
            <a:off x="1806575" y="3277965"/>
            <a:ext cx="287337" cy="611188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rgbClr val="3366FF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Arc 25"/>
          <p:cNvSpPr>
            <a:spLocks/>
          </p:cNvSpPr>
          <p:nvPr/>
        </p:nvSpPr>
        <p:spPr bwMode="gray">
          <a:xfrm rot="8679530" flipH="1">
            <a:off x="1089025" y="2427065"/>
            <a:ext cx="952500" cy="647700"/>
          </a:xfrm>
          <a:custGeom>
            <a:avLst/>
            <a:gdLst>
              <a:gd name="T0" fmla="*/ 0 w 29412"/>
              <a:gd name="T1" fmla="*/ 2147483647 h 21600"/>
              <a:gd name="T2" fmla="*/ 2147483647 w 29412"/>
              <a:gd name="T3" fmla="*/ 2147483647 h 21600"/>
              <a:gd name="T4" fmla="*/ 2147483647 w 29412"/>
              <a:gd name="T5" fmla="*/ 2147483647 h 21600"/>
              <a:gd name="T6" fmla="*/ 0 60000 65536"/>
              <a:gd name="T7" fmla="*/ 0 60000 65536"/>
              <a:gd name="T8" fmla="*/ 0 60000 65536"/>
              <a:gd name="T9" fmla="*/ 0 w 29412"/>
              <a:gd name="T10" fmla="*/ 0 h 21600"/>
              <a:gd name="T11" fmla="*/ 29412 w 29412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412" h="21600" fill="none" extrusionOk="0">
                <a:moveTo>
                  <a:pt x="0" y="1462"/>
                </a:moveTo>
                <a:cubicBezTo>
                  <a:pt x="2491" y="495"/>
                  <a:pt x="5139" y="-1"/>
                  <a:pt x="7812" y="0"/>
                </a:cubicBezTo>
                <a:cubicBezTo>
                  <a:pt x="19741" y="0"/>
                  <a:pt x="29412" y="9670"/>
                  <a:pt x="29412" y="21600"/>
                </a:cubicBezTo>
              </a:path>
              <a:path w="29412" h="21600" stroke="0" extrusionOk="0">
                <a:moveTo>
                  <a:pt x="0" y="1462"/>
                </a:moveTo>
                <a:cubicBezTo>
                  <a:pt x="2491" y="495"/>
                  <a:pt x="5139" y="-1"/>
                  <a:pt x="7812" y="0"/>
                </a:cubicBezTo>
                <a:cubicBezTo>
                  <a:pt x="19741" y="0"/>
                  <a:pt x="29412" y="9670"/>
                  <a:pt x="29412" y="21600"/>
                </a:cubicBezTo>
                <a:lnTo>
                  <a:pt x="7812" y="21600"/>
                </a:lnTo>
                <a:close/>
              </a:path>
            </a:pathLst>
          </a:custGeom>
          <a:noFill/>
          <a:ln w="9525">
            <a:solidFill>
              <a:srgbClr val="3366FF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Arc 26"/>
          <p:cNvSpPr>
            <a:spLocks/>
          </p:cNvSpPr>
          <p:nvPr/>
        </p:nvSpPr>
        <p:spPr bwMode="gray">
          <a:xfrm rot="14450523" flipH="1">
            <a:off x="-111125" y="2476277"/>
            <a:ext cx="2009775" cy="1203325"/>
          </a:xfrm>
          <a:custGeom>
            <a:avLst/>
            <a:gdLst>
              <a:gd name="T0" fmla="*/ 2147483647 w 43200"/>
              <a:gd name="T1" fmla="*/ 2147483647 h 42532"/>
              <a:gd name="T2" fmla="*/ 2147483647 w 43200"/>
              <a:gd name="T3" fmla="*/ 2147483647 h 42532"/>
              <a:gd name="T4" fmla="*/ 2147483647 w 43200"/>
              <a:gd name="T5" fmla="*/ 2147483647 h 42532"/>
              <a:gd name="T6" fmla="*/ 0 60000 65536"/>
              <a:gd name="T7" fmla="*/ 0 60000 65536"/>
              <a:gd name="T8" fmla="*/ 0 60000 65536"/>
              <a:gd name="T9" fmla="*/ 0 w 43200"/>
              <a:gd name="T10" fmla="*/ 0 h 42532"/>
              <a:gd name="T11" fmla="*/ 43200 w 43200"/>
              <a:gd name="T12" fmla="*/ 42532 h 425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2532" fill="none" extrusionOk="0">
                <a:moveTo>
                  <a:pt x="16270" y="42532"/>
                </a:moveTo>
                <a:cubicBezTo>
                  <a:pt x="6699" y="40095"/>
                  <a:pt x="0" y="3147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</a:path>
              <a:path w="43200" h="42532" stroke="0" extrusionOk="0">
                <a:moveTo>
                  <a:pt x="16270" y="42532"/>
                </a:moveTo>
                <a:cubicBezTo>
                  <a:pt x="6699" y="40095"/>
                  <a:pt x="0" y="3147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3529" y="-1"/>
                  <a:pt x="43199" y="9670"/>
                  <a:pt x="43200" y="21599"/>
                </a:cubicBezTo>
                <a:lnTo>
                  <a:pt x="21600" y="21600"/>
                </a:lnTo>
                <a:close/>
              </a:path>
            </a:pathLst>
          </a:custGeom>
          <a:noFill/>
          <a:ln w="9525">
            <a:solidFill>
              <a:srgbClr val="3366FF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Line 27"/>
          <p:cNvSpPr>
            <a:spLocks noChangeShapeType="1"/>
          </p:cNvSpPr>
          <p:nvPr/>
        </p:nvSpPr>
        <p:spPr bwMode="gray">
          <a:xfrm>
            <a:off x="1836738" y="2804890"/>
            <a:ext cx="679450" cy="0"/>
          </a:xfrm>
          <a:prstGeom prst="line">
            <a:avLst/>
          </a:prstGeom>
          <a:noFill/>
          <a:ln w="57150">
            <a:solidFill>
              <a:srgbClr val="3366FF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 Box 28"/>
          <p:cNvSpPr txBox="1">
            <a:spLocks noChangeArrowheads="1"/>
          </p:cNvSpPr>
          <p:nvPr/>
        </p:nvSpPr>
        <p:spPr bwMode="gray">
          <a:xfrm>
            <a:off x="2293493" y="3444652"/>
            <a:ext cx="2582863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0975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와 충돌되는 이슈가 있을 경우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관리 팀과 외부부서와 회의 형성 </a:t>
            </a:r>
          </a:p>
          <a:p>
            <a:pPr marL="180975" lvl="1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명확한 이슈 파악</a:t>
            </a:r>
          </a:p>
          <a:p>
            <a:pPr marL="180975" lvl="1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부서별로 제기된 이슈 취합하여 의존도 파악</a:t>
            </a:r>
          </a:p>
          <a:p>
            <a:pPr marL="180975" lvl="1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와의 회의로 해결책이 나오지 않으면 본 프로젝트 이슈 로그에 구분하여 등록</a:t>
            </a:r>
          </a:p>
          <a:p>
            <a:pPr marL="180975" lvl="1" indent="-180975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논의된 모든 내용을 문서화하여 해당 부서에 전달하여 이슈에 대한 이해 공유</a:t>
            </a:r>
          </a:p>
        </p:txBody>
      </p:sp>
      <p:sp>
        <p:nvSpPr>
          <p:cNvPr id="59" name="AutoShape 29"/>
          <p:cNvSpPr>
            <a:spLocks noChangeArrowheads="1"/>
          </p:cNvSpPr>
          <p:nvPr/>
        </p:nvSpPr>
        <p:spPr bwMode="gray">
          <a:xfrm>
            <a:off x="8154988" y="4094857"/>
            <a:ext cx="1139825" cy="503237"/>
          </a:xfrm>
          <a:prstGeom prst="homePlate">
            <a:avLst>
              <a:gd name="adj" fmla="val 56625"/>
            </a:avLst>
          </a:prstGeom>
          <a:solidFill>
            <a:srgbClr val="002060"/>
          </a:solidFill>
          <a:ln w="3175">
            <a:solidFill>
              <a:srgbClr val="6699FF"/>
            </a:solidFill>
            <a:miter lim="800000"/>
            <a:headEnd/>
            <a:tailEnd type="none" w="sm" len="sm"/>
          </a:ln>
          <a:effectLst>
            <a:outerShdw dist="17961" dir="2700000" algn="ctr" rotWithShape="0">
              <a:srgbClr val="80B3CC"/>
            </a:outerShdw>
          </a:effectLst>
        </p:spPr>
        <p:txBody>
          <a:bodyPr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운영위원회이슈제기</a:t>
            </a:r>
            <a:endParaRPr kumimoji="0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0" name="AutoShape 30"/>
          <p:cNvCxnSpPr>
            <a:cxnSpLocks noChangeShapeType="1"/>
            <a:stCxn id="38" idx="3"/>
            <a:endCxn id="59" idx="1"/>
          </p:cNvCxnSpPr>
          <p:nvPr/>
        </p:nvCxnSpPr>
        <p:spPr bwMode="gray">
          <a:xfrm>
            <a:off x="7964488" y="4123432"/>
            <a:ext cx="190500" cy="223837"/>
          </a:xfrm>
          <a:prstGeom prst="bentConnector3">
            <a:avLst>
              <a:gd name="adj1" fmla="val 49167"/>
            </a:avLst>
          </a:prstGeom>
          <a:noFill/>
          <a:ln w="9525">
            <a:solidFill>
              <a:srgbClr val="006699"/>
            </a:solidFill>
            <a:miter lim="800000"/>
            <a:headEnd/>
            <a:tailEnd type="triangle" w="med" len="med"/>
          </a:ln>
        </p:spPr>
      </p:cxnSp>
      <p:cxnSp>
        <p:nvCxnSpPr>
          <p:cNvPr id="61" name="AutoShape 31"/>
          <p:cNvCxnSpPr>
            <a:cxnSpLocks noChangeShapeType="1"/>
            <a:stCxn id="38" idx="3"/>
            <a:endCxn id="39" idx="1"/>
          </p:cNvCxnSpPr>
          <p:nvPr/>
        </p:nvCxnSpPr>
        <p:spPr bwMode="gray">
          <a:xfrm flipV="1">
            <a:off x="7964488" y="3869432"/>
            <a:ext cx="190500" cy="254000"/>
          </a:xfrm>
          <a:prstGeom prst="bentConnector3">
            <a:avLst>
              <a:gd name="adj1" fmla="val 49167"/>
            </a:avLst>
          </a:prstGeom>
          <a:noFill/>
          <a:ln w="9525">
            <a:solidFill>
              <a:srgbClr val="006699"/>
            </a:solidFill>
            <a:miter lim="800000"/>
            <a:headEnd/>
            <a:tailEnd type="triangle" w="med" len="med"/>
          </a:ln>
        </p:spPr>
      </p:cxnSp>
      <p:sp>
        <p:nvSpPr>
          <p:cNvPr id="62" name="Text Box 32"/>
          <p:cNvSpPr txBox="1">
            <a:spLocks noChangeArrowheads="1"/>
          </p:cNvSpPr>
          <p:nvPr/>
        </p:nvSpPr>
        <p:spPr bwMode="gray">
          <a:xfrm>
            <a:off x="8139200" y="1688108"/>
            <a:ext cx="149432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=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 이슈</a:t>
            </a:r>
          </a:p>
          <a:p>
            <a:pPr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= </a:t>
            </a:r>
            <a:r>
              <a:rPr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부서와의 이슈</a:t>
            </a:r>
          </a:p>
        </p:txBody>
      </p:sp>
      <p:sp>
        <p:nvSpPr>
          <p:cNvPr id="63" name="Rectangle 33"/>
          <p:cNvSpPr>
            <a:spLocks noChangeArrowheads="1"/>
          </p:cNvSpPr>
          <p:nvPr/>
        </p:nvSpPr>
        <p:spPr bwMode="gray">
          <a:xfrm>
            <a:off x="1223963" y="3858990"/>
            <a:ext cx="1085850" cy="34766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rgbClr val="6699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부 부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</a:t>
            </a:r>
          </a:p>
        </p:txBody>
      </p:sp>
      <p:sp>
        <p:nvSpPr>
          <p:cNvPr id="64" name="AutoShape 34"/>
          <p:cNvSpPr>
            <a:spLocks noChangeArrowheads="1"/>
          </p:cNvSpPr>
          <p:nvPr/>
        </p:nvSpPr>
        <p:spPr bwMode="gray">
          <a:xfrm rot="5400000">
            <a:off x="4252119" y="3211314"/>
            <a:ext cx="1079500" cy="204788"/>
          </a:xfrm>
          <a:prstGeom prst="triangle">
            <a:avLst>
              <a:gd name="adj" fmla="val 50000"/>
            </a:avLst>
          </a:prstGeom>
          <a:solidFill>
            <a:srgbClr val="73A2B9">
              <a:lumMod val="60000"/>
              <a:lumOff val="40000"/>
            </a:srgbClr>
          </a:solidFill>
          <a:ln w="9525" algn="ctr">
            <a:noFill/>
            <a:round/>
            <a:headEnd/>
            <a:tailEnd/>
          </a:ln>
        </p:spPr>
        <p:txBody>
          <a:bodyPr lIns="72000" tIns="36000" rIns="72000" bIns="36000" anchor="ctr"/>
          <a:lstStyle/>
          <a:p>
            <a:pPr marL="180975" marR="0" lvl="0" indent="-180975" algn="ctr" defTabSz="91440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ko-KR" altLang="en-US" sz="1800" b="0" i="0" u="none" strike="noStrike" kern="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Text Box 35"/>
          <p:cNvSpPr txBox="1">
            <a:spLocks noChangeArrowheads="1"/>
          </p:cNvSpPr>
          <p:nvPr/>
        </p:nvSpPr>
        <p:spPr bwMode="gray">
          <a:xfrm>
            <a:off x="7874953" y="4636194"/>
            <a:ext cx="1655762" cy="136409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해결된 이슈는 이슈 해결 가이드라인 작성</a:t>
            </a:r>
          </a:p>
          <a:p>
            <a:pPr marL="180975" indent="-180975" fontAlgn="auto" latinLnBrk="0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(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해결안이 없는 이슈는 상신 절차를 따라 운영위원회에 올림 </a:t>
            </a:r>
          </a:p>
        </p:txBody>
      </p:sp>
      <p:sp>
        <p:nvSpPr>
          <p:cNvPr id="6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855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투입인력 관리 방안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초기 투입 인력 중 핵심 인력을 분류하여 인력 교체 등의 사유 발생 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련자 협의를 통해 문제들을 신속하게 해결함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004344" y="1540024"/>
            <a:ext cx="3897312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인력 변경 관리 절차 및 역할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488952" y="1929858"/>
            <a:ext cx="2815200" cy="356745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5F5F5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177800" indent="-177800"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/>
                </a:solidFill>
                <a:latin typeface="맑은 고딕"/>
                <a:ea typeface="맑은 고딕"/>
                <a:cs typeface="Arial" panose="020B0604020202020204" pitchFamily="34" charset="0"/>
              </a:rPr>
              <a:t>KPMG</a:t>
            </a:r>
            <a:endParaRPr lang="ko-KR" altLang="en-US" sz="1200" dirty="0">
              <a:solidFill>
                <a:srgbClr val="FFFFFF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969318" y="2371657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인력투입계획 검토</a:t>
            </a: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969318" y="3037198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해당인력 프로파일 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/>
            </a:r>
            <a:b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</a:b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제출</a:t>
            </a: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969318" y="5637417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인력 교체</a:t>
            </a: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4136611" y="3711332"/>
            <a:ext cx="1332000" cy="432000"/>
          </a:xfrm>
          <a:prstGeom prst="flowChartDecision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적합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4136611" y="3037198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인력 프로파일 검토</a:t>
            </a:r>
          </a:p>
        </p:txBody>
      </p:sp>
      <p:sp>
        <p:nvSpPr>
          <p:cNvPr id="11" name="Rectangle 21"/>
          <p:cNvSpPr>
            <a:spLocks noChangeArrowheads="1"/>
          </p:cNvSpPr>
          <p:nvPr/>
        </p:nvSpPr>
        <p:spPr bwMode="auto">
          <a:xfrm>
            <a:off x="969318" y="4985116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이슈 관리로 이관</a:t>
            </a:r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auto">
          <a:xfrm>
            <a:off x="4136611" y="4985116"/>
            <a:ext cx="1332000" cy="504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인력 투입 승인</a:t>
            </a:r>
          </a:p>
        </p:txBody>
      </p:sp>
      <p:sp>
        <p:nvSpPr>
          <p:cNvPr id="13" name="Line 31"/>
          <p:cNvSpPr>
            <a:spLocks noChangeShapeType="1"/>
          </p:cNvSpPr>
          <p:nvPr/>
        </p:nvSpPr>
        <p:spPr bwMode="auto">
          <a:xfrm flipH="1">
            <a:off x="3152800" y="2204864"/>
            <a:ext cx="0" cy="4006850"/>
          </a:xfrm>
          <a:prstGeom prst="line">
            <a:avLst/>
          </a:prstGeom>
          <a:noFill/>
          <a:ln w="1587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endParaRPr lang="ko-KR" altLang="en-US" sz="1200" b="0" kern="0" dirty="0">
              <a:solidFill>
                <a:srgbClr val="000000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/>
        </p:nvSpPr>
        <p:spPr bwMode="auto">
          <a:xfrm>
            <a:off x="4639574" y="4096142"/>
            <a:ext cx="674687" cy="2671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Yes</a:t>
            </a:r>
          </a:p>
        </p:txBody>
      </p:sp>
      <p:sp>
        <p:nvSpPr>
          <p:cNvPr id="15" name="Text Box 39"/>
          <p:cNvSpPr txBox="1">
            <a:spLocks noChangeArrowheads="1"/>
          </p:cNvSpPr>
          <p:nvPr/>
        </p:nvSpPr>
        <p:spPr bwMode="auto">
          <a:xfrm>
            <a:off x="3820981" y="3664094"/>
            <a:ext cx="673100" cy="2671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No</a:t>
            </a: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6377843" y="2370981"/>
            <a:ext cx="3086821" cy="36933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92075" indent="-92075" eaLnBrk="0" latinLnBrk="0" hangingPunct="0">
              <a:lnSpc>
                <a:spcPct val="15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프로젝트 초기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KPMG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와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NH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농협카드는 프로젝트 투입계획 검토를 통해 핵심 역할 및 이에 대한 해당 인력 분류</a:t>
            </a:r>
          </a:p>
          <a:p>
            <a:pPr marL="92075" indent="-92075" eaLnBrk="0" latinLnBrk="0" hangingPunct="0">
              <a:lnSpc>
                <a:spcPct val="15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핵심인력 교체 시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KPMG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는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NH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농협카드에게 해당 인력프로파일 제출 </a:t>
            </a:r>
          </a:p>
          <a:p>
            <a:pPr marL="92075" indent="-92075" eaLnBrk="0" latinLnBrk="0" hangingPunct="0">
              <a:lnSpc>
                <a:spcPct val="15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역량이 미흡하다고 판단 시 관련자 협의를 통해 사안을 해결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(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이슈처리 또는 인력교체처리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)</a:t>
            </a:r>
          </a:p>
          <a:p>
            <a:pPr marL="92075" indent="-92075" eaLnBrk="0" latinLnBrk="0" hangingPunct="0">
              <a:lnSpc>
                <a:spcPct val="150000"/>
              </a:lnSpc>
              <a:spcBef>
                <a:spcPct val="5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상기 프로세스는 ‘프로젝트 초기 투입예정 인력’ 교체 시에도 동일하게 적용</a:t>
            </a:r>
            <a:endParaRPr lang="en-US" altLang="ko-KR" sz="1200" b="0" dirty="0">
              <a:solidFill>
                <a:srgbClr val="000000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7" name="직사각형 53"/>
          <p:cNvSpPr>
            <a:spLocks noChangeArrowheads="1"/>
          </p:cNvSpPr>
          <p:nvPr/>
        </p:nvSpPr>
        <p:spPr bwMode="auto">
          <a:xfrm>
            <a:off x="6389914" y="1929532"/>
            <a:ext cx="3066894" cy="4286820"/>
          </a:xfrm>
          <a:prstGeom prst="rect">
            <a:avLst/>
          </a:prstGeom>
          <a:noFill/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anchor="ctr"/>
          <a:lstStyle/>
          <a:p>
            <a:pPr marL="174625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8" name="직사각형 54"/>
          <p:cNvSpPr>
            <a:spLocks noChangeArrowheads="1"/>
          </p:cNvSpPr>
          <p:nvPr/>
        </p:nvSpPr>
        <p:spPr bwMode="auto">
          <a:xfrm>
            <a:off x="6389914" y="1935889"/>
            <a:ext cx="3066894" cy="356745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5F5F5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177800" indent="-177800" algn="ctr" eaLnBrk="0" latinLnBrk="0" hangingPunct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200" dirty="0">
                <a:solidFill>
                  <a:srgbClr val="FFFFFF"/>
                </a:solidFill>
                <a:latin typeface="맑은 고딕"/>
                <a:ea typeface="맑은 고딕"/>
                <a:cs typeface="Arial" panose="020B0604020202020204" pitchFamily="34" charset="0"/>
              </a:rPr>
              <a:t>인력 변경 시 원칙</a:t>
            </a:r>
          </a:p>
        </p:txBody>
      </p:sp>
      <p:cxnSp>
        <p:nvCxnSpPr>
          <p:cNvPr id="19" name="AutoShape 26"/>
          <p:cNvCxnSpPr>
            <a:cxnSpLocks noChangeShapeType="1"/>
            <a:stCxn id="6" idx="2"/>
            <a:endCxn id="7" idx="0"/>
          </p:cNvCxnSpPr>
          <p:nvPr/>
        </p:nvCxnSpPr>
        <p:spPr bwMode="auto">
          <a:xfrm rot="5400000">
            <a:off x="1554564" y="2956427"/>
            <a:ext cx="161541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0" name="AutoShape 26"/>
          <p:cNvCxnSpPr>
            <a:cxnSpLocks noChangeShapeType="1"/>
            <a:stCxn id="7" idx="3"/>
            <a:endCxn id="10" idx="1"/>
          </p:cNvCxnSpPr>
          <p:nvPr/>
        </p:nvCxnSpPr>
        <p:spPr bwMode="auto">
          <a:xfrm>
            <a:off x="2301334" y="3289198"/>
            <a:ext cx="1835293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1" name="AutoShape 26"/>
          <p:cNvCxnSpPr>
            <a:cxnSpLocks noChangeShapeType="1"/>
            <a:stCxn id="10" idx="2"/>
            <a:endCxn id="9" idx="0"/>
          </p:cNvCxnSpPr>
          <p:nvPr/>
        </p:nvCxnSpPr>
        <p:spPr bwMode="auto">
          <a:xfrm rot="5400000">
            <a:off x="4717544" y="3626265"/>
            <a:ext cx="170134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2" name="AutoShape 26"/>
          <p:cNvCxnSpPr>
            <a:cxnSpLocks noChangeShapeType="1"/>
            <a:stCxn id="9" idx="2"/>
            <a:endCxn id="12" idx="0"/>
          </p:cNvCxnSpPr>
          <p:nvPr/>
        </p:nvCxnSpPr>
        <p:spPr bwMode="auto">
          <a:xfrm rot="5400000">
            <a:off x="4381719" y="4564224"/>
            <a:ext cx="841784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3" name="AutoShape 26"/>
          <p:cNvCxnSpPr>
            <a:cxnSpLocks noChangeShapeType="1"/>
            <a:stCxn id="9" idx="1"/>
            <a:endCxn id="34" idx="3"/>
          </p:cNvCxnSpPr>
          <p:nvPr/>
        </p:nvCxnSpPr>
        <p:spPr bwMode="auto">
          <a:xfrm rot="10800000">
            <a:off x="3726847" y="3927332"/>
            <a:ext cx="409781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4" name="AutoShape 26"/>
          <p:cNvCxnSpPr>
            <a:cxnSpLocks noChangeShapeType="1"/>
            <a:stCxn id="34" idx="2"/>
            <a:endCxn id="33" idx="0"/>
          </p:cNvCxnSpPr>
          <p:nvPr/>
        </p:nvCxnSpPr>
        <p:spPr bwMode="auto">
          <a:xfrm rot="5400000">
            <a:off x="2956797" y="4247366"/>
            <a:ext cx="208068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5" name="AutoShape 26"/>
          <p:cNvCxnSpPr>
            <a:cxnSpLocks noChangeShapeType="1"/>
            <a:stCxn id="33" idx="2"/>
            <a:endCxn id="11" idx="0"/>
          </p:cNvCxnSpPr>
          <p:nvPr/>
        </p:nvCxnSpPr>
        <p:spPr bwMode="auto">
          <a:xfrm rot="5400000">
            <a:off x="2247216" y="4171513"/>
            <a:ext cx="201716" cy="1425512"/>
          </a:xfrm>
          <a:prstGeom prst="bentConnector3">
            <a:avLst>
              <a:gd name="adj1" fmla="val 36861"/>
            </a:avLst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6" name="AutoShape 26"/>
          <p:cNvCxnSpPr>
            <a:cxnSpLocks noChangeShapeType="1"/>
            <a:stCxn id="12" idx="2"/>
            <a:endCxn id="8" idx="3"/>
          </p:cNvCxnSpPr>
          <p:nvPr/>
        </p:nvCxnSpPr>
        <p:spPr bwMode="auto">
          <a:xfrm rot="5400000">
            <a:off x="3351831" y="4438635"/>
            <a:ext cx="400301" cy="2501293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cxnSp>
        <p:nvCxnSpPr>
          <p:cNvPr id="27" name="AutoShape 26"/>
          <p:cNvCxnSpPr>
            <a:cxnSpLocks noChangeShapeType="1"/>
            <a:stCxn id="33" idx="3"/>
            <a:endCxn id="12" idx="0"/>
          </p:cNvCxnSpPr>
          <p:nvPr/>
        </p:nvCxnSpPr>
        <p:spPr bwMode="auto">
          <a:xfrm>
            <a:off x="3726846" y="4567400"/>
            <a:ext cx="1075781" cy="417716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 type="none" w="sm" len="sm"/>
            <a:tailEnd type="triangle" w="med" len="med"/>
          </a:ln>
        </p:spPr>
      </p:cxnSp>
      <p:sp>
        <p:nvSpPr>
          <p:cNvPr id="28" name="Text Box 38"/>
          <p:cNvSpPr txBox="1">
            <a:spLocks noChangeArrowheads="1"/>
          </p:cNvSpPr>
          <p:nvPr/>
        </p:nvSpPr>
        <p:spPr bwMode="auto">
          <a:xfrm>
            <a:off x="3480598" y="4344418"/>
            <a:ext cx="674687" cy="2671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Yes</a:t>
            </a:r>
          </a:p>
        </p:txBody>
      </p:sp>
      <p:sp>
        <p:nvSpPr>
          <p:cNvPr id="29" name="Text Box 39"/>
          <p:cNvSpPr txBox="1">
            <a:spLocks noChangeArrowheads="1"/>
          </p:cNvSpPr>
          <p:nvPr/>
        </p:nvSpPr>
        <p:spPr bwMode="auto">
          <a:xfrm>
            <a:off x="2878026" y="4739018"/>
            <a:ext cx="673100" cy="2671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050" b="0" dirty="0">
                <a:solidFill>
                  <a:srgbClr val="000000"/>
                </a:solidFill>
                <a:latin typeface="맑은 고딕"/>
                <a:ea typeface="맑은 고딕"/>
                <a:cs typeface="Arial" panose="020B0604020202020204" pitchFamily="34" charset="0"/>
              </a:rPr>
              <a:t>No</a:t>
            </a:r>
          </a:p>
        </p:txBody>
      </p:sp>
      <p:sp>
        <p:nvSpPr>
          <p:cNvPr id="30" name="AutoShape 30"/>
          <p:cNvSpPr>
            <a:spLocks noChangeArrowheads="1"/>
          </p:cNvSpPr>
          <p:nvPr/>
        </p:nvSpPr>
        <p:spPr bwMode="auto">
          <a:xfrm rot="5400000">
            <a:off x="4293520" y="4000151"/>
            <a:ext cx="3600401" cy="221673"/>
          </a:xfrm>
          <a:prstGeom prst="triangle">
            <a:avLst>
              <a:gd name="adj" fmla="val 50000"/>
            </a:avLst>
          </a:prstGeom>
          <a:solidFill>
            <a:srgbClr val="9A9CA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  <a:buClr>
                <a:srgbClr val="000000"/>
              </a:buClr>
            </a:pPr>
            <a:endParaRPr lang="ko-KR" altLang="en-US" sz="1200" b="0" dirty="0">
              <a:solidFill>
                <a:srgbClr val="000000"/>
              </a:solidFill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31" name="직사각형 53"/>
          <p:cNvSpPr>
            <a:spLocks noChangeArrowheads="1"/>
          </p:cNvSpPr>
          <p:nvPr/>
        </p:nvSpPr>
        <p:spPr bwMode="auto">
          <a:xfrm>
            <a:off x="484312" y="1929532"/>
            <a:ext cx="5332784" cy="4286820"/>
          </a:xfrm>
          <a:prstGeom prst="rect">
            <a:avLst/>
          </a:prstGeom>
          <a:noFill/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lIns="0" anchor="ctr"/>
          <a:lstStyle/>
          <a:p>
            <a:pPr marL="174625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32" name="Rectangle 6"/>
          <p:cNvSpPr>
            <a:spLocks noChangeArrowheads="1"/>
          </p:cNvSpPr>
          <p:nvPr/>
        </p:nvSpPr>
        <p:spPr bwMode="auto">
          <a:xfrm>
            <a:off x="3152800" y="1935889"/>
            <a:ext cx="2664296" cy="350115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5F5F5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177800" indent="-177800" algn="ctr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/>
                </a:solidFill>
                <a:latin typeface="맑은 고딕"/>
                <a:ea typeface="맑은 고딕"/>
                <a:cs typeface="Arial" panose="020B0604020202020204" pitchFamily="34" charset="0"/>
              </a:rPr>
              <a:t>NH</a:t>
            </a:r>
            <a:r>
              <a:rPr lang="ko-KR" altLang="en-US" sz="1200" dirty="0">
                <a:solidFill>
                  <a:srgbClr val="FFFFFF"/>
                </a:solidFill>
                <a:latin typeface="맑은 고딕"/>
                <a:ea typeface="맑은 고딕"/>
                <a:cs typeface="Arial" panose="020B0604020202020204" pitchFamily="34" charset="0"/>
              </a:rPr>
              <a:t>농협카드</a:t>
            </a:r>
          </a:p>
        </p:txBody>
      </p:sp>
      <p:sp>
        <p:nvSpPr>
          <p:cNvPr id="33" name="AutoShape 20"/>
          <p:cNvSpPr>
            <a:spLocks noChangeArrowheads="1"/>
          </p:cNvSpPr>
          <p:nvPr/>
        </p:nvSpPr>
        <p:spPr bwMode="auto">
          <a:xfrm>
            <a:off x="2394831" y="4351400"/>
            <a:ext cx="1332000" cy="432000"/>
          </a:xfrm>
          <a:prstGeom prst="flowChartDecision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합의</a:t>
            </a:r>
          </a:p>
        </p:txBody>
      </p:sp>
      <p:sp>
        <p:nvSpPr>
          <p:cNvPr id="34" name="Rectangle 14"/>
          <p:cNvSpPr>
            <a:spLocks noChangeArrowheads="1"/>
          </p:cNvSpPr>
          <p:nvPr/>
        </p:nvSpPr>
        <p:spPr bwMode="auto">
          <a:xfrm>
            <a:off x="2394831" y="3711332"/>
            <a:ext cx="1332000" cy="432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Arial" panose="020B0604020202020204" pitchFamily="34" charset="0"/>
              </a:rPr>
              <a:t> 관련자 협의</a:t>
            </a: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2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사소통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진척 현황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정확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한 분석 및 공유를 위하여 프로젝트 참여자와 이해당사자 간 회의체 및 보고 체계를 수립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708025" y="2068263"/>
            <a:ext cx="3584575" cy="42155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endParaRPr kumimoji="1" lang="ko-KR" altLang="en-US" sz="1100" dirty="0">
              <a:solidFill>
                <a:srgbClr val="80808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1076332" y="1835594"/>
            <a:ext cx="2867025" cy="41275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</p:spPr>
        <p:txBody>
          <a:bodyPr lIns="54000" tIns="46800" rIns="54000" bIns="46800" anchor="ctr"/>
          <a:lstStyle/>
          <a:p>
            <a:pPr algn="ctr" latinLnBrk="0">
              <a:spcBef>
                <a:spcPct val="20000"/>
              </a:spcBef>
            </a:pPr>
            <a:r>
              <a:rPr lang="en-US" altLang="ko-KR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5688907" y="2068263"/>
            <a:ext cx="3584575" cy="42155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endParaRPr kumimoji="1" lang="ko-KR" altLang="en-US" sz="1100" dirty="0">
              <a:solidFill>
                <a:srgbClr val="80808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6050014" y="1835594"/>
            <a:ext cx="2865600" cy="41275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</p:spPr>
        <p:txBody>
          <a:bodyPr lIns="54000" tIns="46800" rIns="54000" bIns="46800" anchor="ctr"/>
          <a:lstStyle/>
          <a:p>
            <a:pPr algn="ctr" latinLnBrk="0">
              <a:spcBef>
                <a:spcPct val="20000"/>
              </a:spcBef>
            </a:pPr>
            <a:r>
              <a:rPr lang="en-US" altLang="ko-KR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</a:t>
            </a: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gray">
          <a:xfrm>
            <a:off x="6076100" y="4007413"/>
            <a:ext cx="2765425" cy="511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관리자</a:t>
            </a:r>
            <a:endParaRPr lang="en-US" altLang="ko-KR" sz="1200" b="1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gray">
          <a:xfrm>
            <a:off x="6076100" y="2530789"/>
            <a:ext cx="2765425" cy="511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총괄</a:t>
            </a:r>
            <a:endParaRPr lang="en-US" altLang="ko-KR" sz="1200" b="1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Rectangle 21"/>
          <p:cNvSpPr>
            <a:spLocks noChangeArrowheads="1"/>
          </p:cNvSpPr>
          <p:nvPr/>
        </p:nvSpPr>
        <p:spPr bwMode="gray">
          <a:xfrm>
            <a:off x="6076100" y="5500858"/>
            <a:ext cx="2765425" cy="511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</a:t>
            </a:r>
            <a:r>
              <a:rPr lang="ko-KR" altLang="en-US" sz="1200" b="1" kern="0" dirty="0" err="1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추진팀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TFT)</a:t>
            </a:r>
          </a:p>
        </p:txBody>
      </p:sp>
      <p:sp>
        <p:nvSpPr>
          <p:cNvPr id="11" name="AutoShape 27"/>
          <p:cNvSpPr>
            <a:spLocks noChangeArrowheads="1"/>
          </p:cNvSpPr>
          <p:nvPr/>
        </p:nvSpPr>
        <p:spPr bwMode="auto">
          <a:xfrm>
            <a:off x="4304928" y="2396822"/>
            <a:ext cx="1543096" cy="390525"/>
          </a:xfrm>
          <a:prstGeom prst="rightArrow">
            <a:avLst>
              <a:gd name="adj1" fmla="val 74796"/>
              <a:gd name="adj2" fmla="val 83739"/>
            </a:avLst>
          </a:prstGeom>
          <a:gradFill rotWithShape="1">
            <a:gsLst>
              <a:gs pos="0">
                <a:srgbClr val="666699">
                  <a:alpha val="6000"/>
                </a:srgbClr>
              </a:gs>
              <a:gs pos="100000">
                <a:srgbClr val="2F2F47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Text Box 28"/>
          <p:cNvSpPr txBox="1">
            <a:spLocks noChangeArrowheads="1"/>
          </p:cNvSpPr>
          <p:nvPr/>
        </p:nvSpPr>
        <p:spPr bwMode="auto">
          <a:xfrm>
            <a:off x="4736977" y="2426957"/>
            <a:ext cx="1008609" cy="29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단계별 보고</a:t>
            </a:r>
          </a:p>
        </p:txBody>
      </p:sp>
      <p:sp>
        <p:nvSpPr>
          <p:cNvPr id="13" name="AutoShape 29"/>
          <p:cNvSpPr>
            <a:spLocks noChangeArrowheads="1"/>
          </p:cNvSpPr>
          <p:nvPr/>
        </p:nvSpPr>
        <p:spPr bwMode="auto">
          <a:xfrm rot="10800000">
            <a:off x="4088911" y="2774644"/>
            <a:ext cx="1800200" cy="390525"/>
          </a:xfrm>
          <a:prstGeom prst="rightArrow">
            <a:avLst>
              <a:gd name="adj1" fmla="val 74796"/>
              <a:gd name="adj2" fmla="val 83739"/>
            </a:avLst>
          </a:prstGeom>
          <a:gradFill rotWithShape="1">
            <a:gsLst>
              <a:gs pos="0">
                <a:srgbClr val="666699">
                  <a:alpha val="6000"/>
                </a:srgbClr>
              </a:gs>
              <a:gs pos="100000">
                <a:srgbClr val="2F2F47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" name="Text Box 30"/>
          <p:cNvSpPr txBox="1">
            <a:spLocks noChangeArrowheads="1"/>
          </p:cNvSpPr>
          <p:nvPr/>
        </p:nvSpPr>
        <p:spPr bwMode="auto">
          <a:xfrm>
            <a:off x="4228064" y="2811132"/>
            <a:ext cx="868956" cy="29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eedback</a:t>
            </a: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gray">
          <a:xfrm>
            <a:off x="2219975" y="3059751"/>
            <a:ext cx="0" cy="945629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gray">
          <a:xfrm>
            <a:off x="2780650" y="3031177"/>
            <a:ext cx="0" cy="961200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 type="triangle" w="sm" len="med"/>
            <a:tailEnd type="non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gray">
          <a:xfrm>
            <a:off x="1072374" y="5493714"/>
            <a:ext cx="2765424" cy="511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구성원</a:t>
            </a:r>
            <a:b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(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Project Team Member)</a:t>
            </a: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gray">
          <a:xfrm>
            <a:off x="1294618" y="3397656"/>
            <a:ext cx="788999" cy="27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en-US" altLang="ko-KR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eedback</a:t>
            </a:r>
          </a:p>
        </p:txBody>
      </p:sp>
      <p:sp>
        <p:nvSpPr>
          <p:cNvPr id="19" name="Rectangle 22"/>
          <p:cNvSpPr>
            <a:spLocks noChangeArrowheads="1"/>
          </p:cNvSpPr>
          <p:nvPr/>
        </p:nvSpPr>
        <p:spPr bwMode="gray">
          <a:xfrm>
            <a:off x="1057860" y="3996396"/>
            <a:ext cx="2765424" cy="512763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관리자</a:t>
            </a:r>
            <a:b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(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Project Manager)</a:t>
            </a:r>
          </a:p>
        </p:txBody>
      </p:sp>
      <p:sp>
        <p:nvSpPr>
          <p:cNvPr id="20" name="Rectangle 28"/>
          <p:cNvSpPr>
            <a:spLocks noChangeArrowheads="1"/>
          </p:cNvSpPr>
          <p:nvPr/>
        </p:nvSpPr>
        <p:spPr bwMode="gray">
          <a:xfrm>
            <a:off x="1037449" y="2514454"/>
            <a:ext cx="2765424" cy="511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프로젝트 총괄</a:t>
            </a:r>
            <a:endParaRPr lang="en-US" altLang="ko-KR" sz="1200" b="1" kern="0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1" name="Text Box 17"/>
          <p:cNvSpPr txBox="1">
            <a:spLocks noChangeArrowheads="1"/>
          </p:cNvSpPr>
          <p:nvPr/>
        </p:nvSpPr>
        <p:spPr bwMode="gray">
          <a:xfrm>
            <a:off x="1280165" y="4886558"/>
            <a:ext cx="788999" cy="27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en-US" altLang="ko-KR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eedback</a:t>
            </a:r>
          </a:p>
        </p:txBody>
      </p:sp>
      <p:sp>
        <p:nvSpPr>
          <p:cNvPr id="22" name="Text Box 17"/>
          <p:cNvSpPr txBox="1">
            <a:spLocks noChangeArrowheads="1"/>
          </p:cNvSpPr>
          <p:nvPr/>
        </p:nvSpPr>
        <p:spPr bwMode="gray">
          <a:xfrm>
            <a:off x="2751947" y="3414735"/>
            <a:ext cx="1080744" cy="27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슈사항 보고</a:t>
            </a:r>
            <a:endParaRPr kumimoji="1" lang="en-US" altLang="ko-KR" sz="1100" b="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2728186" y="4590683"/>
            <a:ext cx="1173719" cy="803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주간업무보고</a:t>
            </a:r>
          </a:p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월간업무보고</a:t>
            </a:r>
          </a:p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수시보고</a:t>
            </a:r>
          </a:p>
        </p:txBody>
      </p:sp>
      <p:sp>
        <p:nvSpPr>
          <p:cNvPr id="24" name="Line 16"/>
          <p:cNvSpPr>
            <a:spLocks noChangeShapeType="1"/>
          </p:cNvSpPr>
          <p:nvPr/>
        </p:nvSpPr>
        <p:spPr bwMode="gray">
          <a:xfrm>
            <a:off x="2218630" y="4528466"/>
            <a:ext cx="0" cy="962732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5" name="Line 16"/>
          <p:cNvSpPr>
            <a:spLocks noChangeShapeType="1"/>
          </p:cNvSpPr>
          <p:nvPr/>
        </p:nvSpPr>
        <p:spPr bwMode="gray">
          <a:xfrm>
            <a:off x="2781994" y="4518940"/>
            <a:ext cx="0" cy="961200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 type="triangle" w="sm" len="med"/>
            <a:tailEnd type="non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6" name="Line 18"/>
          <p:cNvSpPr>
            <a:spLocks noChangeShapeType="1"/>
          </p:cNvSpPr>
          <p:nvPr/>
        </p:nvSpPr>
        <p:spPr bwMode="auto">
          <a:xfrm>
            <a:off x="3800878" y="4258519"/>
            <a:ext cx="2304257" cy="1"/>
          </a:xfrm>
          <a:prstGeom prst="line">
            <a:avLst/>
          </a:prstGeom>
          <a:noFill/>
          <a:ln w="38100">
            <a:solidFill>
              <a:srgbClr val="FFFFFF">
                <a:lumMod val="50000"/>
              </a:srgbClr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" name="Line 19"/>
          <p:cNvSpPr>
            <a:spLocks noChangeShapeType="1"/>
          </p:cNvSpPr>
          <p:nvPr/>
        </p:nvSpPr>
        <p:spPr bwMode="auto">
          <a:xfrm flipH="1">
            <a:off x="3800879" y="4114483"/>
            <a:ext cx="2232248" cy="0"/>
          </a:xfrm>
          <a:prstGeom prst="line">
            <a:avLst/>
          </a:prstGeom>
          <a:noFill/>
          <a:ln w="38100">
            <a:solidFill>
              <a:srgbClr val="FFFFFF">
                <a:lumMod val="50000"/>
              </a:srgbClr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8" name="Text Box 20"/>
          <p:cNvSpPr txBox="1">
            <a:spLocks noChangeArrowheads="1"/>
          </p:cNvSpPr>
          <p:nvPr/>
        </p:nvSpPr>
        <p:spPr bwMode="auto">
          <a:xfrm>
            <a:off x="4572251" y="3806130"/>
            <a:ext cx="868956" cy="29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en-US" altLang="ko-KR" sz="120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eedback</a:t>
            </a:r>
          </a:p>
        </p:txBody>
      </p:sp>
      <p:sp>
        <p:nvSpPr>
          <p:cNvPr id="29" name="Text Box 18"/>
          <p:cNvSpPr txBox="1">
            <a:spLocks noChangeArrowheads="1"/>
          </p:cNvSpPr>
          <p:nvPr/>
        </p:nvSpPr>
        <p:spPr bwMode="gray">
          <a:xfrm>
            <a:off x="4369618" y="4252805"/>
            <a:ext cx="1255472" cy="1505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2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주간업무보고</a:t>
            </a:r>
          </a:p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월간업무보고</a:t>
            </a:r>
            <a:endParaRPr kumimoji="1" lang="en-US" altLang="ko-KR" sz="110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단계별보고</a:t>
            </a:r>
            <a:r>
              <a:rPr kumimoji="1" lang="en-US" altLang="ko-KR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1" lang="en-US" altLang="ko-KR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en-US" altLang="ko-KR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(Kick-off/ </a:t>
            </a:r>
            <a:r>
              <a:rPr kumimoji="1" lang="ko-KR" altLang="en-US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중간</a:t>
            </a:r>
            <a:r>
              <a:rPr kumimoji="1" lang="en-US" altLang="ko-KR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br>
              <a:rPr kumimoji="1" lang="en-US" altLang="ko-KR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최종 보고 등</a:t>
            </a:r>
            <a:r>
              <a:rPr kumimoji="1" lang="en-US" altLang="ko-KR" sz="105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endParaRPr kumimoji="1" lang="en-US" altLang="ko-KR" sz="110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2075" indent="-92075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 수시보고  </a:t>
            </a:r>
          </a:p>
        </p:txBody>
      </p:sp>
      <p:sp>
        <p:nvSpPr>
          <p:cNvPr id="30" name="Line 16"/>
          <p:cNvSpPr>
            <a:spLocks noChangeShapeType="1"/>
          </p:cNvSpPr>
          <p:nvPr/>
        </p:nvSpPr>
        <p:spPr bwMode="gray">
          <a:xfrm>
            <a:off x="7473280" y="4528466"/>
            <a:ext cx="0" cy="979536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 type="triangle" w="sm" len="med"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1" name="Line 18"/>
          <p:cNvSpPr>
            <a:spLocks noChangeShapeType="1"/>
          </p:cNvSpPr>
          <p:nvPr/>
        </p:nvSpPr>
        <p:spPr bwMode="auto">
          <a:xfrm>
            <a:off x="3800884" y="5796596"/>
            <a:ext cx="2304255" cy="0"/>
          </a:xfrm>
          <a:prstGeom prst="line">
            <a:avLst/>
          </a:prstGeom>
          <a:noFill/>
          <a:ln w="38100">
            <a:solidFill>
              <a:srgbClr val="FFFFFF">
                <a:lumMod val="50000"/>
              </a:srgbClr>
            </a:solidFill>
            <a:round/>
            <a:headEnd type="triangle" w="sm" len="med"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2" name="Line 16"/>
          <p:cNvSpPr>
            <a:spLocks noChangeShapeType="1"/>
          </p:cNvSpPr>
          <p:nvPr/>
        </p:nvSpPr>
        <p:spPr bwMode="gray">
          <a:xfrm>
            <a:off x="7174203" y="3053684"/>
            <a:ext cx="0" cy="961200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3" name="Text Box 17"/>
          <p:cNvSpPr txBox="1">
            <a:spLocks noChangeArrowheads="1"/>
          </p:cNvSpPr>
          <p:nvPr/>
        </p:nvSpPr>
        <p:spPr bwMode="gray">
          <a:xfrm>
            <a:off x="6346523" y="3407181"/>
            <a:ext cx="788999" cy="27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en-US" altLang="ko-KR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eedback</a:t>
            </a:r>
          </a:p>
        </p:txBody>
      </p:sp>
      <p:sp>
        <p:nvSpPr>
          <p:cNvPr id="34" name="Line 16"/>
          <p:cNvSpPr>
            <a:spLocks noChangeShapeType="1"/>
          </p:cNvSpPr>
          <p:nvPr/>
        </p:nvSpPr>
        <p:spPr bwMode="gray">
          <a:xfrm>
            <a:off x="7734878" y="3040680"/>
            <a:ext cx="0" cy="961200"/>
          </a:xfrm>
          <a:prstGeom prst="line">
            <a:avLst/>
          </a:prstGeom>
          <a:noFill/>
          <a:ln w="28575">
            <a:solidFill>
              <a:srgbClr val="FFFFFF">
                <a:lumMod val="50000"/>
              </a:srgbClr>
            </a:solidFill>
            <a:round/>
            <a:headEnd type="triangle" w="sm" len="med"/>
            <a:tailEnd type="none" w="sm" len="med"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endParaRPr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5" name="Text Box 17"/>
          <p:cNvSpPr txBox="1">
            <a:spLocks noChangeArrowheads="1"/>
          </p:cNvSpPr>
          <p:nvPr/>
        </p:nvSpPr>
        <p:spPr bwMode="gray">
          <a:xfrm>
            <a:off x="7765745" y="3424260"/>
            <a:ext cx="1080744" cy="27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슈사항 보고</a:t>
            </a:r>
            <a:endParaRPr kumimoji="1" lang="en-US" altLang="ko-KR" sz="1100" b="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6" name="Text Box 37"/>
          <p:cNvSpPr txBox="1">
            <a:spLocks noChangeArrowheads="1"/>
          </p:cNvSpPr>
          <p:nvPr/>
        </p:nvSpPr>
        <p:spPr bwMode="gray">
          <a:xfrm>
            <a:off x="4171950" y="5861505"/>
            <a:ext cx="1626096" cy="44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latin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진척상황 및 </a:t>
            </a:r>
            <a:endParaRPr kumimoji="1" lang="en-US" altLang="ko-KR" sz="1100" i="1" dirty="0">
              <a:solidFill>
                <a:srgbClr val="000000"/>
              </a:solidFill>
              <a:latin typeface="맑은 고딕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eaLnBrk="0" latin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100" i="1" dirty="0">
                <a:solidFill>
                  <a:srgbClr val="000000"/>
                </a:solidFill>
                <a:latin typeface="맑은 고딕" pitchFamily="50" charset="-127"/>
                <a:ea typeface="맑은 고딕" panose="020B0503020000020004" pitchFamily="50" charset="-127"/>
                <a:cs typeface="Arial" pitchFamily="34" charset="0"/>
              </a:rPr>
              <a:t>이슈사항 공유</a:t>
            </a:r>
          </a:p>
        </p:txBody>
      </p:sp>
      <p:sp>
        <p:nvSpPr>
          <p:cNvPr id="37" name="Text Box 36"/>
          <p:cNvSpPr txBox="1">
            <a:spLocks noChangeArrowheads="1"/>
          </p:cNvSpPr>
          <p:nvPr/>
        </p:nvSpPr>
        <p:spPr bwMode="gray">
          <a:xfrm>
            <a:off x="7479915" y="4709386"/>
            <a:ext cx="1793565" cy="549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1" lang="ko-KR" altLang="en-US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시적인  커뮤니케이션을 통해</a:t>
            </a:r>
            <a:br>
              <a:rPr kumimoji="1" lang="ko-KR" altLang="en-US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1" lang="ko-KR" altLang="en-US" sz="1100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황 파악 및 대처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3110321" y="1412776"/>
            <a:ext cx="3685359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프로젝트 조직 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R&amp;R </a:t>
            </a: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별 주요 의사 소통 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Task</a:t>
            </a:r>
            <a:endParaRPr lang="ko-KR" altLang="en-US" sz="14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321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사소통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대상자 정의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조직도 및 프로젝트 성격을 고려하여 개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통합 프로젝트의 의사소통 대상자와 담당 역할을 정의함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" name="Group 4"/>
          <p:cNvGraphicFramePr>
            <a:graphicFrameLocks noGrp="1"/>
          </p:cNvGraphicFramePr>
          <p:nvPr>
            <p:extLst/>
          </p:nvPr>
        </p:nvGraphicFramePr>
        <p:xfrm>
          <a:off x="352101" y="1916832"/>
          <a:ext cx="9186863" cy="4392489"/>
        </p:xfrm>
        <a:graphic>
          <a:graphicData uri="http://schemas.openxmlformats.org/drawingml/2006/table">
            <a:tbl>
              <a:tblPr/>
              <a:tblGrid>
                <a:gridCol w="13415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862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1801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7885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626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상자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정의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역할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예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8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후원자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를 지원하는 최고 의사 결정권자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결과의 승인 및 제도적 기반 마련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추진 인력에 대한 동기 부여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EO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07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총괄 임원진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와 관련된 핵심 의사 결정권자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방향 및 목적에 영향을 주는 자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총괄 책임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와 관련된 최종 의사 결정 수행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IO,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추진위원회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729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책임자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추진 실무 담당 책임자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개별 프로젝트 관리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범위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예산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정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리소스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팀 내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간의 의사소통 및 협조 지원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팀 조직에서 발생되는 주요 이슈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위험 관리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roject Executive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에 프로젝트 진행 상황 보고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총괄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M,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추진실무협의회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947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부 참여자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참여자 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개발 참여 및 시스템 기능 평가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승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구현 이후 현업 전문가 그룹으로 육성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지속적인 변화 관리 및 시스템 개선 활동 참여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FT </a:t>
                      </a:r>
                      <a:b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Full Timer, Part Timer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포함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8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외부 참여자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주업체 프로젝트 참여자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 개발 참여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교육 시행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부 개발업체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L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및 팀원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08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업사용자 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의 결과물인 시스템을 사용하는 자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교육 이수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구현 이후 지속적인 개선 활동 참가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현업담당자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307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카드 고객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결과 공유 </a:t>
                      </a: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54000" marR="54000" marT="46800" marB="468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 bwMode="auto">
          <a:xfrm>
            <a:off x="3061173" y="1412776"/>
            <a:ext cx="378365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H</a:t>
            </a: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농협카드 의사소통 관리 대상자 정의</a:t>
            </a: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예상</a:t>
            </a: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</p:txBody>
      </p:sp>
      <p:sp>
        <p:nvSpPr>
          <p:cNvPr id="1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13" name="Group 154"/>
          <p:cNvGrpSpPr/>
          <p:nvPr/>
        </p:nvGrpSpPr>
        <p:grpSpPr>
          <a:xfrm>
            <a:off x="8561282" y="1340768"/>
            <a:ext cx="1109768" cy="246221"/>
            <a:chOff x="8019945" y="1816742"/>
            <a:chExt cx="1109768" cy="246221"/>
          </a:xfrm>
        </p:grpSpPr>
        <p:sp>
          <p:nvSpPr>
            <p:cNvPr id="14" name="TextBox 1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8014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도 카드사 차세대 프로젝트 수행사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한카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성카드에서 차세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P, PI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총괄한 핵심 인력을 본 프로젝트에 투입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3404827" y="1344096"/>
            <a:ext cx="5898089" cy="359664"/>
            <a:chOff x="3404828" y="1494264"/>
            <a:chExt cx="3671402" cy="359664"/>
          </a:xfrm>
        </p:grpSpPr>
        <p:cxnSp>
          <p:nvCxnSpPr>
            <p:cNvPr id="37" name="Straight Connector 9"/>
            <p:cNvCxnSpPr/>
            <p:nvPr/>
          </p:nvCxnSpPr>
          <p:spPr>
            <a:xfrm>
              <a:off x="3404828" y="1853928"/>
              <a:ext cx="36714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38" name="TextBox 54"/>
            <p:cNvSpPr txBox="1">
              <a:spLocks noChangeArrowheads="1"/>
            </p:cNvSpPr>
            <p:nvPr/>
          </p:nvSpPr>
          <p:spPr bwMode="auto">
            <a:xfrm>
              <a:off x="3584848" y="1494264"/>
              <a:ext cx="330580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 범위 및 </a:t>
              </a:r>
              <a:r>
                <a:rPr lang="en-US" altLang="ko-KR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ey Success Factor (</a:t>
              </a:r>
              <a:r>
                <a:rPr lang="ko-KR" alt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사례</a:t>
              </a:r>
              <a:r>
                <a:rPr lang="en-US" altLang="ko-KR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6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39" name="Straight Connector 36"/>
          <p:cNvCxnSpPr/>
          <p:nvPr/>
        </p:nvCxnSpPr>
        <p:spPr>
          <a:xfrm>
            <a:off x="416497" y="1703760"/>
            <a:ext cx="11505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40" name="TextBox 54"/>
          <p:cNvSpPr txBox="1">
            <a:spLocks noChangeArrowheads="1"/>
          </p:cNvSpPr>
          <p:nvPr/>
        </p:nvSpPr>
        <p:spPr bwMode="auto">
          <a:xfrm>
            <a:off x="591641" y="1344096"/>
            <a:ext cx="800219" cy="325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</a:p>
        </p:txBody>
      </p:sp>
      <p:grpSp>
        <p:nvGrpSpPr>
          <p:cNvPr id="41" name="그룹 40"/>
          <p:cNvGrpSpPr/>
          <p:nvPr/>
        </p:nvGrpSpPr>
        <p:grpSpPr>
          <a:xfrm>
            <a:off x="1812659" y="1344096"/>
            <a:ext cx="1358589" cy="361711"/>
            <a:chOff x="1796578" y="1494264"/>
            <a:chExt cx="965903" cy="361711"/>
          </a:xfrm>
        </p:grpSpPr>
        <p:cxnSp>
          <p:nvCxnSpPr>
            <p:cNvPr id="42" name="Straight Connector 18"/>
            <p:cNvCxnSpPr/>
            <p:nvPr/>
          </p:nvCxnSpPr>
          <p:spPr>
            <a:xfrm>
              <a:off x="1796578" y="1855975"/>
              <a:ext cx="96590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3" name="TextBox 54"/>
            <p:cNvSpPr txBox="1">
              <a:spLocks noChangeArrowheads="1"/>
            </p:cNvSpPr>
            <p:nvPr/>
          </p:nvSpPr>
          <p:spPr bwMode="auto">
            <a:xfrm>
              <a:off x="1955584" y="1494264"/>
              <a:ext cx="714802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6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영역</a:t>
              </a:r>
            </a:p>
          </p:txBody>
        </p:sp>
      </p:grpSp>
      <p:cxnSp>
        <p:nvCxnSpPr>
          <p:cNvPr id="44" name="직선 연결선 6"/>
          <p:cNvCxnSpPr/>
          <p:nvPr/>
        </p:nvCxnSpPr>
        <p:spPr>
          <a:xfrm>
            <a:off x="416496" y="3888613"/>
            <a:ext cx="29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dash"/>
          </a:ln>
          <a:effectLst/>
        </p:spPr>
      </p:cxnSp>
      <p:sp>
        <p:nvSpPr>
          <p:cNvPr id="45" name="직사각형 110"/>
          <p:cNvSpPr/>
          <p:nvPr/>
        </p:nvSpPr>
        <p:spPr bwMode="gray">
          <a:xfrm>
            <a:off x="1928664" y="4365435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6" name="직사각형 120"/>
          <p:cNvSpPr/>
          <p:nvPr/>
        </p:nvSpPr>
        <p:spPr bwMode="gray">
          <a:xfrm>
            <a:off x="1928664" y="2516201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7" name="직사각형 109"/>
          <p:cNvSpPr/>
          <p:nvPr/>
        </p:nvSpPr>
        <p:spPr bwMode="gray">
          <a:xfrm>
            <a:off x="2373102" y="4365435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8" name="직사각형 121"/>
          <p:cNvSpPr/>
          <p:nvPr/>
        </p:nvSpPr>
        <p:spPr bwMode="gray">
          <a:xfrm>
            <a:off x="2373102" y="2516201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9" name="Group 7"/>
          <p:cNvGrpSpPr/>
          <p:nvPr/>
        </p:nvGrpSpPr>
        <p:grpSpPr>
          <a:xfrm>
            <a:off x="1942211" y="2012145"/>
            <a:ext cx="1149445" cy="157286"/>
            <a:chOff x="1942211" y="2004458"/>
            <a:chExt cx="1149445" cy="157286"/>
          </a:xfrm>
        </p:grpSpPr>
        <p:sp>
          <p:nvSpPr>
            <p:cNvPr id="50" name="직사각형 32"/>
            <p:cNvSpPr/>
            <p:nvPr/>
          </p:nvSpPr>
          <p:spPr bwMode="gray">
            <a:xfrm>
              <a:off x="1942211" y="2007856"/>
              <a:ext cx="20197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latinLnBrk="0"/>
              <a:r>
                <a:rPr lang="en-US" sz="10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MP</a:t>
              </a:r>
            </a:p>
          </p:txBody>
        </p:sp>
        <p:sp>
          <p:nvSpPr>
            <p:cNvPr id="51" name="직사각형 31"/>
            <p:cNvSpPr/>
            <p:nvPr/>
          </p:nvSpPr>
          <p:spPr bwMode="gray">
            <a:xfrm>
              <a:off x="2433938" y="2004458"/>
              <a:ext cx="11862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latinLnBrk="0"/>
              <a:r>
                <a:rPr lang="en-US" altLang="ko-KR" sz="10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PI</a:t>
              </a:r>
              <a:endParaRPr 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52" name="직사각형 68"/>
            <p:cNvSpPr/>
            <p:nvPr/>
          </p:nvSpPr>
          <p:spPr bwMode="gray">
            <a:xfrm>
              <a:off x="2828764" y="2007856"/>
              <a:ext cx="26289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latinLnBrk="0"/>
              <a:r>
                <a:rPr lang="en-US" sz="1000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PMO</a:t>
              </a:r>
            </a:p>
          </p:txBody>
        </p:sp>
      </p:grpSp>
      <p:sp>
        <p:nvSpPr>
          <p:cNvPr id="53" name="직사각형 112"/>
          <p:cNvSpPr/>
          <p:nvPr/>
        </p:nvSpPr>
        <p:spPr bwMode="gray">
          <a:xfrm>
            <a:off x="2845675" y="4365435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직사각형 122"/>
          <p:cNvSpPr/>
          <p:nvPr/>
        </p:nvSpPr>
        <p:spPr bwMode="gray">
          <a:xfrm>
            <a:off x="2845675" y="2516201"/>
            <a:ext cx="229071" cy="225365"/>
          </a:xfrm>
          <a:prstGeom prst="rect">
            <a:avLst/>
          </a:prstGeom>
          <a:solidFill>
            <a:srgbClr val="2045A0"/>
          </a:solidFill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5" name="직사각형 54"/>
          <p:cNvSpPr/>
          <p:nvPr/>
        </p:nvSpPr>
        <p:spPr bwMode="gray">
          <a:xfrm>
            <a:off x="3404827" y="1916832"/>
            <a:ext cx="6120681" cy="1836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507223" y="1985635"/>
            <a:ext cx="3966058" cy="1682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차세대 구축을 위한 마스터플랜 수립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비즈니스 요건관리 및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T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아키텍처 관리를 포함한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PMO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수행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261938" lvl="2" indent="-171450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Tx/>
              <a:buChar char="-"/>
              <a:defRPr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프로세스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Visibility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강화 및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End-to-End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프로세스 통합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261938" lvl="2" indent="-171450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Tx/>
              <a:buChar char="-"/>
              <a:defRPr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Single Platform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기반 시스템 통합 및 기준정보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Single View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통합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차세대 도입에 따른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T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아키텍처 관리체계 수립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7365932" y="2043691"/>
            <a:ext cx="2159576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PI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기반 차세대 설계</a:t>
            </a: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/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구축 역량 접목</a:t>
            </a: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” </a:t>
            </a:r>
          </a:p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/>
            </a:r>
            <a:b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</a:br>
            <a: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</a:t>
            </a:r>
            <a:r>
              <a:rPr kumimoji="1" lang="ko-KR" altLang="en-US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비즈니스 요건에 대한 신속한 의사결정 지원</a:t>
            </a:r>
            <a: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</a:t>
            </a:r>
          </a:p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endParaRPr kumimoji="1" lang="en-US" altLang="ko-KR" sz="1300" i="1" dirty="0">
              <a:solidFill>
                <a:srgbClr val="C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IT</a:t>
            </a:r>
            <a:r>
              <a:rPr kumimoji="1" lang="ko-KR" altLang="en-US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아키텍처에 대한 리스크 사전 식별 및 대응</a:t>
            </a:r>
            <a:r>
              <a:rPr kumimoji="1" lang="en-US" altLang="ko-KR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</a:t>
            </a:r>
            <a:endParaRPr kumimoji="1" lang="en-US" altLang="ko-KR" sz="1300" i="1" dirty="0">
              <a:solidFill>
                <a:srgbClr val="C00000"/>
              </a:solidFill>
              <a:latin typeface="맑은 고딕" panose="020B0503020000020004" pitchFamily="50" charset="-127"/>
              <a:ea typeface="맑은 고딕"/>
            </a:endParaRPr>
          </a:p>
        </p:txBody>
      </p:sp>
      <p:sp>
        <p:nvSpPr>
          <p:cNvPr id="58" name="직사각형 57"/>
          <p:cNvSpPr/>
          <p:nvPr/>
        </p:nvSpPr>
        <p:spPr bwMode="gray">
          <a:xfrm>
            <a:off x="3404827" y="3924617"/>
            <a:ext cx="6120681" cy="1836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3507222" y="3975021"/>
            <a:ext cx="3858709" cy="15414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차세대 구축을 위한 마스터플랜 수립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(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비즈니스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/IT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 상세 요건 정의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)</a:t>
            </a:r>
          </a:p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차세대 시스템 구축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PMO</a:t>
            </a:r>
          </a:p>
          <a:p>
            <a:pPr marL="261938" lvl="2" indent="-171450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Tx/>
              <a:buChar char="-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고객지향적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프로세스 개선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261938" lvl="2" indent="-171450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Tx/>
              <a:buChar char="-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신속한 비즈니스 대응환경 구축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261938" lvl="2" indent="-171450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Tx/>
              <a:buChar char="-"/>
            </a:pPr>
            <a:r>
              <a:rPr kumimoji="1"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IT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역량 강화</a:t>
            </a:r>
            <a:endParaRPr kumimoji="1"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</a:endParaRPr>
          </a:p>
          <a:p>
            <a:pPr marL="85725" lvl="1" indent="-85725" defTabSz="196850" eaLnBrk="0" latinLnBrk="0" hangingPunct="0">
              <a:lnSpc>
                <a:spcPts val="1400"/>
              </a:lnSpc>
              <a:spcBef>
                <a:spcPts val="300"/>
              </a:spcBef>
              <a:buSzPct val="75000"/>
              <a:buFont typeface="Wingdings" panose="05000000000000000000" pitchFamily="2" charset="2"/>
              <a:buChar char="§"/>
            </a:pPr>
            <a:r>
              <a:rPr kumimoji="1" lang="ko-KR" altLang="en-US" sz="12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콜센터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 고도화 요건관리 및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PMO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7365932" y="4165901"/>
            <a:ext cx="215957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스터플랜 수립 및 차세대 시스템 성공적 시스템 </a:t>
            </a: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n” </a:t>
            </a:r>
          </a:p>
        </p:txBody>
      </p:sp>
      <p:pic>
        <p:nvPicPr>
          <p:cNvPr id="61" name="Picture 4"/>
          <p:cNvPicPr preferRelativeResize="0"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8522" y="2506535"/>
            <a:ext cx="1008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그림 61" descr="신한카드_logo4.bmp"/>
          <p:cNvPicPr preferRelativeResize="0"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3134" y="4361965"/>
            <a:ext cx="1008000" cy="252000"/>
          </a:xfrm>
          <a:prstGeom prst="rect">
            <a:avLst/>
          </a:prstGeom>
        </p:spPr>
      </p:pic>
      <p:sp>
        <p:nvSpPr>
          <p:cNvPr id="63" name="직사각형 62"/>
          <p:cNvSpPr/>
          <p:nvPr/>
        </p:nvSpPr>
        <p:spPr>
          <a:xfrm>
            <a:off x="7344158" y="5091187"/>
            <a:ext cx="2159576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96850" eaLnBrk="0" latinLnBrk="0" hangingPunct="0">
              <a:lnSpc>
                <a:spcPts val="1400"/>
              </a:lnSpc>
              <a:buSzPct val="75000"/>
              <a:defRPr/>
            </a:pP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“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경험에 기반한 </a:t>
            </a:r>
            <a:r>
              <a:rPr kumimoji="1" lang="ko-KR" altLang="en-US" sz="1300" b="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고객사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  및 </a:t>
            </a:r>
            <a:r>
              <a:rPr kumimoji="1" lang="ko-KR" altLang="en-US" sz="1300" i="1" dirty="0" err="1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수행사</a:t>
            </a:r>
            <a:r>
              <a:rPr kumimoji="1" lang="ko-KR" altLang="en-US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 리드</a:t>
            </a:r>
            <a:r>
              <a:rPr kumimoji="1" lang="en-US" altLang="ko-KR" sz="1300" i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/>
              </a:rPr>
              <a:t>” 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315892" y="2849755"/>
            <a:ext cx="1367682" cy="295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968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2012.03 </a:t>
            </a: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~ </a:t>
            </a:r>
            <a:r>
              <a:rPr lang="en-US" altLang="ko-KR" sz="11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2015.03</a:t>
            </a:r>
            <a:endParaRPr lang="ko-KR" altLang="en-US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315892" y="4824583"/>
            <a:ext cx="1367682" cy="276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968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2010.05 ~ 2012.10</a:t>
            </a:r>
            <a:endParaRPr lang="ko-KR" altLang="en-US" sz="11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680484" y="3185420"/>
            <a:ext cx="2190023" cy="583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968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“</a:t>
            </a:r>
            <a:r>
              <a:rPr lang="ko-KR" altLang="en-US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본 프로젝트를 총괄했던</a:t>
            </a: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/>
            </a:r>
            <a:b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</a:br>
            <a:r>
              <a:rPr lang="ko-KR" altLang="en-US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핵심 인력 참여</a:t>
            </a: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”</a:t>
            </a:r>
            <a:endParaRPr lang="ko-KR" altLang="en-US" sz="1400" i="1" kern="0" dirty="0">
              <a:solidFill>
                <a:srgbClr val="0000CC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680484" y="5144867"/>
            <a:ext cx="2190023" cy="583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968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“</a:t>
            </a:r>
            <a:r>
              <a:rPr lang="ko-KR" altLang="en-US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본 프로젝트를 총괄했던</a:t>
            </a: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/>
            </a:r>
            <a:b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</a:br>
            <a:r>
              <a:rPr lang="ko-KR" altLang="en-US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핵심 인력 참여</a:t>
            </a:r>
            <a:r>
              <a:rPr lang="en-US" altLang="ko-KR" sz="1400" i="1" kern="0" dirty="0">
                <a:solidFill>
                  <a:srgbClr val="0000CC"/>
                </a:solidFill>
                <a:latin typeface="맑은 고딕" panose="020B0503020000020004" pitchFamily="50" charset="-127"/>
                <a:ea typeface="맑은 고딕"/>
                <a:cs typeface="Arial" pitchFamily="34" charset="0"/>
              </a:rPr>
              <a:t>”</a:t>
            </a:r>
            <a:endParaRPr lang="ko-KR" altLang="en-US" sz="1400" i="1" kern="0" dirty="0">
              <a:solidFill>
                <a:srgbClr val="0000CC"/>
              </a:solidFill>
              <a:latin typeface="맑은 고딕" panose="020B0503020000020004" pitchFamily="50" charset="-127"/>
              <a:ea typeface="맑은 고딕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17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품질 보증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동 및 전략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양한 컨설팅 수행경험을 바탕으로 본 사업의 중요성과 요구사항을 명확히 파악하여 적합한 품질목표 설정 및 품질 전문인력의 주도적인 참여로 최적의 품질을 보증 할 것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448944" y="2667694"/>
            <a:ext cx="3528392" cy="3035300"/>
            <a:chOff x="4448944" y="2601789"/>
            <a:chExt cx="3528392" cy="3035300"/>
          </a:xfrm>
        </p:grpSpPr>
        <p:sp>
          <p:nvSpPr>
            <p:cNvPr id="5" name="AutoShape 24"/>
            <p:cNvSpPr>
              <a:spLocks noChangeArrowheads="1"/>
            </p:cNvSpPr>
            <p:nvPr/>
          </p:nvSpPr>
          <p:spPr bwMode="gray">
            <a:xfrm flipH="1">
              <a:off x="4448944" y="2601789"/>
              <a:ext cx="3528392" cy="684212"/>
            </a:xfrm>
            <a:prstGeom prst="leftArrow">
              <a:avLst>
                <a:gd name="adj1" fmla="val 83657"/>
                <a:gd name="adj2" fmla="val 15774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252000" tIns="46800" rIns="90000" bIns="46800" anchor="ctr"/>
            <a:lstStyle/>
            <a:p>
              <a:pPr latinLnBrk="0">
                <a:buClr>
                  <a:srgbClr val="4D4D4D"/>
                </a:buClr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사사업 및 선행경험으로 축적된 지식 활용</a:t>
              </a:r>
            </a:p>
          </p:txBody>
        </p:sp>
        <p:sp>
          <p:nvSpPr>
            <p:cNvPr id="6" name="AutoShape 24"/>
            <p:cNvSpPr>
              <a:spLocks noChangeArrowheads="1"/>
            </p:cNvSpPr>
            <p:nvPr/>
          </p:nvSpPr>
          <p:spPr bwMode="gray">
            <a:xfrm flipH="1">
              <a:off x="4448944" y="3386014"/>
              <a:ext cx="3528392" cy="682625"/>
            </a:xfrm>
            <a:prstGeom prst="leftArrow">
              <a:avLst>
                <a:gd name="adj1" fmla="val 83657"/>
                <a:gd name="adj2" fmla="val 15811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252000" tIns="46800" rIns="90000" bIns="46800" anchor="ctr"/>
            <a:lstStyle/>
            <a:p>
              <a:pPr latinLnBrk="0">
                <a:buClr>
                  <a:srgbClr val="4D4D4D"/>
                </a:buClr>
              </a:pPr>
              <a:r>
                <a:rPr lang="ko-KR" altLang="en-US" sz="12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의 특성을 고려한 요구사항 분석</a:t>
              </a:r>
            </a:p>
          </p:txBody>
        </p:sp>
        <p:sp>
          <p:nvSpPr>
            <p:cNvPr id="7" name="AutoShape 24"/>
            <p:cNvSpPr>
              <a:spLocks noChangeArrowheads="1"/>
            </p:cNvSpPr>
            <p:nvPr/>
          </p:nvSpPr>
          <p:spPr bwMode="gray">
            <a:xfrm flipH="1">
              <a:off x="4448944" y="4168651"/>
              <a:ext cx="3528392" cy="684213"/>
            </a:xfrm>
            <a:prstGeom prst="leftArrow">
              <a:avLst>
                <a:gd name="adj1" fmla="val 83657"/>
                <a:gd name="adj2" fmla="val 15774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252000" tIns="46800" rIns="90000" bIns="46800" anchor="ctr"/>
            <a:lstStyle/>
            <a:p>
              <a:pPr latinLnBrk="0">
                <a:buClr>
                  <a:srgbClr val="4D4D4D"/>
                </a:buClr>
              </a:pPr>
              <a:r>
                <a:rPr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ME*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보증 활동 지원</a:t>
              </a:r>
            </a:p>
          </p:txBody>
        </p:sp>
        <p:sp>
          <p:nvSpPr>
            <p:cNvPr id="8" name="AutoShape 24"/>
            <p:cNvSpPr>
              <a:spLocks noChangeArrowheads="1"/>
            </p:cNvSpPr>
            <p:nvPr/>
          </p:nvSpPr>
          <p:spPr bwMode="gray">
            <a:xfrm flipH="1">
              <a:off x="4448944" y="4952876"/>
              <a:ext cx="3528392" cy="684213"/>
            </a:xfrm>
            <a:prstGeom prst="leftArrow">
              <a:avLst>
                <a:gd name="adj1" fmla="val 83657"/>
                <a:gd name="adj2" fmla="val 15774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252000" tIns="46800" rIns="90000" bIns="46800" anchor="ctr"/>
            <a:lstStyle/>
            <a:p>
              <a:pPr latinLnBrk="0">
                <a:buClr>
                  <a:srgbClr val="4D4D4D"/>
                </a:buClr>
              </a:pP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국내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·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외에서 검증된 </a:t>
              </a:r>
              <a:r>
                <a:rPr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PMG </a:t>
              </a:r>
              <a:r>
                <a:rPr lang="ko-KR" altLang="en-US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법론 적용</a:t>
              </a: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494856" y="2369244"/>
            <a:ext cx="3656386" cy="3632200"/>
            <a:chOff x="494856" y="2266826"/>
            <a:chExt cx="3656386" cy="3632200"/>
          </a:xfrm>
        </p:grpSpPr>
        <p:sp>
          <p:nvSpPr>
            <p:cNvPr id="10" name="직사각형 9"/>
            <p:cNvSpPr/>
            <p:nvPr/>
          </p:nvSpPr>
          <p:spPr>
            <a:xfrm>
              <a:off x="494856" y="2266826"/>
              <a:ext cx="3656386" cy="36322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atinLnBrk="0">
                <a:defRPr/>
              </a:pPr>
              <a:endParaRPr lang="ko-KR" altLang="en-US" sz="120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" name="AutoShape 32"/>
            <p:cNvSpPr>
              <a:spLocks noChangeArrowheads="1"/>
            </p:cNvSpPr>
            <p:nvPr/>
          </p:nvSpPr>
          <p:spPr bwMode="auto">
            <a:xfrm rot="5400000">
              <a:off x="731393" y="4421066"/>
              <a:ext cx="1119188" cy="1341438"/>
            </a:xfrm>
            <a:prstGeom prst="homePlate">
              <a:avLst>
                <a:gd name="adj" fmla="val 11095"/>
              </a:avLst>
            </a:prstGeom>
            <a:solidFill>
              <a:srgbClr val="002060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vert270" lIns="36000" tIns="36000" rIns="36000" bIns="36000" anchor="ctr"/>
            <a:lstStyle/>
            <a:p>
              <a:pPr algn="ctr" defTabSz="411163" latinLnBrk="0">
                <a:lnSpc>
                  <a:spcPct val="150000"/>
                </a:lnSpc>
                <a:buClr>
                  <a:srgbClr val="0000FF"/>
                </a:buClr>
                <a:buSzPct val="90000"/>
              </a:pPr>
              <a:r>
                <a:rPr lang="ko-KR" altLang="en-US" sz="14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품질 평가</a:t>
              </a:r>
            </a:p>
          </p:txBody>
        </p:sp>
        <p:sp>
          <p:nvSpPr>
            <p:cNvPr id="12" name="AutoShape 33"/>
            <p:cNvSpPr>
              <a:spLocks noChangeArrowheads="1"/>
            </p:cNvSpPr>
            <p:nvPr/>
          </p:nvSpPr>
          <p:spPr bwMode="auto">
            <a:xfrm rot="5400000">
              <a:off x="671068" y="3455865"/>
              <a:ext cx="1239837" cy="1341438"/>
            </a:xfrm>
            <a:prstGeom prst="homePlate">
              <a:avLst>
                <a:gd name="adj" fmla="val 25000"/>
              </a:avLst>
            </a:prstGeom>
            <a:solidFill>
              <a:srgbClr val="A9BCED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wrap="none" lIns="45720" rIns="45720" anchor="ctr"/>
            <a:lstStyle/>
            <a:p>
              <a:pPr algn="ctr" latinLnBrk="0">
                <a:defRPr/>
              </a:pPr>
              <a:r>
                <a:rPr lang="ko-KR" altLang="en-US" sz="13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검토 및 확인</a:t>
              </a:r>
            </a:p>
          </p:txBody>
        </p:sp>
        <p:sp>
          <p:nvSpPr>
            <p:cNvPr id="13" name="AutoShape 34"/>
            <p:cNvSpPr>
              <a:spLocks noChangeArrowheads="1"/>
            </p:cNvSpPr>
            <p:nvPr/>
          </p:nvSpPr>
          <p:spPr bwMode="auto">
            <a:xfrm rot="5400000">
              <a:off x="670273" y="2388271"/>
              <a:ext cx="1241425" cy="1341438"/>
            </a:xfrm>
            <a:prstGeom prst="homePlate">
              <a:avLst>
                <a:gd name="adj" fmla="val 25000"/>
              </a:avLst>
            </a:prstGeom>
            <a:solidFill>
              <a:srgbClr val="E9F0FB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wrap="none" lIns="45720" rIns="45720" anchor="ctr"/>
            <a:lstStyle/>
            <a:p>
              <a:pPr algn="ctr" latinLnBrk="0">
                <a:defRPr/>
              </a:pPr>
              <a:r>
                <a:rPr lang="ko-KR" altLang="en-US" sz="1300" b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 보증 계획</a:t>
              </a:r>
            </a:p>
          </p:txBody>
        </p:sp>
        <p:sp>
          <p:nvSpPr>
            <p:cNvPr id="14" name="Rectangle 33"/>
            <p:cNvSpPr>
              <a:spLocks noChangeArrowheads="1"/>
            </p:cNvSpPr>
            <p:nvPr/>
          </p:nvSpPr>
          <p:spPr bwMode="auto">
            <a:xfrm>
              <a:off x="2015680" y="2447782"/>
              <a:ext cx="1989137" cy="971550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36000" tIns="46800" rIns="36000" bIns="46800" anchor="ctr"/>
            <a:lstStyle/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 목표 수립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보증계획 수립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요구사항 수집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</a:p>
          </p:txBody>
        </p:sp>
        <p:sp>
          <p:nvSpPr>
            <p:cNvPr id="15" name="Rectangle 33"/>
            <p:cNvSpPr>
              <a:spLocks noChangeArrowheads="1"/>
            </p:cNvSpPr>
            <p:nvPr/>
          </p:nvSpPr>
          <p:spPr bwMode="auto">
            <a:xfrm>
              <a:off x="2015680" y="3497139"/>
              <a:ext cx="1989137" cy="971550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36000" tIns="46800" rIns="36000" bIns="46800" anchor="ctr"/>
            <a:lstStyle/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출물 검토</a:t>
              </a:r>
              <a:endPara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세스 검토</a:t>
              </a:r>
            </a:p>
          </p:txBody>
        </p:sp>
        <p:sp>
          <p:nvSpPr>
            <p:cNvPr id="16" name="Rectangle 33"/>
            <p:cNvSpPr>
              <a:spLocks noChangeArrowheads="1"/>
            </p:cNvSpPr>
            <p:nvPr/>
          </p:nvSpPr>
          <p:spPr bwMode="auto">
            <a:xfrm>
              <a:off x="2015680" y="4538539"/>
              <a:ext cx="1989137" cy="971550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36000" tIns="46800" rIns="36000" bIns="46800" anchor="ctr"/>
            <a:lstStyle/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평가</a:t>
              </a:r>
              <a:endPara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평가 결과 분석</a:t>
              </a:r>
              <a:endPara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5250" indent="-95250" latinLnBrk="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계획</a:t>
              </a:r>
              <a:r>
                <a:rPr lang="en-US" altLang="ko-KR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목표에 반영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160392" y="2349400"/>
            <a:ext cx="438151" cy="3671888"/>
            <a:chOff x="4160392" y="2254126"/>
            <a:chExt cx="438151" cy="3671888"/>
          </a:xfrm>
        </p:grpSpPr>
        <p:sp>
          <p:nvSpPr>
            <p:cNvPr id="18" name="AutoShape 23"/>
            <p:cNvSpPr>
              <a:spLocks noChangeArrowheads="1"/>
            </p:cNvSpPr>
            <p:nvPr/>
          </p:nvSpPr>
          <p:spPr bwMode="auto">
            <a:xfrm rot="5400000" flipV="1">
              <a:off x="2543524" y="3870994"/>
              <a:ext cx="3671888" cy="43815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25 w 21600"/>
                <a:gd name="T13" fmla="*/ 3025 h 21600"/>
                <a:gd name="T14" fmla="*/ 18575 w 21600"/>
                <a:gd name="T15" fmla="*/ 1857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449" y="21600"/>
                  </a:lnTo>
                  <a:lnTo>
                    <a:pt x="19151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666666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tIns="118800"/>
            <a:lstStyle/>
            <a:p>
              <a:pPr latinLnBrk="0"/>
              <a:endPara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" name="AutoShape 24"/>
            <p:cNvSpPr>
              <a:spLocks/>
            </p:cNvSpPr>
            <p:nvPr/>
          </p:nvSpPr>
          <p:spPr bwMode="auto">
            <a:xfrm rot="10800000">
              <a:off x="4187380" y="2784351"/>
              <a:ext cx="384175" cy="2609850"/>
            </a:xfrm>
            <a:prstGeom prst="leftBracket">
              <a:avLst>
                <a:gd name="adj" fmla="val 99573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5F5F5F"/>
              </a:solidFill>
              <a:round/>
              <a:headEnd/>
              <a:tailEnd/>
            </a:ln>
          </p:spPr>
          <p:txBody>
            <a:bodyPr rot="10800000" vert="eaVert" rIns="108000" anchor="b"/>
            <a:lstStyle/>
            <a:p>
              <a:pPr latinLnBrk="0"/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단계별 철저한 품질 보증 활동</a:t>
              </a:r>
            </a:p>
          </p:txBody>
        </p:sp>
      </p:grpSp>
      <p:sp>
        <p:nvSpPr>
          <p:cNvPr id="20" name="Text Box 30"/>
          <p:cNvSpPr txBox="1">
            <a:spLocks noChangeArrowheads="1"/>
          </p:cNvSpPr>
          <p:nvPr/>
        </p:nvSpPr>
        <p:spPr bwMode="auto">
          <a:xfrm>
            <a:off x="1660848" y="1916494"/>
            <a:ext cx="1324402" cy="3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46800" bIns="46800">
            <a:sp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보증 활동</a:t>
            </a:r>
          </a:p>
        </p:txBody>
      </p:sp>
      <p:sp>
        <p:nvSpPr>
          <p:cNvPr id="21" name="Text Box 30"/>
          <p:cNvSpPr txBox="1">
            <a:spLocks noChangeArrowheads="1"/>
          </p:cNvSpPr>
          <p:nvPr/>
        </p:nvSpPr>
        <p:spPr bwMode="auto">
          <a:xfrm>
            <a:off x="5550939" y="1916494"/>
            <a:ext cx="1324402" cy="3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46800" bIns="46800">
            <a:spAutoFit/>
          </a:bodyPr>
          <a:lstStyle/>
          <a:p>
            <a:pPr algn="ctr" latinLnBrk="0">
              <a:spcBef>
                <a:spcPct val="50000"/>
              </a:spcBef>
            </a:pPr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보증 전략</a:t>
            </a: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gray">
          <a:xfrm>
            <a:off x="8053834" y="2357338"/>
            <a:ext cx="1363662" cy="3656013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defTabSz="411163" latinLnBrk="0">
              <a:lnSpc>
                <a:spcPct val="150000"/>
              </a:lnSpc>
              <a:buClr>
                <a:srgbClr val="0000FF"/>
              </a:buClr>
              <a:buSzPct val="90000"/>
              <a:defRPr/>
            </a:pP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양한 수행 경험을 통하여 고객환경에</a:t>
            </a:r>
            <a:endParaRPr lang="en-US" altLang="ko-KR" sz="14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defTabSz="411163" latinLnBrk="0">
              <a:lnSpc>
                <a:spcPct val="150000"/>
              </a:lnSpc>
              <a:buClr>
                <a:srgbClr val="0000FF"/>
              </a:buClr>
              <a:buSzPct val="90000"/>
              <a:defRPr/>
            </a:pP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최적화된</a:t>
            </a:r>
            <a:endParaRPr lang="en-US" altLang="ko-KR" sz="14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defTabSz="411163" latinLnBrk="0">
              <a:lnSpc>
                <a:spcPct val="150000"/>
              </a:lnSpc>
              <a:buClr>
                <a:srgbClr val="0000FF"/>
              </a:buClr>
              <a:buSzPct val="90000"/>
              <a:defRPr/>
            </a:pP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품질활동 지원</a:t>
            </a:r>
          </a:p>
        </p:txBody>
      </p:sp>
      <p:sp>
        <p:nvSpPr>
          <p:cNvPr id="23" name="Text Box 4"/>
          <p:cNvSpPr txBox="1">
            <a:spLocks noChangeArrowheads="1"/>
          </p:cNvSpPr>
          <p:nvPr/>
        </p:nvSpPr>
        <p:spPr bwMode="gray">
          <a:xfrm>
            <a:off x="349565" y="6199378"/>
            <a:ext cx="1722761" cy="180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*) Subject Matter Expertise</a:t>
            </a:r>
          </a:p>
        </p:txBody>
      </p:sp>
      <p:sp>
        <p:nvSpPr>
          <p:cNvPr id="2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37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5" name="꺾인 연결선 12"/>
          <p:cNvCxnSpPr>
            <a:stCxn id="6" idx="2"/>
            <a:endCxn id="13" idx="0"/>
          </p:cNvCxnSpPr>
          <p:nvPr/>
        </p:nvCxnSpPr>
        <p:spPr bwMode="auto">
          <a:xfrm rot="16200000" flipH="1">
            <a:off x="1783192" y="3470787"/>
            <a:ext cx="1949766" cy="56197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품질 보증 방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행 조직 및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&amp;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 사업의 품질을 보증하기 위해 담당자에 의한 프로젝트의 품질 진단 및 단계별 검토를 수행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관리자 및 수행 팀원의 품질보증 활동을 평가하여 시정 조치할 것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" name="직선 연결선 3"/>
          <p:cNvCxnSpPr/>
          <p:nvPr/>
        </p:nvCxnSpPr>
        <p:spPr bwMode="auto">
          <a:xfrm flipH="1">
            <a:off x="1811132" y="3479396"/>
            <a:ext cx="66595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5" name="Rectangle 52"/>
          <p:cNvSpPr>
            <a:spLocks noChangeArrowheads="1"/>
          </p:cNvSpPr>
          <p:nvPr/>
        </p:nvSpPr>
        <p:spPr bwMode="auto">
          <a:xfrm>
            <a:off x="1462361" y="1663044"/>
            <a:ext cx="2029452" cy="32449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54000" tIns="54000" rIns="54000" bIns="54000" anchor="ctr">
            <a:spAutoFit/>
          </a:bodyPr>
          <a:lstStyle/>
          <a:p>
            <a:pPr algn="ctr" fontAlgn="t"/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보증활동 수행 조직</a:t>
            </a:r>
          </a:p>
        </p:txBody>
      </p:sp>
      <p:sp>
        <p:nvSpPr>
          <p:cNvPr id="6" name="Rectangle 40"/>
          <p:cNvSpPr>
            <a:spLocks noChangeArrowheads="1"/>
          </p:cNvSpPr>
          <p:nvPr/>
        </p:nvSpPr>
        <p:spPr bwMode="auto">
          <a:xfrm>
            <a:off x="1744537" y="2416891"/>
            <a:ext cx="1465103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eering Committee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48"/>
          <p:cNvSpPr>
            <a:spLocks noChangeArrowheads="1"/>
          </p:cNvSpPr>
          <p:nvPr/>
        </p:nvSpPr>
        <p:spPr bwMode="auto">
          <a:xfrm>
            <a:off x="298448" y="4726657"/>
            <a:ext cx="1054152" cy="459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</a:t>
            </a:r>
            <a:endParaRPr lang="en-US" altLang="ko-KR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Rectangle 49"/>
          <p:cNvSpPr>
            <a:spLocks noChangeArrowheads="1"/>
          </p:cNvSpPr>
          <p:nvPr/>
        </p:nvSpPr>
        <p:spPr bwMode="auto">
          <a:xfrm>
            <a:off x="298448" y="5186585"/>
            <a:ext cx="1054152" cy="61867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인력</a:t>
            </a:r>
          </a:p>
        </p:txBody>
      </p:sp>
      <p:graphicFrame>
        <p:nvGraphicFramePr>
          <p:cNvPr id="9" name="Group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1472389"/>
              </p:ext>
            </p:extLst>
          </p:nvPr>
        </p:nvGraphicFramePr>
        <p:xfrm>
          <a:off x="4728468" y="2073510"/>
          <a:ext cx="4824539" cy="4144951"/>
        </p:xfrm>
        <a:graphic>
          <a:graphicData uri="http://schemas.openxmlformats.org/drawingml/2006/table">
            <a:tbl>
              <a:tblPr/>
              <a:tblGrid>
                <a:gridCol w="20004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15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525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450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8937"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 담당 책임 및 역할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3825" marR="0" lvl="0" indent="-123825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3825" marR="0" lvl="0" indent="-123825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책임 및 역할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17558">
                <a:tc rowSpan="3">
                  <a:txBody>
                    <a:bodyPr/>
                    <a:lstStyle/>
                    <a:p>
                      <a:pPr marL="95250" marR="0" lvl="0" indent="-95250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추진 진행관리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사항 조정 및 의사결정</a:t>
                      </a:r>
                    </a:p>
                    <a:p>
                      <a:pPr marL="95250" marR="0" lvl="0" indent="-95250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별 의견조정 및 업무별 협의사항 결정</a:t>
                      </a:r>
                    </a:p>
                    <a:p>
                      <a:pPr marL="95250" marR="0" lvl="0" indent="-95250" algn="l" defTabSz="855663" rtl="0" eaLnBrk="1" fontAlgn="base" latinLnBrk="0" hangingPunct="1">
                        <a:lnSpc>
                          <a:spcPct val="12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의 전반적인 품질향상에 대한 책임과 권한을 갖고 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공동으로 다음과 같은 업무 수행</a:t>
                      </a:r>
                    </a:p>
                    <a:p>
                      <a:pPr marL="269875" marR="0" lvl="1" indent="-179388" algn="l" defTabSz="855663" rtl="0" eaLnBrk="0" fontAlgn="base" latinLnBrk="0" hangingPunct="0">
                        <a:lnSpc>
                          <a:spcPct val="12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ü"/>
                        <a:tabLst/>
                      </a:pPr>
                      <a:r>
                        <a:rPr kumimoji="1" lang="ko-KR" altLang="en-US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품질에 대한 요구사항 정의</a:t>
                      </a:r>
                      <a:endParaRPr kumimoji="1" lang="en-US" altLang="ko-KR" sz="1050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269875" marR="0" lvl="1" indent="-179388" algn="l" defTabSz="855663" rtl="0" eaLnBrk="0" fontAlgn="base" latinLnBrk="0" hangingPunct="0">
                        <a:lnSpc>
                          <a:spcPct val="12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ü"/>
                        <a:tabLst/>
                      </a:pPr>
                      <a:r>
                        <a:rPr kumimoji="1" lang="ko-KR" altLang="en-US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비스에 대한 승인기준 정의</a:t>
                      </a:r>
                    </a:p>
                    <a:p>
                      <a:pPr marL="269875" marR="0" lvl="1" indent="-179388" algn="l" defTabSz="855663" rtl="0" eaLnBrk="0" fontAlgn="base" latinLnBrk="0" hangingPunct="0">
                        <a:lnSpc>
                          <a:spcPct val="12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ü"/>
                        <a:tabLst/>
                      </a:pPr>
                      <a:r>
                        <a:rPr kumimoji="1" lang="ko-KR" altLang="en-US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업진행 경과 및 실적 수시</a:t>
                      </a:r>
                      <a:r>
                        <a:rPr kumimoji="1" lang="en-US" altLang="ko-KR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기 점검</a:t>
                      </a:r>
                    </a:p>
                    <a:p>
                      <a:pPr marL="269875" marR="0" lvl="1" indent="-179388" algn="l" defTabSz="855663" rtl="0" eaLnBrk="0" fontAlgn="base" latinLnBrk="0" hangingPunct="0">
                        <a:lnSpc>
                          <a:spcPct val="12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ü"/>
                        <a:tabLst/>
                      </a:pPr>
                      <a:r>
                        <a:rPr kumimoji="1" lang="ko-KR" altLang="en-US" sz="1050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결과물에 대한 검토 및 실 업무 적용점검</a:t>
                      </a:r>
                    </a:p>
                  </a:txBody>
                  <a:tcPr marL="35998" marR="17999" marT="18000" marB="18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괄 그룹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b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</a:t>
                      </a:r>
                      <a:endParaRPr kumimoji="0" lang="ko-KR" alt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보증 계획 및 검토결과 확인 및 승인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정조치 결과 확인 및 승인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전체 일정 및 진척확인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달된 인적자원에 대해 지도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기부여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독 및 교육담당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546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dvisory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marR="0" lvl="0" indent="-84138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품질진단 및 품질평가</a:t>
                      </a:r>
                    </a:p>
                    <a:p>
                      <a:pPr marL="84138" marR="0" lvl="0" indent="-84138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보증 지원 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8847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ber</a:t>
                      </a:r>
                      <a:endParaRPr kumimoji="0" lang="ko-KR" alt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보증 계획 및 목표수립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 산출물 및 프로세스 검토 실시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말 검토를 통한 점검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평가 실시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진팀별 산출물 취합 및 내부 검토 실시</a:t>
                      </a:r>
                    </a:p>
                    <a:p>
                      <a:pPr marL="92075" marR="0" lvl="0" indent="-92075" algn="l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지원 팀 활동지원</a:t>
                      </a:r>
                    </a:p>
                  </a:txBody>
                  <a:tcPr marL="53996" marR="35998" marT="36001" marB="36001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Rectangle 38"/>
          <p:cNvSpPr>
            <a:spLocks noChangeArrowheads="1"/>
          </p:cNvSpPr>
          <p:nvPr/>
        </p:nvSpPr>
        <p:spPr bwMode="auto">
          <a:xfrm>
            <a:off x="6036243" y="1663044"/>
            <a:ext cx="2208989" cy="32449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54000" tIns="54000" rIns="54000" bIns="54000" anchor="ctr">
            <a:spAutoFit/>
          </a:bodyPr>
          <a:lstStyle/>
          <a:p>
            <a:pPr fontAlgn="t"/>
            <a:r>
              <a:rPr lang="ko-KR" altLang="en-US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보증활동 주체별 역할</a:t>
            </a:r>
          </a:p>
        </p:txBody>
      </p:sp>
      <p:sp>
        <p:nvSpPr>
          <p:cNvPr id="11" name="Rectangle 66"/>
          <p:cNvSpPr>
            <a:spLocks noChangeArrowheads="1"/>
          </p:cNvSpPr>
          <p:nvPr/>
        </p:nvSpPr>
        <p:spPr bwMode="auto">
          <a:xfrm>
            <a:off x="1405217" y="4726657"/>
            <a:ext cx="1054152" cy="459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</a:t>
            </a:r>
            <a:endParaRPr lang="en-US" altLang="ko-KR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67"/>
          <p:cNvSpPr>
            <a:spLocks noChangeArrowheads="1"/>
          </p:cNvSpPr>
          <p:nvPr/>
        </p:nvSpPr>
        <p:spPr bwMode="auto">
          <a:xfrm>
            <a:off x="1405217" y="5186585"/>
            <a:ext cx="1054152" cy="61867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인력</a:t>
            </a:r>
          </a:p>
        </p:txBody>
      </p:sp>
      <p:sp>
        <p:nvSpPr>
          <p:cNvPr id="13" name="Rectangle 66"/>
          <p:cNvSpPr>
            <a:spLocks noChangeArrowheads="1"/>
          </p:cNvSpPr>
          <p:nvPr/>
        </p:nvSpPr>
        <p:spPr bwMode="auto">
          <a:xfrm>
            <a:off x="2511986" y="4726657"/>
            <a:ext cx="1054152" cy="459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</a:t>
            </a:r>
            <a:endParaRPr lang="en-US" altLang="ko-KR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67"/>
          <p:cNvSpPr>
            <a:spLocks noChangeArrowheads="1"/>
          </p:cNvSpPr>
          <p:nvPr/>
        </p:nvSpPr>
        <p:spPr bwMode="auto">
          <a:xfrm>
            <a:off x="2511986" y="5186585"/>
            <a:ext cx="1054152" cy="61867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인력</a:t>
            </a:r>
          </a:p>
        </p:txBody>
      </p:sp>
      <p:sp>
        <p:nvSpPr>
          <p:cNvPr id="17" name="Rectangle 66"/>
          <p:cNvSpPr>
            <a:spLocks noChangeArrowheads="1"/>
          </p:cNvSpPr>
          <p:nvPr/>
        </p:nvSpPr>
        <p:spPr bwMode="auto">
          <a:xfrm>
            <a:off x="3618756" y="4726657"/>
            <a:ext cx="1054152" cy="459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</a:t>
            </a:r>
            <a:endParaRPr lang="en-US" altLang="ko-KR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Rectangle 67"/>
          <p:cNvSpPr>
            <a:spLocks noChangeArrowheads="1"/>
          </p:cNvSpPr>
          <p:nvPr/>
        </p:nvSpPr>
        <p:spPr bwMode="auto">
          <a:xfrm>
            <a:off x="3618756" y="5186585"/>
            <a:ext cx="1054152" cy="61867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ko-KR" altLang="en-US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인력</a:t>
            </a:r>
          </a:p>
        </p:txBody>
      </p:sp>
      <p:cxnSp>
        <p:nvCxnSpPr>
          <p:cNvPr id="19" name="꺾인 연결선 12"/>
          <p:cNvCxnSpPr>
            <a:stCxn id="6" idx="2"/>
            <a:endCxn id="7" idx="0"/>
          </p:cNvCxnSpPr>
          <p:nvPr/>
        </p:nvCxnSpPr>
        <p:spPr bwMode="auto">
          <a:xfrm rot="5400000">
            <a:off x="676424" y="2925992"/>
            <a:ext cx="1949766" cy="165156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1" name="꺾인 연결선 17"/>
          <p:cNvCxnSpPr>
            <a:stCxn id="17" idx="0"/>
            <a:endCxn id="6" idx="2"/>
          </p:cNvCxnSpPr>
          <p:nvPr/>
        </p:nvCxnSpPr>
        <p:spPr bwMode="auto">
          <a:xfrm rot="16200000" flipV="1">
            <a:off x="2336578" y="2917402"/>
            <a:ext cx="1949766" cy="166874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22" name="꺾인 연결선 40"/>
          <p:cNvCxnSpPr>
            <a:stCxn id="11" idx="0"/>
            <a:endCxn id="6" idx="2"/>
          </p:cNvCxnSpPr>
          <p:nvPr/>
        </p:nvCxnSpPr>
        <p:spPr bwMode="auto">
          <a:xfrm rot="5400000" flipH="1" flipV="1">
            <a:off x="1229808" y="3479376"/>
            <a:ext cx="1949766" cy="54479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grpSp>
        <p:nvGrpSpPr>
          <p:cNvPr id="98" name="그룹 97"/>
          <p:cNvGrpSpPr/>
          <p:nvPr/>
        </p:nvGrpSpPr>
        <p:grpSpPr>
          <a:xfrm>
            <a:off x="416496" y="2852936"/>
            <a:ext cx="1531938" cy="766351"/>
            <a:chOff x="560512" y="2869424"/>
            <a:chExt cx="1531938" cy="1020014"/>
          </a:xfrm>
        </p:grpSpPr>
        <p:sp>
          <p:nvSpPr>
            <p:cNvPr id="24" name="Rectangle 47"/>
            <p:cNvSpPr>
              <a:spLocks noChangeArrowheads="1"/>
            </p:cNvSpPr>
            <p:nvPr/>
          </p:nvSpPr>
          <p:spPr bwMode="auto">
            <a:xfrm>
              <a:off x="560512" y="3175213"/>
              <a:ext cx="1531938" cy="7142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진단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품질평가</a:t>
              </a:r>
              <a:endPara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-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품질진단</a:t>
              </a:r>
              <a:endParaRPr lang="en-US" altLang="ko-KR" sz="11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r>
                <a:rPr lang="en-US" altLang="ko-KR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단계별 검토</a:t>
              </a:r>
            </a:p>
          </p:txBody>
        </p:sp>
        <p:sp>
          <p:nvSpPr>
            <p:cNvPr id="25" name="Rectangle 46"/>
            <p:cNvSpPr>
              <a:spLocks noChangeArrowheads="1"/>
            </p:cNvSpPr>
            <p:nvPr/>
          </p:nvSpPr>
          <p:spPr bwMode="auto">
            <a:xfrm>
              <a:off x="560512" y="2869424"/>
              <a:ext cx="1531938" cy="324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altLang="ko-KR" sz="1200" b="1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visory</a:t>
              </a:r>
              <a:endParaRPr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6" name="Freeform 43"/>
          <p:cNvSpPr>
            <a:spLocks/>
          </p:cNvSpPr>
          <p:nvPr/>
        </p:nvSpPr>
        <p:spPr bwMode="auto">
          <a:xfrm rot="16200000" flipH="1">
            <a:off x="2012067" y="3102520"/>
            <a:ext cx="385569" cy="549101"/>
          </a:xfrm>
          <a:custGeom>
            <a:avLst/>
            <a:gdLst/>
            <a:ahLst/>
            <a:cxnLst>
              <a:cxn ang="0">
                <a:pos x="556" y="2"/>
              </a:cxn>
              <a:cxn ang="0">
                <a:pos x="137" y="257"/>
              </a:cxn>
              <a:cxn ang="0">
                <a:pos x="300" y="720"/>
              </a:cxn>
              <a:cxn ang="0">
                <a:pos x="240" y="816"/>
              </a:cxn>
              <a:cxn ang="0">
                <a:pos x="640" y="750"/>
              </a:cxn>
              <a:cxn ang="0">
                <a:pos x="527" y="387"/>
              </a:cxn>
              <a:cxn ang="0">
                <a:pos x="466" y="486"/>
              </a:cxn>
              <a:cxn ang="0">
                <a:pos x="556" y="2"/>
              </a:cxn>
            </a:cxnLst>
            <a:rect l="0" t="0" r="r" b="b"/>
            <a:pathLst>
              <a:path w="640" h="816">
                <a:moveTo>
                  <a:pt x="556" y="2"/>
                </a:moveTo>
                <a:cubicBezTo>
                  <a:pt x="563" y="4"/>
                  <a:pt x="274" y="6"/>
                  <a:pt x="137" y="257"/>
                </a:cubicBezTo>
                <a:cubicBezTo>
                  <a:pt x="0" y="508"/>
                  <a:pt x="306" y="720"/>
                  <a:pt x="300" y="720"/>
                </a:cubicBezTo>
                <a:cubicBezTo>
                  <a:pt x="304" y="725"/>
                  <a:pt x="246" y="780"/>
                  <a:pt x="240" y="816"/>
                </a:cubicBezTo>
                <a:cubicBezTo>
                  <a:pt x="444" y="786"/>
                  <a:pt x="632" y="757"/>
                  <a:pt x="640" y="750"/>
                </a:cubicBezTo>
                <a:cubicBezTo>
                  <a:pt x="538" y="606"/>
                  <a:pt x="527" y="387"/>
                  <a:pt x="527" y="387"/>
                </a:cubicBezTo>
                <a:cubicBezTo>
                  <a:pt x="522" y="388"/>
                  <a:pt x="478" y="510"/>
                  <a:pt x="466" y="486"/>
                </a:cubicBezTo>
                <a:cubicBezTo>
                  <a:pt x="28" y="92"/>
                  <a:pt x="557" y="0"/>
                  <a:pt x="556" y="2"/>
                </a:cubicBezTo>
                <a:close/>
              </a:path>
            </a:pathLst>
          </a:custGeom>
          <a:gradFill rotWithShape="0">
            <a:gsLst>
              <a:gs pos="0">
                <a:srgbClr val="5F5F5F">
                  <a:gamma/>
                  <a:tint val="50196"/>
                  <a:invGamma/>
                </a:srgbClr>
              </a:gs>
              <a:gs pos="100000">
                <a:srgbClr val="5F5F5F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ko-KR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40"/>
          <p:cNvSpPr>
            <a:spLocks noChangeArrowheads="1"/>
          </p:cNvSpPr>
          <p:nvPr/>
        </p:nvSpPr>
        <p:spPr bwMode="auto">
          <a:xfrm>
            <a:off x="1811132" y="3653532"/>
            <a:ext cx="1331912" cy="2434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</a:t>
            </a:r>
            <a:endParaRPr lang="ko-KR" altLang="en-US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275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산출물 관리 방안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각 단계별 산출물 작성과정에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팀원들과 주기적인 산출물 검토 회의를 진행할 것이며 산출물 작성 완료 시에는 품질관리 팀으로부터 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토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받게 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AutoShape 7"/>
          <p:cNvSpPr>
            <a:spLocks noChangeArrowheads="1"/>
          </p:cNvSpPr>
          <p:nvPr/>
        </p:nvSpPr>
        <p:spPr bwMode="auto">
          <a:xfrm>
            <a:off x="8154416" y="2948260"/>
            <a:ext cx="1136650" cy="527050"/>
          </a:xfrm>
          <a:prstGeom prst="flowChartDocument">
            <a:avLst/>
          </a:prstGeom>
          <a:solidFill>
            <a:srgbClr val="BFD9E6"/>
          </a:solidFill>
          <a:ln w="9525" algn="ctr">
            <a:solidFill>
              <a:srgbClr val="3399FF"/>
            </a:solidFill>
            <a:miter lim="800000"/>
            <a:headEnd/>
            <a:tailEnd/>
          </a:ln>
          <a:effectLst>
            <a:outerShdw dist="35921" dir="2700000" algn="ctr" rotWithShape="0">
              <a:srgbClr val="80B3CC"/>
            </a:outerShdw>
          </a:effectLst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8097266" y="2895873"/>
            <a:ext cx="1146175" cy="542925"/>
          </a:xfrm>
          <a:prstGeom prst="flowChartDocument">
            <a:avLst/>
          </a:prstGeom>
          <a:solidFill>
            <a:srgbClr val="BFD9E6"/>
          </a:solidFill>
          <a:ln w="9525" algn="ctr">
            <a:solidFill>
              <a:srgbClr val="3399FF"/>
            </a:solidFill>
            <a:miter lim="800000"/>
            <a:headEnd/>
            <a:tailEnd/>
          </a:ln>
          <a:effectLst>
            <a:outerShdw dist="35921" dir="2700000" algn="ctr" rotWithShape="0">
              <a:srgbClr val="80B3CC"/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2" name="Group 9"/>
          <p:cNvGrpSpPr>
            <a:grpSpLocks/>
          </p:cNvGrpSpPr>
          <p:nvPr/>
        </p:nvGrpSpPr>
        <p:grpSpPr bwMode="auto">
          <a:xfrm>
            <a:off x="8097266" y="4003948"/>
            <a:ext cx="1143000" cy="579437"/>
            <a:chOff x="884" y="2476"/>
            <a:chExt cx="762" cy="564"/>
          </a:xfrm>
        </p:grpSpPr>
        <p:sp>
          <p:nvSpPr>
            <p:cNvPr id="53" name="AutoShape 10"/>
            <p:cNvSpPr>
              <a:spLocks noChangeArrowheads="1"/>
            </p:cNvSpPr>
            <p:nvPr/>
          </p:nvSpPr>
          <p:spPr bwMode="auto">
            <a:xfrm>
              <a:off x="920" y="2527"/>
              <a:ext cx="726" cy="513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AutoShape 11"/>
            <p:cNvSpPr>
              <a:spLocks noChangeArrowheads="1"/>
            </p:cNvSpPr>
            <p:nvPr/>
          </p:nvSpPr>
          <p:spPr bwMode="auto">
            <a:xfrm>
              <a:off x="884" y="2476"/>
              <a:ext cx="732" cy="528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재검토 요청서</a:t>
              </a:r>
            </a:p>
          </p:txBody>
        </p:sp>
      </p:grpSp>
      <p:grpSp>
        <p:nvGrpSpPr>
          <p:cNvPr id="55" name="Group 12"/>
          <p:cNvGrpSpPr>
            <a:grpSpLocks/>
          </p:cNvGrpSpPr>
          <p:nvPr/>
        </p:nvGrpSpPr>
        <p:grpSpPr bwMode="auto">
          <a:xfrm>
            <a:off x="8097266" y="1902098"/>
            <a:ext cx="1219200" cy="579437"/>
            <a:chOff x="884" y="2476"/>
            <a:chExt cx="762" cy="564"/>
          </a:xfrm>
        </p:grpSpPr>
        <p:sp>
          <p:nvSpPr>
            <p:cNvPr id="56" name="AutoShape 13"/>
            <p:cNvSpPr>
              <a:spLocks noChangeArrowheads="1"/>
            </p:cNvSpPr>
            <p:nvPr/>
          </p:nvSpPr>
          <p:spPr bwMode="auto">
            <a:xfrm>
              <a:off x="920" y="2527"/>
              <a:ext cx="726" cy="513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AutoShape 14"/>
            <p:cNvSpPr>
              <a:spLocks noChangeArrowheads="1"/>
            </p:cNvSpPr>
            <p:nvPr/>
          </p:nvSpPr>
          <p:spPr bwMode="auto">
            <a:xfrm>
              <a:off x="884" y="2476"/>
              <a:ext cx="732" cy="528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산출물 </a:t>
              </a: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품질관리 로그</a:t>
              </a:r>
            </a:p>
          </p:txBody>
        </p:sp>
      </p:grpSp>
      <p:grpSp>
        <p:nvGrpSpPr>
          <p:cNvPr id="58" name="Group 15"/>
          <p:cNvGrpSpPr>
            <a:grpSpLocks/>
          </p:cNvGrpSpPr>
          <p:nvPr/>
        </p:nvGrpSpPr>
        <p:grpSpPr bwMode="auto">
          <a:xfrm>
            <a:off x="8097266" y="5085035"/>
            <a:ext cx="1193800" cy="579438"/>
            <a:chOff x="884" y="2476"/>
            <a:chExt cx="762" cy="564"/>
          </a:xfrm>
        </p:grpSpPr>
        <p:sp>
          <p:nvSpPr>
            <p:cNvPr id="59" name="AutoShape 16"/>
            <p:cNvSpPr>
              <a:spLocks noChangeArrowheads="1"/>
            </p:cNvSpPr>
            <p:nvPr/>
          </p:nvSpPr>
          <p:spPr bwMode="auto">
            <a:xfrm>
              <a:off x="920" y="2527"/>
              <a:ext cx="726" cy="513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AutoShape 17"/>
            <p:cNvSpPr>
              <a:spLocks noChangeArrowheads="1"/>
            </p:cNvSpPr>
            <p:nvPr/>
          </p:nvSpPr>
          <p:spPr bwMode="auto">
            <a:xfrm>
              <a:off x="884" y="2476"/>
              <a:ext cx="732" cy="528"/>
            </a:xfrm>
            <a:prstGeom prst="flowChartDocument">
              <a:avLst/>
            </a:prstGeom>
            <a:solidFill>
              <a:srgbClr val="BFD9E6"/>
            </a:solidFill>
            <a:ln w="9525" algn="ctr">
              <a:solidFill>
                <a:srgbClr val="3399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B3CC"/>
              </a:outerShdw>
            </a:effectLst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품질 확인서</a:t>
              </a:r>
            </a:p>
          </p:txBody>
        </p:sp>
      </p:grpSp>
      <p:sp>
        <p:nvSpPr>
          <p:cNvPr id="61" name="Rectangle 18"/>
          <p:cNvSpPr>
            <a:spLocks noChangeArrowheads="1"/>
          </p:cNvSpPr>
          <p:nvPr/>
        </p:nvSpPr>
        <p:spPr bwMode="auto">
          <a:xfrm>
            <a:off x="7894066" y="1830660"/>
            <a:ext cx="1584325" cy="4397375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Rectangle 19"/>
          <p:cNvSpPr>
            <a:spLocks noChangeArrowheads="1"/>
          </p:cNvSpPr>
          <p:nvPr/>
        </p:nvSpPr>
        <p:spPr bwMode="auto">
          <a:xfrm>
            <a:off x="7894066" y="2473598"/>
            <a:ext cx="1498600" cy="444500"/>
          </a:xfrm>
          <a:prstGeom prst="rect">
            <a:avLst/>
          </a:prstGeom>
          <a:noFill/>
          <a:ln w="3175" algn="ctr">
            <a:noFill/>
            <a:miter lim="800000"/>
            <a:headEnd/>
            <a:tailEnd type="none" w="sm" len="sm"/>
          </a:ln>
        </p:spPr>
        <p:txBody>
          <a:bodyPr lIns="90000" tIns="46800" rIns="90000" bIns="46800"/>
          <a:lstStyle/>
          <a:p>
            <a:pPr marL="101600" indent="-1016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 품질에 대한 기록 유지</a:t>
            </a:r>
          </a:p>
        </p:txBody>
      </p:sp>
      <p:sp>
        <p:nvSpPr>
          <p:cNvPr id="63" name="Rectangle 20"/>
          <p:cNvSpPr>
            <a:spLocks noChangeArrowheads="1"/>
          </p:cNvSpPr>
          <p:nvPr/>
        </p:nvSpPr>
        <p:spPr bwMode="auto">
          <a:xfrm>
            <a:off x="7894066" y="3453085"/>
            <a:ext cx="1638300" cy="442913"/>
          </a:xfrm>
          <a:prstGeom prst="rect">
            <a:avLst/>
          </a:prstGeom>
          <a:noFill/>
          <a:ln w="3175" algn="ctr">
            <a:noFill/>
            <a:miter lim="800000"/>
            <a:headEnd/>
            <a:tailEnd type="none" w="sm" len="sm"/>
          </a:ln>
        </p:spPr>
        <p:txBody>
          <a:bodyPr lIns="90000" tIns="46800" rIns="90000" bIns="46800"/>
          <a:lstStyle/>
          <a:p>
            <a:pPr marL="101600" indent="-1016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완성도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확성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표준 준수 등의 체크 항목 정의</a:t>
            </a:r>
          </a:p>
        </p:txBody>
      </p:sp>
      <p:sp>
        <p:nvSpPr>
          <p:cNvPr id="64" name="Rectangle 21"/>
          <p:cNvSpPr>
            <a:spLocks noChangeArrowheads="1"/>
          </p:cNvSpPr>
          <p:nvPr/>
        </p:nvSpPr>
        <p:spPr bwMode="auto">
          <a:xfrm>
            <a:off x="7881366" y="4583385"/>
            <a:ext cx="1651000" cy="434975"/>
          </a:xfrm>
          <a:prstGeom prst="rect">
            <a:avLst/>
          </a:prstGeom>
          <a:noFill/>
          <a:ln w="3175" algn="ctr">
            <a:noFill/>
            <a:miter lim="800000"/>
            <a:headEnd/>
            <a:tailEnd type="none" w="sm" len="sm"/>
          </a:ln>
        </p:spPr>
        <p:txBody>
          <a:bodyPr lIns="90000" tIns="46800" rIns="90000" bIns="46800"/>
          <a:lstStyle/>
          <a:p>
            <a:pPr marL="101600" indent="-1016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검토가 필요한 경우 재검토 요청서를 작성</a:t>
            </a:r>
          </a:p>
        </p:txBody>
      </p:sp>
      <p:sp>
        <p:nvSpPr>
          <p:cNvPr id="65" name="Rectangle 22"/>
          <p:cNvSpPr>
            <a:spLocks noChangeArrowheads="1"/>
          </p:cNvSpPr>
          <p:nvPr/>
        </p:nvSpPr>
        <p:spPr bwMode="auto">
          <a:xfrm>
            <a:off x="7890891" y="5664473"/>
            <a:ext cx="1574800" cy="563562"/>
          </a:xfrm>
          <a:prstGeom prst="rect">
            <a:avLst/>
          </a:prstGeom>
          <a:noFill/>
          <a:ln w="3175" algn="ctr">
            <a:noFill/>
            <a:miter lim="800000"/>
            <a:headEnd/>
            <a:tailEnd type="none" w="sm" len="sm"/>
          </a:ln>
        </p:spPr>
        <p:txBody>
          <a:bodyPr lIns="90000" tIns="46800" rIns="90000" bIns="46800"/>
          <a:lstStyle/>
          <a:p>
            <a:pPr marL="101600" indent="-1016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종 검토</a:t>
            </a:r>
            <a:r>
              <a:rPr kumimoji="1"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을 확인하는 문서</a:t>
            </a:r>
          </a:p>
        </p:txBody>
      </p:sp>
      <p:sp>
        <p:nvSpPr>
          <p:cNvPr id="66" name="Rectangle 23"/>
          <p:cNvSpPr>
            <a:spLocks noChangeArrowheads="1"/>
          </p:cNvSpPr>
          <p:nvPr/>
        </p:nvSpPr>
        <p:spPr bwMode="auto">
          <a:xfrm>
            <a:off x="468122" y="1835423"/>
            <a:ext cx="792163" cy="2078037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lIns="72000" rIns="72000"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진행중인 산출물</a:t>
            </a:r>
          </a:p>
        </p:txBody>
      </p:sp>
      <p:sp>
        <p:nvSpPr>
          <p:cNvPr id="67" name="Rectangle 24"/>
          <p:cNvSpPr>
            <a:spLocks noChangeArrowheads="1"/>
          </p:cNvSpPr>
          <p:nvPr/>
        </p:nvSpPr>
        <p:spPr bwMode="auto">
          <a:xfrm>
            <a:off x="1585722" y="2222773"/>
            <a:ext cx="1296988" cy="584200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산출물 작성</a:t>
            </a:r>
          </a:p>
        </p:txBody>
      </p:sp>
      <p:sp>
        <p:nvSpPr>
          <p:cNvPr id="68" name="Line 25"/>
          <p:cNvSpPr>
            <a:spLocks noChangeShapeType="1"/>
          </p:cNvSpPr>
          <p:nvPr/>
        </p:nvSpPr>
        <p:spPr bwMode="auto">
          <a:xfrm flipV="1">
            <a:off x="1260285" y="2140223"/>
            <a:ext cx="6444000" cy="1587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Text Box 26"/>
          <p:cNvSpPr txBox="1">
            <a:spLocks noChangeArrowheads="1"/>
          </p:cNvSpPr>
          <p:nvPr/>
        </p:nvSpPr>
        <p:spPr bwMode="auto">
          <a:xfrm>
            <a:off x="1700636" y="1865585"/>
            <a:ext cx="989373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각 팀 구성원</a:t>
            </a:r>
          </a:p>
        </p:txBody>
      </p:sp>
      <p:sp>
        <p:nvSpPr>
          <p:cNvPr id="70" name="Text Box 27"/>
          <p:cNvSpPr txBox="1">
            <a:spLocks noChangeArrowheads="1"/>
          </p:cNvSpPr>
          <p:nvPr/>
        </p:nvSpPr>
        <p:spPr bwMode="auto">
          <a:xfrm>
            <a:off x="3777103" y="1865585"/>
            <a:ext cx="657551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리드</a:t>
            </a:r>
          </a:p>
        </p:txBody>
      </p:sp>
      <p:sp>
        <p:nvSpPr>
          <p:cNvPr id="71" name="Text Box 28"/>
          <p:cNvSpPr txBox="1">
            <a:spLocks noChangeArrowheads="1"/>
          </p:cNvSpPr>
          <p:nvPr/>
        </p:nvSpPr>
        <p:spPr bwMode="auto">
          <a:xfrm>
            <a:off x="5334191" y="1863998"/>
            <a:ext cx="1447800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품질관리 팀</a:t>
            </a:r>
          </a:p>
        </p:txBody>
      </p:sp>
      <p:sp>
        <p:nvSpPr>
          <p:cNvPr id="72" name="Rectangle 29"/>
          <p:cNvSpPr>
            <a:spLocks noChangeArrowheads="1"/>
          </p:cNvSpPr>
          <p:nvPr/>
        </p:nvSpPr>
        <p:spPr bwMode="auto">
          <a:xfrm>
            <a:off x="3459957" y="2222773"/>
            <a:ext cx="1296987" cy="584200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산출물 이상유무 점검</a:t>
            </a:r>
          </a:p>
        </p:txBody>
      </p:sp>
      <p:sp>
        <p:nvSpPr>
          <p:cNvPr id="73" name="Rectangle 30"/>
          <p:cNvSpPr>
            <a:spLocks noChangeArrowheads="1"/>
          </p:cNvSpPr>
          <p:nvPr/>
        </p:nvSpPr>
        <p:spPr bwMode="auto">
          <a:xfrm>
            <a:off x="1331722" y="2835548"/>
            <a:ext cx="1871663" cy="1101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 작성 표준에 준하여 산출물 작성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FT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와 주기적인 회의를 통하여 내용 보완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FT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와 협력하여 작성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리드에 검수 요청</a:t>
            </a:r>
          </a:p>
        </p:txBody>
      </p:sp>
      <p:sp>
        <p:nvSpPr>
          <p:cNvPr id="74" name="Rectangle 31"/>
          <p:cNvSpPr>
            <a:spLocks noChangeArrowheads="1"/>
          </p:cNvSpPr>
          <p:nvPr/>
        </p:nvSpPr>
        <p:spPr bwMode="auto">
          <a:xfrm>
            <a:off x="3292285" y="2835548"/>
            <a:ext cx="1720850" cy="9387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의 내용 및 표준 준수여부 확인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제점이 있을 경우 해당 팀원에 통보하여 보완 요청</a:t>
            </a:r>
          </a:p>
        </p:txBody>
      </p:sp>
      <p:sp>
        <p:nvSpPr>
          <p:cNvPr id="75" name="Rectangle 32"/>
          <p:cNvSpPr>
            <a:spLocks noChangeArrowheads="1"/>
          </p:cNvSpPr>
          <p:nvPr/>
        </p:nvSpPr>
        <p:spPr bwMode="auto">
          <a:xfrm>
            <a:off x="468122" y="4040460"/>
            <a:ext cx="792163" cy="2187575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최종 산출물</a:t>
            </a:r>
          </a:p>
        </p:txBody>
      </p:sp>
      <p:sp>
        <p:nvSpPr>
          <p:cNvPr id="76" name="Rectangle 33"/>
          <p:cNvSpPr>
            <a:spLocks noChangeArrowheads="1"/>
          </p:cNvSpPr>
          <p:nvPr/>
        </p:nvSpPr>
        <p:spPr bwMode="auto">
          <a:xfrm>
            <a:off x="1585722" y="4026173"/>
            <a:ext cx="1296988" cy="582612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산출물 작성 완료</a:t>
            </a:r>
          </a:p>
        </p:txBody>
      </p:sp>
      <p:sp>
        <p:nvSpPr>
          <p:cNvPr id="77" name="Rectangle 34"/>
          <p:cNvSpPr>
            <a:spLocks noChangeArrowheads="1"/>
          </p:cNvSpPr>
          <p:nvPr/>
        </p:nvSpPr>
        <p:spPr bwMode="auto">
          <a:xfrm>
            <a:off x="3428810" y="4026173"/>
            <a:ext cx="1296987" cy="582612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완성된 산출물 검토</a:t>
            </a:r>
          </a:p>
        </p:txBody>
      </p:sp>
      <p:sp>
        <p:nvSpPr>
          <p:cNvPr id="78" name="Rectangle 35"/>
          <p:cNvSpPr>
            <a:spLocks noChangeArrowheads="1"/>
          </p:cNvSpPr>
          <p:nvPr/>
        </p:nvSpPr>
        <p:spPr bwMode="auto">
          <a:xfrm>
            <a:off x="5334191" y="4026173"/>
            <a:ext cx="1296987" cy="582612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산출물 최종 검수</a:t>
            </a:r>
          </a:p>
        </p:txBody>
      </p:sp>
      <p:cxnSp>
        <p:nvCxnSpPr>
          <p:cNvPr id="79" name="AutoShape 36"/>
          <p:cNvCxnSpPr>
            <a:cxnSpLocks noChangeShapeType="1"/>
            <a:stCxn id="67" idx="3"/>
            <a:endCxn id="72" idx="1"/>
          </p:cNvCxnSpPr>
          <p:nvPr/>
        </p:nvCxnSpPr>
        <p:spPr bwMode="auto">
          <a:xfrm>
            <a:off x="2882710" y="2514873"/>
            <a:ext cx="57724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</p:spPr>
      </p:cxnSp>
      <p:sp>
        <p:nvSpPr>
          <p:cNvPr id="80" name="Text Box 37"/>
          <p:cNvSpPr txBox="1">
            <a:spLocks noChangeArrowheads="1"/>
          </p:cNvSpPr>
          <p:nvPr/>
        </p:nvSpPr>
        <p:spPr bwMode="auto">
          <a:xfrm>
            <a:off x="3292285" y="4621485"/>
            <a:ext cx="1792287" cy="7694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의 내용 및 형식에 문제가 없을 경우 품질관리 팀에 최종 승인 요청</a:t>
            </a:r>
          </a:p>
        </p:txBody>
      </p:sp>
      <p:cxnSp>
        <p:nvCxnSpPr>
          <p:cNvPr id="81" name="AutoShape 38"/>
          <p:cNvCxnSpPr>
            <a:cxnSpLocks noChangeShapeType="1"/>
            <a:stCxn id="76" idx="3"/>
            <a:endCxn id="77" idx="1"/>
          </p:cNvCxnSpPr>
          <p:nvPr/>
        </p:nvCxnSpPr>
        <p:spPr bwMode="auto">
          <a:xfrm>
            <a:off x="2882710" y="4318273"/>
            <a:ext cx="5461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</p:spPr>
      </p:cxnSp>
      <p:sp>
        <p:nvSpPr>
          <p:cNvPr id="82" name="Text Box 39"/>
          <p:cNvSpPr txBox="1">
            <a:spLocks noChangeArrowheads="1"/>
          </p:cNvSpPr>
          <p:nvPr/>
        </p:nvSpPr>
        <p:spPr bwMode="auto">
          <a:xfrm>
            <a:off x="1331722" y="4621485"/>
            <a:ext cx="1712913" cy="9387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리드 </a:t>
            </a:r>
            <a:r>
              <a:rPr lang="en-US" altLang="ko-KR" sz="11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eedback </a:t>
            </a:r>
            <a:r>
              <a:rPr lang="ko-KR" altLang="en-US" sz="11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반영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완성된 산출물 팀 리드에게 최종 검토 요청</a:t>
            </a:r>
          </a:p>
        </p:txBody>
      </p:sp>
      <p:sp>
        <p:nvSpPr>
          <p:cNvPr id="83" name="Line 40"/>
          <p:cNvSpPr>
            <a:spLocks noChangeShapeType="1"/>
          </p:cNvSpPr>
          <p:nvPr/>
        </p:nvSpPr>
        <p:spPr bwMode="auto">
          <a:xfrm>
            <a:off x="1260285" y="3961085"/>
            <a:ext cx="644400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Text Box 41"/>
          <p:cNvSpPr txBox="1">
            <a:spLocks noChangeArrowheads="1"/>
          </p:cNvSpPr>
          <p:nvPr/>
        </p:nvSpPr>
        <p:spPr bwMode="auto">
          <a:xfrm>
            <a:off x="4890706" y="4621485"/>
            <a:ext cx="2952000" cy="16158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리드로부터 승인 요청된 산출물의 내용 및 표준 준수여부를 확인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의 내용이나 형식에 문제가 있을 경우 각 팀 리드에게 통보하여 보완 요청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제가 없을 경우 산출물에 대한 최종 승인</a:t>
            </a:r>
          </a:p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의 승인을 위해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FT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의 현업 또는 </a:t>
            </a:r>
            <a:r>
              <a:rPr lang="en-US" altLang="ko-KR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1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담당자의 참여가 필요한 경우 필요 인력에게 공지</a:t>
            </a:r>
          </a:p>
        </p:txBody>
      </p:sp>
      <p:cxnSp>
        <p:nvCxnSpPr>
          <p:cNvPr id="85" name="AutoShape 42"/>
          <p:cNvCxnSpPr>
            <a:cxnSpLocks noChangeShapeType="1"/>
            <a:stCxn id="77" idx="3"/>
            <a:endCxn id="78" idx="1"/>
          </p:cNvCxnSpPr>
          <p:nvPr/>
        </p:nvCxnSpPr>
        <p:spPr bwMode="auto">
          <a:xfrm>
            <a:off x="4725797" y="4317479"/>
            <a:ext cx="60839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 type="triangle" w="med" len="med"/>
          </a:ln>
        </p:spPr>
      </p:cxnSp>
      <p:sp>
        <p:nvSpPr>
          <p:cNvPr id="86" name="Rectangle 43"/>
          <p:cNvSpPr>
            <a:spLocks noChangeArrowheads="1"/>
          </p:cNvSpPr>
          <p:nvPr/>
        </p:nvSpPr>
        <p:spPr bwMode="auto">
          <a:xfrm>
            <a:off x="468123" y="1830660"/>
            <a:ext cx="7244718" cy="4397375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8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Line 44"/>
          <p:cNvSpPr>
            <a:spLocks noChangeShapeType="1"/>
          </p:cNvSpPr>
          <p:nvPr/>
        </p:nvSpPr>
        <p:spPr bwMode="auto">
          <a:xfrm flipH="1">
            <a:off x="3163697" y="1843360"/>
            <a:ext cx="6350" cy="4384675"/>
          </a:xfrm>
          <a:prstGeom prst="line">
            <a:avLst/>
          </a:prstGeom>
          <a:noFill/>
          <a:ln w="9525" cap="rnd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Line 45"/>
          <p:cNvSpPr>
            <a:spLocks noChangeShapeType="1"/>
          </p:cNvSpPr>
          <p:nvPr/>
        </p:nvSpPr>
        <p:spPr bwMode="auto">
          <a:xfrm flipH="1">
            <a:off x="4998847" y="1835423"/>
            <a:ext cx="6350" cy="4392612"/>
          </a:xfrm>
          <a:prstGeom prst="line">
            <a:avLst/>
          </a:prstGeom>
          <a:noFill/>
          <a:ln w="9525" cap="rnd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Rectangle 46"/>
          <p:cNvSpPr>
            <a:spLocks noChangeArrowheads="1"/>
          </p:cNvSpPr>
          <p:nvPr/>
        </p:nvSpPr>
        <p:spPr bwMode="auto">
          <a:xfrm>
            <a:off x="5334191" y="2222773"/>
            <a:ext cx="1295400" cy="584200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산출물 최종 검수</a:t>
            </a:r>
          </a:p>
        </p:txBody>
      </p:sp>
      <p:sp>
        <p:nvSpPr>
          <p:cNvPr id="90" name="Rectangle 47"/>
          <p:cNvSpPr>
            <a:spLocks noChangeArrowheads="1"/>
          </p:cNvSpPr>
          <p:nvPr/>
        </p:nvSpPr>
        <p:spPr bwMode="auto">
          <a:xfrm>
            <a:off x="5015675" y="2835548"/>
            <a:ext cx="1873250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1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의 표준 양식 검토</a:t>
            </a:r>
          </a:p>
        </p:txBody>
      </p:sp>
      <p:sp>
        <p:nvSpPr>
          <p:cNvPr id="91" name="Rectangle 50"/>
          <p:cNvSpPr>
            <a:spLocks noChangeArrowheads="1"/>
          </p:cNvSpPr>
          <p:nvPr/>
        </p:nvSpPr>
        <p:spPr bwMode="gray">
          <a:xfrm>
            <a:off x="8059166" y="2986360"/>
            <a:ext cx="1209675" cy="3159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marL="174625" indent="-174625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 품질관리</a:t>
            </a:r>
          </a:p>
          <a:p>
            <a:pPr marL="174625" indent="-174625"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크리스트</a:t>
            </a:r>
          </a:p>
        </p:txBody>
      </p:sp>
      <p:sp>
        <p:nvSpPr>
          <p:cNvPr id="92" name="Line 7"/>
          <p:cNvSpPr>
            <a:spLocks noChangeShapeType="1"/>
          </p:cNvSpPr>
          <p:nvPr/>
        </p:nvSpPr>
        <p:spPr bwMode="gray">
          <a:xfrm>
            <a:off x="7851811" y="1699086"/>
            <a:ext cx="1656000" cy="2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</p:spPr>
        <p:txBody>
          <a:bodyPr lIns="36000" tIns="36000" rIns="36000" bIns="3600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en-US" sz="1800" b="0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Rectangle 102"/>
          <p:cNvSpPr>
            <a:spLocks noChangeArrowheads="1"/>
          </p:cNvSpPr>
          <p:nvPr/>
        </p:nvSpPr>
        <p:spPr bwMode="auto">
          <a:xfrm>
            <a:off x="2872024" y="1358412"/>
            <a:ext cx="2409634" cy="2862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eaLnBrk="0" latinLnBrk="0" hangingPunct="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777777"/>
              </a:buClr>
            </a:pP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 검토 절차 및 회의체</a:t>
            </a:r>
          </a:p>
        </p:txBody>
      </p:sp>
      <p:sp>
        <p:nvSpPr>
          <p:cNvPr id="94" name="Rectangle 104"/>
          <p:cNvSpPr>
            <a:spLocks noChangeArrowheads="1"/>
          </p:cNvSpPr>
          <p:nvPr/>
        </p:nvSpPr>
        <p:spPr bwMode="auto">
          <a:xfrm>
            <a:off x="7833811" y="1358415"/>
            <a:ext cx="1692000" cy="252000"/>
          </a:xfrm>
          <a:prstGeom prst="rect">
            <a:avLst/>
          </a:prstGeom>
          <a:noFill/>
          <a:ln w="6350" algn="ctr">
            <a:noFill/>
            <a:miter lim="800000"/>
            <a:headEnd type="none" w="sm" len="sm"/>
            <a:tailEnd type="none" w="sm" len="sm"/>
          </a:ln>
        </p:spPr>
        <p:txBody>
          <a:bodyPr lIns="72000" tIns="72000" rIns="72000" bIns="72000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 검수 도구</a:t>
            </a:r>
          </a:p>
        </p:txBody>
      </p:sp>
      <p:sp>
        <p:nvSpPr>
          <p:cNvPr id="95" name="Line 7"/>
          <p:cNvSpPr>
            <a:spLocks noChangeShapeType="1"/>
          </p:cNvSpPr>
          <p:nvPr/>
        </p:nvSpPr>
        <p:spPr bwMode="gray">
          <a:xfrm>
            <a:off x="440841" y="1699086"/>
            <a:ext cx="7272000" cy="2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</p:spPr>
        <p:txBody>
          <a:bodyPr lIns="36000" tIns="36000" rIns="36000" bIns="36000"/>
          <a:lstStyle/>
          <a:p>
            <a:pPr latinLnBrk="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777777"/>
              </a:buClr>
            </a:pPr>
            <a:endParaRPr lang="en-US" altLang="en-US" sz="18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53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관리 방안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예측 가능한 모든 부분에 대한 보안관리 대응전략을 보유하고 있으며, 본 프로젝트에 대해서는 인적 보안, 자료보안, 장비보안에 만전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Rectangle 5"/>
          <p:cNvSpPr>
            <a:spLocks noChangeArrowheads="1"/>
          </p:cNvSpPr>
          <p:nvPr/>
        </p:nvSpPr>
        <p:spPr bwMode="gray">
          <a:xfrm>
            <a:off x="1852676" y="1687259"/>
            <a:ext cx="19431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프트웨어</a:t>
            </a:r>
          </a:p>
          <a:p>
            <a:pPr marL="88900" indent="-88900" defTabSz="88265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신 소프트웨어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어플리케이션의 접근에 대한 통제 및 변경관리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</a:p>
          <a:p>
            <a:pPr marL="88900" indent="-88900" defTabSz="88265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바이러스 </a:t>
            </a:r>
            <a:r>
              <a:rPr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침입등에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대한 대책</a:t>
            </a:r>
          </a:p>
        </p:txBody>
      </p:sp>
      <p:sp>
        <p:nvSpPr>
          <p:cNvPr id="48" name="Rectangle 6"/>
          <p:cNvSpPr>
            <a:spLocks noChangeArrowheads="1"/>
          </p:cNvSpPr>
          <p:nvPr/>
        </p:nvSpPr>
        <p:spPr bwMode="gray">
          <a:xfrm>
            <a:off x="3666744" y="2561019"/>
            <a:ext cx="1223963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의 변경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파괴 및 노출 방지</a:t>
            </a:r>
          </a:p>
        </p:txBody>
      </p:sp>
      <p:sp>
        <p:nvSpPr>
          <p:cNvPr id="49" name="Rectangle 7"/>
          <p:cNvSpPr>
            <a:spLocks noChangeArrowheads="1"/>
          </p:cNvSpPr>
          <p:nvPr/>
        </p:nvSpPr>
        <p:spPr bwMode="gray">
          <a:xfrm>
            <a:off x="455740" y="1989011"/>
            <a:ext cx="1293812" cy="135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네트워크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신대상의 적정여부 확인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당한 접속에 의한 개입방지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선상의 데이터 도청 등을 방지</a:t>
            </a: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gray">
          <a:xfrm>
            <a:off x="5443919" y="1736662"/>
            <a:ext cx="1044575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 anchor="ctr"/>
          <a:lstStyle/>
          <a:p>
            <a:pPr algn="ctr" defTabSz="88265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안 대책</a:t>
            </a: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gray">
          <a:xfrm>
            <a:off x="5443919" y="2070037"/>
            <a:ext cx="1044575" cy="2890837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 anchor="ctr"/>
          <a:lstStyle/>
          <a:p>
            <a:pPr algn="ctr" defTabSz="8826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적보안 </a:t>
            </a:r>
            <a:r>
              <a:rPr kumimoji="1"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&amp; </a:t>
            </a:r>
          </a:p>
          <a:p>
            <a:pPr algn="ctr" defTabSz="8826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료보안</a:t>
            </a:r>
          </a:p>
          <a:p>
            <a:pPr algn="ctr" defTabSz="8826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적</a:t>
            </a:r>
            <a:r>
              <a:rPr kumimoji="1"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gray">
          <a:xfrm>
            <a:off x="6488494" y="1736662"/>
            <a:ext cx="2951162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 anchor="ctr"/>
          <a:lstStyle/>
          <a:p>
            <a:pPr algn="ctr" defTabSz="88265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 용</a:t>
            </a: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gray">
          <a:xfrm>
            <a:off x="6488494" y="2068449"/>
            <a:ext cx="2951162" cy="2744788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/>
          <a:lstStyle/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자가 사용하고 있는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C 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정기적인 </a:t>
            </a:r>
            <a:r>
              <a:rPr kumimoji="1" lang="ko-KR" altLang="en-US" sz="1200" b="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바이러스 검사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추측 가능한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C </a:t>
            </a:r>
            <a:r>
              <a:rPr kumimoji="1" lang="ko-KR" altLang="en-US" sz="1200" b="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패스워드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사용 방지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을 보관하는 파일서버에  프로젝트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별로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rite and delete </a:t>
            </a:r>
            <a:r>
              <a:rPr kumimoji="1" lang="ko-KR" altLang="en-US" sz="1200" b="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권한 설정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기적으로 파일서버 패스워드 강제로 변경 및 </a:t>
            </a:r>
            <a:r>
              <a:rPr kumimoji="1" lang="en-US" altLang="ko-KR" sz="1200" b="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aily back up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젝트를 수행하면서 삼성카드와 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PMG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 서로 제공 받은 정보 등을 프로젝트 목적과 관련 없이 또는 임의로 제</a:t>
            </a:r>
            <a:r>
              <a:rPr kumimoji="1"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1"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에게 제공하거나 </a:t>
            </a:r>
            <a:r>
              <a:rPr kumimoji="1" lang="ko-KR" altLang="en-US" sz="1200" b="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공 또는 편집 불가</a:t>
            </a:r>
            <a:endParaRPr kumimoji="1" lang="ko-KR" alt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Rectangle 12"/>
          <p:cNvSpPr>
            <a:spLocks noChangeArrowheads="1"/>
          </p:cNvSpPr>
          <p:nvPr/>
        </p:nvSpPr>
        <p:spPr bwMode="gray">
          <a:xfrm>
            <a:off x="5443919" y="4740212"/>
            <a:ext cx="1044575" cy="1584325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 anchor="ctr"/>
          <a:lstStyle/>
          <a:p>
            <a:pPr algn="ctr" defTabSz="8826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장비보안</a:t>
            </a:r>
          </a:p>
          <a:p>
            <a:pPr algn="ctr" defTabSz="882650" fontAlgn="auto"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물리적</a:t>
            </a:r>
            <a:r>
              <a:rPr kumimoji="1" lang="en-US" altLang="ko-KR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55" name="Rectangle 13"/>
          <p:cNvSpPr>
            <a:spLocks noChangeArrowheads="1"/>
          </p:cNvSpPr>
          <p:nvPr/>
        </p:nvSpPr>
        <p:spPr bwMode="gray">
          <a:xfrm>
            <a:off x="6488494" y="4740212"/>
            <a:ext cx="2951162" cy="1584325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lIns="55394" tIns="27696" rIns="55394" bIns="27696" anchor="ctr"/>
          <a:lstStyle/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하드웨어 장비에 대한 보호대책과 </a:t>
            </a:r>
            <a:r>
              <a:rPr kumimoji="1" lang="ko-KR" altLang="en-US" sz="1200" b="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적 절차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로그파일 </a:t>
            </a:r>
            <a:r>
              <a:rPr kumimoji="1" lang="ko-KR" altLang="en-US" sz="1200" b="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니터링</a:t>
            </a:r>
          </a:p>
          <a:p>
            <a:pPr marL="88900" indent="-88900" defTabSz="882650" fontAlgn="auto" latinLnBrk="0"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컴퓨터 및 주변기기를 수용하는 구조물과 시설의 </a:t>
            </a:r>
            <a:r>
              <a:rPr kumimoji="1" lang="ko-KR" altLang="en-US" sz="1200" b="0" u="sng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출입통제</a:t>
            </a: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와 우발적 사고</a:t>
            </a:r>
            <a:r>
              <a:rPr kumimoji="1" lang="en-US" altLang="ko-KR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재</a:t>
            </a:r>
            <a:r>
              <a:rPr kumimoji="1" lang="en-US" altLang="ko-KR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2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장애발생을 방지하기 위해 필요한 조치 취함</a:t>
            </a:r>
          </a:p>
        </p:txBody>
      </p:sp>
      <p:sp>
        <p:nvSpPr>
          <p:cNvPr id="56" name="AutoShape 14"/>
          <p:cNvSpPr>
            <a:spLocks noChangeArrowheads="1"/>
          </p:cNvSpPr>
          <p:nvPr/>
        </p:nvSpPr>
        <p:spPr bwMode="gray">
          <a:xfrm rot="5400000">
            <a:off x="3892741" y="4152837"/>
            <a:ext cx="2162175" cy="288925"/>
          </a:xfrm>
          <a:prstGeom prst="triangle">
            <a:avLst>
              <a:gd name="adj" fmla="val 50000"/>
            </a:avLst>
          </a:prstGeom>
          <a:solidFill>
            <a:srgbClr val="73A2B9">
              <a:lumMod val="60000"/>
              <a:lumOff val="40000"/>
            </a:srgbClr>
          </a:solidFill>
          <a:ln w="9525" algn="ctr">
            <a:noFill/>
            <a:round/>
            <a:headEnd/>
            <a:tailEnd/>
          </a:ln>
        </p:spPr>
        <p:txBody>
          <a:bodyPr lIns="72000" tIns="36000" rIns="72000" bIns="36000" anchor="ctr"/>
          <a:lstStyle/>
          <a:p>
            <a:pPr marL="180975" marR="0" lvl="0" indent="-180975" algn="ctr" defTabSz="914400" eaLnBrk="0" fontAlgn="auto" latinLnBrk="0" hangingPunc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ko-KR" altLang="en-US" sz="1800" b="0" i="0" u="none" strike="noStrike" kern="0" cap="all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Rectangle 15"/>
          <p:cNvSpPr>
            <a:spLocks noChangeArrowheads="1"/>
          </p:cNvSpPr>
          <p:nvPr/>
        </p:nvSpPr>
        <p:spPr bwMode="gray">
          <a:xfrm>
            <a:off x="3358007" y="5494274"/>
            <a:ext cx="1462088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장비보안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장비 및 하드웨어</a:t>
            </a:r>
          </a:p>
        </p:txBody>
      </p:sp>
      <p:sp>
        <p:nvSpPr>
          <p:cNvPr id="58" name="Rectangle 16"/>
          <p:cNvSpPr>
            <a:spLocks noChangeArrowheads="1"/>
          </p:cNvSpPr>
          <p:nvPr/>
        </p:nvSpPr>
        <p:spPr bwMode="gray">
          <a:xfrm>
            <a:off x="1068769" y="5456174"/>
            <a:ext cx="12969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료 보안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출물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자료</a:t>
            </a:r>
          </a:p>
        </p:txBody>
      </p:sp>
      <p:sp>
        <p:nvSpPr>
          <p:cNvPr id="59" name="Rectangle 17"/>
          <p:cNvSpPr>
            <a:spLocks noChangeArrowheads="1"/>
          </p:cNvSpPr>
          <p:nvPr/>
        </p:nvSpPr>
        <p:spPr bwMode="gray">
          <a:xfrm>
            <a:off x="602044" y="4824349"/>
            <a:ext cx="990600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적 보안</a:t>
            </a:r>
          </a:p>
          <a:p>
            <a:pPr marL="88900" indent="-88900" defTabSz="88265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원</a:t>
            </a:r>
          </a:p>
        </p:txBody>
      </p:sp>
      <p:grpSp>
        <p:nvGrpSpPr>
          <p:cNvPr id="60" name="Group 18"/>
          <p:cNvGrpSpPr>
            <a:grpSpLocks/>
          </p:cNvGrpSpPr>
          <p:nvPr/>
        </p:nvGrpSpPr>
        <p:grpSpPr bwMode="auto">
          <a:xfrm>
            <a:off x="1136650" y="2847912"/>
            <a:ext cx="3109913" cy="2879725"/>
            <a:chOff x="8154" y="3198"/>
            <a:chExt cx="1959" cy="1814"/>
          </a:xfrm>
        </p:grpSpPr>
        <p:grpSp>
          <p:nvGrpSpPr>
            <p:cNvPr id="61" name="Group 19"/>
            <p:cNvGrpSpPr>
              <a:grpSpLocks/>
            </p:cNvGrpSpPr>
            <p:nvPr/>
          </p:nvGrpSpPr>
          <p:grpSpPr bwMode="auto">
            <a:xfrm>
              <a:off x="8236" y="3198"/>
              <a:ext cx="1814" cy="1814"/>
              <a:chOff x="8236" y="3198"/>
              <a:chExt cx="1814" cy="1814"/>
            </a:xfrm>
          </p:grpSpPr>
          <p:sp>
            <p:nvSpPr>
              <p:cNvPr id="82" name="Freeform 20"/>
              <p:cNvSpPr>
                <a:spLocks noChangeAspect="1"/>
              </p:cNvSpPr>
              <p:nvPr/>
            </p:nvSpPr>
            <p:spPr bwMode="auto">
              <a:xfrm>
                <a:off x="9143" y="3198"/>
                <a:ext cx="641" cy="724"/>
              </a:xfrm>
              <a:custGeom>
                <a:avLst/>
                <a:gdLst>
                  <a:gd name="T0" fmla="*/ 0 w 848"/>
                  <a:gd name="T1" fmla="*/ 10 h 958"/>
                  <a:gd name="T2" fmla="*/ 0 w 848"/>
                  <a:gd name="T3" fmla="*/ 5 h 958"/>
                  <a:gd name="T4" fmla="*/ 0 w 848"/>
                  <a:gd name="T5" fmla="*/ 0 h 958"/>
                  <a:gd name="T6" fmla="*/ 2 w 848"/>
                  <a:gd name="T7" fmla="*/ 0 h 958"/>
                  <a:gd name="T8" fmla="*/ 2 w 848"/>
                  <a:gd name="T9" fmla="*/ 1 h 958"/>
                  <a:gd name="T10" fmla="*/ 2 w 848"/>
                  <a:gd name="T11" fmla="*/ 2 h 958"/>
                  <a:gd name="T12" fmla="*/ 2 w 848"/>
                  <a:gd name="T13" fmla="*/ 2 h 958"/>
                  <a:gd name="T14" fmla="*/ 2 w 848"/>
                  <a:gd name="T15" fmla="*/ 2 h 958"/>
                  <a:gd name="T16" fmla="*/ 2 w 848"/>
                  <a:gd name="T17" fmla="*/ 2 h 958"/>
                  <a:gd name="T18" fmla="*/ 3 w 848"/>
                  <a:gd name="T19" fmla="*/ 2 h 958"/>
                  <a:gd name="T20" fmla="*/ 3 w 848"/>
                  <a:gd name="T21" fmla="*/ 2 h 958"/>
                  <a:gd name="T22" fmla="*/ 3 w 848"/>
                  <a:gd name="T23" fmla="*/ 2 h 958"/>
                  <a:gd name="T24" fmla="*/ 4 w 848"/>
                  <a:gd name="T25" fmla="*/ 2 h 958"/>
                  <a:gd name="T26" fmla="*/ 4 w 848"/>
                  <a:gd name="T27" fmla="*/ 2 h 958"/>
                  <a:gd name="T28" fmla="*/ 4 w 848"/>
                  <a:gd name="T29" fmla="*/ 2 h 958"/>
                  <a:gd name="T30" fmla="*/ 5 w 848"/>
                  <a:gd name="T31" fmla="*/ 2 h 958"/>
                  <a:gd name="T32" fmla="*/ 5 w 848"/>
                  <a:gd name="T33" fmla="*/ 2 h 958"/>
                  <a:gd name="T34" fmla="*/ 5 w 848"/>
                  <a:gd name="T35" fmla="*/ 2 h 958"/>
                  <a:gd name="T36" fmla="*/ 5 w 848"/>
                  <a:gd name="T37" fmla="*/ 2 h 958"/>
                  <a:gd name="T38" fmla="*/ 5 w 848"/>
                  <a:gd name="T39" fmla="*/ 2 h 958"/>
                  <a:gd name="T40" fmla="*/ 6 w 848"/>
                  <a:gd name="T41" fmla="*/ 2 h 958"/>
                  <a:gd name="T42" fmla="*/ 6 w 848"/>
                  <a:gd name="T43" fmla="*/ 2 h 958"/>
                  <a:gd name="T44" fmla="*/ 6 w 848"/>
                  <a:gd name="T45" fmla="*/ 2 h 958"/>
                  <a:gd name="T46" fmla="*/ 6 w 848"/>
                  <a:gd name="T47" fmla="*/ 2 h 958"/>
                  <a:gd name="T48" fmla="*/ 6 w 848"/>
                  <a:gd name="T49" fmla="*/ 2 h 958"/>
                  <a:gd name="T50" fmla="*/ 8 w 848"/>
                  <a:gd name="T51" fmla="*/ 2 h 958"/>
                  <a:gd name="T52" fmla="*/ 8 w 848"/>
                  <a:gd name="T53" fmla="*/ 2 h 958"/>
                  <a:gd name="T54" fmla="*/ 8 w 848"/>
                  <a:gd name="T55" fmla="*/ 3 h 958"/>
                  <a:gd name="T56" fmla="*/ 8 w 848"/>
                  <a:gd name="T57" fmla="*/ 3 h 958"/>
                  <a:gd name="T58" fmla="*/ 8 w 848"/>
                  <a:gd name="T59" fmla="*/ 3 h 958"/>
                  <a:gd name="T60" fmla="*/ 8 w 848"/>
                  <a:gd name="T61" fmla="*/ 3 h 958"/>
                  <a:gd name="T62" fmla="*/ 8 w 848"/>
                  <a:gd name="T63" fmla="*/ 3 h 958"/>
                  <a:gd name="T64" fmla="*/ 8 w 848"/>
                  <a:gd name="T65" fmla="*/ 4 h 958"/>
                  <a:gd name="T66" fmla="*/ 8 w 848"/>
                  <a:gd name="T67" fmla="*/ 4 h 958"/>
                  <a:gd name="T68" fmla="*/ 8 w 848"/>
                  <a:gd name="T69" fmla="*/ 4 h 958"/>
                  <a:gd name="T70" fmla="*/ 10 w 848"/>
                  <a:gd name="T71" fmla="*/ 4 h 958"/>
                  <a:gd name="T72" fmla="*/ 10 w 848"/>
                  <a:gd name="T73" fmla="*/ 4 h 958"/>
                  <a:gd name="T74" fmla="*/ 10 w 848"/>
                  <a:gd name="T75" fmla="*/ 4 h 958"/>
                  <a:gd name="T76" fmla="*/ 3 w 848"/>
                  <a:gd name="T77" fmla="*/ 11 h 958"/>
                  <a:gd name="T78" fmla="*/ 3 w 848"/>
                  <a:gd name="T79" fmla="*/ 11 h 958"/>
                  <a:gd name="T80" fmla="*/ 3 w 848"/>
                  <a:gd name="T81" fmla="*/ 11 h 958"/>
                  <a:gd name="T82" fmla="*/ 3 w 848"/>
                  <a:gd name="T83" fmla="*/ 11 h 958"/>
                  <a:gd name="T84" fmla="*/ 2 w 848"/>
                  <a:gd name="T85" fmla="*/ 11 h 958"/>
                  <a:gd name="T86" fmla="*/ 2 w 848"/>
                  <a:gd name="T87" fmla="*/ 11 h 958"/>
                  <a:gd name="T88" fmla="*/ 2 w 848"/>
                  <a:gd name="T89" fmla="*/ 10 h 958"/>
                  <a:gd name="T90" fmla="*/ 2 w 848"/>
                  <a:gd name="T91" fmla="*/ 10 h 958"/>
                  <a:gd name="T92" fmla="*/ 2 w 848"/>
                  <a:gd name="T93" fmla="*/ 10 h 958"/>
                  <a:gd name="T94" fmla="*/ 2 w 848"/>
                  <a:gd name="T95" fmla="*/ 10 h 958"/>
                  <a:gd name="T96" fmla="*/ 2 w 848"/>
                  <a:gd name="T97" fmla="*/ 10 h 958"/>
                  <a:gd name="T98" fmla="*/ 2 w 848"/>
                  <a:gd name="T99" fmla="*/ 10 h 958"/>
                  <a:gd name="T100" fmla="*/ 2 w 848"/>
                  <a:gd name="T101" fmla="*/ 10 h 958"/>
                  <a:gd name="T102" fmla="*/ 2 w 848"/>
                  <a:gd name="T103" fmla="*/ 10 h 958"/>
                  <a:gd name="T104" fmla="*/ 2 w 848"/>
                  <a:gd name="T105" fmla="*/ 10 h 958"/>
                  <a:gd name="T106" fmla="*/ 2 w 848"/>
                  <a:gd name="T107" fmla="*/ 10 h 958"/>
                  <a:gd name="T108" fmla="*/ 2 w 848"/>
                  <a:gd name="T109" fmla="*/ 10 h 958"/>
                  <a:gd name="T110" fmla="*/ 2 w 848"/>
                  <a:gd name="T111" fmla="*/ 10 h 958"/>
                  <a:gd name="T112" fmla="*/ 2 w 848"/>
                  <a:gd name="T113" fmla="*/ 10 h 958"/>
                  <a:gd name="T114" fmla="*/ 0 w 848"/>
                  <a:gd name="T115" fmla="*/ 10 h 95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48"/>
                  <a:gd name="T175" fmla="*/ 0 h 958"/>
                  <a:gd name="T176" fmla="*/ 848 w 848"/>
                  <a:gd name="T177" fmla="*/ 958 h 95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48" h="958">
                    <a:moveTo>
                      <a:pt x="0" y="859"/>
                    </a:moveTo>
                    <a:lnTo>
                      <a:pt x="0" y="429"/>
                    </a:lnTo>
                    <a:lnTo>
                      <a:pt x="0" y="0"/>
                    </a:lnTo>
                    <a:lnTo>
                      <a:pt x="30" y="0"/>
                    </a:lnTo>
                    <a:lnTo>
                      <a:pt x="59" y="1"/>
                    </a:lnTo>
                    <a:lnTo>
                      <a:pt x="88" y="3"/>
                    </a:lnTo>
                    <a:lnTo>
                      <a:pt x="118" y="6"/>
                    </a:lnTo>
                    <a:lnTo>
                      <a:pt x="147" y="9"/>
                    </a:lnTo>
                    <a:lnTo>
                      <a:pt x="176" y="13"/>
                    </a:lnTo>
                    <a:lnTo>
                      <a:pt x="205" y="18"/>
                    </a:lnTo>
                    <a:lnTo>
                      <a:pt x="234" y="23"/>
                    </a:lnTo>
                    <a:lnTo>
                      <a:pt x="263" y="29"/>
                    </a:lnTo>
                    <a:lnTo>
                      <a:pt x="291" y="36"/>
                    </a:lnTo>
                    <a:lnTo>
                      <a:pt x="320" y="43"/>
                    </a:lnTo>
                    <a:lnTo>
                      <a:pt x="348" y="52"/>
                    </a:lnTo>
                    <a:lnTo>
                      <a:pt x="362" y="56"/>
                    </a:lnTo>
                    <a:lnTo>
                      <a:pt x="376" y="60"/>
                    </a:lnTo>
                    <a:lnTo>
                      <a:pt x="404" y="70"/>
                    </a:lnTo>
                    <a:lnTo>
                      <a:pt x="431" y="80"/>
                    </a:lnTo>
                    <a:lnTo>
                      <a:pt x="459" y="91"/>
                    </a:lnTo>
                    <a:lnTo>
                      <a:pt x="486" y="103"/>
                    </a:lnTo>
                    <a:lnTo>
                      <a:pt x="513" y="115"/>
                    </a:lnTo>
                    <a:lnTo>
                      <a:pt x="539" y="128"/>
                    </a:lnTo>
                    <a:lnTo>
                      <a:pt x="565" y="141"/>
                    </a:lnTo>
                    <a:lnTo>
                      <a:pt x="591" y="155"/>
                    </a:lnTo>
                    <a:lnTo>
                      <a:pt x="617" y="170"/>
                    </a:lnTo>
                    <a:lnTo>
                      <a:pt x="642" y="185"/>
                    </a:lnTo>
                    <a:lnTo>
                      <a:pt x="667" y="201"/>
                    </a:lnTo>
                    <a:lnTo>
                      <a:pt x="691" y="218"/>
                    </a:lnTo>
                    <a:lnTo>
                      <a:pt x="703" y="227"/>
                    </a:lnTo>
                    <a:lnTo>
                      <a:pt x="715" y="235"/>
                    </a:lnTo>
                    <a:lnTo>
                      <a:pt x="739" y="253"/>
                    </a:lnTo>
                    <a:lnTo>
                      <a:pt x="762" y="271"/>
                    </a:lnTo>
                    <a:lnTo>
                      <a:pt x="784" y="290"/>
                    </a:lnTo>
                    <a:lnTo>
                      <a:pt x="806" y="310"/>
                    </a:lnTo>
                    <a:lnTo>
                      <a:pt x="817" y="320"/>
                    </a:lnTo>
                    <a:lnTo>
                      <a:pt x="827" y="330"/>
                    </a:lnTo>
                    <a:lnTo>
                      <a:pt x="848" y="351"/>
                    </a:lnTo>
                    <a:lnTo>
                      <a:pt x="241" y="958"/>
                    </a:lnTo>
                    <a:lnTo>
                      <a:pt x="229" y="947"/>
                    </a:lnTo>
                    <a:lnTo>
                      <a:pt x="217" y="936"/>
                    </a:lnTo>
                    <a:lnTo>
                      <a:pt x="204" y="926"/>
                    </a:lnTo>
                    <a:lnTo>
                      <a:pt x="191" y="917"/>
                    </a:lnTo>
                    <a:lnTo>
                      <a:pt x="177" y="908"/>
                    </a:lnTo>
                    <a:lnTo>
                      <a:pt x="162" y="900"/>
                    </a:lnTo>
                    <a:lnTo>
                      <a:pt x="148" y="892"/>
                    </a:lnTo>
                    <a:lnTo>
                      <a:pt x="133" y="885"/>
                    </a:lnTo>
                    <a:lnTo>
                      <a:pt x="125" y="882"/>
                    </a:lnTo>
                    <a:lnTo>
                      <a:pt x="117" y="879"/>
                    </a:lnTo>
                    <a:lnTo>
                      <a:pt x="101" y="874"/>
                    </a:lnTo>
                    <a:lnTo>
                      <a:pt x="93" y="872"/>
                    </a:lnTo>
                    <a:lnTo>
                      <a:pt x="85" y="869"/>
                    </a:lnTo>
                    <a:lnTo>
                      <a:pt x="69" y="866"/>
                    </a:lnTo>
                    <a:lnTo>
                      <a:pt x="61" y="864"/>
                    </a:lnTo>
                    <a:lnTo>
                      <a:pt x="52" y="863"/>
                    </a:lnTo>
                    <a:lnTo>
                      <a:pt x="35" y="861"/>
                    </a:lnTo>
                    <a:lnTo>
                      <a:pt x="18" y="859"/>
                    </a:lnTo>
                    <a:lnTo>
                      <a:pt x="0" y="859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3" name="Freeform 21"/>
              <p:cNvSpPr>
                <a:spLocks noChangeAspect="1"/>
              </p:cNvSpPr>
              <p:nvPr/>
            </p:nvSpPr>
            <p:spPr bwMode="auto">
              <a:xfrm>
                <a:off x="9326" y="3464"/>
                <a:ext cx="724" cy="641"/>
              </a:xfrm>
              <a:custGeom>
                <a:avLst/>
                <a:gdLst>
                  <a:gd name="T0" fmla="*/ 0 w 958"/>
                  <a:gd name="T1" fmla="*/ 6 h 848"/>
                  <a:gd name="T2" fmla="*/ 6 w 958"/>
                  <a:gd name="T3" fmla="*/ 0 h 848"/>
                  <a:gd name="T4" fmla="*/ 8 w 958"/>
                  <a:gd name="T5" fmla="*/ 2 h 848"/>
                  <a:gd name="T6" fmla="*/ 8 w 958"/>
                  <a:gd name="T7" fmla="*/ 2 h 848"/>
                  <a:gd name="T8" fmla="*/ 8 w 958"/>
                  <a:gd name="T9" fmla="*/ 2 h 848"/>
                  <a:gd name="T10" fmla="*/ 8 w 958"/>
                  <a:gd name="T11" fmla="*/ 2 h 848"/>
                  <a:gd name="T12" fmla="*/ 8 w 958"/>
                  <a:gd name="T13" fmla="*/ 2 h 848"/>
                  <a:gd name="T14" fmla="*/ 8 w 958"/>
                  <a:gd name="T15" fmla="*/ 2 h 848"/>
                  <a:gd name="T16" fmla="*/ 8 w 958"/>
                  <a:gd name="T17" fmla="*/ 2 h 848"/>
                  <a:gd name="T18" fmla="*/ 8 w 958"/>
                  <a:gd name="T19" fmla="*/ 2 h 848"/>
                  <a:gd name="T20" fmla="*/ 8 w 958"/>
                  <a:gd name="T21" fmla="*/ 2 h 848"/>
                  <a:gd name="T22" fmla="*/ 8 w 958"/>
                  <a:gd name="T23" fmla="*/ 3 h 848"/>
                  <a:gd name="T24" fmla="*/ 8 w 958"/>
                  <a:gd name="T25" fmla="*/ 3 h 848"/>
                  <a:gd name="T26" fmla="*/ 8 w 958"/>
                  <a:gd name="T27" fmla="*/ 3 h 848"/>
                  <a:gd name="T28" fmla="*/ 10 w 958"/>
                  <a:gd name="T29" fmla="*/ 4 h 848"/>
                  <a:gd name="T30" fmla="*/ 10 w 958"/>
                  <a:gd name="T31" fmla="*/ 4 h 848"/>
                  <a:gd name="T32" fmla="*/ 10 w 958"/>
                  <a:gd name="T33" fmla="*/ 4 h 848"/>
                  <a:gd name="T34" fmla="*/ 10 w 958"/>
                  <a:gd name="T35" fmla="*/ 5 h 848"/>
                  <a:gd name="T36" fmla="*/ 10 w 958"/>
                  <a:gd name="T37" fmla="*/ 5 h 848"/>
                  <a:gd name="T38" fmla="*/ 10 w 958"/>
                  <a:gd name="T39" fmla="*/ 5 h 848"/>
                  <a:gd name="T40" fmla="*/ 10 w 958"/>
                  <a:gd name="T41" fmla="*/ 5 h 848"/>
                  <a:gd name="T42" fmla="*/ 10 w 958"/>
                  <a:gd name="T43" fmla="*/ 6 h 848"/>
                  <a:gd name="T44" fmla="*/ 11 w 958"/>
                  <a:gd name="T45" fmla="*/ 6 h 848"/>
                  <a:gd name="T46" fmla="*/ 11 w 958"/>
                  <a:gd name="T47" fmla="*/ 6 h 848"/>
                  <a:gd name="T48" fmla="*/ 11 w 958"/>
                  <a:gd name="T49" fmla="*/ 6 h 848"/>
                  <a:gd name="T50" fmla="*/ 11 w 958"/>
                  <a:gd name="T51" fmla="*/ 6 h 848"/>
                  <a:gd name="T52" fmla="*/ 11 w 958"/>
                  <a:gd name="T53" fmla="*/ 7 h 848"/>
                  <a:gd name="T54" fmla="*/ 11 w 958"/>
                  <a:gd name="T55" fmla="*/ 8 h 848"/>
                  <a:gd name="T56" fmla="*/ 11 w 958"/>
                  <a:gd name="T57" fmla="*/ 8 h 848"/>
                  <a:gd name="T58" fmla="*/ 11 w 958"/>
                  <a:gd name="T59" fmla="*/ 8 h 848"/>
                  <a:gd name="T60" fmla="*/ 11 w 958"/>
                  <a:gd name="T61" fmla="*/ 8 h 848"/>
                  <a:gd name="T62" fmla="*/ 11 w 958"/>
                  <a:gd name="T63" fmla="*/ 8 h 848"/>
                  <a:gd name="T64" fmla="*/ 11 w 958"/>
                  <a:gd name="T65" fmla="*/ 8 h 848"/>
                  <a:gd name="T66" fmla="*/ 11 w 958"/>
                  <a:gd name="T67" fmla="*/ 10 h 848"/>
                  <a:gd name="T68" fmla="*/ 11 w 958"/>
                  <a:gd name="T69" fmla="*/ 10 h 848"/>
                  <a:gd name="T70" fmla="*/ 6 w 958"/>
                  <a:gd name="T71" fmla="*/ 10 h 848"/>
                  <a:gd name="T72" fmla="*/ 2 w 958"/>
                  <a:gd name="T73" fmla="*/ 10 h 848"/>
                  <a:gd name="T74" fmla="*/ 2 w 958"/>
                  <a:gd name="T75" fmla="*/ 10 h 848"/>
                  <a:gd name="T76" fmla="*/ 2 w 958"/>
                  <a:gd name="T77" fmla="*/ 9 h 848"/>
                  <a:gd name="T78" fmla="*/ 2 w 958"/>
                  <a:gd name="T79" fmla="*/ 8 h 848"/>
                  <a:gd name="T80" fmla="*/ 2 w 958"/>
                  <a:gd name="T81" fmla="*/ 8 h 848"/>
                  <a:gd name="T82" fmla="*/ 2 w 958"/>
                  <a:gd name="T83" fmla="*/ 8 h 848"/>
                  <a:gd name="T84" fmla="*/ 2 w 958"/>
                  <a:gd name="T85" fmla="*/ 8 h 848"/>
                  <a:gd name="T86" fmla="*/ 2 w 958"/>
                  <a:gd name="T87" fmla="*/ 8 h 848"/>
                  <a:gd name="T88" fmla="*/ 2 w 958"/>
                  <a:gd name="T89" fmla="*/ 8 h 848"/>
                  <a:gd name="T90" fmla="*/ 2 w 958"/>
                  <a:gd name="T91" fmla="*/ 8 h 848"/>
                  <a:gd name="T92" fmla="*/ 2 w 958"/>
                  <a:gd name="T93" fmla="*/ 8 h 848"/>
                  <a:gd name="T94" fmla="*/ 2 w 958"/>
                  <a:gd name="T95" fmla="*/ 8 h 848"/>
                  <a:gd name="T96" fmla="*/ 2 w 958"/>
                  <a:gd name="T97" fmla="*/ 8 h 848"/>
                  <a:gd name="T98" fmla="*/ 2 w 958"/>
                  <a:gd name="T99" fmla="*/ 8 h 848"/>
                  <a:gd name="T100" fmla="*/ 2 w 958"/>
                  <a:gd name="T101" fmla="*/ 8 h 848"/>
                  <a:gd name="T102" fmla="*/ 2 w 958"/>
                  <a:gd name="T103" fmla="*/ 8 h 848"/>
                  <a:gd name="T104" fmla="*/ 2 w 958"/>
                  <a:gd name="T105" fmla="*/ 8 h 848"/>
                  <a:gd name="T106" fmla="*/ 2 w 958"/>
                  <a:gd name="T107" fmla="*/ 8 h 848"/>
                  <a:gd name="T108" fmla="*/ 0 w 958"/>
                  <a:gd name="T109" fmla="*/ 6 h 84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58"/>
                  <a:gd name="T166" fmla="*/ 0 h 848"/>
                  <a:gd name="T167" fmla="*/ 958 w 958"/>
                  <a:gd name="T168" fmla="*/ 848 h 84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58" h="848">
                    <a:moveTo>
                      <a:pt x="0" y="607"/>
                    </a:moveTo>
                    <a:lnTo>
                      <a:pt x="607" y="0"/>
                    </a:lnTo>
                    <a:lnTo>
                      <a:pt x="628" y="21"/>
                    </a:lnTo>
                    <a:lnTo>
                      <a:pt x="648" y="42"/>
                    </a:lnTo>
                    <a:lnTo>
                      <a:pt x="668" y="64"/>
                    </a:lnTo>
                    <a:lnTo>
                      <a:pt x="687" y="87"/>
                    </a:lnTo>
                    <a:lnTo>
                      <a:pt x="705" y="110"/>
                    </a:lnTo>
                    <a:lnTo>
                      <a:pt x="723" y="133"/>
                    </a:lnTo>
                    <a:lnTo>
                      <a:pt x="740" y="157"/>
                    </a:lnTo>
                    <a:lnTo>
                      <a:pt x="748" y="169"/>
                    </a:lnTo>
                    <a:lnTo>
                      <a:pt x="756" y="181"/>
                    </a:lnTo>
                    <a:lnTo>
                      <a:pt x="772" y="206"/>
                    </a:lnTo>
                    <a:lnTo>
                      <a:pt x="788" y="231"/>
                    </a:lnTo>
                    <a:lnTo>
                      <a:pt x="803" y="257"/>
                    </a:lnTo>
                    <a:lnTo>
                      <a:pt x="817" y="283"/>
                    </a:lnTo>
                    <a:lnTo>
                      <a:pt x="830" y="309"/>
                    </a:lnTo>
                    <a:lnTo>
                      <a:pt x="843" y="336"/>
                    </a:lnTo>
                    <a:lnTo>
                      <a:pt x="856" y="362"/>
                    </a:lnTo>
                    <a:lnTo>
                      <a:pt x="867" y="389"/>
                    </a:lnTo>
                    <a:lnTo>
                      <a:pt x="878" y="417"/>
                    </a:lnTo>
                    <a:lnTo>
                      <a:pt x="888" y="444"/>
                    </a:lnTo>
                    <a:lnTo>
                      <a:pt x="898" y="472"/>
                    </a:lnTo>
                    <a:lnTo>
                      <a:pt x="907" y="500"/>
                    </a:lnTo>
                    <a:lnTo>
                      <a:pt x="915" y="528"/>
                    </a:lnTo>
                    <a:lnTo>
                      <a:pt x="923" y="557"/>
                    </a:lnTo>
                    <a:lnTo>
                      <a:pt x="930" y="585"/>
                    </a:lnTo>
                    <a:lnTo>
                      <a:pt x="936" y="614"/>
                    </a:lnTo>
                    <a:lnTo>
                      <a:pt x="941" y="643"/>
                    </a:lnTo>
                    <a:lnTo>
                      <a:pt x="946" y="672"/>
                    </a:lnTo>
                    <a:lnTo>
                      <a:pt x="950" y="701"/>
                    </a:lnTo>
                    <a:lnTo>
                      <a:pt x="953" y="730"/>
                    </a:lnTo>
                    <a:lnTo>
                      <a:pt x="956" y="760"/>
                    </a:lnTo>
                    <a:lnTo>
                      <a:pt x="957" y="789"/>
                    </a:lnTo>
                    <a:lnTo>
                      <a:pt x="958" y="818"/>
                    </a:lnTo>
                    <a:lnTo>
                      <a:pt x="958" y="848"/>
                    </a:lnTo>
                    <a:lnTo>
                      <a:pt x="529" y="848"/>
                    </a:lnTo>
                    <a:lnTo>
                      <a:pt x="99" y="848"/>
                    </a:lnTo>
                    <a:lnTo>
                      <a:pt x="99" y="830"/>
                    </a:lnTo>
                    <a:lnTo>
                      <a:pt x="98" y="813"/>
                    </a:lnTo>
                    <a:lnTo>
                      <a:pt x="97" y="805"/>
                    </a:lnTo>
                    <a:lnTo>
                      <a:pt x="96" y="796"/>
                    </a:lnTo>
                    <a:lnTo>
                      <a:pt x="94" y="788"/>
                    </a:lnTo>
                    <a:lnTo>
                      <a:pt x="93" y="779"/>
                    </a:lnTo>
                    <a:lnTo>
                      <a:pt x="89" y="763"/>
                    </a:lnTo>
                    <a:lnTo>
                      <a:pt x="84" y="747"/>
                    </a:lnTo>
                    <a:lnTo>
                      <a:pt x="79" y="731"/>
                    </a:lnTo>
                    <a:lnTo>
                      <a:pt x="73" y="716"/>
                    </a:lnTo>
                    <a:lnTo>
                      <a:pt x="66" y="700"/>
                    </a:lnTo>
                    <a:lnTo>
                      <a:pt x="58" y="686"/>
                    </a:lnTo>
                    <a:lnTo>
                      <a:pt x="50" y="672"/>
                    </a:lnTo>
                    <a:lnTo>
                      <a:pt x="41" y="658"/>
                    </a:lnTo>
                    <a:lnTo>
                      <a:pt x="32" y="644"/>
                    </a:lnTo>
                    <a:lnTo>
                      <a:pt x="22" y="632"/>
                    </a:lnTo>
                    <a:lnTo>
                      <a:pt x="11" y="619"/>
                    </a:lnTo>
                    <a:lnTo>
                      <a:pt x="0" y="607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4" name="Freeform 22"/>
              <p:cNvSpPr>
                <a:spLocks noChangeAspect="1"/>
              </p:cNvSpPr>
              <p:nvPr/>
            </p:nvSpPr>
            <p:spPr bwMode="auto">
              <a:xfrm>
                <a:off x="9326" y="4105"/>
                <a:ext cx="724" cy="641"/>
              </a:xfrm>
              <a:custGeom>
                <a:avLst/>
                <a:gdLst>
                  <a:gd name="T0" fmla="*/ 2 w 958"/>
                  <a:gd name="T1" fmla="*/ 0 h 848"/>
                  <a:gd name="T2" fmla="*/ 6 w 958"/>
                  <a:gd name="T3" fmla="*/ 0 h 848"/>
                  <a:gd name="T4" fmla="*/ 11 w 958"/>
                  <a:gd name="T5" fmla="*/ 0 h 848"/>
                  <a:gd name="T6" fmla="*/ 11 w 958"/>
                  <a:gd name="T7" fmla="*/ 2 h 848"/>
                  <a:gd name="T8" fmla="*/ 11 w 958"/>
                  <a:gd name="T9" fmla="*/ 2 h 848"/>
                  <a:gd name="T10" fmla="*/ 11 w 958"/>
                  <a:gd name="T11" fmla="*/ 2 h 848"/>
                  <a:gd name="T12" fmla="*/ 11 w 958"/>
                  <a:gd name="T13" fmla="*/ 2 h 848"/>
                  <a:gd name="T14" fmla="*/ 11 w 958"/>
                  <a:gd name="T15" fmla="*/ 2 h 848"/>
                  <a:gd name="T16" fmla="*/ 11 w 958"/>
                  <a:gd name="T17" fmla="*/ 2 h 848"/>
                  <a:gd name="T18" fmla="*/ 11 w 958"/>
                  <a:gd name="T19" fmla="*/ 3 h 848"/>
                  <a:gd name="T20" fmla="*/ 11 w 958"/>
                  <a:gd name="T21" fmla="*/ 3 h 848"/>
                  <a:gd name="T22" fmla="*/ 11 w 958"/>
                  <a:gd name="T23" fmla="*/ 3 h 848"/>
                  <a:gd name="T24" fmla="*/ 11 w 958"/>
                  <a:gd name="T25" fmla="*/ 4 h 848"/>
                  <a:gd name="T26" fmla="*/ 11 w 958"/>
                  <a:gd name="T27" fmla="*/ 4 h 848"/>
                  <a:gd name="T28" fmla="*/ 11 w 958"/>
                  <a:gd name="T29" fmla="*/ 4 h 848"/>
                  <a:gd name="T30" fmla="*/ 11 w 958"/>
                  <a:gd name="T31" fmla="*/ 5 h 848"/>
                  <a:gd name="T32" fmla="*/ 10 w 958"/>
                  <a:gd name="T33" fmla="*/ 5 h 848"/>
                  <a:gd name="T34" fmla="*/ 10 w 958"/>
                  <a:gd name="T35" fmla="*/ 5 h 848"/>
                  <a:gd name="T36" fmla="*/ 10 w 958"/>
                  <a:gd name="T37" fmla="*/ 5 h 848"/>
                  <a:gd name="T38" fmla="*/ 10 w 958"/>
                  <a:gd name="T39" fmla="*/ 5 h 848"/>
                  <a:gd name="T40" fmla="*/ 10 w 958"/>
                  <a:gd name="T41" fmla="*/ 6 h 848"/>
                  <a:gd name="T42" fmla="*/ 10 w 958"/>
                  <a:gd name="T43" fmla="*/ 6 h 848"/>
                  <a:gd name="T44" fmla="*/ 10 w 958"/>
                  <a:gd name="T45" fmla="*/ 6 h 848"/>
                  <a:gd name="T46" fmla="*/ 10 w 958"/>
                  <a:gd name="T47" fmla="*/ 6 h 848"/>
                  <a:gd name="T48" fmla="*/ 8 w 958"/>
                  <a:gd name="T49" fmla="*/ 6 h 848"/>
                  <a:gd name="T50" fmla="*/ 8 w 958"/>
                  <a:gd name="T51" fmla="*/ 8 h 848"/>
                  <a:gd name="T52" fmla="*/ 8 w 958"/>
                  <a:gd name="T53" fmla="*/ 8 h 848"/>
                  <a:gd name="T54" fmla="*/ 8 w 958"/>
                  <a:gd name="T55" fmla="*/ 8 h 848"/>
                  <a:gd name="T56" fmla="*/ 8 w 958"/>
                  <a:gd name="T57" fmla="*/ 8 h 848"/>
                  <a:gd name="T58" fmla="*/ 8 w 958"/>
                  <a:gd name="T59" fmla="*/ 8 h 848"/>
                  <a:gd name="T60" fmla="*/ 8 w 958"/>
                  <a:gd name="T61" fmla="*/ 8 h 848"/>
                  <a:gd name="T62" fmla="*/ 8 w 958"/>
                  <a:gd name="T63" fmla="*/ 8 h 848"/>
                  <a:gd name="T64" fmla="*/ 8 w 958"/>
                  <a:gd name="T65" fmla="*/ 8 h 848"/>
                  <a:gd name="T66" fmla="*/ 8 w 958"/>
                  <a:gd name="T67" fmla="*/ 8 h 848"/>
                  <a:gd name="T68" fmla="*/ 8 w 958"/>
                  <a:gd name="T69" fmla="*/ 8 h 848"/>
                  <a:gd name="T70" fmla="*/ 8 w 958"/>
                  <a:gd name="T71" fmla="*/ 10 h 848"/>
                  <a:gd name="T72" fmla="*/ 8 w 958"/>
                  <a:gd name="T73" fmla="*/ 10 h 848"/>
                  <a:gd name="T74" fmla="*/ 6 w 958"/>
                  <a:gd name="T75" fmla="*/ 10 h 848"/>
                  <a:gd name="T76" fmla="*/ 0 w 958"/>
                  <a:gd name="T77" fmla="*/ 3 h 848"/>
                  <a:gd name="T78" fmla="*/ 2 w 958"/>
                  <a:gd name="T79" fmla="*/ 3 h 848"/>
                  <a:gd name="T80" fmla="*/ 2 w 958"/>
                  <a:gd name="T81" fmla="*/ 3 h 848"/>
                  <a:gd name="T82" fmla="*/ 2 w 958"/>
                  <a:gd name="T83" fmla="*/ 3 h 848"/>
                  <a:gd name="T84" fmla="*/ 2 w 958"/>
                  <a:gd name="T85" fmla="*/ 2 h 848"/>
                  <a:gd name="T86" fmla="*/ 2 w 958"/>
                  <a:gd name="T87" fmla="*/ 2 h 848"/>
                  <a:gd name="T88" fmla="*/ 2 w 958"/>
                  <a:gd name="T89" fmla="*/ 2 h 848"/>
                  <a:gd name="T90" fmla="*/ 2 w 958"/>
                  <a:gd name="T91" fmla="*/ 2 h 848"/>
                  <a:gd name="T92" fmla="*/ 2 w 958"/>
                  <a:gd name="T93" fmla="*/ 2 h 848"/>
                  <a:gd name="T94" fmla="*/ 2 w 958"/>
                  <a:gd name="T95" fmla="*/ 2 h 848"/>
                  <a:gd name="T96" fmla="*/ 2 w 958"/>
                  <a:gd name="T97" fmla="*/ 2 h 848"/>
                  <a:gd name="T98" fmla="*/ 2 w 958"/>
                  <a:gd name="T99" fmla="*/ 2 h 848"/>
                  <a:gd name="T100" fmla="*/ 2 w 958"/>
                  <a:gd name="T101" fmla="*/ 2 h 848"/>
                  <a:gd name="T102" fmla="*/ 2 w 958"/>
                  <a:gd name="T103" fmla="*/ 2 h 848"/>
                  <a:gd name="T104" fmla="*/ 2 w 958"/>
                  <a:gd name="T105" fmla="*/ 2 h 848"/>
                  <a:gd name="T106" fmla="*/ 2 w 958"/>
                  <a:gd name="T107" fmla="*/ 2 h 848"/>
                  <a:gd name="T108" fmla="*/ 2 w 958"/>
                  <a:gd name="T109" fmla="*/ 2 h 848"/>
                  <a:gd name="T110" fmla="*/ 2 w 958"/>
                  <a:gd name="T111" fmla="*/ 2 h 848"/>
                  <a:gd name="T112" fmla="*/ 2 w 958"/>
                  <a:gd name="T113" fmla="*/ 2 h 848"/>
                  <a:gd name="T114" fmla="*/ 2 w 958"/>
                  <a:gd name="T115" fmla="*/ 0 h 84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58"/>
                  <a:gd name="T175" fmla="*/ 0 h 848"/>
                  <a:gd name="T176" fmla="*/ 958 w 958"/>
                  <a:gd name="T177" fmla="*/ 848 h 84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58" h="848">
                    <a:moveTo>
                      <a:pt x="99" y="0"/>
                    </a:moveTo>
                    <a:lnTo>
                      <a:pt x="529" y="0"/>
                    </a:lnTo>
                    <a:lnTo>
                      <a:pt x="958" y="0"/>
                    </a:lnTo>
                    <a:lnTo>
                      <a:pt x="958" y="29"/>
                    </a:lnTo>
                    <a:lnTo>
                      <a:pt x="957" y="59"/>
                    </a:lnTo>
                    <a:lnTo>
                      <a:pt x="955" y="88"/>
                    </a:lnTo>
                    <a:lnTo>
                      <a:pt x="953" y="117"/>
                    </a:lnTo>
                    <a:lnTo>
                      <a:pt x="949" y="147"/>
                    </a:lnTo>
                    <a:lnTo>
                      <a:pt x="945" y="176"/>
                    </a:lnTo>
                    <a:lnTo>
                      <a:pt x="941" y="205"/>
                    </a:lnTo>
                    <a:lnTo>
                      <a:pt x="935" y="234"/>
                    </a:lnTo>
                    <a:lnTo>
                      <a:pt x="929" y="262"/>
                    </a:lnTo>
                    <a:lnTo>
                      <a:pt x="922" y="291"/>
                    </a:lnTo>
                    <a:lnTo>
                      <a:pt x="915" y="319"/>
                    </a:lnTo>
                    <a:lnTo>
                      <a:pt x="907" y="348"/>
                    </a:lnTo>
                    <a:lnTo>
                      <a:pt x="902" y="362"/>
                    </a:lnTo>
                    <a:lnTo>
                      <a:pt x="898" y="376"/>
                    </a:lnTo>
                    <a:lnTo>
                      <a:pt x="888" y="404"/>
                    </a:lnTo>
                    <a:lnTo>
                      <a:pt x="878" y="431"/>
                    </a:lnTo>
                    <a:lnTo>
                      <a:pt x="867" y="458"/>
                    </a:lnTo>
                    <a:lnTo>
                      <a:pt x="856" y="485"/>
                    </a:lnTo>
                    <a:lnTo>
                      <a:pt x="843" y="512"/>
                    </a:lnTo>
                    <a:lnTo>
                      <a:pt x="831" y="539"/>
                    </a:lnTo>
                    <a:lnTo>
                      <a:pt x="817" y="565"/>
                    </a:lnTo>
                    <a:lnTo>
                      <a:pt x="803" y="591"/>
                    </a:lnTo>
                    <a:lnTo>
                      <a:pt x="788" y="617"/>
                    </a:lnTo>
                    <a:lnTo>
                      <a:pt x="773" y="642"/>
                    </a:lnTo>
                    <a:lnTo>
                      <a:pt x="757" y="667"/>
                    </a:lnTo>
                    <a:lnTo>
                      <a:pt x="740" y="691"/>
                    </a:lnTo>
                    <a:lnTo>
                      <a:pt x="732" y="703"/>
                    </a:lnTo>
                    <a:lnTo>
                      <a:pt x="723" y="715"/>
                    </a:lnTo>
                    <a:lnTo>
                      <a:pt x="705" y="738"/>
                    </a:lnTo>
                    <a:lnTo>
                      <a:pt x="687" y="761"/>
                    </a:lnTo>
                    <a:lnTo>
                      <a:pt x="668" y="784"/>
                    </a:lnTo>
                    <a:lnTo>
                      <a:pt x="648" y="806"/>
                    </a:lnTo>
                    <a:lnTo>
                      <a:pt x="638" y="816"/>
                    </a:lnTo>
                    <a:lnTo>
                      <a:pt x="628" y="827"/>
                    </a:lnTo>
                    <a:lnTo>
                      <a:pt x="607" y="848"/>
                    </a:lnTo>
                    <a:lnTo>
                      <a:pt x="0" y="240"/>
                    </a:lnTo>
                    <a:lnTo>
                      <a:pt x="11" y="229"/>
                    </a:lnTo>
                    <a:lnTo>
                      <a:pt x="22" y="216"/>
                    </a:lnTo>
                    <a:lnTo>
                      <a:pt x="32" y="203"/>
                    </a:lnTo>
                    <a:lnTo>
                      <a:pt x="41" y="190"/>
                    </a:lnTo>
                    <a:lnTo>
                      <a:pt x="50" y="176"/>
                    </a:lnTo>
                    <a:lnTo>
                      <a:pt x="58" y="162"/>
                    </a:lnTo>
                    <a:lnTo>
                      <a:pt x="66" y="147"/>
                    </a:lnTo>
                    <a:lnTo>
                      <a:pt x="73" y="132"/>
                    </a:lnTo>
                    <a:lnTo>
                      <a:pt x="76" y="125"/>
                    </a:lnTo>
                    <a:lnTo>
                      <a:pt x="79" y="117"/>
                    </a:lnTo>
                    <a:lnTo>
                      <a:pt x="84" y="101"/>
                    </a:lnTo>
                    <a:lnTo>
                      <a:pt x="87" y="93"/>
                    </a:lnTo>
                    <a:lnTo>
                      <a:pt x="89" y="85"/>
                    </a:lnTo>
                    <a:lnTo>
                      <a:pt x="93" y="68"/>
                    </a:lnTo>
                    <a:lnTo>
                      <a:pt x="94" y="60"/>
                    </a:lnTo>
                    <a:lnTo>
                      <a:pt x="96" y="52"/>
                    </a:lnTo>
                    <a:lnTo>
                      <a:pt x="98" y="35"/>
                    </a:lnTo>
                    <a:lnTo>
                      <a:pt x="99" y="17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5" name="Freeform 23"/>
              <p:cNvSpPr>
                <a:spLocks noChangeAspect="1"/>
              </p:cNvSpPr>
              <p:nvPr/>
            </p:nvSpPr>
            <p:spPr bwMode="auto">
              <a:xfrm>
                <a:off x="9143" y="4286"/>
                <a:ext cx="641" cy="726"/>
              </a:xfrm>
              <a:custGeom>
                <a:avLst/>
                <a:gdLst>
                  <a:gd name="T0" fmla="*/ 3 w 848"/>
                  <a:gd name="T1" fmla="*/ 0 h 959"/>
                  <a:gd name="T2" fmla="*/ 10 w 848"/>
                  <a:gd name="T3" fmla="*/ 7 h 959"/>
                  <a:gd name="T4" fmla="*/ 10 w 848"/>
                  <a:gd name="T5" fmla="*/ 8 h 959"/>
                  <a:gd name="T6" fmla="*/ 8 w 848"/>
                  <a:gd name="T7" fmla="*/ 8 h 959"/>
                  <a:gd name="T8" fmla="*/ 8 w 848"/>
                  <a:gd name="T9" fmla="*/ 8 h 959"/>
                  <a:gd name="T10" fmla="*/ 8 w 848"/>
                  <a:gd name="T11" fmla="*/ 8 h 959"/>
                  <a:gd name="T12" fmla="*/ 8 w 848"/>
                  <a:gd name="T13" fmla="*/ 8 h 959"/>
                  <a:gd name="T14" fmla="*/ 8 w 848"/>
                  <a:gd name="T15" fmla="*/ 8 h 959"/>
                  <a:gd name="T16" fmla="*/ 8 w 848"/>
                  <a:gd name="T17" fmla="*/ 8 h 959"/>
                  <a:gd name="T18" fmla="*/ 8 w 848"/>
                  <a:gd name="T19" fmla="*/ 8 h 959"/>
                  <a:gd name="T20" fmla="*/ 8 w 848"/>
                  <a:gd name="T21" fmla="*/ 8 h 959"/>
                  <a:gd name="T22" fmla="*/ 8 w 848"/>
                  <a:gd name="T23" fmla="*/ 8 h 959"/>
                  <a:gd name="T24" fmla="*/ 8 w 848"/>
                  <a:gd name="T25" fmla="*/ 8 h 959"/>
                  <a:gd name="T26" fmla="*/ 6 w 848"/>
                  <a:gd name="T27" fmla="*/ 9 h 959"/>
                  <a:gd name="T28" fmla="*/ 6 w 848"/>
                  <a:gd name="T29" fmla="*/ 10 h 959"/>
                  <a:gd name="T30" fmla="*/ 6 w 848"/>
                  <a:gd name="T31" fmla="*/ 10 h 959"/>
                  <a:gd name="T32" fmla="*/ 6 w 848"/>
                  <a:gd name="T33" fmla="*/ 10 h 959"/>
                  <a:gd name="T34" fmla="*/ 6 w 848"/>
                  <a:gd name="T35" fmla="*/ 10 h 959"/>
                  <a:gd name="T36" fmla="*/ 5 w 848"/>
                  <a:gd name="T37" fmla="*/ 10 h 959"/>
                  <a:gd name="T38" fmla="*/ 5 w 848"/>
                  <a:gd name="T39" fmla="*/ 11 h 959"/>
                  <a:gd name="T40" fmla="*/ 5 w 848"/>
                  <a:gd name="T41" fmla="*/ 11 h 959"/>
                  <a:gd name="T42" fmla="*/ 5 w 848"/>
                  <a:gd name="T43" fmla="*/ 11 h 959"/>
                  <a:gd name="T44" fmla="*/ 4 w 848"/>
                  <a:gd name="T45" fmla="*/ 11 h 959"/>
                  <a:gd name="T46" fmla="*/ 4 w 848"/>
                  <a:gd name="T47" fmla="*/ 11 h 959"/>
                  <a:gd name="T48" fmla="*/ 4 w 848"/>
                  <a:gd name="T49" fmla="*/ 11 h 959"/>
                  <a:gd name="T50" fmla="*/ 3 w 848"/>
                  <a:gd name="T51" fmla="*/ 11 h 959"/>
                  <a:gd name="T52" fmla="*/ 3 w 848"/>
                  <a:gd name="T53" fmla="*/ 11 h 959"/>
                  <a:gd name="T54" fmla="*/ 3 w 848"/>
                  <a:gd name="T55" fmla="*/ 11 h 959"/>
                  <a:gd name="T56" fmla="*/ 2 w 848"/>
                  <a:gd name="T57" fmla="*/ 11 h 959"/>
                  <a:gd name="T58" fmla="*/ 2 w 848"/>
                  <a:gd name="T59" fmla="*/ 11 h 959"/>
                  <a:gd name="T60" fmla="*/ 2 w 848"/>
                  <a:gd name="T61" fmla="*/ 11 h 959"/>
                  <a:gd name="T62" fmla="*/ 2 w 848"/>
                  <a:gd name="T63" fmla="*/ 11 h 959"/>
                  <a:gd name="T64" fmla="*/ 2 w 848"/>
                  <a:gd name="T65" fmla="*/ 11 h 959"/>
                  <a:gd name="T66" fmla="*/ 2 w 848"/>
                  <a:gd name="T67" fmla="*/ 11 h 959"/>
                  <a:gd name="T68" fmla="*/ 0 w 848"/>
                  <a:gd name="T69" fmla="*/ 11 h 959"/>
                  <a:gd name="T70" fmla="*/ 0 w 848"/>
                  <a:gd name="T71" fmla="*/ 6 h 959"/>
                  <a:gd name="T72" fmla="*/ 0 w 848"/>
                  <a:gd name="T73" fmla="*/ 2 h 959"/>
                  <a:gd name="T74" fmla="*/ 2 w 848"/>
                  <a:gd name="T75" fmla="*/ 2 h 959"/>
                  <a:gd name="T76" fmla="*/ 2 w 848"/>
                  <a:gd name="T77" fmla="*/ 2 h 959"/>
                  <a:gd name="T78" fmla="*/ 2 w 848"/>
                  <a:gd name="T79" fmla="*/ 2 h 959"/>
                  <a:gd name="T80" fmla="*/ 2 w 848"/>
                  <a:gd name="T81" fmla="*/ 2 h 959"/>
                  <a:gd name="T82" fmla="*/ 2 w 848"/>
                  <a:gd name="T83" fmla="*/ 2 h 959"/>
                  <a:gd name="T84" fmla="*/ 2 w 848"/>
                  <a:gd name="T85" fmla="*/ 2 h 959"/>
                  <a:gd name="T86" fmla="*/ 2 w 848"/>
                  <a:gd name="T87" fmla="*/ 2 h 959"/>
                  <a:gd name="T88" fmla="*/ 2 w 848"/>
                  <a:gd name="T89" fmla="*/ 2 h 959"/>
                  <a:gd name="T90" fmla="*/ 2 w 848"/>
                  <a:gd name="T91" fmla="*/ 2 h 959"/>
                  <a:gd name="T92" fmla="*/ 2 w 848"/>
                  <a:gd name="T93" fmla="*/ 2 h 959"/>
                  <a:gd name="T94" fmla="*/ 2 w 848"/>
                  <a:gd name="T95" fmla="*/ 2 h 959"/>
                  <a:gd name="T96" fmla="*/ 2 w 848"/>
                  <a:gd name="T97" fmla="*/ 2 h 959"/>
                  <a:gd name="T98" fmla="*/ 2 w 848"/>
                  <a:gd name="T99" fmla="*/ 2 h 959"/>
                  <a:gd name="T100" fmla="*/ 2 w 848"/>
                  <a:gd name="T101" fmla="*/ 2 h 959"/>
                  <a:gd name="T102" fmla="*/ 3 w 848"/>
                  <a:gd name="T103" fmla="*/ 2 h 959"/>
                  <a:gd name="T104" fmla="*/ 3 w 848"/>
                  <a:gd name="T105" fmla="*/ 2 h 959"/>
                  <a:gd name="T106" fmla="*/ 3 w 848"/>
                  <a:gd name="T107" fmla="*/ 2 h 959"/>
                  <a:gd name="T108" fmla="*/ 3 w 848"/>
                  <a:gd name="T109" fmla="*/ 0 h 95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48"/>
                  <a:gd name="T166" fmla="*/ 0 h 959"/>
                  <a:gd name="T167" fmla="*/ 848 w 848"/>
                  <a:gd name="T168" fmla="*/ 959 h 95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48" h="959">
                    <a:moveTo>
                      <a:pt x="241" y="0"/>
                    </a:moveTo>
                    <a:lnTo>
                      <a:pt x="848" y="608"/>
                    </a:lnTo>
                    <a:lnTo>
                      <a:pt x="827" y="629"/>
                    </a:lnTo>
                    <a:lnTo>
                      <a:pt x="806" y="649"/>
                    </a:lnTo>
                    <a:lnTo>
                      <a:pt x="784" y="668"/>
                    </a:lnTo>
                    <a:lnTo>
                      <a:pt x="761" y="687"/>
                    </a:lnTo>
                    <a:lnTo>
                      <a:pt x="738" y="705"/>
                    </a:lnTo>
                    <a:lnTo>
                      <a:pt x="715" y="723"/>
                    </a:lnTo>
                    <a:lnTo>
                      <a:pt x="691" y="740"/>
                    </a:lnTo>
                    <a:lnTo>
                      <a:pt x="679" y="749"/>
                    </a:lnTo>
                    <a:lnTo>
                      <a:pt x="667" y="757"/>
                    </a:lnTo>
                    <a:lnTo>
                      <a:pt x="642" y="773"/>
                    </a:lnTo>
                    <a:lnTo>
                      <a:pt x="617" y="788"/>
                    </a:lnTo>
                    <a:lnTo>
                      <a:pt x="591" y="803"/>
                    </a:lnTo>
                    <a:lnTo>
                      <a:pt x="565" y="817"/>
                    </a:lnTo>
                    <a:lnTo>
                      <a:pt x="539" y="831"/>
                    </a:lnTo>
                    <a:lnTo>
                      <a:pt x="513" y="844"/>
                    </a:lnTo>
                    <a:lnTo>
                      <a:pt x="486" y="856"/>
                    </a:lnTo>
                    <a:lnTo>
                      <a:pt x="459" y="868"/>
                    </a:lnTo>
                    <a:lnTo>
                      <a:pt x="432" y="879"/>
                    </a:lnTo>
                    <a:lnTo>
                      <a:pt x="404" y="889"/>
                    </a:lnTo>
                    <a:lnTo>
                      <a:pt x="376" y="899"/>
                    </a:lnTo>
                    <a:lnTo>
                      <a:pt x="348" y="908"/>
                    </a:lnTo>
                    <a:lnTo>
                      <a:pt x="320" y="916"/>
                    </a:lnTo>
                    <a:lnTo>
                      <a:pt x="292" y="923"/>
                    </a:lnTo>
                    <a:lnTo>
                      <a:pt x="263" y="930"/>
                    </a:lnTo>
                    <a:lnTo>
                      <a:pt x="234" y="936"/>
                    </a:lnTo>
                    <a:lnTo>
                      <a:pt x="205" y="942"/>
                    </a:lnTo>
                    <a:lnTo>
                      <a:pt x="176" y="946"/>
                    </a:lnTo>
                    <a:lnTo>
                      <a:pt x="147" y="950"/>
                    </a:lnTo>
                    <a:lnTo>
                      <a:pt x="118" y="954"/>
                    </a:lnTo>
                    <a:lnTo>
                      <a:pt x="89" y="956"/>
                    </a:lnTo>
                    <a:lnTo>
                      <a:pt x="59" y="958"/>
                    </a:lnTo>
                    <a:lnTo>
                      <a:pt x="30" y="959"/>
                    </a:lnTo>
                    <a:lnTo>
                      <a:pt x="0" y="959"/>
                    </a:lnTo>
                    <a:lnTo>
                      <a:pt x="0" y="530"/>
                    </a:lnTo>
                    <a:lnTo>
                      <a:pt x="0" y="100"/>
                    </a:lnTo>
                    <a:lnTo>
                      <a:pt x="18" y="100"/>
                    </a:lnTo>
                    <a:lnTo>
                      <a:pt x="35" y="98"/>
                    </a:lnTo>
                    <a:lnTo>
                      <a:pt x="44" y="97"/>
                    </a:lnTo>
                    <a:lnTo>
                      <a:pt x="52" y="96"/>
                    </a:lnTo>
                    <a:lnTo>
                      <a:pt x="61" y="95"/>
                    </a:lnTo>
                    <a:lnTo>
                      <a:pt x="69" y="93"/>
                    </a:lnTo>
                    <a:lnTo>
                      <a:pt x="85" y="89"/>
                    </a:lnTo>
                    <a:lnTo>
                      <a:pt x="101" y="85"/>
                    </a:lnTo>
                    <a:lnTo>
                      <a:pt x="117" y="79"/>
                    </a:lnTo>
                    <a:lnTo>
                      <a:pt x="133" y="73"/>
                    </a:lnTo>
                    <a:lnTo>
                      <a:pt x="148" y="67"/>
                    </a:lnTo>
                    <a:lnTo>
                      <a:pt x="162" y="59"/>
                    </a:lnTo>
                    <a:lnTo>
                      <a:pt x="177" y="51"/>
                    </a:lnTo>
                    <a:lnTo>
                      <a:pt x="191" y="42"/>
                    </a:lnTo>
                    <a:lnTo>
                      <a:pt x="204" y="33"/>
                    </a:lnTo>
                    <a:lnTo>
                      <a:pt x="217" y="22"/>
                    </a:lnTo>
                    <a:lnTo>
                      <a:pt x="229" y="12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6" name="Freeform 24"/>
              <p:cNvSpPr>
                <a:spLocks noChangeAspect="1"/>
              </p:cNvSpPr>
              <p:nvPr/>
            </p:nvSpPr>
            <p:spPr bwMode="auto">
              <a:xfrm>
                <a:off x="8502" y="4286"/>
                <a:ext cx="641" cy="726"/>
              </a:xfrm>
              <a:custGeom>
                <a:avLst/>
                <a:gdLst>
                  <a:gd name="T0" fmla="*/ 10 w 848"/>
                  <a:gd name="T1" fmla="*/ 2 h 959"/>
                  <a:gd name="T2" fmla="*/ 10 w 848"/>
                  <a:gd name="T3" fmla="*/ 6 h 959"/>
                  <a:gd name="T4" fmla="*/ 10 w 848"/>
                  <a:gd name="T5" fmla="*/ 11 h 959"/>
                  <a:gd name="T6" fmla="*/ 10 w 848"/>
                  <a:gd name="T7" fmla="*/ 11 h 959"/>
                  <a:gd name="T8" fmla="*/ 8 w 848"/>
                  <a:gd name="T9" fmla="*/ 11 h 959"/>
                  <a:gd name="T10" fmla="*/ 8 w 848"/>
                  <a:gd name="T11" fmla="*/ 11 h 959"/>
                  <a:gd name="T12" fmla="*/ 8 w 848"/>
                  <a:gd name="T13" fmla="*/ 11 h 959"/>
                  <a:gd name="T14" fmla="*/ 8 w 848"/>
                  <a:gd name="T15" fmla="*/ 11 h 959"/>
                  <a:gd name="T16" fmla="*/ 8 w 848"/>
                  <a:gd name="T17" fmla="*/ 11 h 959"/>
                  <a:gd name="T18" fmla="*/ 8 w 848"/>
                  <a:gd name="T19" fmla="*/ 11 h 959"/>
                  <a:gd name="T20" fmla="*/ 7 w 848"/>
                  <a:gd name="T21" fmla="*/ 11 h 959"/>
                  <a:gd name="T22" fmla="*/ 6 w 848"/>
                  <a:gd name="T23" fmla="*/ 11 h 959"/>
                  <a:gd name="T24" fmla="*/ 6 w 848"/>
                  <a:gd name="T25" fmla="*/ 11 h 959"/>
                  <a:gd name="T26" fmla="*/ 6 w 848"/>
                  <a:gd name="T27" fmla="*/ 11 h 959"/>
                  <a:gd name="T28" fmla="*/ 6 w 848"/>
                  <a:gd name="T29" fmla="*/ 11 h 959"/>
                  <a:gd name="T30" fmla="*/ 6 w 848"/>
                  <a:gd name="T31" fmla="*/ 11 h 959"/>
                  <a:gd name="T32" fmla="*/ 6 w 848"/>
                  <a:gd name="T33" fmla="*/ 11 h 959"/>
                  <a:gd name="T34" fmla="*/ 5 w 848"/>
                  <a:gd name="T35" fmla="*/ 11 h 959"/>
                  <a:gd name="T36" fmla="*/ 5 w 848"/>
                  <a:gd name="T37" fmla="*/ 11 h 959"/>
                  <a:gd name="T38" fmla="*/ 5 w 848"/>
                  <a:gd name="T39" fmla="*/ 10 h 959"/>
                  <a:gd name="T40" fmla="*/ 5 w 848"/>
                  <a:gd name="T41" fmla="*/ 10 h 959"/>
                  <a:gd name="T42" fmla="*/ 4 w 848"/>
                  <a:gd name="T43" fmla="*/ 10 h 959"/>
                  <a:gd name="T44" fmla="*/ 4 w 848"/>
                  <a:gd name="T45" fmla="*/ 10 h 959"/>
                  <a:gd name="T46" fmla="*/ 4 w 848"/>
                  <a:gd name="T47" fmla="*/ 10 h 959"/>
                  <a:gd name="T48" fmla="*/ 3 w 848"/>
                  <a:gd name="T49" fmla="*/ 9 h 959"/>
                  <a:gd name="T50" fmla="*/ 3 w 848"/>
                  <a:gd name="T51" fmla="*/ 8 h 959"/>
                  <a:gd name="T52" fmla="*/ 3 w 848"/>
                  <a:gd name="T53" fmla="*/ 8 h 959"/>
                  <a:gd name="T54" fmla="*/ 2 w 848"/>
                  <a:gd name="T55" fmla="*/ 8 h 959"/>
                  <a:gd name="T56" fmla="*/ 2 w 848"/>
                  <a:gd name="T57" fmla="*/ 8 h 959"/>
                  <a:gd name="T58" fmla="*/ 2 w 848"/>
                  <a:gd name="T59" fmla="*/ 8 h 959"/>
                  <a:gd name="T60" fmla="*/ 2 w 848"/>
                  <a:gd name="T61" fmla="*/ 8 h 959"/>
                  <a:gd name="T62" fmla="*/ 2 w 848"/>
                  <a:gd name="T63" fmla="*/ 8 h 959"/>
                  <a:gd name="T64" fmla="*/ 2 w 848"/>
                  <a:gd name="T65" fmla="*/ 8 h 959"/>
                  <a:gd name="T66" fmla="*/ 2 w 848"/>
                  <a:gd name="T67" fmla="*/ 8 h 959"/>
                  <a:gd name="T68" fmla="*/ 2 w 848"/>
                  <a:gd name="T69" fmla="*/ 8 h 959"/>
                  <a:gd name="T70" fmla="*/ 2 w 848"/>
                  <a:gd name="T71" fmla="*/ 8 h 959"/>
                  <a:gd name="T72" fmla="*/ 2 w 848"/>
                  <a:gd name="T73" fmla="*/ 8 h 959"/>
                  <a:gd name="T74" fmla="*/ 0 w 848"/>
                  <a:gd name="T75" fmla="*/ 7 h 959"/>
                  <a:gd name="T76" fmla="*/ 6 w 848"/>
                  <a:gd name="T77" fmla="*/ 0 h 959"/>
                  <a:gd name="T78" fmla="*/ 8 w 848"/>
                  <a:gd name="T79" fmla="*/ 2 h 959"/>
                  <a:gd name="T80" fmla="*/ 8 w 848"/>
                  <a:gd name="T81" fmla="*/ 2 h 959"/>
                  <a:gd name="T82" fmla="*/ 8 w 848"/>
                  <a:gd name="T83" fmla="*/ 2 h 959"/>
                  <a:gd name="T84" fmla="*/ 8 w 848"/>
                  <a:gd name="T85" fmla="*/ 2 h 959"/>
                  <a:gd name="T86" fmla="*/ 8 w 848"/>
                  <a:gd name="T87" fmla="*/ 2 h 959"/>
                  <a:gd name="T88" fmla="*/ 8 w 848"/>
                  <a:gd name="T89" fmla="*/ 2 h 959"/>
                  <a:gd name="T90" fmla="*/ 8 w 848"/>
                  <a:gd name="T91" fmla="*/ 2 h 959"/>
                  <a:gd name="T92" fmla="*/ 8 w 848"/>
                  <a:gd name="T93" fmla="*/ 2 h 959"/>
                  <a:gd name="T94" fmla="*/ 8 w 848"/>
                  <a:gd name="T95" fmla="*/ 2 h 959"/>
                  <a:gd name="T96" fmla="*/ 8 w 848"/>
                  <a:gd name="T97" fmla="*/ 2 h 959"/>
                  <a:gd name="T98" fmla="*/ 8 w 848"/>
                  <a:gd name="T99" fmla="*/ 2 h 959"/>
                  <a:gd name="T100" fmla="*/ 8 w 848"/>
                  <a:gd name="T101" fmla="*/ 2 h 959"/>
                  <a:gd name="T102" fmla="*/ 8 w 848"/>
                  <a:gd name="T103" fmla="*/ 2 h 959"/>
                  <a:gd name="T104" fmla="*/ 8 w 848"/>
                  <a:gd name="T105" fmla="*/ 2 h 959"/>
                  <a:gd name="T106" fmla="*/ 8 w 848"/>
                  <a:gd name="T107" fmla="*/ 2 h 959"/>
                  <a:gd name="T108" fmla="*/ 8 w 848"/>
                  <a:gd name="T109" fmla="*/ 2 h 959"/>
                  <a:gd name="T110" fmla="*/ 9 w 848"/>
                  <a:gd name="T111" fmla="*/ 2 h 959"/>
                  <a:gd name="T112" fmla="*/ 10 w 848"/>
                  <a:gd name="T113" fmla="*/ 2 h 959"/>
                  <a:gd name="T114" fmla="*/ 10 w 848"/>
                  <a:gd name="T115" fmla="*/ 2 h 95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48"/>
                  <a:gd name="T175" fmla="*/ 0 h 959"/>
                  <a:gd name="T176" fmla="*/ 848 w 848"/>
                  <a:gd name="T177" fmla="*/ 959 h 95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48" h="959">
                    <a:moveTo>
                      <a:pt x="848" y="100"/>
                    </a:moveTo>
                    <a:lnTo>
                      <a:pt x="848" y="530"/>
                    </a:lnTo>
                    <a:lnTo>
                      <a:pt x="848" y="959"/>
                    </a:lnTo>
                    <a:lnTo>
                      <a:pt x="819" y="959"/>
                    </a:lnTo>
                    <a:lnTo>
                      <a:pt x="790" y="958"/>
                    </a:lnTo>
                    <a:lnTo>
                      <a:pt x="760" y="956"/>
                    </a:lnTo>
                    <a:lnTo>
                      <a:pt x="731" y="953"/>
                    </a:lnTo>
                    <a:lnTo>
                      <a:pt x="702" y="950"/>
                    </a:lnTo>
                    <a:lnTo>
                      <a:pt x="673" y="946"/>
                    </a:lnTo>
                    <a:lnTo>
                      <a:pt x="644" y="941"/>
                    </a:lnTo>
                    <a:lnTo>
                      <a:pt x="615" y="936"/>
                    </a:lnTo>
                    <a:lnTo>
                      <a:pt x="586" y="930"/>
                    </a:lnTo>
                    <a:lnTo>
                      <a:pt x="557" y="923"/>
                    </a:lnTo>
                    <a:lnTo>
                      <a:pt x="529" y="915"/>
                    </a:lnTo>
                    <a:lnTo>
                      <a:pt x="501" y="907"/>
                    </a:lnTo>
                    <a:lnTo>
                      <a:pt x="487" y="903"/>
                    </a:lnTo>
                    <a:lnTo>
                      <a:pt x="473" y="898"/>
                    </a:lnTo>
                    <a:lnTo>
                      <a:pt x="445" y="889"/>
                    </a:lnTo>
                    <a:lnTo>
                      <a:pt x="417" y="879"/>
                    </a:lnTo>
                    <a:lnTo>
                      <a:pt x="390" y="868"/>
                    </a:lnTo>
                    <a:lnTo>
                      <a:pt x="363" y="856"/>
                    </a:lnTo>
                    <a:lnTo>
                      <a:pt x="336" y="844"/>
                    </a:lnTo>
                    <a:lnTo>
                      <a:pt x="310" y="831"/>
                    </a:lnTo>
                    <a:lnTo>
                      <a:pt x="284" y="818"/>
                    </a:lnTo>
                    <a:lnTo>
                      <a:pt x="258" y="804"/>
                    </a:lnTo>
                    <a:lnTo>
                      <a:pt x="231" y="789"/>
                    </a:lnTo>
                    <a:lnTo>
                      <a:pt x="206" y="773"/>
                    </a:lnTo>
                    <a:lnTo>
                      <a:pt x="182" y="757"/>
                    </a:lnTo>
                    <a:lnTo>
                      <a:pt x="157" y="741"/>
                    </a:lnTo>
                    <a:lnTo>
                      <a:pt x="145" y="732"/>
                    </a:lnTo>
                    <a:lnTo>
                      <a:pt x="133" y="724"/>
                    </a:lnTo>
                    <a:lnTo>
                      <a:pt x="110" y="706"/>
                    </a:lnTo>
                    <a:lnTo>
                      <a:pt x="87" y="687"/>
                    </a:lnTo>
                    <a:lnTo>
                      <a:pt x="65" y="668"/>
                    </a:lnTo>
                    <a:lnTo>
                      <a:pt x="43" y="649"/>
                    </a:lnTo>
                    <a:lnTo>
                      <a:pt x="32" y="639"/>
                    </a:lnTo>
                    <a:lnTo>
                      <a:pt x="21" y="629"/>
                    </a:lnTo>
                    <a:lnTo>
                      <a:pt x="0" y="608"/>
                    </a:lnTo>
                    <a:lnTo>
                      <a:pt x="608" y="0"/>
                    </a:lnTo>
                    <a:lnTo>
                      <a:pt x="620" y="12"/>
                    </a:lnTo>
                    <a:lnTo>
                      <a:pt x="632" y="22"/>
                    </a:lnTo>
                    <a:lnTo>
                      <a:pt x="645" y="33"/>
                    </a:lnTo>
                    <a:lnTo>
                      <a:pt x="658" y="42"/>
                    </a:lnTo>
                    <a:lnTo>
                      <a:pt x="672" y="51"/>
                    </a:lnTo>
                    <a:lnTo>
                      <a:pt x="686" y="59"/>
                    </a:lnTo>
                    <a:lnTo>
                      <a:pt x="701" y="67"/>
                    </a:lnTo>
                    <a:lnTo>
                      <a:pt x="716" y="73"/>
                    </a:lnTo>
                    <a:lnTo>
                      <a:pt x="724" y="76"/>
                    </a:lnTo>
                    <a:lnTo>
                      <a:pt x="731" y="79"/>
                    </a:lnTo>
                    <a:lnTo>
                      <a:pt x="747" y="85"/>
                    </a:lnTo>
                    <a:lnTo>
                      <a:pt x="755" y="87"/>
                    </a:lnTo>
                    <a:lnTo>
                      <a:pt x="763" y="89"/>
                    </a:lnTo>
                    <a:lnTo>
                      <a:pt x="780" y="93"/>
                    </a:lnTo>
                    <a:lnTo>
                      <a:pt x="788" y="95"/>
                    </a:lnTo>
                    <a:lnTo>
                      <a:pt x="797" y="96"/>
                    </a:lnTo>
                    <a:lnTo>
                      <a:pt x="814" y="98"/>
                    </a:lnTo>
                    <a:lnTo>
                      <a:pt x="831" y="100"/>
                    </a:lnTo>
                    <a:lnTo>
                      <a:pt x="848" y="100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7" name="Freeform 25"/>
              <p:cNvSpPr>
                <a:spLocks noChangeAspect="1"/>
              </p:cNvSpPr>
              <p:nvPr/>
            </p:nvSpPr>
            <p:spPr bwMode="auto">
              <a:xfrm>
                <a:off x="8236" y="4105"/>
                <a:ext cx="726" cy="641"/>
              </a:xfrm>
              <a:custGeom>
                <a:avLst/>
                <a:gdLst>
                  <a:gd name="T0" fmla="*/ 11 w 959"/>
                  <a:gd name="T1" fmla="*/ 3 h 848"/>
                  <a:gd name="T2" fmla="*/ 5 w 959"/>
                  <a:gd name="T3" fmla="*/ 10 h 848"/>
                  <a:gd name="T4" fmla="*/ 4 w 959"/>
                  <a:gd name="T5" fmla="*/ 10 h 848"/>
                  <a:gd name="T6" fmla="*/ 4 w 959"/>
                  <a:gd name="T7" fmla="*/ 8 h 848"/>
                  <a:gd name="T8" fmla="*/ 4 w 959"/>
                  <a:gd name="T9" fmla="*/ 8 h 848"/>
                  <a:gd name="T10" fmla="*/ 4 w 959"/>
                  <a:gd name="T11" fmla="*/ 8 h 848"/>
                  <a:gd name="T12" fmla="*/ 3 w 959"/>
                  <a:gd name="T13" fmla="*/ 8 h 848"/>
                  <a:gd name="T14" fmla="*/ 3 w 959"/>
                  <a:gd name="T15" fmla="*/ 8 h 848"/>
                  <a:gd name="T16" fmla="*/ 3 w 959"/>
                  <a:gd name="T17" fmla="*/ 8 h 848"/>
                  <a:gd name="T18" fmla="*/ 3 w 959"/>
                  <a:gd name="T19" fmla="*/ 8 h 848"/>
                  <a:gd name="T20" fmla="*/ 3 w 959"/>
                  <a:gd name="T21" fmla="*/ 8 h 848"/>
                  <a:gd name="T22" fmla="*/ 2 w 959"/>
                  <a:gd name="T23" fmla="*/ 8 h 848"/>
                  <a:gd name="T24" fmla="*/ 2 w 959"/>
                  <a:gd name="T25" fmla="*/ 8 h 848"/>
                  <a:gd name="T26" fmla="*/ 2 w 959"/>
                  <a:gd name="T27" fmla="*/ 6 h 848"/>
                  <a:gd name="T28" fmla="*/ 2 w 959"/>
                  <a:gd name="T29" fmla="*/ 6 h 848"/>
                  <a:gd name="T30" fmla="*/ 2 w 959"/>
                  <a:gd name="T31" fmla="*/ 6 h 848"/>
                  <a:gd name="T32" fmla="*/ 2 w 959"/>
                  <a:gd name="T33" fmla="*/ 6 h 848"/>
                  <a:gd name="T34" fmla="*/ 2 w 959"/>
                  <a:gd name="T35" fmla="*/ 6 h 848"/>
                  <a:gd name="T36" fmla="*/ 2 w 959"/>
                  <a:gd name="T37" fmla="*/ 5 h 848"/>
                  <a:gd name="T38" fmla="*/ 2 w 959"/>
                  <a:gd name="T39" fmla="*/ 5 h 848"/>
                  <a:gd name="T40" fmla="*/ 2 w 959"/>
                  <a:gd name="T41" fmla="*/ 5 h 848"/>
                  <a:gd name="T42" fmla="*/ 2 w 959"/>
                  <a:gd name="T43" fmla="*/ 5 h 848"/>
                  <a:gd name="T44" fmla="*/ 2 w 959"/>
                  <a:gd name="T45" fmla="*/ 4 h 848"/>
                  <a:gd name="T46" fmla="*/ 2 w 959"/>
                  <a:gd name="T47" fmla="*/ 4 h 848"/>
                  <a:gd name="T48" fmla="*/ 2 w 959"/>
                  <a:gd name="T49" fmla="*/ 4 h 848"/>
                  <a:gd name="T50" fmla="*/ 2 w 959"/>
                  <a:gd name="T51" fmla="*/ 3 h 848"/>
                  <a:gd name="T52" fmla="*/ 2 w 959"/>
                  <a:gd name="T53" fmla="*/ 3 h 848"/>
                  <a:gd name="T54" fmla="*/ 2 w 959"/>
                  <a:gd name="T55" fmla="*/ 3 h 848"/>
                  <a:gd name="T56" fmla="*/ 2 w 959"/>
                  <a:gd name="T57" fmla="*/ 2 h 848"/>
                  <a:gd name="T58" fmla="*/ 2 w 959"/>
                  <a:gd name="T59" fmla="*/ 2 h 848"/>
                  <a:gd name="T60" fmla="*/ 2 w 959"/>
                  <a:gd name="T61" fmla="*/ 2 h 848"/>
                  <a:gd name="T62" fmla="*/ 2 w 959"/>
                  <a:gd name="T63" fmla="*/ 2 h 848"/>
                  <a:gd name="T64" fmla="*/ 1 w 959"/>
                  <a:gd name="T65" fmla="*/ 2 h 848"/>
                  <a:gd name="T66" fmla="*/ 0 w 959"/>
                  <a:gd name="T67" fmla="*/ 2 h 848"/>
                  <a:gd name="T68" fmla="*/ 0 w 959"/>
                  <a:gd name="T69" fmla="*/ 0 h 848"/>
                  <a:gd name="T70" fmla="*/ 5 w 959"/>
                  <a:gd name="T71" fmla="*/ 0 h 848"/>
                  <a:gd name="T72" fmla="*/ 10 w 959"/>
                  <a:gd name="T73" fmla="*/ 0 h 848"/>
                  <a:gd name="T74" fmla="*/ 10 w 959"/>
                  <a:gd name="T75" fmla="*/ 2 h 848"/>
                  <a:gd name="T76" fmla="*/ 10 w 959"/>
                  <a:gd name="T77" fmla="*/ 2 h 848"/>
                  <a:gd name="T78" fmla="*/ 10 w 959"/>
                  <a:gd name="T79" fmla="*/ 2 h 848"/>
                  <a:gd name="T80" fmla="*/ 10 w 959"/>
                  <a:gd name="T81" fmla="*/ 2 h 848"/>
                  <a:gd name="T82" fmla="*/ 10 w 959"/>
                  <a:gd name="T83" fmla="*/ 2 h 848"/>
                  <a:gd name="T84" fmla="*/ 10 w 959"/>
                  <a:gd name="T85" fmla="*/ 2 h 848"/>
                  <a:gd name="T86" fmla="*/ 10 w 959"/>
                  <a:gd name="T87" fmla="*/ 2 h 848"/>
                  <a:gd name="T88" fmla="*/ 10 w 959"/>
                  <a:gd name="T89" fmla="*/ 2 h 848"/>
                  <a:gd name="T90" fmla="*/ 11 w 959"/>
                  <a:gd name="T91" fmla="*/ 2 h 848"/>
                  <a:gd name="T92" fmla="*/ 11 w 959"/>
                  <a:gd name="T93" fmla="*/ 2 h 848"/>
                  <a:gd name="T94" fmla="*/ 11 w 959"/>
                  <a:gd name="T95" fmla="*/ 2 h 848"/>
                  <a:gd name="T96" fmla="*/ 11 w 959"/>
                  <a:gd name="T97" fmla="*/ 2 h 848"/>
                  <a:gd name="T98" fmla="*/ 11 w 959"/>
                  <a:gd name="T99" fmla="*/ 2 h 848"/>
                  <a:gd name="T100" fmla="*/ 11 w 959"/>
                  <a:gd name="T101" fmla="*/ 2 h 848"/>
                  <a:gd name="T102" fmla="*/ 11 w 959"/>
                  <a:gd name="T103" fmla="*/ 3 h 848"/>
                  <a:gd name="T104" fmla="*/ 11 w 959"/>
                  <a:gd name="T105" fmla="*/ 3 h 848"/>
                  <a:gd name="T106" fmla="*/ 11 w 959"/>
                  <a:gd name="T107" fmla="*/ 3 h 848"/>
                  <a:gd name="T108" fmla="*/ 11 w 959"/>
                  <a:gd name="T109" fmla="*/ 3 h 84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59"/>
                  <a:gd name="T166" fmla="*/ 0 h 848"/>
                  <a:gd name="T167" fmla="*/ 959 w 959"/>
                  <a:gd name="T168" fmla="*/ 848 h 84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59" h="848">
                    <a:moveTo>
                      <a:pt x="959" y="240"/>
                    </a:moveTo>
                    <a:lnTo>
                      <a:pt x="351" y="848"/>
                    </a:lnTo>
                    <a:lnTo>
                      <a:pt x="331" y="827"/>
                    </a:lnTo>
                    <a:lnTo>
                      <a:pt x="311" y="806"/>
                    </a:lnTo>
                    <a:lnTo>
                      <a:pt x="291" y="783"/>
                    </a:lnTo>
                    <a:lnTo>
                      <a:pt x="272" y="761"/>
                    </a:lnTo>
                    <a:lnTo>
                      <a:pt x="254" y="738"/>
                    </a:lnTo>
                    <a:lnTo>
                      <a:pt x="236" y="715"/>
                    </a:lnTo>
                    <a:lnTo>
                      <a:pt x="219" y="691"/>
                    </a:lnTo>
                    <a:lnTo>
                      <a:pt x="210" y="679"/>
                    </a:lnTo>
                    <a:lnTo>
                      <a:pt x="202" y="667"/>
                    </a:lnTo>
                    <a:lnTo>
                      <a:pt x="186" y="642"/>
                    </a:lnTo>
                    <a:lnTo>
                      <a:pt x="171" y="617"/>
                    </a:lnTo>
                    <a:lnTo>
                      <a:pt x="156" y="590"/>
                    </a:lnTo>
                    <a:lnTo>
                      <a:pt x="142" y="565"/>
                    </a:lnTo>
                    <a:lnTo>
                      <a:pt x="128" y="539"/>
                    </a:lnTo>
                    <a:lnTo>
                      <a:pt x="115" y="512"/>
                    </a:lnTo>
                    <a:lnTo>
                      <a:pt x="103" y="485"/>
                    </a:lnTo>
                    <a:lnTo>
                      <a:pt x="91" y="458"/>
                    </a:lnTo>
                    <a:lnTo>
                      <a:pt x="81" y="431"/>
                    </a:lnTo>
                    <a:lnTo>
                      <a:pt x="70" y="404"/>
                    </a:lnTo>
                    <a:lnTo>
                      <a:pt x="61" y="376"/>
                    </a:lnTo>
                    <a:lnTo>
                      <a:pt x="52" y="348"/>
                    </a:lnTo>
                    <a:lnTo>
                      <a:pt x="43" y="320"/>
                    </a:lnTo>
                    <a:lnTo>
                      <a:pt x="36" y="291"/>
                    </a:lnTo>
                    <a:lnTo>
                      <a:pt x="29" y="263"/>
                    </a:lnTo>
                    <a:lnTo>
                      <a:pt x="23" y="234"/>
                    </a:lnTo>
                    <a:lnTo>
                      <a:pt x="17" y="205"/>
                    </a:lnTo>
                    <a:lnTo>
                      <a:pt x="13" y="176"/>
                    </a:lnTo>
                    <a:lnTo>
                      <a:pt x="9" y="147"/>
                    </a:lnTo>
                    <a:lnTo>
                      <a:pt x="6" y="118"/>
                    </a:lnTo>
                    <a:lnTo>
                      <a:pt x="3" y="88"/>
                    </a:lnTo>
                    <a:lnTo>
                      <a:pt x="1" y="5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429" y="0"/>
                    </a:lnTo>
                    <a:lnTo>
                      <a:pt x="859" y="0"/>
                    </a:lnTo>
                    <a:lnTo>
                      <a:pt x="860" y="17"/>
                    </a:lnTo>
                    <a:lnTo>
                      <a:pt x="861" y="35"/>
                    </a:lnTo>
                    <a:lnTo>
                      <a:pt x="862" y="43"/>
                    </a:lnTo>
                    <a:lnTo>
                      <a:pt x="863" y="52"/>
                    </a:lnTo>
                    <a:lnTo>
                      <a:pt x="864" y="60"/>
                    </a:lnTo>
                    <a:lnTo>
                      <a:pt x="866" y="68"/>
                    </a:lnTo>
                    <a:lnTo>
                      <a:pt x="870" y="85"/>
                    </a:lnTo>
                    <a:lnTo>
                      <a:pt x="874" y="101"/>
                    </a:lnTo>
                    <a:lnTo>
                      <a:pt x="880" y="117"/>
                    </a:lnTo>
                    <a:lnTo>
                      <a:pt x="886" y="132"/>
                    </a:lnTo>
                    <a:lnTo>
                      <a:pt x="893" y="147"/>
                    </a:lnTo>
                    <a:lnTo>
                      <a:pt x="900" y="162"/>
                    </a:lnTo>
                    <a:lnTo>
                      <a:pt x="908" y="176"/>
                    </a:lnTo>
                    <a:lnTo>
                      <a:pt x="917" y="190"/>
                    </a:lnTo>
                    <a:lnTo>
                      <a:pt x="927" y="203"/>
                    </a:lnTo>
                    <a:lnTo>
                      <a:pt x="937" y="216"/>
                    </a:lnTo>
                    <a:lnTo>
                      <a:pt x="948" y="229"/>
                    </a:lnTo>
                    <a:lnTo>
                      <a:pt x="959" y="240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8" name="Freeform 26"/>
              <p:cNvSpPr>
                <a:spLocks noChangeAspect="1"/>
              </p:cNvSpPr>
              <p:nvPr/>
            </p:nvSpPr>
            <p:spPr bwMode="auto">
              <a:xfrm>
                <a:off x="8236" y="3464"/>
                <a:ext cx="726" cy="641"/>
              </a:xfrm>
              <a:custGeom>
                <a:avLst/>
                <a:gdLst>
                  <a:gd name="T0" fmla="*/ 10 w 959"/>
                  <a:gd name="T1" fmla="*/ 10 h 848"/>
                  <a:gd name="T2" fmla="*/ 5 w 959"/>
                  <a:gd name="T3" fmla="*/ 10 h 848"/>
                  <a:gd name="T4" fmla="*/ 0 w 959"/>
                  <a:gd name="T5" fmla="*/ 10 h 848"/>
                  <a:gd name="T6" fmla="*/ 1 w 959"/>
                  <a:gd name="T7" fmla="*/ 10 h 848"/>
                  <a:gd name="T8" fmla="*/ 2 w 959"/>
                  <a:gd name="T9" fmla="*/ 8 h 848"/>
                  <a:gd name="T10" fmla="*/ 2 w 959"/>
                  <a:gd name="T11" fmla="*/ 8 h 848"/>
                  <a:gd name="T12" fmla="*/ 2 w 959"/>
                  <a:gd name="T13" fmla="*/ 8 h 848"/>
                  <a:gd name="T14" fmla="*/ 2 w 959"/>
                  <a:gd name="T15" fmla="*/ 8 h 848"/>
                  <a:gd name="T16" fmla="*/ 2 w 959"/>
                  <a:gd name="T17" fmla="*/ 8 h 848"/>
                  <a:gd name="T18" fmla="*/ 2 w 959"/>
                  <a:gd name="T19" fmla="*/ 8 h 848"/>
                  <a:gd name="T20" fmla="*/ 2 w 959"/>
                  <a:gd name="T21" fmla="*/ 7 h 848"/>
                  <a:gd name="T22" fmla="*/ 2 w 959"/>
                  <a:gd name="T23" fmla="*/ 6 h 848"/>
                  <a:gd name="T24" fmla="*/ 2 w 959"/>
                  <a:gd name="T25" fmla="*/ 6 h 848"/>
                  <a:gd name="T26" fmla="*/ 2 w 959"/>
                  <a:gd name="T27" fmla="*/ 6 h 848"/>
                  <a:gd name="T28" fmla="*/ 2 w 959"/>
                  <a:gd name="T29" fmla="*/ 6 h 848"/>
                  <a:gd name="T30" fmla="*/ 2 w 959"/>
                  <a:gd name="T31" fmla="*/ 6 h 848"/>
                  <a:gd name="T32" fmla="*/ 2 w 959"/>
                  <a:gd name="T33" fmla="*/ 6 h 848"/>
                  <a:gd name="T34" fmla="*/ 2 w 959"/>
                  <a:gd name="T35" fmla="*/ 5 h 848"/>
                  <a:gd name="T36" fmla="*/ 2 w 959"/>
                  <a:gd name="T37" fmla="*/ 5 h 848"/>
                  <a:gd name="T38" fmla="*/ 2 w 959"/>
                  <a:gd name="T39" fmla="*/ 5 h 848"/>
                  <a:gd name="T40" fmla="*/ 2 w 959"/>
                  <a:gd name="T41" fmla="*/ 5 h 848"/>
                  <a:gd name="T42" fmla="*/ 2 w 959"/>
                  <a:gd name="T43" fmla="*/ 4 h 848"/>
                  <a:gd name="T44" fmla="*/ 2 w 959"/>
                  <a:gd name="T45" fmla="*/ 4 h 848"/>
                  <a:gd name="T46" fmla="*/ 2 w 959"/>
                  <a:gd name="T47" fmla="*/ 4 h 848"/>
                  <a:gd name="T48" fmla="*/ 2 w 959"/>
                  <a:gd name="T49" fmla="*/ 3 h 848"/>
                  <a:gd name="T50" fmla="*/ 2 w 959"/>
                  <a:gd name="T51" fmla="*/ 3 h 848"/>
                  <a:gd name="T52" fmla="*/ 2 w 959"/>
                  <a:gd name="T53" fmla="*/ 3 h 848"/>
                  <a:gd name="T54" fmla="*/ 3 w 959"/>
                  <a:gd name="T55" fmla="*/ 2 h 848"/>
                  <a:gd name="T56" fmla="*/ 3 w 959"/>
                  <a:gd name="T57" fmla="*/ 2 h 848"/>
                  <a:gd name="T58" fmla="*/ 3 w 959"/>
                  <a:gd name="T59" fmla="*/ 2 h 848"/>
                  <a:gd name="T60" fmla="*/ 3 w 959"/>
                  <a:gd name="T61" fmla="*/ 2 h 848"/>
                  <a:gd name="T62" fmla="*/ 3 w 959"/>
                  <a:gd name="T63" fmla="*/ 2 h 848"/>
                  <a:gd name="T64" fmla="*/ 4 w 959"/>
                  <a:gd name="T65" fmla="*/ 2 h 848"/>
                  <a:gd name="T66" fmla="*/ 4 w 959"/>
                  <a:gd name="T67" fmla="*/ 2 h 848"/>
                  <a:gd name="T68" fmla="*/ 4 w 959"/>
                  <a:gd name="T69" fmla="*/ 2 h 848"/>
                  <a:gd name="T70" fmla="*/ 4 w 959"/>
                  <a:gd name="T71" fmla="*/ 2 h 848"/>
                  <a:gd name="T72" fmla="*/ 4 w 959"/>
                  <a:gd name="T73" fmla="*/ 2 h 848"/>
                  <a:gd name="T74" fmla="*/ 5 w 959"/>
                  <a:gd name="T75" fmla="*/ 0 h 848"/>
                  <a:gd name="T76" fmla="*/ 11 w 959"/>
                  <a:gd name="T77" fmla="*/ 6 h 848"/>
                  <a:gd name="T78" fmla="*/ 11 w 959"/>
                  <a:gd name="T79" fmla="*/ 8 h 848"/>
                  <a:gd name="T80" fmla="*/ 11 w 959"/>
                  <a:gd name="T81" fmla="*/ 8 h 848"/>
                  <a:gd name="T82" fmla="*/ 11 w 959"/>
                  <a:gd name="T83" fmla="*/ 8 h 848"/>
                  <a:gd name="T84" fmla="*/ 11 w 959"/>
                  <a:gd name="T85" fmla="*/ 8 h 848"/>
                  <a:gd name="T86" fmla="*/ 11 w 959"/>
                  <a:gd name="T87" fmla="*/ 8 h 848"/>
                  <a:gd name="T88" fmla="*/ 11 w 959"/>
                  <a:gd name="T89" fmla="*/ 8 h 848"/>
                  <a:gd name="T90" fmla="*/ 11 w 959"/>
                  <a:gd name="T91" fmla="*/ 8 h 848"/>
                  <a:gd name="T92" fmla="*/ 11 w 959"/>
                  <a:gd name="T93" fmla="*/ 8 h 848"/>
                  <a:gd name="T94" fmla="*/ 11 w 959"/>
                  <a:gd name="T95" fmla="*/ 8 h 848"/>
                  <a:gd name="T96" fmla="*/ 11 w 959"/>
                  <a:gd name="T97" fmla="*/ 8 h 848"/>
                  <a:gd name="T98" fmla="*/ 10 w 959"/>
                  <a:gd name="T99" fmla="*/ 8 h 848"/>
                  <a:gd name="T100" fmla="*/ 10 w 959"/>
                  <a:gd name="T101" fmla="*/ 8 h 848"/>
                  <a:gd name="T102" fmla="*/ 10 w 959"/>
                  <a:gd name="T103" fmla="*/ 8 h 848"/>
                  <a:gd name="T104" fmla="*/ 10 w 959"/>
                  <a:gd name="T105" fmla="*/ 8 h 848"/>
                  <a:gd name="T106" fmla="*/ 10 w 959"/>
                  <a:gd name="T107" fmla="*/ 8 h 848"/>
                  <a:gd name="T108" fmla="*/ 10 w 959"/>
                  <a:gd name="T109" fmla="*/ 8 h 848"/>
                  <a:gd name="T110" fmla="*/ 10 w 959"/>
                  <a:gd name="T111" fmla="*/ 9 h 848"/>
                  <a:gd name="T112" fmla="*/ 10 w 959"/>
                  <a:gd name="T113" fmla="*/ 10 h 848"/>
                  <a:gd name="T114" fmla="*/ 10 w 959"/>
                  <a:gd name="T115" fmla="*/ 10 h 84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59"/>
                  <a:gd name="T175" fmla="*/ 0 h 848"/>
                  <a:gd name="T176" fmla="*/ 959 w 959"/>
                  <a:gd name="T177" fmla="*/ 848 h 84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59" h="848">
                    <a:moveTo>
                      <a:pt x="859" y="848"/>
                    </a:moveTo>
                    <a:lnTo>
                      <a:pt x="429" y="848"/>
                    </a:lnTo>
                    <a:lnTo>
                      <a:pt x="0" y="848"/>
                    </a:lnTo>
                    <a:lnTo>
                      <a:pt x="1" y="819"/>
                    </a:lnTo>
                    <a:lnTo>
                      <a:pt x="2" y="789"/>
                    </a:lnTo>
                    <a:lnTo>
                      <a:pt x="3" y="760"/>
                    </a:lnTo>
                    <a:lnTo>
                      <a:pt x="6" y="730"/>
                    </a:lnTo>
                    <a:lnTo>
                      <a:pt x="9" y="701"/>
                    </a:lnTo>
                    <a:lnTo>
                      <a:pt x="13" y="672"/>
                    </a:lnTo>
                    <a:lnTo>
                      <a:pt x="18" y="643"/>
                    </a:lnTo>
                    <a:lnTo>
                      <a:pt x="23" y="614"/>
                    </a:lnTo>
                    <a:lnTo>
                      <a:pt x="29" y="585"/>
                    </a:lnTo>
                    <a:lnTo>
                      <a:pt x="36" y="557"/>
                    </a:lnTo>
                    <a:lnTo>
                      <a:pt x="44" y="528"/>
                    </a:lnTo>
                    <a:lnTo>
                      <a:pt x="52" y="500"/>
                    </a:lnTo>
                    <a:lnTo>
                      <a:pt x="56" y="486"/>
                    </a:lnTo>
                    <a:lnTo>
                      <a:pt x="61" y="472"/>
                    </a:lnTo>
                    <a:lnTo>
                      <a:pt x="70" y="444"/>
                    </a:lnTo>
                    <a:lnTo>
                      <a:pt x="81" y="417"/>
                    </a:lnTo>
                    <a:lnTo>
                      <a:pt x="91" y="389"/>
                    </a:lnTo>
                    <a:lnTo>
                      <a:pt x="103" y="362"/>
                    </a:lnTo>
                    <a:lnTo>
                      <a:pt x="115" y="336"/>
                    </a:lnTo>
                    <a:lnTo>
                      <a:pt x="128" y="309"/>
                    </a:lnTo>
                    <a:lnTo>
                      <a:pt x="142" y="283"/>
                    </a:lnTo>
                    <a:lnTo>
                      <a:pt x="156" y="257"/>
                    </a:lnTo>
                    <a:lnTo>
                      <a:pt x="170" y="231"/>
                    </a:lnTo>
                    <a:lnTo>
                      <a:pt x="186" y="206"/>
                    </a:lnTo>
                    <a:lnTo>
                      <a:pt x="202" y="181"/>
                    </a:lnTo>
                    <a:lnTo>
                      <a:pt x="218" y="157"/>
                    </a:lnTo>
                    <a:lnTo>
                      <a:pt x="227" y="145"/>
                    </a:lnTo>
                    <a:lnTo>
                      <a:pt x="236" y="133"/>
                    </a:lnTo>
                    <a:lnTo>
                      <a:pt x="253" y="110"/>
                    </a:lnTo>
                    <a:lnTo>
                      <a:pt x="272" y="87"/>
                    </a:lnTo>
                    <a:lnTo>
                      <a:pt x="291" y="64"/>
                    </a:lnTo>
                    <a:lnTo>
                      <a:pt x="310" y="42"/>
                    </a:lnTo>
                    <a:lnTo>
                      <a:pt x="320" y="31"/>
                    </a:lnTo>
                    <a:lnTo>
                      <a:pt x="330" y="21"/>
                    </a:lnTo>
                    <a:lnTo>
                      <a:pt x="351" y="0"/>
                    </a:lnTo>
                    <a:lnTo>
                      <a:pt x="959" y="607"/>
                    </a:lnTo>
                    <a:lnTo>
                      <a:pt x="948" y="619"/>
                    </a:lnTo>
                    <a:lnTo>
                      <a:pt x="937" y="632"/>
                    </a:lnTo>
                    <a:lnTo>
                      <a:pt x="927" y="644"/>
                    </a:lnTo>
                    <a:lnTo>
                      <a:pt x="917" y="658"/>
                    </a:lnTo>
                    <a:lnTo>
                      <a:pt x="908" y="672"/>
                    </a:lnTo>
                    <a:lnTo>
                      <a:pt x="900" y="686"/>
                    </a:lnTo>
                    <a:lnTo>
                      <a:pt x="893" y="700"/>
                    </a:lnTo>
                    <a:lnTo>
                      <a:pt x="886" y="716"/>
                    </a:lnTo>
                    <a:lnTo>
                      <a:pt x="883" y="723"/>
                    </a:lnTo>
                    <a:lnTo>
                      <a:pt x="880" y="731"/>
                    </a:lnTo>
                    <a:lnTo>
                      <a:pt x="874" y="747"/>
                    </a:lnTo>
                    <a:lnTo>
                      <a:pt x="872" y="755"/>
                    </a:lnTo>
                    <a:lnTo>
                      <a:pt x="870" y="763"/>
                    </a:lnTo>
                    <a:lnTo>
                      <a:pt x="866" y="779"/>
                    </a:lnTo>
                    <a:lnTo>
                      <a:pt x="864" y="788"/>
                    </a:lnTo>
                    <a:lnTo>
                      <a:pt x="863" y="796"/>
                    </a:lnTo>
                    <a:lnTo>
                      <a:pt x="861" y="813"/>
                    </a:lnTo>
                    <a:lnTo>
                      <a:pt x="860" y="830"/>
                    </a:lnTo>
                    <a:lnTo>
                      <a:pt x="859" y="848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9" name="Freeform 27"/>
              <p:cNvSpPr>
                <a:spLocks noChangeAspect="1"/>
              </p:cNvSpPr>
              <p:nvPr/>
            </p:nvSpPr>
            <p:spPr bwMode="auto">
              <a:xfrm>
                <a:off x="8502" y="3198"/>
                <a:ext cx="641" cy="724"/>
              </a:xfrm>
              <a:custGeom>
                <a:avLst/>
                <a:gdLst>
                  <a:gd name="T0" fmla="*/ 6 w 848"/>
                  <a:gd name="T1" fmla="*/ 11 h 958"/>
                  <a:gd name="T2" fmla="*/ 0 w 848"/>
                  <a:gd name="T3" fmla="*/ 4 h 958"/>
                  <a:gd name="T4" fmla="*/ 2 w 848"/>
                  <a:gd name="T5" fmla="*/ 4 h 958"/>
                  <a:gd name="T6" fmla="*/ 2 w 848"/>
                  <a:gd name="T7" fmla="*/ 4 h 958"/>
                  <a:gd name="T8" fmla="*/ 2 w 848"/>
                  <a:gd name="T9" fmla="*/ 4 h 958"/>
                  <a:gd name="T10" fmla="*/ 2 w 848"/>
                  <a:gd name="T11" fmla="*/ 4 h 958"/>
                  <a:gd name="T12" fmla="*/ 2 w 848"/>
                  <a:gd name="T13" fmla="*/ 3 h 958"/>
                  <a:gd name="T14" fmla="*/ 2 w 848"/>
                  <a:gd name="T15" fmla="*/ 3 h 958"/>
                  <a:gd name="T16" fmla="*/ 2 w 848"/>
                  <a:gd name="T17" fmla="*/ 3 h 958"/>
                  <a:gd name="T18" fmla="*/ 2 w 848"/>
                  <a:gd name="T19" fmla="*/ 3 h 958"/>
                  <a:gd name="T20" fmla="*/ 2 w 848"/>
                  <a:gd name="T21" fmla="*/ 3 h 958"/>
                  <a:gd name="T22" fmla="*/ 3 w 848"/>
                  <a:gd name="T23" fmla="*/ 2 h 958"/>
                  <a:gd name="T24" fmla="*/ 3 w 848"/>
                  <a:gd name="T25" fmla="*/ 2 h 958"/>
                  <a:gd name="T26" fmla="*/ 3 w 848"/>
                  <a:gd name="T27" fmla="*/ 2 h 958"/>
                  <a:gd name="T28" fmla="*/ 4 w 848"/>
                  <a:gd name="T29" fmla="*/ 2 h 958"/>
                  <a:gd name="T30" fmla="*/ 4 w 848"/>
                  <a:gd name="T31" fmla="*/ 2 h 958"/>
                  <a:gd name="T32" fmla="*/ 4 w 848"/>
                  <a:gd name="T33" fmla="*/ 2 h 958"/>
                  <a:gd name="T34" fmla="*/ 5 w 848"/>
                  <a:gd name="T35" fmla="*/ 2 h 958"/>
                  <a:gd name="T36" fmla="*/ 5 w 848"/>
                  <a:gd name="T37" fmla="*/ 2 h 958"/>
                  <a:gd name="T38" fmla="*/ 5 w 848"/>
                  <a:gd name="T39" fmla="*/ 2 h 958"/>
                  <a:gd name="T40" fmla="*/ 5 w 848"/>
                  <a:gd name="T41" fmla="*/ 2 h 958"/>
                  <a:gd name="T42" fmla="*/ 6 w 848"/>
                  <a:gd name="T43" fmla="*/ 2 h 958"/>
                  <a:gd name="T44" fmla="*/ 6 w 848"/>
                  <a:gd name="T45" fmla="*/ 2 h 958"/>
                  <a:gd name="T46" fmla="*/ 6 w 848"/>
                  <a:gd name="T47" fmla="*/ 2 h 958"/>
                  <a:gd name="T48" fmla="*/ 6 w 848"/>
                  <a:gd name="T49" fmla="*/ 2 h 958"/>
                  <a:gd name="T50" fmla="*/ 6 w 848"/>
                  <a:gd name="T51" fmla="*/ 2 h 958"/>
                  <a:gd name="T52" fmla="*/ 7 w 848"/>
                  <a:gd name="T53" fmla="*/ 2 h 958"/>
                  <a:gd name="T54" fmla="*/ 8 w 848"/>
                  <a:gd name="T55" fmla="*/ 2 h 958"/>
                  <a:gd name="T56" fmla="*/ 8 w 848"/>
                  <a:gd name="T57" fmla="*/ 2 h 958"/>
                  <a:gd name="T58" fmla="*/ 8 w 848"/>
                  <a:gd name="T59" fmla="*/ 2 h 958"/>
                  <a:gd name="T60" fmla="*/ 8 w 848"/>
                  <a:gd name="T61" fmla="*/ 2 h 958"/>
                  <a:gd name="T62" fmla="*/ 8 w 848"/>
                  <a:gd name="T63" fmla="*/ 2 h 958"/>
                  <a:gd name="T64" fmla="*/ 8 w 848"/>
                  <a:gd name="T65" fmla="*/ 1 h 958"/>
                  <a:gd name="T66" fmla="*/ 10 w 848"/>
                  <a:gd name="T67" fmla="*/ 0 h 958"/>
                  <a:gd name="T68" fmla="*/ 10 w 848"/>
                  <a:gd name="T69" fmla="*/ 0 h 958"/>
                  <a:gd name="T70" fmla="*/ 10 w 848"/>
                  <a:gd name="T71" fmla="*/ 5 h 958"/>
                  <a:gd name="T72" fmla="*/ 10 w 848"/>
                  <a:gd name="T73" fmla="*/ 10 h 958"/>
                  <a:gd name="T74" fmla="*/ 10 w 848"/>
                  <a:gd name="T75" fmla="*/ 10 h 958"/>
                  <a:gd name="T76" fmla="*/ 9 w 848"/>
                  <a:gd name="T77" fmla="*/ 10 h 958"/>
                  <a:gd name="T78" fmla="*/ 8 w 848"/>
                  <a:gd name="T79" fmla="*/ 10 h 958"/>
                  <a:gd name="T80" fmla="*/ 8 w 848"/>
                  <a:gd name="T81" fmla="*/ 10 h 958"/>
                  <a:gd name="T82" fmla="*/ 8 w 848"/>
                  <a:gd name="T83" fmla="*/ 10 h 958"/>
                  <a:gd name="T84" fmla="*/ 8 w 848"/>
                  <a:gd name="T85" fmla="*/ 10 h 958"/>
                  <a:gd name="T86" fmla="*/ 8 w 848"/>
                  <a:gd name="T87" fmla="*/ 10 h 958"/>
                  <a:gd name="T88" fmla="*/ 8 w 848"/>
                  <a:gd name="T89" fmla="*/ 10 h 958"/>
                  <a:gd name="T90" fmla="*/ 8 w 848"/>
                  <a:gd name="T91" fmla="*/ 10 h 958"/>
                  <a:gd name="T92" fmla="*/ 8 w 848"/>
                  <a:gd name="T93" fmla="*/ 10 h 958"/>
                  <a:gd name="T94" fmla="*/ 8 w 848"/>
                  <a:gd name="T95" fmla="*/ 10 h 958"/>
                  <a:gd name="T96" fmla="*/ 8 w 848"/>
                  <a:gd name="T97" fmla="*/ 10 h 958"/>
                  <a:gd name="T98" fmla="*/ 8 w 848"/>
                  <a:gd name="T99" fmla="*/ 11 h 958"/>
                  <a:gd name="T100" fmla="*/ 8 w 848"/>
                  <a:gd name="T101" fmla="*/ 11 h 958"/>
                  <a:gd name="T102" fmla="*/ 8 w 848"/>
                  <a:gd name="T103" fmla="*/ 11 h 958"/>
                  <a:gd name="T104" fmla="*/ 8 w 848"/>
                  <a:gd name="T105" fmla="*/ 11 h 958"/>
                  <a:gd name="T106" fmla="*/ 8 w 848"/>
                  <a:gd name="T107" fmla="*/ 11 h 958"/>
                  <a:gd name="T108" fmla="*/ 6 w 848"/>
                  <a:gd name="T109" fmla="*/ 11 h 95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48"/>
                  <a:gd name="T166" fmla="*/ 0 h 958"/>
                  <a:gd name="T167" fmla="*/ 848 w 848"/>
                  <a:gd name="T168" fmla="*/ 958 h 95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48" h="958">
                    <a:moveTo>
                      <a:pt x="608" y="958"/>
                    </a:moveTo>
                    <a:lnTo>
                      <a:pt x="0" y="351"/>
                    </a:lnTo>
                    <a:lnTo>
                      <a:pt x="21" y="330"/>
                    </a:lnTo>
                    <a:lnTo>
                      <a:pt x="43" y="310"/>
                    </a:lnTo>
                    <a:lnTo>
                      <a:pt x="65" y="291"/>
                    </a:lnTo>
                    <a:lnTo>
                      <a:pt x="87" y="272"/>
                    </a:lnTo>
                    <a:lnTo>
                      <a:pt x="110" y="253"/>
                    </a:lnTo>
                    <a:lnTo>
                      <a:pt x="134" y="236"/>
                    </a:lnTo>
                    <a:lnTo>
                      <a:pt x="157" y="218"/>
                    </a:lnTo>
                    <a:lnTo>
                      <a:pt x="170" y="210"/>
                    </a:lnTo>
                    <a:lnTo>
                      <a:pt x="182" y="202"/>
                    </a:lnTo>
                    <a:lnTo>
                      <a:pt x="206" y="186"/>
                    </a:lnTo>
                    <a:lnTo>
                      <a:pt x="231" y="170"/>
                    </a:lnTo>
                    <a:lnTo>
                      <a:pt x="258" y="156"/>
                    </a:lnTo>
                    <a:lnTo>
                      <a:pt x="284" y="141"/>
                    </a:lnTo>
                    <a:lnTo>
                      <a:pt x="310" y="128"/>
                    </a:lnTo>
                    <a:lnTo>
                      <a:pt x="336" y="115"/>
                    </a:lnTo>
                    <a:lnTo>
                      <a:pt x="363" y="103"/>
                    </a:lnTo>
                    <a:lnTo>
                      <a:pt x="390" y="91"/>
                    </a:lnTo>
                    <a:lnTo>
                      <a:pt x="417" y="80"/>
                    </a:lnTo>
                    <a:lnTo>
                      <a:pt x="445" y="70"/>
                    </a:lnTo>
                    <a:lnTo>
                      <a:pt x="472" y="60"/>
                    </a:lnTo>
                    <a:lnTo>
                      <a:pt x="500" y="51"/>
                    </a:lnTo>
                    <a:lnTo>
                      <a:pt x="529" y="43"/>
                    </a:lnTo>
                    <a:lnTo>
                      <a:pt x="557" y="35"/>
                    </a:lnTo>
                    <a:lnTo>
                      <a:pt x="586" y="29"/>
                    </a:lnTo>
                    <a:lnTo>
                      <a:pt x="614" y="23"/>
                    </a:lnTo>
                    <a:lnTo>
                      <a:pt x="643" y="17"/>
                    </a:lnTo>
                    <a:lnTo>
                      <a:pt x="672" y="12"/>
                    </a:lnTo>
                    <a:lnTo>
                      <a:pt x="701" y="8"/>
                    </a:lnTo>
                    <a:lnTo>
                      <a:pt x="731" y="5"/>
                    </a:lnTo>
                    <a:lnTo>
                      <a:pt x="760" y="3"/>
                    </a:lnTo>
                    <a:lnTo>
                      <a:pt x="789" y="1"/>
                    </a:lnTo>
                    <a:lnTo>
                      <a:pt x="819" y="0"/>
                    </a:lnTo>
                    <a:lnTo>
                      <a:pt x="848" y="0"/>
                    </a:lnTo>
                    <a:lnTo>
                      <a:pt x="848" y="429"/>
                    </a:lnTo>
                    <a:lnTo>
                      <a:pt x="848" y="859"/>
                    </a:lnTo>
                    <a:lnTo>
                      <a:pt x="831" y="859"/>
                    </a:lnTo>
                    <a:lnTo>
                      <a:pt x="814" y="861"/>
                    </a:lnTo>
                    <a:lnTo>
                      <a:pt x="805" y="861"/>
                    </a:lnTo>
                    <a:lnTo>
                      <a:pt x="797" y="863"/>
                    </a:lnTo>
                    <a:lnTo>
                      <a:pt x="788" y="864"/>
                    </a:lnTo>
                    <a:lnTo>
                      <a:pt x="780" y="866"/>
                    </a:lnTo>
                    <a:lnTo>
                      <a:pt x="763" y="869"/>
                    </a:lnTo>
                    <a:lnTo>
                      <a:pt x="747" y="874"/>
                    </a:lnTo>
                    <a:lnTo>
                      <a:pt x="731" y="879"/>
                    </a:lnTo>
                    <a:lnTo>
                      <a:pt x="716" y="885"/>
                    </a:lnTo>
                    <a:lnTo>
                      <a:pt x="701" y="892"/>
                    </a:lnTo>
                    <a:lnTo>
                      <a:pt x="686" y="900"/>
                    </a:lnTo>
                    <a:lnTo>
                      <a:pt x="672" y="908"/>
                    </a:lnTo>
                    <a:lnTo>
                      <a:pt x="658" y="917"/>
                    </a:lnTo>
                    <a:lnTo>
                      <a:pt x="645" y="926"/>
                    </a:lnTo>
                    <a:lnTo>
                      <a:pt x="632" y="936"/>
                    </a:lnTo>
                    <a:lnTo>
                      <a:pt x="620" y="947"/>
                    </a:lnTo>
                    <a:lnTo>
                      <a:pt x="608" y="958"/>
                    </a:lnTo>
                    <a:close/>
                  </a:path>
                </a:pathLst>
              </a:custGeom>
              <a:solidFill>
                <a:srgbClr val="1B3A87"/>
              </a:solidFill>
              <a:ln w="6350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2" name="Text Box 28"/>
            <p:cNvSpPr txBox="1">
              <a:spLocks noChangeArrowheads="1"/>
            </p:cNvSpPr>
            <p:nvPr/>
          </p:nvSpPr>
          <p:spPr bwMode="auto">
            <a:xfrm>
              <a:off x="8855" y="3270"/>
              <a:ext cx="5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latin typeface="맑은 고딕" pitchFamily="50" charset="-127"/>
                  <a:ea typeface="맑은 고딕" pitchFamily="50" charset="-127"/>
                </a:rPr>
                <a:t>소프트웨어</a:t>
              </a:r>
            </a:p>
          </p:txBody>
        </p:sp>
        <p:grpSp>
          <p:nvGrpSpPr>
            <p:cNvPr id="63" name="Group 29"/>
            <p:cNvGrpSpPr>
              <a:grpSpLocks/>
            </p:cNvGrpSpPr>
            <p:nvPr/>
          </p:nvGrpSpPr>
          <p:grpSpPr bwMode="auto">
            <a:xfrm rot="3632780">
              <a:off x="8577" y="3538"/>
              <a:ext cx="1134" cy="1134"/>
              <a:chOff x="8557" y="3519"/>
              <a:chExt cx="1172" cy="1172"/>
            </a:xfrm>
          </p:grpSpPr>
          <p:sp>
            <p:nvSpPr>
              <p:cNvPr id="79" name="Freeform 30"/>
              <p:cNvSpPr>
                <a:spLocks noChangeAspect="1"/>
              </p:cNvSpPr>
              <p:nvPr/>
            </p:nvSpPr>
            <p:spPr bwMode="auto">
              <a:xfrm>
                <a:off x="9143" y="3519"/>
                <a:ext cx="586" cy="879"/>
              </a:xfrm>
              <a:custGeom>
                <a:avLst/>
                <a:gdLst>
                  <a:gd name="T0" fmla="*/ 1 w 1135"/>
                  <a:gd name="T1" fmla="*/ 1 h 1702"/>
                  <a:gd name="T2" fmla="*/ 1 w 1135"/>
                  <a:gd name="T3" fmla="*/ 1 h 1702"/>
                  <a:gd name="T4" fmla="*/ 1 w 1135"/>
                  <a:gd name="T5" fmla="*/ 1 h 1702"/>
                  <a:gd name="T6" fmla="*/ 1 w 1135"/>
                  <a:gd name="T7" fmla="*/ 1 h 1702"/>
                  <a:gd name="T8" fmla="*/ 1 w 1135"/>
                  <a:gd name="T9" fmla="*/ 1 h 1702"/>
                  <a:gd name="T10" fmla="*/ 1 w 1135"/>
                  <a:gd name="T11" fmla="*/ 1 h 1702"/>
                  <a:gd name="T12" fmla="*/ 1 w 1135"/>
                  <a:gd name="T13" fmla="*/ 1 h 1702"/>
                  <a:gd name="T14" fmla="*/ 1 w 1135"/>
                  <a:gd name="T15" fmla="*/ 1 h 1702"/>
                  <a:gd name="T16" fmla="*/ 1 w 1135"/>
                  <a:gd name="T17" fmla="*/ 1 h 1702"/>
                  <a:gd name="T18" fmla="*/ 1 w 1135"/>
                  <a:gd name="T19" fmla="*/ 1 h 1702"/>
                  <a:gd name="T20" fmla="*/ 1 w 1135"/>
                  <a:gd name="T21" fmla="*/ 1 h 1702"/>
                  <a:gd name="T22" fmla="*/ 1 w 1135"/>
                  <a:gd name="T23" fmla="*/ 1 h 1702"/>
                  <a:gd name="T24" fmla="*/ 1 w 1135"/>
                  <a:gd name="T25" fmla="*/ 1 h 1702"/>
                  <a:gd name="T26" fmla="*/ 1 w 1135"/>
                  <a:gd name="T27" fmla="*/ 1 h 1702"/>
                  <a:gd name="T28" fmla="*/ 1 w 1135"/>
                  <a:gd name="T29" fmla="*/ 1 h 1702"/>
                  <a:gd name="T30" fmla="*/ 1 w 1135"/>
                  <a:gd name="T31" fmla="*/ 1 h 1702"/>
                  <a:gd name="T32" fmla="*/ 1 w 1135"/>
                  <a:gd name="T33" fmla="*/ 1 h 1702"/>
                  <a:gd name="T34" fmla="*/ 1 w 1135"/>
                  <a:gd name="T35" fmla="*/ 1 h 1702"/>
                  <a:gd name="T36" fmla="*/ 1 w 1135"/>
                  <a:gd name="T37" fmla="*/ 1 h 1702"/>
                  <a:gd name="T38" fmla="*/ 1 w 1135"/>
                  <a:gd name="T39" fmla="*/ 1 h 1702"/>
                  <a:gd name="T40" fmla="*/ 1 w 1135"/>
                  <a:gd name="T41" fmla="*/ 1 h 1702"/>
                  <a:gd name="T42" fmla="*/ 1 w 1135"/>
                  <a:gd name="T43" fmla="*/ 1 h 1702"/>
                  <a:gd name="T44" fmla="*/ 1 w 1135"/>
                  <a:gd name="T45" fmla="*/ 1 h 1702"/>
                  <a:gd name="T46" fmla="*/ 1 w 1135"/>
                  <a:gd name="T47" fmla="*/ 1 h 1702"/>
                  <a:gd name="T48" fmla="*/ 1 w 1135"/>
                  <a:gd name="T49" fmla="*/ 1 h 1702"/>
                  <a:gd name="T50" fmla="*/ 1 w 1135"/>
                  <a:gd name="T51" fmla="*/ 1 h 1702"/>
                  <a:gd name="T52" fmla="*/ 1 w 1135"/>
                  <a:gd name="T53" fmla="*/ 1 h 1702"/>
                  <a:gd name="T54" fmla="*/ 1 w 1135"/>
                  <a:gd name="T55" fmla="*/ 1 h 1702"/>
                  <a:gd name="T56" fmla="*/ 1 w 1135"/>
                  <a:gd name="T57" fmla="*/ 1 h 1702"/>
                  <a:gd name="T58" fmla="*/ 1 w 1135"/>
                  <a:gd name="T59" fmla="*/ 1 h 1702"/>
                  <a:gd name="T60" fmla="*/ 1 w 1135"/>
                  <a:gd name="T61" fmla="*/ 1 h 1702"/>
                  <a:gd name="T62" fmla="*/ 1 w 1135"/>
                  <a:gd name="T63" fmla="*/ 1 h 1702"/>
                  <a:gd name="T64" fmla="*/ 1 w 1135"/>
                  <a:gd name="T65" fmla="*/ 1 h 1702"/>
                  <a:gd name="T66" fmla="*/ 1 w 1135"/>
                  <a:gd name="T67" fmla="*/ 1 h 1702"/>
                  <a:gd name="T68" fmla="*/ 1 w 1135"/>
                  <a:gd name="T69" fmla="*/ 1 h 1702"/>
                  <a:gd name="T70" fmla="*/ 1 w 1135"/>
                  <a:gd name="T71" fmla="*/ 1 h 1702"/>
                  <a:gd name="T72" fmla="*/ 1 w 1135"/>
                  <a:gd name="T73" fmla="*/ 1 h 1702"/>
                  <a:gd name="T74" fmla="*/ 1 w 1135"/>
                  <a:gd name="T75" fmla="*/ 1 h 1702"/>
                  <a:gd name="T76" fmla="*/ 1 w 1135"/>
                  <a:gd name="T77" fmla="*/ 1 h 1702"/>
                  <a:gd name="T78" fmla="*/ 1 w 1135"/>
                  <a:gd name="T79" fmla="*/ 1 h 1702"/>
                  <a:gd name="T80" fmla="*/ 1 w 1135"/>
                  <a:gd name="T81" fmla="*/ 1 h 1702"/>
                  <a:gd name="T82" fmla="*/ 1 w 1135"/>
                  <a:gd name="T83" fmla="*/ 1 h 1702"/>
                  <a:gd name="T84" fmla="*/ 1 w 1135"/>
                  <a:gd name="T85" fmla="*/ 1 h 1702"/>
                  <a:gd name="T86" fmla="*/ 1 w 1135"/>
                  <a:gd name="T87" fmla="*/ 1 h 1702"/>
                  <a:gd name="T88" fmla="*/ 1 w 1135"/>
                  <a:gd name="T89" fmla="*/ 1 h 1702"/>
                  <a:gd name="T90" fmla="*/ 1 w 1135"/>
                  <a:gd name="T91" fmla="*/ 1 h 17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35"/>
                  <a:gd name="T139" fmla="*/ 0 h 1702"/>
                  <a:gd name="T140" fmla="*/ 1135 w 1135"/>
                  <a:gd name="T141" fmla="*/ 1702 h 170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35" h="1702">
                    <a:moveTo>
                      <a:pt x="0" y="795"/>
                    </a:moveTo>
                    <a:lnTo>
                      <a:pt x="0" y="0"/>
                    </a:lnTo>
                    <a:lnTo>
                      <a:pt x="28" y="1"/>
                    </a:lnTo>
                    <a:lnTo>
                      <a:pt x="56" y="2"/>
                    </a:lnTo>
                    <a:lnTo>
                      <a:pt x="83" y="3"/>
                    </a:lnTo>
                    <a:lnTo>
                      <a:pt x="111" y="6"/>
                    </a:lnTo>
                    <a:lnTo>
                      <a:pt x="139" y="9"/>
                    </a:lnTo>
                    <a:lnTo>
                      <a:pt x="166" y="13"/>
                    </a:lnTo>
                    <a:lnTo>
                      <a:pt x="194" y="17"/>
                    </a:lnTo>
                    <a:lnTo>
                      <a:pt x="221" y="22"/>
                    </a:lnTo>
                    <a:lnTo>
                      <a:pt x="248" y="28"/>
                    </a:lnTo>
                    <a:lnTo>
                      <a:pt x="275" y="34"/>
                    </a:lnTo>
                    <a:lnTo>
                      <a:pt x="302" y="42"/>
                    </a:lnTo>
                    <a:lnTo>
                      <a:pt x="329" y="49"/>
                    </a:lnTo>
                    <a:lnTo>
                      <a:pt x="356" y="58"/>
                    </a:lnTo>
                    <a:lnTo>
                      <a:pt x="382" y="67"/>
                    </a:lnTo>
                    <a:lnTo>
                      <a:pt x="395" y="72"/>
                    </a:lnTo>
                    <a:lnTo>
                      <a:pt x="408" y="76"/>
                    </a:lnTo>
                    <a:lnTo>
                      <a:pt x="434" y="87"/>
                    </a:lnTo>
                    <a:lnTo>
                      <a:pt x="459" y="98"/>
                    </a:lnTo>
                    <a:lnTo>
                      <a:pt x="485" y="109"/>
                    </a:lnTo>
                    <a:lnTo>
                      <a:pt x="510" y="121"/>
                    </a:lnTo>
                    <a:lnTo>
                      <a:pt x="534" y="134"/>
                    </a:lnTo>
                    <a:lnTo>
                      <a:pt x="559" y="148"/>
                    </a:lnTo>
                    <a:lnTo>
                      <a:pt x="584" y="161"/>
                    </a:lnTo>
                    <a:lnTo>
                      <a:pt x="608" y="176"/>
                    </a:lnTo>
                    <a:lnTo>
                      <a:pt x="631" y="191"/>
                    </a:lnTo>
                    <a:lnTo>
                      <a:pt x="654" y="207"/>
                    </a:lnTo>
                    <a:lnTo>
                      <a:pt x="677" y="223"/>
                    </a:lnTo>
                    <a:lnTo>
                      <a:pt x="699" y="240"/>
                    </a:lnTo>
                    <a:lnTo>
                      <a:pt x="720" y="257"/>
                    </a:lnTo>
                    <a:lnTo>
                      <a:pt x="742" y="275"/>
                    </a:lnTo>
                    <a:lnTo>
                      <a:pt x="762" y="294"/>
                    </a:lnTo>
                    <a:lnTo>
                      <a:pt x="773" y="303"/>
                    </a:lnTo>
                    <a:lnTo>
                      <a:pt x="783" y="313"/>
                    </a:lnTo>
                    <a:lnTo>
                      <a:pt x="803" y="333"/>
                    </a:lnTo>
                    <a:lnTo>
                      <a:pt x="822" y="352"/>
                    </a:lnTo>
                    <a:lnTo>
                      <a:pt x="841" y="373"/>
                    </a:lnTo>
                    <a:lnTo>
                      <a:pt x="860" y="394"/>
                    </a:lnTo>
                    <a:lnTo>
                      <a:pt x="877" y="415"/>
                    </a:lnTo>
                    <a:lnTo>
                      <a:pt x="895" y="437"/>
                    </a:lnTo>
                    <a:lnTo>
                      <a:pt x="912" y="459"/>
                    </a:lnTo>
                    <a:lnTo>
                      <a:pt x="928" y="481"/>
                    </a:lnTo>
                    <a:lnTo>
                      <a:pt x="944" y="504"/>
                    </a:lnTo>
                    <a:lnTo>
                      <a:pt x="959" y="528"/>
                    </a:lnTo>
                    <a:lnTo>
                      <a:pt x="973" y="551"/>
                    </a:lnTo>
                    <a:lnTo>
                      <a:pt x="987" y="576"/>
                    </a:lnTo>
                    <a:lnTo>
                      <a:pt x="1001" y="601"/>
                    </a:lnTo>
                    <a:lnTo>
                      <a:pt x="1014" y="626"/>
                    </a:lnTo>
                    <a:lnTo>
                      <a:pt x="1026" y="651"/>
                    </a:lnTo>
                    <a:lnTo>
                      <a:pt x="1037" y="676"/>
                    </a:lnTo>
                    <a:lnTo>
                      <a:pt x="1048" y="701"/>
                    </a:lnTo>
                    <a:lnTo>
                      <a:pt x="1059" y="727"/>
                    </a:lnTo>
                    <a:lnTo>
                      <a:pt x="1068" y="753"/>
                    </a:lnTo>
                    <a:lnTo>
                      <a:pt x="1078" y="780"/>
                    </a:lnTo>
                    <a:lnTo>
                      <a:pt x="1086" y="806"/>
                    </a:lnTo>
                    <a:lnTo>
                      <a:pt x="1094" y="833"/>
                    </a:lnTo>
                    <a:lnTo>
                      <a:pt x="1101" y="860"/>
                    </a:lnTo>
                    <a:lnTo>
                      <a:pt x="1107" y="887"/>
                    </a:lnTo>
                    <a:lnTo>
                      <a:pt x="1113" y="914"/>
                    </a:lnTo>
                    <a:lnTo>
                      <a:pt x="1118" y="941"/>
                    </a:lnTo>
                    <a:lnTo>
                      <a:pt x="1123" y="969"/>
                    </a:lnTo>
                    <a:lnTo>
                      <a:pt x="1127" y="996"/>
                    </a:lnTo>
                    <a:lnTo>
                      <a:pt x="1130" y="1024"/>
                    </a:lnTo>
                    <a:lnTo>
                      <a:pt x="1132" y="1052"/>
                    </a:lnTo>
                    <a:lnTo>
                      <a:pt x="1134" y="1080"/>
                    </a:lnTo>
                    <a:lnTo>
                      <a:pt x="1134" y="1107"/>
                    </a:lnTo>
                    <a:lnTo>
                      <a:pt x="1135" y="1135"/>
                    </a:lnTo>
                    <a:lnTo>
                      <a:pt x="1134" y="1172"/>
                    </a:lnTo>
                    <a:lnTo>
                      <a:pt x="1132" y="1209"/>
                    </a:lnTo>
                    <a:lnTo>
                      <a:pt x="1129" y="1246"/>
                    </a:lnTo>
                    <a:lnTo>
                      <a:pt x="1125" y="1283"/>
                    </a:lnTo>
                    <a:lnTo>
                      <a:pt x="1122" y="1302"/>
                    </a:lnTo>
                    <a:lnTo>
                      <a:pt x="1120" y="1320"/>
                    </a:lnTo>
                    <a:lnTo>
                      <a:pt x="1113" y="1357"/>
                    </a:lnTo>
                    <a:lnTo>
                      <a:pt x="1105" y="1393"/>
                    </a:lnTo>
                    <a:lnTo>
                      <a:pt x="1096" y="1429"/>
                    </a:lnTo>
                    <a:lnTo>
                      <a:pt x="1091" y="1447"/>
                    </a:lnTo>
                    <a:lnTo>
                      <a:pt x="1086" y="1464"/>
                    </a:lnTo>
                    <a:lnTo>
                      <a:pt x="1075" y="1500"/>
                    </a:lnTo>
                    <a:lnTo>
                      <a:pt x="1062" y="1535"/>
                    </a:lnTo>
                    <a:lnTo>
                      <a:pt x="1048" y="1569"/>
                    </a:lnTo>
                    <a:lnTo>
                      <a:pt x="1034" y="1603"/>
                    </a:lnTo>
                    <a:lnTo>
                      <a:pt x="1018" y="1637"/>
                    </a:lnTo>
                    <a:lnTo>
                      <a:pt x="1001" y="1670"/>
                    </a:lnTo>
                    <a:lnTo>
                      <a:pt x="992" y="1686"/>
                    </a:lnTo>
                    <a:lnTo>
                      <a:pt x="983" y="1702"/>
                    </a:lnTo>
                    <a:lnTo>
                      <a:pt x="294" y="1305"/>
                    </a:lnTo>
                    <a:lnTo>
                      <a:pt x="305" y="1286"/>
                    </a:lnTo>
                    <a:lnTo>
                      <a:pt x="309" y="1276"/>
                    </a:lnTo>
                    <a:lnTo>
                      <a:pt x="314" y="1266"/>
                    </a:lnTo>
                    <a:lnTo>
                      <a:pt x="318" y="1256"/>
                    </a:lnTo>
                    <a:lnTo>
                      <a:pt x="322" y="1246"/>
                    </a:lnTo>
                    <a:lnTo>
                      <a:pt x="325" y="1235"/>
                    </a:lnTo>
                    <a:lnTo>
                      <a:pt x="328" y="1225"/>
                    </a:lnTo>
                    <a:lnTo>
                      <a:pt x="331" y="1214"/>
                    </a:lnTo>
                    <a:lnTo>
                      <a:pt x="333" y="1203"/>
                    </a:lnTo>
                    <a:lnTo>
                      <a:pt x="335" y="1192"/>
                    </a:lnTo>
                    <a:lnTo>
                      <a:pt x="337" y="1181"/>
                    </a:lnTo>
                    <a:lnTo>
                      <a:pt x="338" y="1170"/>
                    </a:lnTo>
                    <a:lnTo>
                      <a:pt x="339" y="1158"/>
                    </a:lnTo>
                    <a:lnTo>
                      <a:pt x="340" y="1147"/>
                    </a:lnTo>
                    <a:lnTo>
                      <a:pt x="340" y="1135"/>
                    </a:lnTo>
                    <a:lnTo>
                      <a:pt x="340" y="1118"/>
                    </a:lnTo>
                    <a:lnTo>
                      <a:pt x="338" y="1101"/>
                    </a:lnTo>
                    <a:lnTo>
                      <a:pt x="337" y="1092"/>
                    </a:lnTo>
                    <a:lnTo>
                      <a:pt x="336" y="1083"/>
                    </a:lnTo>
                    <a:lnTo>
                      <a:pt x="335" y="1075"/>
                    </a:lnTo>
                    <a:lnTo>
                      <a:pt x="333" y="1067"/>
                    </a:lnTo>
                    <a:lnTo>
                      <a:pt x="329" y="1050"/>
                    </a:lnTo>
                    <a:lnTo>
                      <a:pt x="325" y="1034"/>
                    </a:lnTo>
                    <a:lnTo>
                      <a:pt x="319" y="1018"/>
                    </a:lnTo>
                    <a:lnTo>
                      <a:pt x="313" y="1003"/>
                    </a:lnTo>
                    <a:lnTo>
                      <a:pt x="306" y="988"/>
                    </a:lnTo>
                    <a:lnTo>
                      <a:pt x="299" y="973"/>
                    </a:lnTo>
                    <a:lnTo>
                      <a:pt x="291" y="959"/>
                    </a:lnTo>
                    <a:lnTo>
                      <a:pt x="282" y="945"/>
                    </a:lnTo>
                    <a:lnTo>
                      <a:pt x="272" y="932"/>
                    </a:lnTo>
                    <a:lnTo>
                      <a:pt x="262" y="919"/>
                    </a:lnTo>
                    <a:lnTo>
                      <a:pt x="252" y="907"/>
                    </a:lnTo>
                    <a:lnTo>
                      <a:pt x="240" y="895"/>
                    </a:lnTo>
                    <a:lnTo>
                      <a:pt x="229" y="884"/>
                    </a:lnTo>
                    <a:lnTo>
                      <a:pt x="216" y="873"/>
                    </a:lnTo>
                    <a:lnTo>
                      <a:pt x="203" y="863"/>
                    </a:lnTo>
                    <a:lnTo>
                      <a:pt x="190" y="853"/>
                    </a:lnTo>
                    <a:lnTo>
                      <a:pt x="176" y="844"/>
                    </a:lnTo>
                    <a:lnTo>
                      <a:pt x="162" y="836"/>
                    </a:lnTo>
                    <a:lnTo>
                      <a:pt x="147" y="829"/>
                    </a:lnTo>
                    <a:lnTo>
                      <a:pt x="132" y="822"/>
                    </a:lnTo>
                    <a:lnTo>
                      <a:pt x="125" y="819"/>
                    </a:lnTo>
                    <a:lnTo>
                      <a:pt x="117" y="816"/>
                    </a:lnTo>
                    <a:lnTo>
                      <a:pt x="101" y="810"/>
                    </a:lnTo>
                    <a:lnTo>
                      <a:pt x="93" y="808"/>
                    </a:lnTo>
                    <a:lnTo>
                      <a:pt x="85" y="806"/>
                    </a:lnTo>
                    <a:lnTo>
                      <a:pt x="69" y="802"/>
                    </a:lnTo>
                    <a:lnTo>
                      <a:pt x="60" y="800"/>
                    </a:lnTo>
                    <a:lnTo>
                      <a:pt x="52" y="799"/>
                    </a:lnTo>
                    <a:lnTo>
                      <a:pt x="35" y="797"/>
                    </a:lnTo>
                    <a:lnTo>
                      <a:pt x="17" y="796"/>
                    </a:lnTo>
                    <a:lnTo>
                      <a:pt x="0" y="795"/>
                    </a:lnTo>
                    <a:close/>
                  </a:path>
                </a:pathLst>
              </a:custGeom>
              <a:solidFill>
                <a:srgbClr val="D6EBF6"/>
              </a:solidFill>
              <a:ln w="9525">
                <a:noFill/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0" name="Freeform 31"/>
              <p:cNvSpPr>
                <a:spLocks noChangeAspect="1"/>
              </p:cNvSpPr>
              <p:nvPr/>
            </p:nvSpPr>
            <p:spPr bwMode="auto">
              <a:xfrm>
                <a:off x="8635" y="4193"/>
                <a:ext cx="1016" cy="498"/>
              </a:xfrm>
              <a:custGeom>
                <a:avLst/>
                <a:gdLst>
                  <a:gd name="T0" fmla="*/ 1 w 1966"/>
                  <a:gd name="T1" fmla="*/ 1 h 965"/>
                  <a:gd name="T2" fmla="*/ 1 w 1966"/>
                  <a:gd name="T3" fmla="*/ 1 h 965"/>
                  <a:gd name="T4" fmla="*/ 1 w 1966"/>
                  <a:gd name="T5" fmla="*/ 1 h 965"/>
                  <a:gd name="T6" fmla="*/ 1 w 1966"/>
                  <a:gd name="T7" fmla="*/ 1 h 965"/>
                  <a:gd name="T8" fmla="*/ 1 w 1966"/>
                  <a:gd name="T9" fmla="*/ 1 h 965"/>
                  <a:gd name="T10" fmla="*/ 1 w 1966"/>
                  <a:gd name="T11" fmla="*/ 1 h 965"/>
                  <a:gd name="T12" fmla="*/ 0 w 1966"/>
                  <a:gd name="T13" fmla="*/ 1 h 965"/>
                  <a:gd name="T14" fmla="*/ 1 w 1966"/>
                  <a:gd name="T15" fmla="*/ 1 h 965"/>
                  <a:gd name="T16" fmla="*/ 1 w 1966"/>
                  <a:gd name="T17" fmla="*/ 1 h 965"/>
                  <a:gd name="T18" fmla="*/ 1 w 1966"/>
                  <a:gd name="T19" fmla="*/ 1 h 965"/>
                  <a:gd name="T20" fmla="*/ 1 w 1966"/>
                  <a:gd name="T21" fmla="*/ 1 h 965"/>
                  <a:gd name="T22" fmla="*/ 1 w 1966"/>
                  <a:gd name="T23" fmla="*/ 1 h 965"/>
                  <a:gd name="T24" fmla="*/ 1 w 1966"/>
                  <a:gd name="T25" fmla="*/ 1 h 965"/>
                  <a:gd name="T26" fmla="*/ 1 w 1966"/>
                  <a:gd name="T27" fmla="*/ 1 h 965"/>
                  <a:gd name="T28" fmla="*/ 1 w 1966"/>
                  <a:gd name="T29" fmla="*/ 1 h 965"/>
                  <a:gd name="T30" fmla="*/ 1 w 1966"/>
                  <a:gd name="T31" fmla="*/ 1 h 965"/>
                  <a:gd name="T32" fmla="*/ 1 w 1966"/>
                  <a:gd name="T33" fmla="*/ 1 h 965"/>
                  <a:gd name="T34" fmla="*/ 1 w 1966"/>
                  <a:gd name="T35" fmla="*/ 1 h 965"/>
                  <a:gd name="T36" fmla="*/ 1 w 1966"/>
                  <a:gd name="T37" fmla="*/ 1 h 965"/>
                  <a:gd name="T38" fmla="*/ 1 w 1966"/>
                  <a:gd name="T39" fmla="*/ 1 h 965"/>
                  <a:gd name="T40" fmla="*/ 1 w 1966"/>
                  <a:gd name="T41" fmla="*/ 1 h 965"/>
                  <a:gd name="T42" fmla="*/ 1 w 1966"/>
                  <a:gd name="T43" fmla="*/ 1 h 965"/>
                  <a:gd name="T44" fmla="*/ 1 w 1966"/>
                  <a:gd name="T45" fmla="*/ 1 h 965"/>
                  <a:gd name="T46" fmla="*/ 1 w 1966"/>
                  <a:gd name="T47" fmla="*/ 0 h 965"/>
                  <a:gd name="T48" fmla="*/ 1 w 1966"/>
                  <a:gd name="T49" fmla="*/ 1 h 965"/>
                  <a:gd name="T50" fmla="*/ 1 w 1966"/>
                  <a:gd name="T51" fmla="*/ 1 h 965"/>
                  <a:gd name="T52" fmla="*/ 1 w 1966"/>
                  <a:gd name="T53" fmla="*/ 1 h 965"/>
                  <a:gd name="T54" fmla="*/ 1 w 1966"/>
                  <a:gd name="T55" fmla="*/ 1 h 965"/>
                  <a:gd name="T56" fmla="*/ 1 w 1966"/>
                  <a:gd name="T57" fmla="*/ 1 h 965"/>
                  <a:gd name="T58" fmla="*/ 1 w 1966"/>
                  <a:gd name="T59" fmla="*/ 1 h 965"/>
                  <a:gd name="T60" fmla="*/ 1 w 1966"/>
                  <a:gd name="T61" fmla="*/ 1 h 965"/>
                  <a:gd name="T62" fmla="*/ 1 w 1966"/>
                  <a:gd name="T63" fmla="*/ 1 h 965"/>
                  <a:gd name="T64" fmla="*/ 1 w 1966"/>
                  <a:gd name="T65" fmla="*/ 1 h 965"/>
                  <a:gd name="T66" fmla="*/ 1 w 1966"/>
                  <a:gd name="T67" fmla="*/ 1 h 965"/>
                  <a:gd name="T68" fmla="*/ 1 w 1966"/>
                  <a:gd name="T69" fmla="*/ 1 h 965"/>
                  <a:gd name="T70" fmla="*/ 1 w 1966"/>
                  <a:gd name="T71" fmla="*/ 1 h 965"/>
                  <a:gd name="T72" fmla="*/ 1 w 1966"/>
                  <a:gd name="T73" fmla="*/ 1 h 965"/>
                  <a:gd name="T74" fmla="*/ 1 w 1966"/>
                  <a:gd name="T75" fmla="*/ 1 h 965"/>
                  <a:gd name="T76" fmla="*/ 1 w 1966"/>
                  <a:gd name="T77" fmla="*/ 1 h 965"/>
                  <a:gd name="T78" fmla="*/ 1 w 1966"/>
                  <a:gd name="T79" fmla="*/ 1 h 965"/>
                  <a:gd name="T80" fmla="*/ 1 w 1966"/>
                  <a:gd name="T81" fmla="*/ 1 h 965"/>
                  <a:gd name="T82" fmla="*/ 1 w 1966"/>
                  <a:gd name="T83" fmla="*/ 1 h 965"/>
                  <a:gd name="T84" fmla="*/ 1 w 1966"/>
                  <a:gd name="T85" fmla="*/ 1 h 965"/>
                  <a:gd name="T86" fmla="*/ 1 w 1966"/>
                  <a:gd name="T87" fmla="*/ 1 h 965"/>
                  <a:gd name="T88" fmla="*/ 1 w 1966"/>
                  <a:gd name="T89" fmla="*/ 1 h 96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66"/>
                  <a:gd name="T136" fmla="*/ 0 h 965"/>
                  <a:gd name="T137" fmla="*/ 1966 w 1966"/>
                  <a:gd name="T138" fmla="*/ 965 h 96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66" h="965">
                    <a:moveTo>
                      <a:pt x="416" y="813"/>
                    </a:moveTo>
                    <a:lnTo>
                      <a:pt x="383" y="794"/>
                    </a:lnTo>
                    <a:lnTo>
                      <a:pt x="352" y="774"/>
                    </a:lnTo>
                    <a:lnTo>
                      <a:pt x="322" y="753"/>
                    </a:lnTo>
                    <a:lnTo>
                      <a:pt x="292" y="731"/>
                    </a:lnTo>
                    <a:lnTo>
                      <a:pt x="263" y="708"/>
                    </a:lnTo>
                    <a:lnTo>
                      <a:pt x="249" y="696"/>
                    </a:lnTo>
                    <a:lnTo>
                      <a:pt x="234" y="684"/>
                    </a:lnTo>
                    <a:lnTo>
                      <a:pt x="207" y="659"/>
                    </a:lnTo>
                    <a:lnTo>
                      <a:pt x="180" y="633"/>
                    </a:lnTo>
                    <a:lnTo>
                      <a:pt x="155" y="606"/>
                    </a:lnTo>
                    <a:lnTo>
                      <a:pt x="130" y="579"/>
                    </a:lnTo>
                    <a:lnTo>
                      <a:pt x="117" y="565"/>
                    </a:lnTo>
                    <a:lnTo>
                      <a:pt x="106" y="551"/>
                    </a:lnTo>
                    <a:lnTo>
                      <a:pt x="83" y="522"/>
                    </a:lnTo>
                    <a:lnTo>
                      <a:pt x="71" y="507"/>
                    </a:lnTo>
                    <a:lnTo>
                      <a:pt x="60" y="492"/>
                    </a:lnTo>
                    <a:lnTo>
                      <a:pt x="50" y="477"/>
                    </a:lnTo>
                    <a:lnTo>
                      <a:pt x="39" y="461"/>
                    </a:lnTo>
                    <a:lnTo>
                      <a:pt x="19" y="430"/>
                    </a:lnTo>
                    <a:lnTo>
                      <a:pt x="0" y="397"/>
                    </a:lnTo>
                    <a:lnTo>
                      <a:pt x="688" y="0"/>
                    </a:lnTo>
                    <a:lnTo>
                      <a:pt x="700" y="19"/>
                    </a:lnTo>
                    <a:lnTo>
                      <a:pt x="706" y="28"/>
                    </a:lnTo>
                    <a:lnTo>
                      <a:pt x="713" y="37"/>
                    </a:lnTo>
                    <a:lnTo>
                      <a:pt x="727" y="54"/>
                    </a:lnTo>
                    <a:lnTo>
                      <a:pt x="734" y="62"/>
                    </a:lnTo>
                    <a:lnTo>
                      <a:pt x="741" y="70"/>
                    </a:lnTo>
                    <a:lnTo>
                      <a:pt x="749" y="78"/>
                    </a:lnTo>
                    <a:lnTo>
                      <a:pt x="757" y="85"/>
                    </a:lnTo>
                    <a:lnTo>
                      <a:pt x="774" y="99"/>
                    </a:lnTo>
                    <a:lnTo>
                      <a:pt x="792" y="112"/>
                    </a:lnTo>
                    <a:lnTo>
                      <a:pt x="810" y="124"/>
                    </a:lnTo>
                    <a:lnTo>
                      <a:pt x="820" y="129"/>
                    </a:lnTo>
                    <a:lnTo>
                      <a:pt x="830" y="134"/>
                    </a:lnTo>
                    <a:lnTo>
                      <a:pt x="840" y="139"/>
                    </a:lnTo>
                    <a:lnTo>
                      <a:pt x="850" y="143"/>
                    </a:lnTo>
                    <a:lnTo>
                      <a:pt x="860" y="148"/>
                    </a:lnTo>
                    <a:lnTo>
                      <a:pt x="871" y="151"/>
                    </a:lnTo>
                    <a:lnTo>
                      <a:pt x="881" y="155"/>
                    </a:lnTo>
                    <a:lnTo>
                      <a:pt x="892" y="158"/>
                    </a:lnTo>
                    <a:lnTo>
                      <a:pt x="903" y="161"/>
                    </a:lnTo>
                    <a:lnTo>
                      <a:pt x="914" y="163"/>
                    </a:lnTo>
                    <a:lnTo>
                      <a:pt x="936" y="167"/>
                    </a:lnTo>
                    <a:lnTo>
                      <a:pt x="948" y="169"/>
                    </a:lnTo>
                    <a:lnTo>
                      <a:pt x="959" y="170"/>
                    </a:lnTo>
                    <a:lnTo>
                      <a:pt x="983" y="170"/>
                    </a:lnTo>
                    <a:lnTo>
                      <a:pt x="1006" y="170"/>
                    </a:lnTo>
                    <a:lnTo>
                      <a:pt x="1018" y="169"/>
                    </a:lnTo>
                    <a:lnTo>
                      <a:pt x="1029" y="167"/>
                    </a:lnTo>
                    <a:lnTo>
                      <a:pt x="1052" y="163"/>
                    </a:lnTo>
                    <a:lnTo>
                      <a:pt x="1063" y="161"/>
                    </a:lnTo>
                    <a:lnTo>
                      <a:pt x="1074" y="158"/>
                    </a:lnTo>
                    <a:lnTo>
                      <a:pt x="1095" y="151"/>
                    </a:lnTo>
                    <a:lnTo>
                      <a:pt x="1116" y="143"/>
                    </a:lnTo>
                    <a:lnTo>
                      <a:pt x="1136" y="134"/>
                    </a:lnTo>
                    <a:lnTo>
                      <a:pt x="1146" y="129"/>
                    </a:lnTo>
                    <a:lnTo>
                      <a:pt x="1155" y="124"/>
                    </a:lnTo>
                    <a:lnTo>
                      <a:pt x="1174" y="112"/>
                    </a:lnTo>
                    <a:lnTo>
                      <a:pt x="1183" y="105"/>
                    </a:lnTo>
                    <a:lnTo>
                      <a:pt x="1192" y="99"/>
                    </a:lnTo>
                    <a:lnTo>
                      <a:pt x="1200" y="92"/>
                    </a:lnTo>
                    <a:lnTo>
                      <a:pt x="1208" y="85"/>
                    </a:lnTo>
                    <a:lnTo>
                      <a:pt x="1217" y="77"/>
                    </a:lnTo>
                    <a:lnTo>
                      <a:pt x="1224" y="70"/>
                    </a:lnTo>
                    <a:lnTo>
                      <a:pt x="1239" y="54"/>
                    </a:lnTo>
                    <a:lnTo>
                      <a:pt x="1246" y="45"/>
                    </a:lnTo>
                    <a:lnTo>
                      <a:pt x="1253" y="37"/>
                    </a:lnTo>
                    <a:lnTo>
                      <a:pt x="1260" y="28"/>
                    </a:lnTo>
                    <a:lnTo>
                      <a:pt x="1266" y="19"/>
                    </a:lnTo>
                    <a:lnTo>
                      <a:pt x="1272" y="10"/>
                    </a:lnTo>
                    <a:lnTo>
                      <a:pt x="1277" y="0"/>
                    </a:lnTo>
                    <a:lnTo>
                      <a:pt x="1966" y="397"/>
                    </a:lnTo>
                    <a:lnTo>
                      <a:pt x="1952" y="422"/>
                    </a:lnTo>
                    <a:lnTo>
                      <a:pt x="1937" y="446"/>
                    </a:lnTo>
                    <a:lnTo>
                      <a:pt x="1921" y="469"/>
                    </a:lnTo>
                    <a:lnTo>
                      <a:pt x="1906" y="492"/>
                    </a:lnTo>
                    <a:lnTo>
                      <a:pt x="1889" y="514"/>
                    </a:lnTo>
                    <a:lnTo>
                      <a:pt x="1872" y="536"/>
                    </a:lnTo>
                    <a:lnTo>
                      <a:pt x="1854" y="558"/>
                    </a:lnTo>
                    <a:lnTo>
                      <a:pt x="1836" y="579"/>
                    </a:lnTo>
                    <a:lnTo>
                      <a:pt x="1818" y="600"/>
                    </a:lnTo>
                    <a:lnTo>
                      <a:pt x="1799" y="620"/>
                    </a:lnTo>
                    <a:lnTo>
                      <a:pt x="1779" y="640"/>
                    </a:lnTo>
                    <a:lnTo>
                      <a:pt x="1759" y="659"/>
                    </a:lnTo>
                    <a:lnTo>
                      <a:pt x="1738" y="678"/>
                    </a:lnTo>
                    <a:lnTo>
                      <a:pt x="1717" y="696"/>
                    </a:lnTo>
                    <a:lnTo>
                      <a:pt x="1696" y="714"/>
                    </a:lnTo>
                    <a:lnTo>
                      <a:pt x="1674" y="731"/>
                    </a:lnTo>
                    <a:lnTo>
                      <a:pt x="1652" y="748"/>
                    </a:lnTo>
                    <a:lnTo>
                      <a:pt x="1629" y="764"/>
                    </a:lnTo>
                    <a:lnTo>
                      <a:pt x="1606" y="779"/>
                    </a:lnTo>
                    <a:lnTo>
                      <a:pt x="1583" y="794"/>
                    </a:lnTo>
                    <a:lnTo>
                      <a:pt x="1559" y="809"/>
                    </a:lnTo>
                    <a:lnTo>
                      <a:pt x="1534" y="823"/>
                    </a:lnTo>
                    <a:lnTo>
                      <a:pt x="1509" y="836"/>
                    </a:lnTo>
                    <a:lnTo>
                      <a:pt x="1485" y="849"/>
                    </a:lnTo>
                    <a:lnTo>
                      <a:pt x="1460" y="861"/>
                    </a:lnTo>
                    <a:lnTo>
                      <a:pt x="1434" y="872"/>
                    </a:lnTo>
                    <a:lnTo>
                      <a:pt x="1409" y="883"/>
                    </a:lnTo>
                    <a:lnTo>
                      <a:pt x="1383" y="893"/>
                    </a:lnTo>
                    <a:lnTo>
                      <a:pt x="1356" y="902"/>
                    </a:lnTo>
                    <a:lnTo>
                      <a:pt x="1330" y="911"/>
                    </a:lnTo>
                    <a:lnTo>
                      <a:pt x="1303" y="919"/>
                    </a:lnTo>
                    <a:lnTo>
                      <a:pt x="1276" y="927"/>
                    </a:lnTo>
                    <a:lnTo>
                      <a:pt x="1249" y="933"/>
                    </a:lnTo>
                    <a:lnTo>
                      <a:pt x="1222" y="940"/>
                    </a:lnTo>
                    <a:lnTo>
                      <a:pt x="1195" y="945"/>
                    </a:lnTo>
                    <a:lnTo>
                      <a:pt x="1168" y="950"/>
                    </a:lnTo>
                    <a:lnTo>
                      <a:pt x="1140" y="954"/>
                    </a:lnTo>
                    <a:lnTo>
                      <a:pt x="1113" y="958"/>
                    </a:lnTo>
                    <a:lnTo>
                      <a:pt x="1085" y="961"/>
                    </a:lnTo>
                    <a:lnTo>
                      <a:pt x="1057" y="963"/>
                    </a:lnTo>
                    <a:lnTo>
                      <a:pt x="1029" y="964"/>
                    </a:lnTo>
                    <a:lnTo>
                      <a:pt x="1002" y="965"/>
                    </a:lnTo>
                    <a:lnTo>
                      <a:pt x="974" y="965"/>
                    </a:lnTo>
                    <a:lnTo>
                      <a:pt x="946" y="965"/>
                    </a:lnTo>
                    <a:lnTo>
                      <a:pt x="918" y="963"/>
                    </a:lnTo>
                    <a:lnTo>
                      <a:pt x="890" y="961"/>
                    </a:lnTo>
                    <a:lnTo>
                      <a:pt x="863" y="959"/>
                    </a:lnTo>
                    <a:lnTo>
                      <a:pt x="835" y="955"/>
                    </a:lnTo>
                    <a:lnTo>
                      <a:pt x="807" y="952"/>
                    </a:lnTo>
                    <a:lnTo>
                      <a:pt x="780" y="947"/>
                    </a:lnTo>
                    <a:lnTo>
                      <a:pt x="753" y="942"/>
                    </a:lnTo>
                    <a:lnTo>
                      <a:pt x="726" y="936"/>
                    </a:lnTo>
                    <a:lnTo>
                      <a:pt x="698" y="929"/>
                    </a:lnTo>
                    <a:lnTo>
                      <a:pt x="672" y="922"/>
                    </a:lnTo>
                    <a:lnTo>
                      <a:pt x="645" y="914"/>
                    </a:lnTo>
                    <a:lnTo>
                      <a:pt x="619" y="905"/>
                    </a:lnTo>
                    <a:lnTo>
                      <a:pt x="592" y="896"/>
                    </a:lnTo>
                    <a:lnTo>
                      <a:pt x="566" y="886"/>
                    </a:lnTo>
                    <a:lnTo>
                      <a:pt x="541" y="876"/>
                    </a:lnTo>
                    <a:lnTo>
                      <a:pt x="515" y="865"/>
                    </a:lnTo>
                    <a:lnTo>
                      <a:pt x="490" y="853"/>
                    </a:lnTo>
                    <a:lnTo>
                      <a:pt x="465" y="840"/>
                    </a:lnTo>
                    <a:lnTo>
                      <a:pt x="440" y="827"/>
                    </a:lnTo>
                    <a:lnTo>
                      <a:pt x="416" y="813"/>
                    </a:lnTo>
                    <a:close/>
                  </a:path>
                </a:pathLst>
              </a:custGeom>
              <a:solidFill>
                <a:srgbClr val="D6EBF6"/>
              </a:solidFill>
              <a:ln w="9525">
                <a:noFill/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1" name="Freeform 32"/>
              <p:cNvSpPr>
                <a:spLocks noChangeAspect="1"/>
              </p:cNvSpPr>
              <p:nvPr/>
            </p:nvSpPr>
            <p:spPr bwMode="auto">
              <a:xfrm>
                <a:off x="8557" y="3519"/>
                <a:ext cx="586" cy="879"/>
              </a:xfrm>
              <a:custGeom>
                <a:avLst/>
                <a:gdLst>
                  <a:gd name="T0" fmla="*/ 1 w 1135"/>
                  <a:gd name="T1" fmla="*/ 1 h 1702"/>
                  <a:gd name="T2" fmla="*/ 1 w 1135"/>
                  <a:gd name="T3" fmla="*/ 1 h 1702"/>
                  <a:gd name="T4" fmla="*/ 1 w 1135"/>
                  <a:gd name="T5" fmla="*/ 1 h 1702"/>
                  <a:gd name="T6" fmla="*/ 1 w 1135"/>
                  <a:gd name="T7" fmla="*/ 1 h 1702"/>
                  <a:gd name="T8" fmla="*/ 1 w 1135"/>
                  <a:gd name="T9" fmla="*/ 1 h 1702"/>
                  <a:gd name="T10" fmla="*/ 1 w 1135"/>
                  <a:gd name="T11" fmla="*/ 1 h 1702"/>
                  <a:gd name="T12" fmla="*/ 1 w 1135"/>
                  <a:gd name="T13" fmla="*/ 1 h 1702"/>
                  <a:gd name="T14" fmla="*/ 0 w 1135"/>
                  <a:gd name="T15" fmla="*/ 1 h 1702"/>
                  <a:gd name="T16" fmla="*/ 1 w 1135"/>
                  <a:gd name="T17" fmla="*/ 1 h 1702"/>
                  <a:gd name="T18" fmla="*/ 1 w 1135"/>
                  <a:gd name="T19" fmla="*/ 1 h 1702"/>
                  <a:gd name="T20" fmla="*/ 1 w 1135"/>
                  <a:gd name="T21" fmla="*/ 1 h 1702"/>
                  <a:gd name="T22" fmla="*/ 1 w 1135"/>
                  <a:gd name="T23" fmla="*/ 1 h 1702"/>
                  <a:gd name="T24" fmla="*/ 1 w 1135"/>
                  <a:gd name="T25" fmla="*/ 1 h 1702"/>
                  <a:gd name="T26" fmla="*/ 1 w 1135"/>
                  <a:gd name="T27" fmla="*/ 1 h 1702"/>
                  <a:gd name="T28" fmla="*/ 1 w 1135"/>
                  <a:gd name="T29" fmla="*/ 1 h 1702"/>
                  <a:gd name="T30" fmla="*/ 1 w 1135"/>
                  <a:gd name="T31" fmla="*/ 1 h 1702"/>
                  <a:gd name="T32" fmla="*/ 1 w 1135"/>
                  <a:gd name="T33" fmla="*/ 1 h 1702"/>
                  <a:gd name="T34" fmla="*/ 1 w 1135"/>
                  <a:gd name="T35" fmla="*/ 1 h 1702"/>
                  <a:gd name="T36" fmla="*/ 1 w 1135"/>
                  <a:gd name="T37" fmla="*/ 1 h 1702"/>
                  <a:gd name="T38" fmla="*/ 1 w 1135"/>
                  <a:gd name="T39" fmla="*/ 1 h 1702"/>
                  <a:gd name="T40" fmla="*/ 1 w 1135"/>
                  <a:gd name="T41" fmla="*/ 1 h 1702"/>
                  <a:gd name="T42" fmla="*/ 1 w 1135"/>
                  <a:gd name="T43" fmla="*/ 1 h 1702"/>
                  <a:gd name="T44" fmla="*/ 1 w 1135"/>
                  <a:gd name="T45" fmla="*/ 1 h 1702"/>
                  <a:gd name="T46" fmla="*/ 1 w 1135"/>
                  <a:gd name="T47" fmla="*/ 1 h 1702"/>
                  <a:gd name="T48" fmla="*/ 1 w 1135"/>
                  <a:gd name="T49" fmla="*/ 1 h 1702"/>
                  <a:gd name="T50" fmla="*/ 1 w 1135"/>
                  <a:gd name="T51" fmla="*/ 1 h 1702"/>
                  <a:gd name="T52" fmla="*/ 1 w 1135"/>
                  <a:gd name="T53" fmla="*/ 1 h 1702"/>
                  <a:gd name="T54" fmla="*/ 1 w 1135"/>
                  <a:gd name="T55" fmla="*/ 1 h 1702"/>
                  <a:gd name="T56" fmla="*/ 1 w 1135"/>
                  <a:gd name="T57" fmla="*/ 0 h 1702"/>
                  <a:gd name="T58" fmla="*/ 1 w 1135"/>
                  <a:gd name="T59" fmla="*/ 1 h 1702"/>
                  <a:gd name="T60" fmla="*/ 1 w 1135"/>
                  <a:gd name="T61" fmla="*/ 1 h 1702"/>
                  <a:gd name="T62" fmla="*/ 1 w 1135"/>
                  <a:gd name="T63" fmla="*/ 1 h 1702"/>
                  <a:gd name="T64" fmla="*/ 1 w 1135"/>
                  <a:gd name="T65" fmla="*/ 1 h 1702"/>
                  <a:gd name="T66" fmla="*/ 1 w 1135"/>
                  <a:gd name="T67" fmla="*/ 1 h 1702"/>
                  <a:gd name="T68" fmla="*/ 1 w 1135"/>
                  <a:gd name="T69" fmla="*/ 1 h 1702"/>
                  <a:gd name="T70" fmla="*/ 1 w 1135"/>
                  <a:gd name="T71" fmla="*/ 1 h 1702"/>
                  <a:gd name="T72" fmla="*/ 1 w 1135"/>
                  <a:gd name="T73" fmla="*/ 1 h 1702"/>
                  <a:gd name="T74" fmla="*/ 1 w 1135"/>
                  <a:gd name="T75" fmla="*/ 1 h 1702"/>
                  <a:gd name="T76" fmla="*/ 1 w 1135"/>
                  <a:gd name="T77" fmla="*/ 1 h 1702"/>
                  <a:gd name="T78" fmla="*/ 1 w 1135"/>
                  <a:gd name="T79" fmla="*/ 1 h 1702"/>
                  <a:gd name="T80" fmla="*/ 1 w 1135"/>
                  <a:gd name="T81" fmla="*/ 1 h 1702"/>
                  <a:gd name="T82" fmla="*/ 1 w 1135"/>
                  <a:gd name="T83" fmla="*/ 1 h 1702"/>
                  <a:gd name="T84" fmla="*/ 1 w 1135"/>
                  <a:gd name="T85" fmla="*/ 1 h 1702"/>
                  <a:gd name="T86" fmla="*/ 1 w 1135"/>
                  <a:gd name="T87" fmla="*/ 1 h 1702"/>
                  <a:gd name="T88" fmla="*/ 1 w 1135"/>
                  <a:gd name="T89" fmla="*/ 1 h 1702"/>
                  <a:gd name="T90" fmla="*/ 1 w 1135"/>
                  <a:gd name="T91" fmla="*/ 1 h 17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35"/>
                  <a:gd name="T139" fmla="*/ 0 h 1702"/>
                  <a:gd name="T140" fmla="*/ 1135 w 1135"/>
                  <a:gd name="T141" fmla="*/ 1702 h 170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35" h="1702">
                    <a:moveTo>
                      <a:pt x="840" y="1305"/>
                    </a:moveTo>
                    <a:lnTo>
                      <a:pt x="152" y="1702"/>
                    </a:lnTo>
                    <a:lnTo>
                      <a:pt x="139" y="1678"/>
                    </a:lnTo>
                    <a:lnTo>
                      <a:pt x="126" y="1653"/>
                    </a:lnTo>
                    <a:lnTo>
                      <a:pt x="113" y="1628"/>
                    </a:lnTo>
                    <a:lnTo>
                      <a:pt x="101" y="1603"/>
                    </a:lnTo>
                    <a:lnTo>
                      <a:pt x="90" y="1578"/>
                    </a:lnTo>
                    <a:lnTo>
                      <a:pt x="80" y="1552"/>
                    </a:lnTo>
                    <a:lnTo>
                      <a:pt x="70" y="1526"/>
                    </a:lnTo>
                    <a:lnTo>
                      <a:pt x="61" y="1500"/>
                    </a:lnTo>
                    <a:lnTo>
                      <a:pt x="52" y="1473"/>
                    </a:lnTo>
                    <a:lnTo>
                      <a:pt x="44" y="1447"/>
                    </a:lnTo>
                    <a:lnTo>
                      <a:pt x="37" y="1420"/>
                    </a:lnTo>
                    <a:lnTo>
                      <a:pt x="30" y="1393"/>
                    </a:lnTo>
                    <a:lnTo>
                      <a:pt x="24" y="1365"/>
                    </a:lnTo>
                    <a:lnTo>
                      <a:pt x="19" y="1338"/>
                    </a:lnTo>
                    <a:lnTo>
                      <a:pt x="14" y="1311"/>
                    </a:lnTo>
                    <a:lnTo>
                      <a:pt x="10" y="1283"/>
                    </a:lnTo>
                    <a:lnTo>
                      <a:pt x="7" y="1256"/>
                    </a:lnTo>
                    <a:lnTo>
                      <a:pt x="4" y="1228"/>
                    </a:lnTo>
                    <a:lnTo>
                      <a:pt x="2" y="1200"/>
                    </a:lnTo>
                    <a:lnTo>
                      <a:pt x="1" y="1172"/>
                    </a:lnTo>
                    <a:lnTo>
                      <a:pt x="0" y="1145"/>
                    </a:lnTo>
                    <a:lnTo>
                      <a:pt x="0" y="1117"/>
                    </a:lnTo>
                    <a:lnTo>
                      <a:pt x="1" y="1089"/>
                    </a:lnTo>
                    <a:lnTo>
                      <a:pt x="2" y="1061"/>
                    </a:lnTo>
                    <a:lnTo>
                      <a:pt x="5" y="1033"/>
                    </a:lnTo>
                    <a:lnTo>
                      <a:pt x="7" y="1006"/>
                    </a:lnTo>
                    <a:lnTo>
                      <a:pt x="11" y="978"/>
                    </a:lnTo>
                    <a:lnTo>
                      <a:pt x="15" y="951"/>
                    </a:lnTo>
                    <a:lnTo>
                      <a:pt x="20" y="923"/>
                    </a:lnTo>
                    <a:lnTo>
                      <a:pt x="26" y="896"/>
                    </a:lnTo>
                    <a:lnTo>
                      <a:pt x="32" y="869"/>
                    </a:lnTo>
                    <a:lnTo>
                      <a:pt x="39" y="842"/>
                    </a:lnTo>
                    <a:lnTo>
                      <a:pt x="47" y="815"/>
                    </a:lnTo>
                    <a:lnTo>
                      <a:pt x="51" y="802"/>
                    </a:lnTo>
                    <a:lnTo>
                      <a:pt x="55" y="788"/>
                    </a:lnTo>
                    <a:lnTo>
                      <a:pt x="64" y="762"/>
                    </a:lnTo>
                    <a:lnTo>
                      <a:pt x="73" y="736"/>
                    </a:lnTo>
                    <a:lnTo>
                      <a:pt x="83" y="710"/>
                    </a:lnTo>
                    <a:lnTo>
                      <a:pt x="94" y="684"/>
                    </a:lnTo>
                    <a:lnTo>
                      <a:pt x="105" y="659"/>
                    </a:lnTo>
                    <a:lnTo>
                      <a:pt x="117" y="634"/>
                    </a:lnTo>
                    <a:lnTo>
                      <a:pt x="130" y="609"/>
                    </a:lnTo>
                    <a:lnTo>
                      <a:pt x="143" y="584"/>
                    </a:lnTo>
                    <a:lnTo>
                      <a:pt x="157" y="559"/>
                    </a:lnTo>
                    <a:lnTo>
                      <a:pt x="171" y="535"/>
                    </a:lnTo>
                    <a:lnTo>
                      <a:pt x="186" y="512"/>
                    </a:lnTo>
                    <a:lnTo>
                      <a:pt x="202" y="489"/>
                    </a:lnTo>
                    <a:lnTo>
                      <a:pt x="218" y="466"/>
                    </a:lnTo>
                    <a:lnTo>
                      <a:pt x="235" y="444"/>
                    </a:lnTo>
                    <a:lnTo>
                      <a:pt x="252" y="422"/>
                    </a:lnTo>
                    <a:lnTo>
                      <a:pt x="270" y="401"/>
                    </a:lnTo>
                    <a:lnTo>
                      <a:pt x="288" y="380"/>
                    </a:lnTo>
                    <a:lnTo>
                      <a:pt x="306" y="359"/>
                    </a:lnTo>
                    <a:lnTo>
                      <a:pt x="326" y="339"/>
                    </a:lnTo>
                    <a:lnTo>
                      <a:pt x="345" y="319"/>
                    </a:lnTo>
                    <a:lnTo>
                      <a:pt x="366" y="300"/>
                    </a:lnTo>
                    <a:lnTo>
                      <a:pt x="386" y="281"/>
                    </a:lnTo>
                    <a:lnTo>
                      <a:pt x="407" y="263"/>
                    </a:lnTo>
                    <a:lnTo>
                      <a:pt x="429" y="246"/>
                    </a:lnTo>
                    <a:lnTo>
                      <a:pt x="451" y="229"/>
                    </a:lnTo>
                    <a:lnTo>
                      <a:pt x="473" y="212"/>
                    </a:lnTo>
                    <a:lnTo>
                      <a:pt x="496" y="196"/>
                    </a:lnTo>
                    <a:lnTo>
                      <a:pt x="520" y="181"/>
                    </a:lnTo>
                    <a:lnTo>
                      <a:pt x="543" y="166"/>
                    </a:lnTo>
                    <a:lnTo>
                      <a:pt x="568" y="152"/>
                    </a:lnTo>
                    <a:lnTo>
                      <a:pt x="584" y="143"/>
                    </a:lnTo>
                    <a:lnTo>
                      <a:pt x="601" y="134"/>
                    </a:lnTo>
                    <a:lnTo>
                      <a:pt x="634" y="117"/>
                    </a:lnTo>
                    <a:lnTo>
                      <a:pt x="650" y="109"/>
                    </a:lnTo>
                    <a:lnTo>
                      <a:pt x="667" y="101"/>
                    </a:lnTo>
                    <a:lnTo>
                      <a:pt x="701" y="87"/>
                    </a:lnTo>
                    <a:lnTo>
                      <a:pt x="736" y="73"/>
                    </a:lnTo>
                    <a:lnTo>
                      <a:pt x="771" y="60"/>
                    </a:lnTo>
                    <a:lnTo>
                      <a:pt x="806" y="49"/>
                    </a:lnTo>
                    <a:lnTo>
                      <a:pt x="842" y="39"/>
                    </a:lnTo>
                    <a:lnTo>
                      <a:pt x="878" y="30"/>
                    </a:lnTo>
                    <a:lnTo>
                      <a:pt x="896" y="26"/>
                    </a:lnTo>
                    <a:lnTo>
                      <a:pt x="914" y="22"/>
                    </a:lnTo>
                    <a:lnTo>
                      <a:pt x="950" y="15"/>
                    </a:lnTo>
                    <a:lnTo>
                      <a:pt x="987" y="10"/>
                    </a:lnTo>
                    <a:lnTo>
                      <a:pt x="1024" y="6"/>
                    </a:lnTo>
                    <a:lnTo>
                      <a:pt x="1061" y="3"/>
                    </a:lnTo>
                    <a:lnTo>
                      <a:pt x="1079" y="2"/>
                    </a:lnTo>
                    <a:lnTo>
                      <a:pt x="1098" y="1"/>
                    </a:lnTo>
                    <a:lnTo>
                      <a:pt x="1117" y="0"/>
                    </a:lnTo>
                    <a:lnTo>
                      <a:pt x="1135" y="0"/>
                    </a:lnTo>
                    <a:lnTo>
                      <a:pt x="1135" y="795"/>
                    </a:lnTo>
                    <a:lnTo>
                      <a:pt x="1117" y="795"/>
                    </a:lnTo>
                    <a:lnTo>
                      <a:pt x="1100" y="797"/>
                    </a:lnTo>
                    <a:lnTo>
                      <a:pt x="1092" y="798"/>
                    </a:lnTo>
                    <a:lnTo>
                      <a:pt x="1083" y="799"/>
                    </a:lnTo>
                    <a:lnTo>
                      <a:pt x="1075" y="800"/>
                    </a:lnTo>
                    <a:lnTo>
                      <a:pt x="1066" y="802"/>
                    </a:lnTo>
                    <a:lnTo>
                      <a:pt x="1050" y="806"/>
                    </a:lnTo>
                    <a:lnTo>
                      <a:pt x="1034" y="810"/>
                    </a:lnTo>
                    <a:lnTo>
                      <a:pt x="1018" y="816"/>
                    </a:lnTo>
                    <a:lnTo>
                      <a:pt x="1003" y="822"/>
                    </a:lnTo>
                    <a:lnTo>
                      <a:pt x="988" y="829"/>
                    </a:lnTo>
                    <a:lnTo>
                      <a:pt x="973" y="836"/>
                    </a:lnTo>
                    <a:lnTo>
                      <a:pt x="959" y="844"/>
                    </a:lnTo>
                    <a:lnTo>
                      <a:pt x="945" y="853"/>
                    </a:lnTo>
                    <a:lnTo>
                      <a:pt x="931" y="863"/>
                    </a:lnTo>
                    <a:lnTo>
                      <a:pt x="919" y="873"/>
                    </a:lnTo>
                    <a:lnTo>
                      <a:pt x="906" y="883"/>
                    </a:lnTo>
                    <a:lnTo>
                      <a:pt x="894" y="895"/>
                    </a:lnTo>
                    <a:lnTo>
                      <a:pt x="883" y="906"/>
                    </a:lnTo>
                    <a:lnTo>
                      <a:pt x="872" y="919"/>
                    </a:lnTo>
                    <a:lnTo>
                      <a:pt x="862" y="932"/>
                    </a:lnTo>
                    <a:lnTo>
                      <a:pt x="853" y="945"/>
                    </a:lnTo>
                    <a:lnTo>
                      <a:pt x="844" y="959"/>
                    </a:lnTo>
                    <a:lnTo>
                      <a:pt x="836" y="973"/>
                    </a:lnTo>
                    <a:lnTo>
                      <a:pt x="828" y="988"/>
                    </a:lnTo>
                    <a:lnTo>
                      <a:pt x="822" y="1003"/>
                    </a:lnTo>
                    <a:lnTo>
                      <a:pt x="818" y="1010"/>
                    </a:lnTo>
                    <a:lnTo>
                      <a:pt x="815" y="1018"/>
                    </a:lnTo>
                    <a:lnTo>
                      <a:pt x="810" y="1034"/>
                    </a:lnTo>
                    <a:lnTo>
                      <a:pt x="808" y="1042"/>
                    </a:lnTo>
                    <a:lnTo>
                      <a:pt x="806" y="1050"/>
                    </a:lnTo>
                    <a:lnTo>
                      <a:pt x="802" y="1067"/>
                    </a:lnTo>
                    <a:lnTo>
                      <a:pt x="800" y="1075"/>
                    </a:lnTo>
                    <a:lnTo>
                      <a:pt x="799" y="1083"/>
                    </a:lnTo>
                    <a:lnTo>
                      <a:pt x="797" y="1100"/>
                    </a:lnTo>
                    <a:lnTo>
                      <a:pt x="795" y="1118"/>
                    </a:lnTo>
                    <a:lnTo>
                      <a:pt x="795" y="1135"/>
                    </a:lnTo>
                    <a:lnTo>
                      <a:pt x="795" y="1147"/>
                    </a:lnTo>
                    <a:lnTo>
                      <a:pt x="796" y="1158"/>
                    </a:lnTo>
                    <a:lnTo>
                      <a:pt x="798" y="1181"/>
                    </a:lnTo>
                    <a:lnTo>
                      <a:pt x="800" y="1192"/>
                    </a:lnTo>
                    <a:lnTo>
                      <a:pt x="802" y="1203"/>
                    </a:lnTo>
                    <a:lnTo>
                      <a:pt x="807" y="1225"/>
                    </a:lnTo>
                    <a:lnTo>
                      <a:pt x="810" y="1235"/>
                    </a:lnTo>
                    <a:lnTo>
                      <a:pt x="813" y="1246"/>
                    </a:lnTo>
                    <a:lnTo>
                      <a:pt x="821" y="1266"/>
                    </a:lnTo>
                    <a:lnTo>
                      <a:pt x="825" y="1276"/>
                    </a:lnTo>
                    <a:lnTo>
                      <a:pt x="830" y="1286"/>
                    </a:lnTo>
                    <a:lnTo>
                      <a:pt x="840" y="1305"/>
                    </a:lnTo>
                    <a:close/>
                  </a:path>
                </a:pathLst>
              </a:custGeom>
              <a:solidFill>
                <a:srgbClr val="D6EBF6"/>
              </a:solidFill>
              <a:ln w="9525">
                <a:noFill/>
                <a:round/>
                <a:headEnd/>
                <a:tailEnd/>
              </a:ln>
            </p:spPr>
            <p:txBody>
              <a:bodyPr lIns="45720" rIns="45720" anchor="ctr" anchorCtr="1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4" name="Text Box 33"/>
            <p:cNvSpPr txBox="1">
              <a:spLocks noChangeArrowheads="1"/>
            </p:cNvSpPr>
            <p:nvPr/>
          </p:nvSpPr>
          <p:spPr bwMode="auto">
            <a:xfrm>
              <a:off x="8942" y="3619"/>
              <a:ext cx="400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술적</a:t>
              </a:r>
            </a:p>
          </p:txBody>
        </p:sp>
        <p:sp>
          <p:nvSpPr>
            <p:cNvPr id="65" name="Text Box 34"/>
            <p:cNvSpPr txBox="1">
              <a:spLocks noChangeArrowheads="1"/>
            </p:cNvSpPr>
            <p:nvPr/>
          </p:nvSpPr>
          <p:spPr bwMode="auto">
            <a:xfrm>
              <a:off x="9258" y="4195"/>
              <a:ext cx="400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물리적</a:t>
              </a:r>
            </a:p>
          </p:txBody>
        </p:sp>
        <p:sp>
          <p:nvSpPr>
            <p:cNvPr id="66" name="Text Box 35"/>
            <p:cNvSpPr txBox="1">
              <a:spLocks noChangeArrowheads="1"/>
            </p:cNvSpPr>
            <p:nvPr/>
          </p:nvSpPr>
          <p:spPr bwMode="auto">
            <a:xfrm>
              <a:off x="8629" y="4195"/>
              <a:ext cx="400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적</a:t>
              </a:r>
            </a:p>
          </p:txBody>
        </p:sp>
        <p:grpSp>
          <p:nvGrpSpPr>
            <p:cNvPr id="67" name="Group 36"/>
            <p:cNvGrpSpPr>
              <a:grpSpLocks/>
            </p:cNvGrpSpPr>
            <p:nvPr/>
          </p:nvGrpSpPr>
          <p:grpSpPr bwMode="auto">
            <a:xfrm>
              <a:off x="8396" y="3449"/>
              <a:ext cx="1494" cy="249"/>
              <a:chOff x="8406" y="3449"/>
              <a:chExt cx="1494" cy="249"/>
            </a:xfrm>
          </p:grpSpPr>
          <p:sp>
            <p:nvSpPr>
              <p:cNvPr id="77" name="Text Box 37"/>
              <p:cNvSpPr txBox="1">
                <a:spLocks noChangeArrowheads="1"/>
              </p:cNvSpPr>
              <p:nvPr/>
            </p:nvSpPr>
            <p:spPr bwMode="auto">
              <a:xfrm>
                <a:off x="9425" y="3449"/>
                <a:ext cx="475" cy="24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45720" rIns="45720" anchor="ctr" anchorCtr="1"/>
              <a:lstStyle/>
              <a:p>
                <a:pPr algn="ctr" eaLnBrk="0" fontAlgn="auto" latinLnBrk="0" hangingPunct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200">
                    <a:latin typeface="맑은 고딕" pitchFamily="50" charset="-127"/>
                    <a:ea typeface="맑은 고딕" pitchFamily="50" charset="-127"/>
                  </a:rPr>
                  <a:t>데이터</a:t>
                </a:r>
              </a:p>
            </p:txBody>
          </p:sp>
          <p:sp>
            <p:nvSpPr>
              <p:cNvPr id="78" name="Text Box 38"/>
              <p:cNvSpPr txBox="1">
                <a:spLocks noChangeArrowheads="1"/>
              </p:cNvSpPr>
              <p:nvPr/>
            </p:nvSpPr>
            <p:spPr bwMode="auto">
              <a:xfrm>
                <a:off x="8406" y="3449"/>
                <a:ext cx="475" cy="24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45720" rIns="45720" anchor="ctr" anchorCtr="1"/>
              <a:lstStyle/>
              <a:p>
                <a:pPr algn="ctr" eaLnBrk="0" fontAlgn="auto" latinLnBrk="0" hangingPunct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200">
                    <a:latin typeface="맑은 고딕" pitchFamily="50" charset="-127"/>
                    <a:ea typeface="맑은 고딕" pitchFamily="50" charset="-127"/>
                  </a:rPr>
                  <a:t>네트워크</a:t>
                </a:r>
              </a:p>
            </p:txBody>
          </p:sp>
        </p:grpSp>
        <p:sp>
          <p:nvSpPr>
            <p:cNvPr id="68" name="Text Box 39"/>
            <p:cNvSpPr txBox="1">
              <a:spLocks noChangeArrowheads="1"/>
            </p:cNvSpPr>
            <p:nvPr/>
          </p:nvSpPr>
          <p:spPr bwMode="auto">
            <a:xfrm>
              <a:off x="9638" y="3995"/>
              <a:ext cx="4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</a:rPr>
                <a:t>하드</a:t>
              </a: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200" dirty="0" err="1" smtClean="0">
                  <a:latin typeface="맑은 고딕" pitchFamily="50" charset="-127"/>
                  <a:ea typeface="맑은 고딕" pitchFamily="50" charset="-127"/>
                </a:rPr>
                <a:t>웨어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Text Box 40"/>
            <p:cNvSpPr txBox="1">
              <a:spLocks noChangeArrowheads="1"/>
            </p:cNvSpPr>
            <p:nvPr/>
          </p:nvSpPr>
          <p:spPr bwMode="auto">
            <a:xfrm>
              <a:off x="9327" y="4581"/>
              <a:ext cx="4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>
                  <a:latin typeface="맑은 고딕" pitchFamily="50" charset="-127"/>
                  <a:ea typeface="맑은 고딕" pitchFamily="50" charset="-127"/>
                </a:rPr>
                <a:t>장소</a:t>
              </a:r>
            </a:p>
          </p:txBody>
        </p:sp>
        <p:sp>
          <p:nvSpPr>
            <p:cNvPr id="70" name="Text Box 41"/>
            <p:cNvSpPr txBox="1">
              <a:spLocks noChangeArrowheads="1"/>
            </p:cNvSpPr>
            <p:nvPr/>
          </p:nvSpPr>
          <p:spPr bwMode="auto">
            <a:xfrm>
              <a:off x="8611" y="4633"/>
              <a:ext cx="4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>
                  <a:latin typeface="맑은 고딕" pitchFamily="50" charset="-127"/>
                  <a:ea typeface="맑은 고딕" pitchFamily="50" charset="-127"/>
                </a:rPr>
                <a:t>문서</a:t>
              </a:r>
            </a:p>
          </p:txBody>
        </p:sp>
        <p:sp>
          <p:nvSpPr>
            <p:cNvPr id="71" name="Text Box 42"/>
            <p:cNvSpPr txBox="1">
              <a:spLocks noChangeArrowheads="1"/>
            </p:cNvSpPr>
            <p:nvPr/>
          </p:nvSpPr>
          <p:spPr bwMode="auto">
            <a:xfrm>
              <a:off x="8154" y="3922"/>
              <a:ext cx="4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>
                  <a:latin typeface="맑은 고딕" pitchFamily="50" charset="-127"/>
                  <a:ea typeface="맑은 고딕" pitchFamily="50" charset="-127"/>
                </a:rPr>
                <a:t>조직</a:t>
              </a:r>
            </a:p>
          </p:txBody>
        </p:sp>
        <p:sp>
          <p:nvSpPr>
            <p:cNvPr id="72" name="Text Box 43"/>
            <p:cNvSpPr txBox="1">
              <a:spLocks noChangeArrowheads="1"/>
            </p:cNvSpPr>
            <p:nvPr/>
          </p:nvSpPr>
          <p:spPr bwMode="auto">
            <a:xfrm>
              <a:off x="8270" y="4337"/>
              <a:ext cx="475" cy="24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>
                  <a:latin typeface="맑은 고딕" pitchFamily="50" charset="-127"/>
                  <a:ea typeface="맑은 고딕" pitchFamily="50" charset="-127"/>
                </a:rPr>
                <a:t>인원</a:t>
              </a:r>
            </a:p>
          </p:txBody>
        </p:sp>
        <p:sp>
          <p:nvSpPr>
            <p:cNvPr id="73" name="Line 44"/>
            <p:cNvSpPr>
              <a:spLocks noChangeShapeType="1"/>
            </p:cNvSpPr>
            <p:nvPr/>
          </p:nvSpPr>
          <p:spPr bwMode="auto">
            <a:xfrm>
              <a:off x="8366" y="3645"/>
              <a:ext cx="617" cy="376"/>
            </a:xfrm>
            <a:prstGeom prst="line">
              <a:avLst/>
            </a:prstGeom>
            <a:noFill/>
            <a:ln w="19050">
              <a:solidFill>
                <a:srgbClr val="006699"/>
              </a:solidFill>
              <a:round/>
              <a:headEnd/>
              <a:tailEnd/>
            </a:ln>
          </p:spPr>
          <p:txBody>
            <a:bodyPr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</a:pPr>
              <a:endParaRPr lang="en-US" sz="18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Line 45"/>
            <p:cNvSpPr>
              <a:spLocks noChangeShapeType="1"/>
            </p:cNvSpPr>
            <p:nvPr/>
          </p:nvSpPr>
          <p:spPr bwMode="auto">
            <a:xfrm flipV="1">
              <a:off x="9143" y="4280"/>
              <a:ext cx="0" cy="732"/>
            </a:xfrm>
            <a:prstGeom prst="line">
              <a:avLst/>
            </a:prstGeom>
            <a:noFill/>
            <a:ln w="19050">
              <a:solidFill>
                <a:srgbClr val="006699"/>
              </a:solidFill>
              <a:round/>
              <a:headEnd/>
              <a:tailEnd/>
            </a:ln>
          </p:spPr>
          <p:txBody>
            <a:bodyPr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</a:pPr>
              <a:endParaRPr lang="en-US" sz="18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Line 46"/>
            <p:cNvSpPr>
              <a:spLocks noChangeShapeType="1"/>
            </p:cNvSpPr>
            <p:nvPr/>
          </p:nvSpPr>
          <p:spPr bwMode="auto">
            <a:xfrm flipH="1">
              <a:off x="9308" y="3645"/>
              <a:ext cx="617" cy="376"/>
            </a:xfrm>
            <a:prstGeom prst="line">
              <a:avLst/>
            </a:prstGeom>
            <a:noFill/>
            <a:ln w="19050">
              <a:solidFill>
                <a:srgbClr val="006699"/>
              </a:solidFill>
              <a:round/>
              <a:headEnd/>
              <a:tailEnd/>
            </a:ln>
          </p:spPr>
          <p:txBody>
            <a:bodyPr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</a:pPr>
              <a:endParaRPr lang="en-US" sz="1800" b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6" name="Oval 47"/>
            <p:cNvSpPr>
              <a:spLocks noChangeArrowheads="1"/>
            </p:cNvSpPr>
            <p:nvPr/>
          </p:nvSpPr>
          <p:spPr bwMode="auto">
            <a:xfrm>
              <a:off x="8917" y="3878"/>
              <a:ext cx="453" cy="45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rgbClr val="0066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안</a:t>
              </a:r>
            </a:p>
          </p:txBody>
        </p:sp>
      </p:grpSp>
      <p:sp>
        <p:nvSpPr>
          <p:cNvPr id="9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관리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23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520378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128621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안 가격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직사각형 3"/>
          <p:cNvSpPr/>
          <p:nvPr/>
        </p:nvSpPr>
        <p:spPr bwMode="auto">
          <a:xfrm>
            <a:off x="1676636" y="2096852"/>
            <a:ext cx="6552728" cy="266429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40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도 제출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가격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5816912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292924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ecutive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재박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담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 smtClean="0">
                <a:solidFill>
                  <a:srgbClr val="FFFFFF"/>
                </a:solidFill>
              </a:rPr>
              <a:t>VI</a:t>
            </a:r>
            <a:r>
              <a:rPr lang="en-US" altLang="ko-KR" sz="1400" kern="0" dirty="0">
                <a:solidFill>
                  <a:srgbClr val="FFFFFF"/>
                </a:solidFill>
              </a:rPr>
              <a:t>I</a:t>
            </a:r>
            <a:r>
              <a:rPr lang="en-US" altLang="ko-KR" sz="1400" kern="0" dirty="0" smtClean="0">
                <a:solidFill>
                  <a:srgbClr val="FFFFFF"/>
                </a:solidFill>
              </a:rPr>
              <a:t>. </a:t>
            </a:r>
            <a:r>
              <a:rPr lang="ko-KR" altLang="en-US" sz="1400" kern="0" dirty="0" smtClean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재박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관리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gital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컴퓨터공학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705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PMG</a:t>
                      </a:r>
                      <a:endParaRPr lang="ko-KR" altLang="en-US" sz="12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7 ~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 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igital </a:t>
                      </a:r>
                      <a:r>
                        <a:rPr lang="en-US" altLang="ko-KR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ransformation</a:t>
                      </a:r>
                      <a:r>
                        <a:rPr lang="ko-KR" altLang="en-US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팀</a:t>
                      </a:r>
                      <a:r>
                        <a:rPr lang="en-US" altLang="ko-KR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담당 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artner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ccenture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1 ~ 2016.07</a:t>
                      </a:r>
                      <a:endParaRPr 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사업본부 상무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DL (Arthur D. Little)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10 ~ 2010.10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rategy &amp; Organization </a:t>
                      </a: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팀장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ccenture</a:t>
                      </a:r>
                      <a:endParaRPr lang="ko-KR" altLang="en-US" sz="1200" b="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4 ~ 2009.09</a:t>
                      </a:r>
                      <a:endParaRPr lang="ko-KR" altLang="en-US" sz="1200" b="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spc="0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사업본부</a:t>
                      </a:r>
                      <a:endParaRPr lang="en-US" altLang="ko-KR" sz="1200" b="0" i="0" u="none" strike="noStrike" spc="0" dirty="0"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4" name="그림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165" y="1799320"/>
            <a:ext cx="1259866" cy="152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28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oject Executive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재박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담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9309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B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민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6.08 ~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B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민카드 차세대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시스템 마스터플랜 컨설팅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 </a:t>
                      </a:r>
                      <a:r>
                        <a:rPr lang="en-US" altLang="ko-KR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마케팅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상품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채널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경영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AA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등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38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BC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카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6.09 ~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재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BC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카드 차세대 시스템 마스터플랜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 </a:t>
                      </a:r>
                      <a:r>
                        <a:rPr lang="en-US" altLang="ko-KR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즈니스</a:t>
                      </a:r>
                      <a:r>
                        <a:rPr lang="en-US" altLang="ko-KR" sz="1200" b="0" i="0" u="none" strike="noStrike" kern="1200" dirty="0" smtClean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AA)</a:t>
                      </a:r>
                      <a:endParaRPr lang="ko-KR" altLang="en-US" sz="1200" b="0" i="0" u="none" strike="noStrike" kern="1200" dirty="0">
                        <a:solidFill>
                          <a:srgbClr val="262626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03 ~ 2015.03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차세대 시스템 구축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MO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2.11 ~ 2013.0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차세대 시스템 마스터플랜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업무분석 및 구축준비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컨설팅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689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5.04 ~ 2016.03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Digital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Channel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요건 고도화 및 감리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4.04 ~ 2014.10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Governance</a:t>
                      </a:r>
                    </a:p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체계수립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1.02 ~ 2012.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 차세대 시스템 구축 프로젝트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MO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344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1.05 ~ 2011.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 차세대 상품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마케팅 요건 고도화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0.05 ~ 2010.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카드 차세대 </a:t>
                      </a: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aster Plan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립 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17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우리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5.04 ~ 2015.11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우리카드 캠페인 관리 컨설팅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0.07 ~ 2010.10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 카드모집인 채널 전략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카드 모집인 채널전략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생산성 향상 방안 수립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SSP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행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0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oject Executive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재박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담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08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9985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기업은행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8.04 ~ 2008.0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기업은행 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SP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립 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차세대 과제 도출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마스터플랜 수립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b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</a:b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조직 및 </a:t>
                      </a:r>
                      <a:r>
                        <a:rPr lang="ko-KR" altLang="en-US" sz="1200" b="0" i="0" u="none" strike="noStrike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거버넌스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7.06 ~ 2007.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Transformation Assessment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Transformation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 정의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용 분석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산업은행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11 ~ 2004.1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산업은행 </a:t>
                      </a: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Basel II Master Planning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Basel II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마스터 플랜 수립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372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09 ~ 2004.1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차세대 여신 요건 정의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여신업무 분석 및 설계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05 ~ 2004.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Upgrade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한은행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Architecture Upgrade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민은행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3.04 ~ 2003.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민은행 차세대 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Technology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아키텍처 프로젝트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차세대 아키텍처 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생명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4.01 ~ 2014.05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생명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obile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략 수립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 총괄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M </a:t>
                      </a:r>
                      <a:endParaRPr lang="ko-KR" altLang="en-US" sz="12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화재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09 ~ 2013.12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화재 보험 코어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I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및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aster Plan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립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계약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상의 통합 프로세스 설계 및 개선과제 도출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03 ~ 2013.0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  <a:r>
                        <a:rPr lang="en-US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latform Migration Master Plan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즈니스 과제 연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솔루션 선정 및 아키텍처 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체 프로그램 관리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교보생명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2.11 ~ 2013.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교보디지털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BTO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즈니스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IT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요건 총괄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체 프로그램 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2394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선도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카드사 차세대 경험을 보유한 정예 인력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투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 프로젝트에는 신한카드</a:t>
            </a:r>
            <a:r>
              <a:rPr lang="en-US" altLang="ko-KR" dirty="0" smtClean="0"/>
              <a:t> </a:t>
            </a:r>
            <a:r>
              <a:rPr lang="ko-KR" altLang="en-US" dirty="0" smtClean="0"/>
              <a:t>및 삼성카드 등의 차세대 </a:t>
            </a:r>
            <a:r>
              <a:rPr lang="en-US" altLang="ko-KR" dirty="0" smtClean="0"/>
              <a:t>PI/MP/PMO </a:t>
            </a:r>
            <a:r>
              <a:rPr lang="ko-KR" altLang="en-US" dirty="0" smtClean="0"/>
              <a:t>경험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각 영역별 전문성을 보유한 정예 인력을 투입함 </a:t>
            </a:r>
            <a:r>
              <a:rPr lang="en-US" altLang="ko-KR" dirty="0" smtClean="0"/>
              <a:t>(</a:t>
            </a:r>
            <a:r>
              <a:rPr lang="ko-KR" altLang="en-US" dirty="0" smtClean="0"/>
              <a:t>계속</a:t>
            </a:r>
            <a:r>
              <a:rPr lang="en-US" altLang="ko-KR" dirty="0" smtClean="0"/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428316" y="1388608"/>
            <a:ext cx="3272395" cy="307777"/>
            <a:chOff x="6071415" y="1388608"/>
            <a:chExt cx="3240000" cy="307777"/>
          </a:xfrm>
        </p:grpSpPr>
        <p:sp>
          <p:nvSpPr>
            <p:cNvPr id="7" name="직사각형 6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투입 인력 특장점</a:t>
              </a:r>
            </a:p>
          </p:txBody>
        </p:sp>
        <p:cxnSp>
          <p:nvCxnSpPr>
            <p:cNvPr id="8" name="직선 연결선 7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" name="그룹 9"/>
          <p:cNvGrpSpPr/>
          <p:nvPr/>
        </p:nvGrpSpPr>
        <p:grpSpPr>
          <a:xfrm>
            <a:off x="5774801" y="1388268"/>
            <a:ext cx="1645174" cy="307777"/>
            <a:chOff x="6071415" y="1388608"/>
            <a:chExt cx="3240000" cy="307777"/>
          </a:xfrm>
        </p:grpSpPr>
        <p:sp>
          <p:nvSpPr>
            <p:cNvPr id="11" name="직사각형 10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주요 경력</a:t>
              </a:r>
              <a:endParaRPr kumimoji="1"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12" name="직선 연결선 11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그룹 12"/>
          <p:cNvGrpSpPr/>
          <p:nvPr/>
        </p:nvGrpSpPr>
        <p:grpSpPr>
          <a:xfrm>
            <a:off x="7505701" y="1388961"/>
            <a:ext cx="2127250" cy="307777"/>
            <a:chOff x="6071415" y="1388608"/>
            <a:chExt cx="3240000" cy="307777"/>
          </a:xfrm>
        </p:grpSpPr>
        <p:sp>
          <p:nvSpPr>
            <p:cNvPr id="14" name="직사각형 13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 lIns="36000" rIns="36000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업에 대한 전문성 확보</a:t>
              </a:r>
            </a:p>
          </p:txBody>
        </p:sp>
        <p:cxnSp>
          <p:nvCxnSpPr>
            <p:cNvPr id="15" name="직선 연결선 14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7" name="직사각형 16"/>
          <p:cNvSpPr/>
          <p:nvPr/>
        </p:nvSpPr>
        <p:spPr bwMode="auto">
          <a:xfrm>
            <a:off x="295474" y="1835373"/>
            <a:ext cx="2058204" cy="136815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2428315" y="1845212"/>
            <a:ext cx="3272395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사 </a:t>
            </a:r>
            <a:r>
              <a:rPr kumimoji="1" lang="en-US" altLang="ko-KR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/MP/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 시스템 전문가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: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KB/BC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에서 차세대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전략수립부터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, PMO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까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End-to-End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리드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보험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은행 등 금융권 전반의 전략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프로세스 설계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아키텍처 수립 등 다수 프로젝트 수행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en-US" altLang="ko-KR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KPMG Digital Transformation 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담당 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파트너</a:t>
            </a:r>
            <a:endParaRPr kumimoji="1" lang="en-US" altLang="ko-KR" sz="1200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5783778" y="1835373"/>
            <a:ext cx="1636198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카드 및 삼성카드 차세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MP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상품 및 마케팅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채널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MO</a:t>
            </a:r>
          </a:p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KB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국민카드 및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BC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 차세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MP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현대카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SSP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등 </a:t>
            </a:r>
            <a:endParaRPr kumimoji="1" lang="en-US" altLang="ko-KR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7504245" y="1828509"/>
            <a:ext cx="2128706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“</a:t>
            </a:r>
            <a:r>
              <a:rPr kumimoji="1" lang="ko-KR" altLang="en-US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국내 대형 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사 </a:t>
            </a:r>
            <a:r>
              <a:rPr kumimoji="1" lang="ko-KR" altLang="en-US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비즈니스 및 차세대 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전문가</a:t>
            </a:r>
            <a:r>
              <a: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“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1269707" y="2068734"/>
            <a:ext cx="1051150" cy="8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>
                <a:latin typeface="맑은 고딕"/>
                <a:ea typeface="맑은 고딕"/>
              </a:rPr>
              <a:t>조재박 파트너</a:t>
            </a:r>
            <a:endParaRPr lang="en-US" altLang="ko-KR" sz="1200" dirty="0">
              <a:latin typeface="맑은 고딕"/>
              <a:ea typeface="맑은 고딕"/>
            </a:endParaRPr>
          </a:p>
          <a:p>
            <a:pPr algn="ctr" latinLnBrk="0">
              <a:spcBef>
                <a:spcPct val="30000"/>
              </a:spcBef>
            </a:pPr>
            <a:endParaRPr lang="en-US" altLang="ko-KR" sz="300" dirty="0">
              <a:latin typeface="맑은 고딕"/>
              <a:ea typeface="맑은 고딕"/>
            </a:endParaRPr>
          </a:p>
          <a:p>
            <a:pPr algn="r" latinLnBrk="0">
              <a:spcBef>
                <a:spcPct val="30000"/>
              </a:spcBef>
            </a:pPr>
            <a: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KPMG</a:t>
            </a:r>
            <a:b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</a:br>
            <a:r>
              <a:rPr lang="ko-KR" altLang="en-US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프로젝트 </a:t>
            </a:r>
            <a:r>
              <a:rPr lang="ko-KR" altLang="en-US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담당 파트너</a:t>
            </a:r>
          </a:p>
        </p:txBody>
      </p:sp>
      <p:grpSp>
        <p:nvGrpSpPr>
          <p:cNvPr id="43" name="그룹 42"/>
          <p:cNvGrpSpPr/>
          <p:nvPr/>
        </p:nvGrpSpPr>
        <p:grpSpPr>
          <a:xfrm>
            <a:off x="291690" y="4886251"/>
            <a:ext cx="9337477" cy="1384855"/>
            <a:chOff x="295474" y="1828121"/>
            <a:chExt cx="9337477" cy="1384855"/>
          </a:xfrm>
        </p:grpSpPr>
        <p:sp>
          <p:nvSpPr>
            <p:cNvPr id="44" name="직사각형 43"/>
            <p:cNvSpPr/>
            <p:nvPr/>
          </p:nvSpPr>
          <p:spPr bwMode="auto">
            <a:xfrm>
              <a:off x="295474" y="1834985"/>
              <a:ext cx="2058204" cy="13681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2428315" y="1844824"/>
              <a:ext cx="3272395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금융권 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/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차세대 구축 전문가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: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국내 카드사 및 보험사의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차세대 구축 등 전문성 보유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카드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화재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한화생명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등의 금융권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및 차세대 구축 경험 다수 보유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5783778" y="1834985"/>
              <a:ext cx="1636198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최신의 삼성카드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상품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서비스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컨설팅 경험 보유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그룹 상품표준화 방법론 수립 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7504245" y="1828121"/>
              <a:ext cx="2128706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“</a:t>
              </a: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국내 카드사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금융권 상품 전문가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”</a:t>
              </a:r>
              <a:endPara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1269707" y="2068346"/>
              <a:ext cx="1051150" cy="70672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smtClean="0">
                  <a:latin typeface="맑은 고딕"/>
                  <a:ea typeface="맑은 고딕"/>
                </a:rPr>
                <a:t>박연호 차장</a:t>
              </a:r>
              <a:endParaRPr lang="en-US" altLang="ko-KR" sz="1200" dirty="0">
                <a:latin typeface="맑은 고딕"/>
                <a:ea typeface="맑은 고딕"/>
              </a:endParaRPr>
            </a:p>
            <a:p>
              <a:pPr algn="ctr" latinLnBrk="0">
                <a:spcBef>
                  <a:spcPct val="30000"/>
                </a:spcBef>
              </a:pPr>
              <a:endParaRPr lang="en-US" altLang="ko-KR" sz="300" dirty="0">
                <a:latin typeface="맑은 고딕"/>
                <a:ea typeface="맑은 고딕"/>
              </a:endParaRPr>
            </a:p>
            <a:p>
              <a:pPr algn="r" latinLnBrk="0">
                <a:spcBef>
                  <a:spcPct val="30000"/>
                </a:spcBef>
              </a:pP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PwC</a:t>
              </a:r>
              <a: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</a:br>
              <a:r>
                <a:rPr lang="ko-KR" altLang="en-US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 </a:t>
              </a:r>
              <a:r>
                <a:rPr lang="ko-KR" altLang="en-US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상품</a:t>
              </a: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 PL</a:t>
              </a:r>
              <a:endParaRPr lang="ko-KR" altLang="en-US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endParaRPr>
            </a:p>
          </p:txBody>
        </p:sp>
      </p:grpSp>
      <p:sp>
        <p:nvSpPr>
          <p:cNvPr id="55" name="직사각형 54"/>
          <p:cNvSpPr/>
          <p:nvPr/>
        </p:nvSpPr>
        <p:spPr bwMode="auto">
          <a:xfrm>
            <a:off x="295474" y="3364244"/>
            <a:ext cx="2058204" cy="136815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7504245" y="3357380"/>
            <a:ext cx="2128706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“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국내 대형 카드사 </a:t>
            </a: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/ISP 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및 차세대 전문가“</a:t>
            </a:r>
            <a:endParaRPr kumimoji="1" lang="ko-KR" altLang="en-US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1269707" y="3597605"/>
            <a:ext cx="1051150" cy="8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latin typeface="맑은 고딕"/>
                <a:ea typeface="맑은 고딕"/>
              </a:rPr>
              <a:t>윤필석 상무</a:t>
            </a:r>
            <a:endParaRPr lang="en-US" altLang="ko-KR" sz="1200" dirty="0">
              <a:latin typeface="맑은 고딕"/>
              <a:ea typeface="맑은 고딕"/>
            </a:endParaRPr>
          </a:p>
          <a:p>
            <a:pPr algn="ctr" latinLnBrk="0">
              <a:spcBef>
                <a:spcPct val="30000"/>
              </a:spcBef>
            </a:pPr>
            <a:endParaRPr lang="en-US" altLang="ko-KR" sz="300" dirty="0">
              <a:latin typeface="맑은 고딕"/>
              <a:ea typeface="맑은 고딕"/>
            </a:endParaRPr>
          </a:p>
          <a:p>
            <a:pPr algn="r" latinLnBrk="0">
              <a:spcBef>
                <a:spcPct val="30000"/>
              </a:spcBef>
            </a:pP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KPMG</a:t>
            </a:r>
            <a: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/>
            </a:r>
            <a:b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</a:b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Project Manager</a:t>
            </a:r>
            <a:endParaRPr lang="ko-KR" altLang="en-US" sz="1100" dirty="0">
              <a:solidFill>
                <a:schemeClr val="accent1">
                  <a:lumMod val="40000"/>
                  <a:lumOff val="60000"/>
                </a:schemeClr>
              </a:solidFill>
              <a:latin typeface="맑은 고딕"/>
              <a:ea typeface="맑은 고딕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2428315" y="3364244"/>
            <a:ext cx="3272395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사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/MP/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구축 경험 다수보유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: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카드 등 선도 카드사의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, PMO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시스템 구축 경험 보유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KEB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하나은행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화재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한국수출입은행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등 기타 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금융권 </a:t>
            </a:r>
            <a:r>
              <a:rPr kumimoji="1" lang="en-US" altLang="ko-KR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/ISP 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및 프로젝트 경험 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多</a:t>
            </a:r>
            <a:endParaRPr kumimoji="1" lang="en-US" altLang="ko-KR" sz="1200" u="sng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5783778" y="3364244"/>
            <a:ext cx="1636198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sz="1600" b="1" kern="1200">
                <a:solidFill>
                  <a:schemeClr val="bg1"/>
                </a:solidFill>
                <a:latin typeface="Optima" pitchFamily="2" charset="2"/>
                <a:ea typeface="굴림" charset="-127"/>
                <a:cs typeface="+mn-cs"/>
              </a:defRPr>
            </a:lvl9pPr>
          </a:lstStyle>
          <a:p>
            <a:pPr marL="92075" indent="-92075" latinLnBrk="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카드 차세대 시스템 구축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고도화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MP,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MO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M</a:t>
            </a:r>
          </a:p>
          <a:p>
            <a:pPr marL="92075" indent="-92075" latinLnBrk="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카드 차세대 시스템 구축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MO PM</a:t>
            </a:r>
          </a:p>
        </p:txBody>
      </p:sp>
      <p:pic>
        <p:nvPicPr>
          <p:cNvPr id="33" name="그림 32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49" y="3430920"/>
            <a:ext cx="882000" cy="1234800"/>
          </a:xfrm>
          <a:prstGeom prst="rect">
            <a:avLst/>
          </a:prstGeom>
        </p:spPr>
      </p:pic>
      <p:pic>
        <p:nvPicPr>
          <p:cNvPr id="35" name="그림 3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49" y="4997204"/>
            <a:ext cx="910800" cy="1180800"/>
          </a:xfrm>
          <a:prstGeom prst="rect">
            <a:avLst/>
          </a:prstGeom>
        </p:spPr>
      </p:pic>
      <p:pic>
        <p:nvPicPr>
          <p:cNvPr id="36" name="그림 35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49" y="1902049"/>
            <a:ext cx="882000" cy="12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4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oject Executive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재박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담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0"/>
          <a:ext cx="9360926" cy="47617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20356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530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B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투자증권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9.02 ~ 2009.0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B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투자증권 통합 </a:t>
                      </a:r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리스크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관리 시스템 구축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B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투자증권 통합 </a:t>
                      </a:r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리스크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관리 시스템 구축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T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8.11 ~ 2008.1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T PM Platform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설계 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T PM Platform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7.09 ~ 2008.0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  <a:r>
                        <a:rPr lang="en-US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A/ISP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사 아키텍처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 도출 및 마스터플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6.04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~ 2016.0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4 PhaseII MP</a:t>
                      </a:r>
                      <a:endParaRPr lang="en-US" altLang="en-US" sz="12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즈니스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 정의</a:t>
                      </a:r>
                      <a:endParaRPr lang="ko-KR" altLang="en-US" sz="1200" b="0" i="0" u="none" strike="noStrike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92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6.09 ~ 2007.0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I-ERP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고도화 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RP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추가 요건 구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5.05 ~ 2006.0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부화재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I-ERP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구축 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RP, EDW, EAI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시스템 구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07 ~ 2004.08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IT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사전실사 프로젝트 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험사 인수를 위한 사전실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내 주요 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화학사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0.01 ~ 2010.0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국내 주요 </a:t>
                      </a:r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화학사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사업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전략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신사업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전략 수립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글로벌 마케팅 전략 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530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증권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9.09 ~ 2009.1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증권 비대면 채널 전략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비대면 채널을 활용한 자산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고객관리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온라인 펀드 전략 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530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International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05 ~ 2004.06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험코어 시스템 아키텍처 평가 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글로벌 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험코어 아키텍처 평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Korea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3.12 ~ 2004.0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MetLife IT BA/PMO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T Transition BA/PMO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0118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윤필석 상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필석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관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과학기술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7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자공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20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PMG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~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r>
                        <a:rPr lang="en-US" altLang="ko-KR" sz="12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MP PMO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액센츄어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1~2016.04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r>
                        <a:rPr lang="en-US" altLang="ko-KR" sz="12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MP PMO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은행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3 ~ 2010.10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아키텍처</a:t>
                      </a:r>
                      <a:endParaRPr lang="en-US" altLang="ko-KR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 C&amp;C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04 ~ 2007.02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  <a:endParaRPr lang="en-US" altLang="ko-KR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넥스젠엔씨지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4 ~ 2006.02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  <a:endParaRPr lang="en-US" altLang="ko-KR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70" y="1800952"/>
            <a:ext cx="1145309" cy="14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4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윤필석 상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10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514863"/>
        </p:xfrm>
        <a:graphic>
          <a:graphicData uri="http://schemas.openxmlformats.org/drawingml/2006/table">
            <a:tbl>
              <a:tblPr firstRow="1" bandRow="1"/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75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20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카드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13.05 ~ 2015.03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카드 차세대 시스템 구축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컨설팅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roject Manager (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비즈니스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IT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체관리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)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20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카드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12.11 ~ 2013.02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카드 차세대 시스템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구축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I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고도화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마스터플랜 수립 컨설팅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roject Manager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103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카드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11.01 ~ 2012.10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카드 차세대 시스템 구축 </a:t>
                      </a: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컨설팅</a:t>
                      </a:r>
                      <a:endParaRPr kumimoji="1" lang="ko-KR" altLang="en-US" sz="11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roject Manager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비즈니스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IT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체관리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)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8877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카드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11.05 ~ 2011.09</a:t>
                      </a:r>
                      <a:endParaRPr kumimoji="1" lang="en-US" altLang="ko-KR" sz="11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카드 상품</a:t>
                      </a: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마케팅 </a:t>
                      </a: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I</a:t>
                      </a:r>
                      <a:r>
                        <a:rPr kumimoji="1" lang="ko-KR" altLang="en-US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컨설팅</a:t>
                      </a:r>
                      <a:endParaRPr kumimoji="1" lang="ko-KR" altLang="en-US" sz="11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roject Manager</a:t>
                      </a: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148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하나은행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9.06 ~ 2010.0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하나은행 아키텍처 관리 시스템 업그레이드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수립 및 아키텍처 거버넌스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944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하나은행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7.07 ~ 2009.0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하나은행 차세대 시스템 구축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차세대 어플리케이션 아키텍처 개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Enterprise Architecture, S/W Architecture)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</a:b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상품처리 프레임워크 개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C, JAVA, J2EE)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89338221"/>
                  </a:ext>
                </a:extLst>
              </a:tr>
              <a:tr h="4420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외환은행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6.03 ~ 2007.02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외환은행 인터넷 뱅킹 업그레이드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품질관리 및 아키텍처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20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화재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5.05 ~ 2006.0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화재 차세대 시스템 구축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CBD, S/W Architecture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오픈소스 프레임워크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EA(case tool)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등 기술 관련 시스템 아키텍처 멘토링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2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농협중앙회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4.12 ~ 2005.04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농협중앙회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T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혁신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컨설팅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33333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4504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윤필석 상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Manager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7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290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755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35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금융지주</a:t>
                      </a:r>
                      <a:endParaRPr kumimoji="1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4.08 ~ 2004.12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한은행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T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업그레이드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업무 요건정의 컨설팅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0324138"/>
                  </a:ext>
                </a:extLst>
              </a:tr>
              <a:tr h="2204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정보통신부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3.09 ~ 2004.02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KCSC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연구과제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–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제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금융권 여신부문 컴포넌트 아키텍처 설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여신 시스템 어플리케이션 아키텍처 설계 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국산업은행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3.04 ~ 2003.09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국산업은행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방카슈랑스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시스템 구축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아키텍처 수립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품질관리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20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국수출입은행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1.11 ~ 2002.10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국수출입은행 차세대 시스템 구축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아키텍처 설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420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K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텔레콤 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1.05 ~ 2001.06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SK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텔레콤 모바일 결재 시스템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RUP, UML, EJB, Rational Rose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등 기술로 결재 시스템 설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150484"/>
                  </a:ext>
                </a:extLst>
              </a:tr>
              <a:tr h="4420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한국인터넷빌링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2000.05 ~ 2001.01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한국인터넷빌링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EBPP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EBP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분석 및 설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개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43729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898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기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기욱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트너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금융산업 경영컨설팅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11111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자문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려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5.7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려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.7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20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9~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컨설팅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rnst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&amp; Youn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5 ~ 2011.8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산업 컨설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ooze Allen Hamilton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5.10~2010.7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컨설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BM BCS(PWC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onsulting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5~2005.9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무관리 컨설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장기신용은행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5.7~2000.5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여신심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" name="그림 3"/>
          <p:cNvPicPr preferRelativeResize="0"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41878" y="1816023"/>
            <a:ext cx="1104545" cy="147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073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기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06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997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1684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NH</a:t>
                      </a: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농협은행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2016.01~2016.07</a:t>
                      </a:r>
                      <a:endParaRPr lang="ko-KR" altLang="en-US" sz="1100" b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카드차세대시스템 구축 </a:t>
                      </a: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Master Plan</a:t>
                      </a: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관리 및 총괄</a:t>
                      </a:r>
                      <a:endParaRPr lang="ko-KR" altLang="en-US" sz="1100" b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9~2016.02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상품수익성분석시스템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원가 변경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수출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5.05~2015.09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여신금리체계 구축 컨설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수출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5.01~2015.03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국민경제기여도 모니터링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수출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10~2014.12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국민경제기여도 모니터링 지표 개발 컨설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수출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8~2015.06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종합수지관리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KB</a:t>
                      </a:r>
                      <a:r>
                        <a:rPr lang="ko-KR" alt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국민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6~2014.08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연회비체계 구축 컨설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수출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1~2014.04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수지분석 및 수지예측 체계 진단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5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은행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08~2013.11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카드 상품수익성분석시스템 구축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외환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1.12~2012.06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부도관리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380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기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79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117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565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DB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산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1.09~2011.10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국외점포 관리회계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품질관리자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아모레퍼시픽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1.05~2011.08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위기관리체계 구축 컨설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하이투자증권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0.12~2011.06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종합리스크관리시스템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전략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모듈 리더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lang="ko-KR" alt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투자증권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10.03~2010.08</a:t>
                      </a:r>
                      <a:endParaRPr kumimoji="1" lang="en-US" altLang="ko-KR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운영리스크관리시스템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하나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9.04~2009.11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수익인식 모듈 리더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현대카드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캐피탈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8.09~2009.04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관리회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재무회계 시스템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관리회계 요건 정의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현대증권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03~2008.09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관리시스템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운영리스크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모듈 리더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현대증권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9~2007.12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관리선진화방안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수립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전략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모듈 리더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증권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7.05~2007.07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관리선진화방안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수립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전략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모듈 리더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하나은행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7.03~2007.04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영업역량 강화 컨설팅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영업점 직원의 영업역량강화 프로그램 설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744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기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/>
              <a:t>자</a:t>
            </a:r>
            <a:r>
              <a:rPr lang="ko-KR" altLang="en-US" dirty="0" smtClean="0"/>
              <a:t>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79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하나은행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6.12~2007.03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전사 경영진단 컨설팅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채널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경영관리 경영진단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부산은행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6.06~2006.12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전략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수립 컨설팅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리스크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관리 전략 수립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6.02~2006.0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운영리스크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관리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컨설팅 부문 리더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lang="ko-KR" alt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농협은행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5.10~2006.0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운영리스크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관리 컨설팅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DB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산업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5.09~2005.10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용리스크관리시스템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젝트 관리자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한은행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5.04~2005.05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종합리스크관리시스템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ey Risk Indicator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모니터링 체계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B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국민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4.12~2005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신용리스크관리시스템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구축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용위험가중자산 산출 요건 정의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외환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4.08~2004.1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st Optimization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st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분석 모듈 리더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하나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4.04~2004.07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종합리스크관리시스템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구축</a:t>
                      </a: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ey Risk Indicator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모니터링 체계수립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KB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국민은행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4.01~2004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st Optimization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st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분석 및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st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추정 모델 수립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1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기욱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5/5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327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277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24049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교보생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3.11~2003.1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통합경영관리체계 수립</a:t>
                      </a: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orporate Valuation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모델 설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증권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4~2003.10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경영관리시스템 구축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 산출시스템 구축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증권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.12~2003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경영관리체계 수립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모델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업은행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2~2003.10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관리시스템 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자금원가</a:t>
                      </a: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FTP) </a:t>
                      </a: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델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환은행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 01~2003.02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시스템 구축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자금원가 모듈 리더</a:t>
                      </a: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PL)</a:t>
                      </a:r>
                      <a:endParaRPr lang="ko-KR" altLang="en-US" sz="1100" b="0" i="0" u="none" strike="noStrike" kern="120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택은행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11~2002.01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</a:t>
                      </a: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</a:t>
                      </a:r>
                      <a:r>
                        <a:rPr lang="en-US" altLang="ko-KR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택은행 </a:t>
                      </a:r>
                      <a:r>
                        <a:rPr lang="en-US" altLang="ko-KR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ore Banking </a:t>
                      </a: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평가</a:t>
                      </a: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선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은행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3~2001.06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 </a:t>
                      </a: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en-US" altLang="ko-KR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 담당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조조정본부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5~2001.10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 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룹 </a:t>
                      </a:r>
                      <a:r>
                        <a:rPr lang="en-US" altLang="ko-KR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쟁력 진단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쟁력 진단 모델 설계 및 진단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2433"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보생명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92075" indent="-92075"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92075" marR="0" lvl="0" indent="-92075" algn="ctr" defTabSz="938213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.05~2000.08</a:t>
                      </a:r>
                    </a:p>
                  </a:txBody>
                  <a:tcPr marL="36000" marR="36000" marT="36000" marB="36000" anchor="ctr" anchorCtr="1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0" fontAlgn="base" latinLnBrk="0" hangingPunct="0">
                        <a:spcBef>
                          <a:spcPts val="132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kern="120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운용 프로세스 개선</a:t>
                      </a:r>
                      <a:endParaRPr lang="ko-KR" altLang="en-US" sz="11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5941" marR="35941" marT="35941" marB="35941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938213">
                        <a:spcBef>
                          <a:spcPct val="10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683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382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buFont typeface="Webdings" panose="05030102010509060703" pitchFamily="18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408113" defTabSz="938213">
                        <a:lnSpc>
                          <a:spcPct val="90000"/>
                        </a:lnSpc>
                        <a:spcBef>
                          <a:spcPct val="400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76425" defTabSz="938213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3336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908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2480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705225" defTabSz="938213" eaLnBrk="0" fontAlgn="base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320"/>
                        </a:spcBef>
                        <a:spcAft>
                          <a:spcPts val="0"/>
                        </a:spcAft>
                        <a:buClr>
                          <a:srgbClr val="0B1F65"/>
                        </a:buClr>
                        <a:buSzTx/>
                        <a:buFont typeface="Webdings" panose="05030102010509060703" pitchFamily="18" charset="2"/>
                        <a:buNone/>
                        <a:tabLst/>
                      </a:pPr>
                      <a:r>
                        <a:rPr lang="ko-KR" altLang="en-US" sz="1100" b="0" i="0" u="none" strike="noStrike" kern="120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자산운용인력 적정인력 산출 모델 및 경력개발계획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5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상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60780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상표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무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여신금융협회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NH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카드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BC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peration PI, 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시스템 구축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및 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재무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경영관리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마케팅</a:t>
                      </a:r>
                      <a:r>
                        <a:rPr kumimoji="0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CRM/Big Data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컨설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ondon Business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chool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1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BA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6.08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림자원학과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1.05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gagement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Partner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㈜대우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6.06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2001.04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㈜대우 해외법인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peration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경영관리 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RP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및 운영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3" name="그림 48" descr="임상표 이사님.bmp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053" y="1838110"/>
            <a:ext cx="1151303" cy="157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1805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   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선도 </a:t>
            </a:r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카드사 차세대 경험을 보유한 정예 인력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투입 </a:t>
            </a:r>
            <a:r>
              <a:rPr lang="en-US" altLang="ko-KR" dirty="0" smtClean="0"/>
              <a:t>(3/3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본 프로젝트에는 신한카드</a:t>
            </a:r>
            <a:r>
              <a:rPr lang="en-US" altLang="ko-KR" dirty="0"/>
              <a:t> </a:t>
            </a:r>
            <a:r>
              <a:rPr lang="ko-KR" altLang="en-US" dirty="0"/>
              <a:t>및 삼성카드 등의 차세대 </a:t>
            </a:r>
            <a:r>
              <a:rPr lang="en-US" altLang="ko-KR" dirty="0"/>
              <a:t>PI/MP/PMO </a:t>
            </a:r>
            <a:r>
              <a:rPr lang="ko-KR" altLang="en-US" dirty="0"/>
              <a:t>경험</a:t>
            </a:r>
            <a:r>
              <a:rPr lang="en-US" altLang="ko-KR" dirty="0"/>
              <a:t>, </a:t>
            </a:r>
            <a:r>
              <a:rPr lang="ko-KR" altLang="en-US" dirty="0"/>
              <a:t>각 영역별 전문성을 보유한 정예 인력을 투입함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428316" y="1388608"/>
            <a:ext cx="3272395" cy="307777"/>
            <a:chOff x="6071415" y="1388608"/>
            <a:chExt cx="3240000" cy="307777"/>
          </a:xfrm>
        </p:grpSpPr>
        <p:sp>
          <p:nvSpPr>
            <p:cNvPr id="7" name="직사각형 6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투입 인력 특장점</a:t>
              </a:r>
            </a:p>
          </p:txBody>
        </p:sp>
        <p:cxnSp>
          <p:nvCxnSpPr>
            <p:cNvPr id="8" name="직선 연결선 7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" name="그룹 9"/>
          <p:cNvGrpSpPr/>
          <p:nvPr/>
        </p:nvGrpSpPr>
        <p:grpSpPr>
          <a:xfrm>
            <a:off x="5774801" y="1388268"/>
            <a:ext cx="1645174" cy="307777"/>
            <a:chOff x="6071415" y="1388608"/>
            <a:chExt cx="3240000" cy="307777"/>
          </a:xfrm>
        </p:grpSpPr>
        <p:sp>
          <p:nvSpPr>
            <p:cNvPr id="11" name="직사각형 10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주요 경력</a:t>
              </a:r>
              <a:endParaRPr kumimoji="1"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cxnSp>
          <p:nvCxnSpPr>
            <p:cNvPr id="12" name="직선 연결선 11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그룹 12"/>
          <p:cNvGrpSpPr/>
          <p:nvPr/>
        </p:nvGrpSpPr>
        <p:grpSpPr>
          <a:xfrm>
            <a:off x="7505701" y="1388961"/>
            <a:ext cx="2127250" cy="307777"/>
            <a:chOff x="6071415" y="1388608"/>
            <a:chExt cx="3240000" cy="307777"/>
          </a:xfrm>
        </p:grpSpPr>
        <p:sp>
          <p:nvSpPr>
            <p:cNvPr id="14" name="직사각형 13"/>
            <p:cNvSpPr/>
            <p:nvPr/>
          </p:nvSpPr>
          <p:spPr bwMode="gray">
            <a:xfrm>
              <a:off x="6071415" y="1388608"/>
              <a:ext cx="3240000" cy="292388"/>
            </a:xfrm>
            <a:prstGeom prst="rect">
              <a:avLst/>
            </a:prstGeom>
          </p:spPr>
          <p:txBody>
            <a:bodyPr wrap="square" lIns="36000" rIns="36000">
              <a:spAutoFit/>
            </a:bodyPr>
            <a:lstStyle/>
            <a:p>
              <a:pPr algn="ctr" rtl="0" eaLnBrk="0" fontAlgn="t" hangingPunct="0">
                <a:spcBef>
                  <a:spcPct val="50000"/>
                </a:spcBef>
                <a:spcAft>
                  <a:spcPct val="5000"/>
                </a:spcAft>
              </a:pPr>
              <a:r>
                <a:rPr kumimoji="1" lang="ko-KR" altLang="en-US" sz="13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카드업에 대한 전문성 확보</a:t>
              </a:r>
            </a:p>
          </p:txBody>
        </p:sp>
        <p:cxnSp>
          <p:nvCxnSpPr>
            <p:cNvPr id="15" name="직선 연결선 14"/>
            <p:cNvCxnSpPr/>
            <p:nvPr/>
          </p:nvCxnSpPr>
          <p:spPr bwMode="gray">
            <a:xfrm>
              <a:off x="6071415" y="1696385"/>
              <a:ext cx="324000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3" name="그룹 42"/>
          <p:cNvGrpSpPr/>
          <p:nvPr/>
        </p:nvGrpSpPr>
        <p:grpSpPr>
          <a:xfrm>
            <a:off x="291690" y="4885863"/>
            <a:ext cx="9337477" cy="1384855"/>
            <a:chOff x="295474" y="1828121"/>
            <a:chExt cx="9337477" cy="1384855"/>
          </a:xfrm>
        </p:grpSpPr>
        <p:sp>
          <p:nvSpPr>
            <p:cNvPr id="44" name="직사각형 43"/>
            <p:cNvSpPr/>
            <p:nvPr/>
          </p:nvSpPr>
          <p:spPr bwMode="auto">
            <a:xfrm>
              <a:off x="295474" y="1834985"/>
              <a:ext cx="2058204" cy="13681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2428315" y="1844824"/>
              <a:ext cx="3272395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금융 경영관리 전문가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: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국내 대형 카드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은행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보험사의 경영관리 관련 프로젝트 경험 풍부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최근 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NH</a:t>
              </a:r>
              <a:r>
                <a:rPr kumimoji="1" lang="ko-KR" altLang="en-US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농협카드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프로젝트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경험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보유 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/>
              </a:r>
              <a:b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</a:b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(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차세대시스템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MP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상품수익성분석시스템 구축 등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)</a:t>
              </a: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5783778" y="1834985"/>
              <a:ext cx="1636198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2075" indent="-92075" latinLnBrk="0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NH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농협카드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현대카드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KDB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금융지주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LIG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손해 보험 등 경영관리 프로젝트 다수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7" name="직사각형 46"/>
            <p:cNvSpPr/>
            <p:nvPr/>
          </p:nvSpPr>
          <p:spPr bwMode="auto">
            <a:xfrm>
              <a:off x="7504245" y="1828121"/>
              <a:ext cx="2128706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“</a:t>
              </a: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카드 회계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경영관리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/>
              </a:r>
              <a:b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</a:b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전문가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“</a:t>
              </a:r>
              <a:endPara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1269707" y="2068346"/>
              <a:ext cx="1051150" cy="876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smtClean="0">
                  <a:latin typeface="맑은 고딕"/>
                  <a:ea typeface="맑은 고딕"/>
                </a:rPr>
                <a:t>강문식 이사</a:t>
              </a:r>
              <a:endParaRPr lang="en-US" altLang="ko-KR" sz="1200" dirty="0">
                <a:latin typeface="맑은 고딕"/>
                <a:ea typeface="맑은 고딕"/>
              </a:endParaRPr>
            </a:p>
            <a:p>
              <a:pPr algn="ctr" latinLnBrk="0">
                <a:spcBef>
                  <a:spcPct val="30000"/>
                </a:spcBef>
              </a:pPr>
              <a:endParaRPr lang="en-US" altLang="ko-KR" sz="300" dirty="0">
                <a:latin typeface="맑은 고딕"/>
                <a:ea typeface="맑은 고딕"/>
              </a:endParaRPr>
            </a:p>
            <a:p>
              <a:pPr algn="r" latinLnBrk="0">
                <a:spcBef>
                  <a:spcPct val="30000"/>
                </a:spcBef>
              </a:pP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KPMG</a:t>
              </a:r>
              <a: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</a:br>
              <a:r>
                <a:rPr lang="ko-KR" altLang="en-US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회계</a:t>
              </a: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경영관리 </a:t>
              </a: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PL</a:t>
              </a:r>
              <a:endParaRPr lang="ko-KR" altLang="en-US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293582" y="3347153"/>
            <a:ext cx="9337477" cy="1384855"/>
            <a:chOff x="295474" y="1828121"/>
            <a:chExt cx="9337477" cy="1384855"/>
          </a:xfrm>
        </p:grpSpPr>
        <p:sp>
          <p:nvSpPr>
            <p:cNvPr id="54" name="직사각형 53"/>
            <p:cNvSpPr/>
            <p:nvPr/>
          </p:nvSpPr>
          <p:spPr bwMode="auto">
            <a:xfrm>
              <a:off x="295474" y="1834985"/>
              <a:ext cx="2058204" cy="13681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2428315" y="1844824"/>
              <a:ext cx="3272395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92075" indent="-92075" latinLnBrk="0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sz="1200" u="sng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롯데</a:t>
              </a:r>
              <a:r>
                <a:rPr kumimoji="1" lang="en-US" altLang="ko-KR" sz="1200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/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하나카드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PI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경험을 보유한 국내 카드사 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및 차세대 전문가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marL="92075" indent="-92075" latinLnBrk="0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최근 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NH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농협카드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프로젝트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경험 다수 보유 </a:t>
              </a:r>
              <a: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/>
              </a:r>
              <a:br>
                <a:rPr kumimoji="1" lang="en-US" altLang="ko-KR" sz="1200" u="sng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</a:b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(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영업점 업무 대행체계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조합간접원가 개선 등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)</a:t>
              </a:r>
            </a:p>
            <a:p>
              <a:pPr marL="92075" indent="-92075" latinLnBrk="0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화재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한화생명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등 기타 금융권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및 프로젝트 경험 多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5783778" y="1834985"/>
              <a:ext cx="1636198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marL="92075" indent="-92075" latinLnBrk="0">
                <a:spcBef>
                  <a:spcPts val="3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삼성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롯데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 멤버스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차세대 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I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및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MO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혁신 프로젝트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  <a:p>
              <a:pPr marL="92075" indent="-92075" latinLnBrk="0">
                <a:spcBef>
                  <a:spcPts val="3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NH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농협카드영업점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업무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대행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조합간접원가 프로젝트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PM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57" name="직사각형 56"/>
            <p:cNvSpPr/>
            <p:nvPr/>
          </p:nvSpPr>
          <p:spPr bwMode="auto">
            <a:xfrm>
              <a:off x="7504245" y="1828121"/>
              <a:ext cx="2128706" cy="1368152"/>
            </a:xfrm>
            <a:prstGeom prst="rect">
              <a:avLst/>
            </a:prstGeom>
            <a:solidFill>
              <a:srgbClr val="F8F8F8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“</a:t>
              </a:r>
              <a:r>
                <a:rPr kumimoji="1" lang="ko-KR" altLang="en-US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카드 비즈니스 프로세스 및 차세대 전문가</a:t>
              </a:r>
              <a:r>
                <a:rPr kumimoji="1" lang="en-US" altLang="ko-KR" i="1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  <a:sym typeface="Wingdings" panose="05000000000000000000" pitchFamily="2" charset="2"/>
                </a:rPr>
                <a:t>“</a:t>
              </a:r>
              <a:endPara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58" name="TextBox 50"/>
            <p:cNvSpPr txBox="1"/>
            <p:nvPr/>
          </p:nvSpPr>
          <p:spPr bwMode="auto">
            <a:xfrm>
              <a:off x="1269707" y="2068346"/>
              <a:ext cx="1051150" cy="876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30000"/>
                </a:spcBef>
              </a:pPr>
              <a:r>
                <a:rPr lang="ko-KR" altLang="en-US" sz="1200" dirty="0" smtClean="0">
                  <a:latin typeface="맑은 고딕"/>
                  <a:ea typeface="맑은 고딕"/>
                </a:rPr>
                <a:t>김진유 이사</a:t>
              </a:r>
              <a:endParaRPr lang="en-US" altLang="ko-KR" sz="1200" dirty="0">
                <a:latin typeface="맑은 고딕"/>
                <a:ea typeface="맑은 고딕"/>
              </a:endParaRPr>
            </a:p>
            <a:p>
              <a:pPr algn="ctr" latinLnBrk="0">
                <a:spcBef>
                  <a:spcPct val="30000"/>
                </a:spcBef>
              </a:pPr>
              <a:endParaRPr lang="en-US" altLang="ko-KR" sz="300" dirty="0">
                <a:latin typeface="맑은 고딕"/>
                <a:ea typeface="맑은 고딕"/>
              </a:endParaRPr>
            </a:p>
            <a:p>
              <a:pPr algn="r" latinLnBrk="0">
                <a:spcBef>
                  <a:spcPct val="30000"/>
                </a:spcBef>
              </a:pP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PwC</a:t>
              </a:r>
              <a: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1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</a:br>
              <a:r>
                <a:rPr lang="ko-KR" altLang="en-US" sz="1100" dirty="0" err="1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카드프로세싱</a:t>
              </a:r>
              <a:r>
                <a:rPr lang="ko-KR" altLang="en-US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 </a:t>
              </a:r>
              <a:r>
                <a:rPr lang="en-US" altLang="ko-KR" sz="11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맑은 고딕"/>
                  <a:ea typeface="맑은 고딕"/>
                </a:rPr>
                <a:t>PL</a:t>
              </a:r>
              <a:endParaRPr lang="ko-KR" altLang="en-US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endParaRPr>
            </a:p>
          </p:txBody>
        </p:sp>
      </p:grpSp>
      <p:pic>
        <p:nvPicPr>
          <p:cNvPr id="53" name="Picture 2" descr="http://hlink.samil.com/employeeImage?emp_id=4063&amp;image_type=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767" y="3400480"/>
            <a:ext cx="911065" cy="117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직사각형 49"/>
          <p:cNvSpPr/>
          <p:nvPr/>
        </p:nvSpPr>
        <p:spPr bwMode="auto">
          <a:xfrm>
            <a:off x="291690" y="1832688"/>
            <a:ext cx="2058204" cy="136815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latinLnBrk="0">
              <a:spcBef>
                <a:spcPct val="50000"/>
              </a:spcBef>
              <a:buClr>
                <a:schemeClr val="bg2"/>
              </a:buClr>
            </a:pPr>
            <a:endParaRPr kumimoji="1"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2424531" y="1842527"/>
            <a:ext cx="3272395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 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 </a:t>
            </a: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전문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: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KB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국민카드 등의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차세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, PMO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등 다수 수행</a:t>
            </a:r>
          </a:p>
          <a:p>
            <a:pPr marL="92075" indent="-92075" latinLnBrk="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 비즈니스 </a:t>
            </a:r>
            <a:r>
              <a:rPr kumimoji="1" lang="ko-KR" altLang="en-US" sz="1200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전문가</a:t>
            </a:r>
            <a:r>
              <a: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: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카드 마케팅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, KB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국민카드 마케팅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채널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우리카드 마케팅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카드 콜센터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하나카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및 롯데카드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CRM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등 관련 경험 다수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5779994" y="1832688"/>
            <a:ext cx="1636198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신한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삼성카드 차세대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PI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및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Biz PMO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리드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92075" indent="-92075" latinLnBrk="0"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 마케팅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고객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 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영업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채널 등 비즈니스 컨설팅 경험</a:t>
            </a: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7500461" y="1825824"/>
            <a:ext cx="2128706" cy="1368152"/>
          </a:xfrm>
          <a:prstGeom prst="rect">
            <a:avLst/>
          </a:prstGeom>
          <a:solidFill>
            <a:srgbClr val="F8F8F8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“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카드 고객</a:t>
            </a: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마케팅</a:t>
            </a: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영업</a:t>
            </a:r>
            <a:r>
              <a:rPr kumimoji="1" lang="en-US" altLang="ko-KR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kumimoji="1" lang="ko-KR" altLang="en-US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및 차세대 전문가</a:t>
            </a:r>
            <a:r>
              <a:rPr kumimoji="1" lang="en-US" altLang="ko-KR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”</a:t>
            </a:r>
            <a:endParaRPr kumimoji="1" lang="en-US" altLang="ko-KR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</p:txBody>
      </p:sp>
      <p:sp>
        <p:nvSpPr>
          <p:cNvPr id="61" name="TextBox 60"/>
          <p:cNvSpPr txBox="1"/>
          <p:nvPr/>
        </p:nvSpPr>
        <p:spPr bwMode="auto">
          <a:xfrm>
            <a:off x="1265923" y="2066049"/>
            <a:ext cx="1051150" cy="8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latin typeface="맑은 고딕"/>
                <a:ea typeface="맑은 고딕"/>
              </a:rPr>
              <a:t>김세호 이사</a:t>
            </a:r>
            <a:endParaRPr lang="en-US" altLang="ko-KR" sz="1200" dirty="0" smtClean="0">
              <a:latin typeface="맑은 고딕"/>
              <a:ea typeface="맑은 고딕"/>
            </a:endParaRPr>
          </a:p>
          <a:p>
            <a:pPr algn="ctr" latinLnBrk="0">
              <a:spcBef>
                <a:spcPct val="30000"/>
              </a:spcBef>
            </a:pPr>
            <a:endParaRPr lang="en-US" altLang="ko-KR" sz="300" dirty="0" smtClean="0">
              <a:latin typeface="맑은 고딕"/>
              <a:ea typeface="맑은 고딕"/>
            </a:endParaRPr>
          </a:p>
          <a:p>
            <a:pPr algn="r" latinLnBrk="0">
              <a:spcBef>
                <a:spcPct val="30000"/>
              </a:spcBef>
            </a:pP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KPMG</a:t>
            </a:r>
            <a: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/>
            </a:r>
            <a:br>
              <a:rPr lang="en-US" altLang="ko-KR" sz="1100" dirty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</a:br>
            <a:r>
              <a:rPr lang="ko-KR" altLang="en-US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고객</a:t>
            </a: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/</a:t>
            </a:r>
            <a:r>
              <a:rPr lang="ko-KR" altLang="en-US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마케팅</a:t>
            </a: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/</a:t>
            </a:r>
            <a:b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</a:br>
            <a:r>
              <a:rPr lang="ko-KR" altLang="en-US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영업 </a:t>
            </a:r>
            <a:r>
              <a:rPr lang="en-US" altLang="ko-KR" sz="11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맑은 고딕"/>
                <a:ea typeface="맑은 고딕"/>
              </a:rPr>
              <a:t>PL</a:t>
            </a:r>
            <a:endParaRPr lang="ko-KR" altLang="en-US" sz="1100" dirty="0">
              <a:solidFill>
                <a:schemeClr val="accent1">
                  <a:lumMod val="40000"/>
                  <a:lumOff val="60000"/>
                </a:schemeClr>
              </a:solidFill>
              <a:latin typeface="맑은 고딕"/>
              <a:ea typeface="맑은 고딕"/>
            </a:endParaRPr>
          </a:p>
        </p:txBody>
      </p:sp>
      <p:pic>
        <p:nvPicPr>
          <p:cNvPr id="6" name="그림 5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7" y="1926364"/>
            <a:ext cx="910800" cy="1180800"/>
          </a:xfrm>
          <a:prstGeom prst="rect">
            <a:avLst/>
          </a:prstGeom>
        </p:spPr>
      </p:pic>
      <p:pic>
        <p:nvPicPr>
          <p:cNvPr id="62" name="Picture 2"/>
          <p:cNvPicPr>
            <a:picLocks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372032" y="4987890"/>
            <a:ext cx="910800" cy="118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5871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상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06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삼성증권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2015.07 ~ 2015.11</a:t>
                      </a:r>
                      <a:endParaRPr lang="ko-KR" altLang="en-US" sz="1100" b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고객 중심의 온라인 채널 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UX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전략 컨설팅 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디지털 채널 </a:t>
                      </a:r>
                      <a:r>
                        <a:rPr lang="en-US" altLang="ko-KR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X</a:t>
                      </a:r>
                      <a:r>
                        <a:rPr lang="ko-KR" altLang="en-US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 과제 도출 및 이행 마스터 플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메트라이트생명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5.01 ~ 2015.05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메트라이프생명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글로벌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EV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산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글로벌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mbedded Valu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산출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Reporting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방안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LF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1 ~ 2015.10</a:t>
                      </a:r>
                      <a:endParaRPr lang="ko-KR" altLang="en-US" sz="1100" b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-CRM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CRM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플랫폼 고객 전략 및 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X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화생명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2 ~ 201606</a:t>
                      </a:r>
                      <a:endParaRPr lang="ko-KR" altLang="en-US" sz="1100" b="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화생명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g Data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한화생명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ig Data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 활용한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ta Analytics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활용 프로세스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메트라이프생명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7 ~ 2015.02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메트라이프생명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dvance Data </a:t>
                      </a:r>
                      <a:r>
                        <a:rPr kumimoji="0" lang="en-US" altLang="ko-KR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naytics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–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교차판매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Pilot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 </a:t>
                      </a: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데이터를 활용한 교차판매 확대 방안 수립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Pilot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실행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에스디에스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3.12 ~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현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생명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화재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코어 상품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재보험 및 경리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관리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 및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5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자산운용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3.07 ~ 2015.04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자산운용 실적분석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마케팅모판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, RM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성과분석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일별손익체계 및 경영계획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5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11 ~ 2015.04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차세대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반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물재일치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차세대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5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생명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7 ~ 2014.08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생명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-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우리아비바생명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PMI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생명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-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우리아비바생명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T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부문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PMI MP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수립 및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Day 1 PMO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5157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CCA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5 ~ 2014.05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CCA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한국진출 시장조사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영국공인회계사회 한국시장 진출을 위한 시장조사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270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상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79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자산운용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4.04 ~ 2014.05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자산운용 신 성과평가체계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자산운용 성과평가 체계 개선 방안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화재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3.09 ~ 2013.11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화재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Global Operating Model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구축을 위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Global Operating Model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코어 상품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계약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상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자산운용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+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경관 포함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증권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07 ~ 2013.07</a:t>
                      </a:r>
                      <a:endParaRPr kumimoji="1" lang="en-US" altLang="ko-KR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증권 상품수익성 분석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상품별 수익성분석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FT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카드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10 ~ 2013.02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 가맹점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수수료 적용 전략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카드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 가맹점수수료 체계 적용 전략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엘지생명과학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10 ~ 2013.01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엘지생명과학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인도법인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엘지생명과학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인도법인 재무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관리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판매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매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ERP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03 ~ 2012.09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반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T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세스 혁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차세대 구축을 위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반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PI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여신금융협회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2.01 ~ 2012.02</a:t>
                      </a:r>
                      <a:endParaRPr lang="en-US" altLang="ko-KR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용카드가맹점수수료 개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신용카드 가맹점수수료 체게 개편 용역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1.06 ~ 2011.07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 회계분리 및 회계시스템구축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보험회계시스템 및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T Architecture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카드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10.08 ~ 2010.12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농협카드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독립회계 구축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차세대 경영관리체계 모델 및 차세대 프로세스 수립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비씨카드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9.04 ~ 2010.04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비씨카드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및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rchitecture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 및 구축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437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상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422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흥국생명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흥국화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9.09 ~ 2010.08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흥국생명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흥국화재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시스템 구축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rchitectur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 및 구축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8.11 ~ 2010.02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시스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Architectur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설계 및 구축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코닝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정밀유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8.09 ~ 2008.10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코닝정밀유리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프로세스 혁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경영관리 프로세스 진단 및 개선과제 도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SK</a:t>
                      </a: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브로드밴드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8.08 ~ 2008.09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SK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브로드밴드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도입에 따른 프로세스 개선 및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재무원장 및 관리회계 영향도 분석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homas Cook 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7.05 ~ 2007.0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Thomas Cook BPO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략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Thomas Cook Outsourcing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전략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odafone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7.02 ~ 2007.05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Vodafone IT outsourcing transition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Vodafone Outsourcing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세스 디자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비씨카드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2006.04 ~ 2006.04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비씨카드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CFM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프로세스 개선 및 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SAP TR to CFM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업그레이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609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임성준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성준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트너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권 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담당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hington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8.05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Y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 ~ 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사업본부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영역 전략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 혁신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체계 전략 수립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ccenture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1 ~ 2012.1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사업본부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영역 전략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 혁신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체계 전략 수립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48" y="1725373"/>
            <a:ext cx="1195585" cy="1621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469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임성준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65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발주처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간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월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 ~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 차세대 구축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캐피탈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 ~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캐피탈 글로벌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DI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입전략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IG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손해보험 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0 ~ 2016.06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IG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손해보험 망분리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7 ~ 2015.09</a:t>
                      </a:r>
                      <a:endParaRPr kumimoji="0" lang="ko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체계 안정화지원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의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4 ~ 2015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 차세대 구축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re-PMO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4 ~ 2015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체계 업그래이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캐피탈 커머셜 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9 ~ 2015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캐피탈 커머셜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DI Deploy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캐피탈 커머셜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10 ~ 2014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카드 캐피탈 커머셜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비스관리 시스템 구축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금융지주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4 ~ 2013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금융지주 바젤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I·III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컨설팅</a:t>
                      </a:r>
                    </a:p>
                  </a:txBody>
                  <a:tcPr marL="72000" marR="72000" marT="18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의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4 ~ 2012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 그룹 규제자본산출 프로세스 분석 및 개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의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08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임성준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7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65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발주처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간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월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1 ~ 2012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 정보계 구축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1 ~ 2012.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일은행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혁 프로젝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6 ~ 2011.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중앙회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예탁 결제원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1 ~ 2011.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래사업모델 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아이앤에스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4 ~ 2010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금융그룹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량강화 컨설팅 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연금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 ~ 2010.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연금 통합 리스크 관리 시스템 구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금융투자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3 ~ 2008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금융투자 리스크 관리 선진화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금융투자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7 ~ 2007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금융투자 차세대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 프로젝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5 ~ 2007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 자본시장 프로세스 개선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05 ~ 2007.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 바젤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I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976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oject Adviso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임성준 파트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/>
              <a:t>자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7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224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발주처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간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월</a:t>
                      </a: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업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5.03 ~ 2005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업은행 바젤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I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컨설팅 및 구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4.12 ~ 2005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방안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4.05 ~ 2004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 바젤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I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입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etLife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11 ~ 2004.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lobal I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생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9 ~ 2003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ales Force Effectiveness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흥국생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2.12 ~ 2003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흥국생명 경영관리 컨설팅 및 시스템 구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캐피탈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2.07 ~ 2002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규 수익 모델 벤치마킹 및 국내시장 도입 타당성 분석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1.01 ~ 2002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 차세대 시스템 구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 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그룹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5 ~ 2000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그룹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24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ar-SA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385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류경범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대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PMO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황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류경범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업무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분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균관대학교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과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1706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73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~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nagement Consulting Service </a:t>
                      </a:r>
                      <a:r>
                        <a:rPr lang="ko-KR" altLang="en-US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팀원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enture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0 ~</a:t>
                      </a:r>
                      <a:r>
                        <a:rPr lang="en-US" altLang="ko-KR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2016.08</a:t>
                      </a:r>
                      <a:endParaRPr lang="ko-KR" altLang="en-US" sz="12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inancial Services Industry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" name="그림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85" y="1791816"/>
            <a:ext cx="1190791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19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MO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류경범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대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MO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황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1"/>
          <a:ext cx="9360926" cy="2673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2234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3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~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을 위한 마스터 플랜 수립 컨설팅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 분석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을 위한 비즈니스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어플리케이션 과제 도출</a:t>
                      </a:r>
                      <a:r>
                        <a:rPr lang="en-US" altLang="ko-KR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상세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동부화재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4 ~ 2016.08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부화재 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FRS4 PhaseII Master Plan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립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황 분석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IFRS4 PhaseII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입에 따른 비즈니스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IT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도출</a:t>
                      </a:r>
                      <a:r>
                        <a:rPr lang="en-US" altLang="ko-KR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9747" marR="39747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Optima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0 ~ 2016.03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igital Channel Transformation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US" altLang="ko-KR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Channel (</a:t>
                      </a:r>
                      <a:r>
                        <a:rPr lang="ko-KR" altLang="en-US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홈페이지</a:t>
                      </a:r>
                      <a:r>
                        <a:rPr lang="en-US" altLang="ko-KR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모바일</a:t>
                      </a:r>
                      <a:r>
                        <a:rPr lang="en-US" altLang="ko-KR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) </a:t>
                      </a:r>
                      <a:r>
                        <a:rPr lang="ko-KR" altLang="en-US" sz="1200" b="0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요건 정의 및 프로그램 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808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박연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연호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업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보험업 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BPR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육군사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제관계학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6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은행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PI 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IA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생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2012.06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장성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상품기획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0" name="그림 9"/>
          <p:cNvPicPr preferRelativeResize="0"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51" y="1792551"/>
            <a:ext cx="1145582" cy="153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51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오각형 17"/>
          <p:cNvSpPr/>
          <p:nvPr/>
        </p:nvSpPr>
        <p:spPr bwMode="auto">
          <a:xfrm>
            <a:off x="2881660" y="1794439"/>
            <a:ext cx="6574450" cy="4320360"/>
          </a:xfrm>
          <a:prstGeom prst="homePlate">
            <a:avLst>
              <a:gd name="adj" fmla="val 4964"/>
            </a:avLst>
          </a:prstGeom>
          <a:gradFill flip="none" rotWithShape="1">
            <a:gsLst>
              <a:gs pos="100000">
                <a:srgbClr val="CADCF7"/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8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제안 </a:t>
            </a:r>
            <a:r>
              <a:rPr lang="ko-KR" altLang="en-US" dirty="0" smtClean="0"/>
              <a:t>배경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본 프로젝트에서는 시장 </a:t>
            </a:r>
            <a:r>
              <a:rPr lang="ko-KR" altLang="en-US" dirty="0"/>
              <a:t>및 </a:t>
            </a:r>
            <a:r>
              <a:rPr lang="ko-KR" altLang="en-US" dirty="0" smtClean="0"/>
              <a:t>규제환경</a:t>
            </a:r>
            <a:r>
              <a:rPr lang="en-US" altLang="ko-KR" dirty="0"/>
              <a:t>, </a:t>
            </a:r>
            <a:r>
              <a:rPr lang="ko-KR" altLang="en-US" dirty="0"/>
              <a:t>고객환경</a:t>
            </a:r>
            <a:r>
              <a:rPr lang="en-US" altLang="ko-KR" dirty="0"/>
              <a:t>, </a:t>
            </a:r>
            <a:r>
              <a:rPr lang="ko-KR" altLang="en-US" dirty="0"/>
              <a:t>내부환경 </a:t>
            </a:r>
            <a:r>
              <a:rPr lang="ko-KR" altLang="en-US" dirty="0" smtClean="0"/>
              <a:t>변화를 고려하여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en-US" altLang="ko-KR" dirty="0"/>
              <a:t>NH</a:t>
            </a:r>
            <a:r>
              <a:rPr lang="ko-KR" altLang="en-US" dirty="0"/>
              <a:t>농협카드 </a:t>
            </a:r>
            <a:r>
              <a:rPr lang="ko-KR" altLang="en-US" dirty="0" smtClean="0"/>
              <a:t>차세대시스템 구축을 위한 프로세스를 설계하고 구축 기본 요건을 정의함</a:t>
            </a:r>
            <a:endParaRPr lang="ko-KR" altLang="en-US" dirty="0"/>
          </a:p>
        </p:txBody>
      </p:sp>
      <p:grpSp>
        <p:nvGrpSpPr>
          <p:cNvPr id="16" name="그룹 15"/>
          <p:cNvGrpSpPr/>
          <p:nvPr/>
        </p:nvGrpSpPr>
        <p:grpSpPr>
          <a:xfrm>
            <a:off x="273050" y="1412875"/>
            <a:ext cx="6183116" cy="287338"/>
            <a:chOff x="273050" y="1412875"/>
            <a:chExt cx="5039990" cy="287338"/>
          </a:xfrm>
        </p:grpSpPr>
        <p:sp>
          <p:nvSpPr>
            <p:cNvPr id="5" name="Text Box 29"/>
            <p:cNvSpPr txBox="1">
              <a:spLocks noChangeArrowheads="1"/>
            </p:cNvSpPr>
            <p:nvPr/>
          </p:nvSpPr>
          <p:spPr bwMode="auto">
            <a:xfrm>
              <a:off x="273050" y="1412875"/>
              <a:ext cx="5039989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r>
                <a:rPr lang="ko-KR" altLang="en-US" dirty="0"/>
                <a:t>프로젝트 추진 배경</a:t>
              </a:r>
            </a:p>
          </p:txBody>
        </p:sp>
        <p:cxnSp>
          <p:nvCxnSpPr>
            <p:cNvPr id="6" name="직선 연결선 5"/>
            <p:cNvCxnSpPr/>
            <p:nvPr/>
          </p:nvCxnSpPr>
          <p:spPr bwMode="auto">
            <a:xfrm>
              <a:off x="273050" y="1700213"/>
              <a:ext cx="503999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8" name="그룹 7"/>
          <p:cNvGrpSpPr/>
          <p:nvPr/>
        </p:nvGrpSpPr>
        <p:grpSpPr>
          <a:xfrm>
            <a:off x="6609184" y="1400608"/>
            <a:ext cx="2678551" cy="290560"/>
            <a:chOff x="5901477" y="1412800"/>
            <a:chExt cx="3609749" cy="290560"/>
          </a:xfrm>
        </p:grpSpPr>
        <p:sp>
          <p:nvSpPr>
            <p:cNvPr id="26" name="TextBox 85"/>
            <p:cNvSpPr txBox="1"/>
            <p:nvPr/>
          </p:nvSpPr>
          <p:spPr>
            <a:xfrm>
              <a:off x="5901477" y="1412800"/>
              <a:ext cx="3609749" cy="287975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ko-KR" altLang="en-US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목표 및 비전</a:t>
              </a:r>
              <a:endParaRPr 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7" name="Line 27"/>
            <p:cNvSpPr>
              <a:spLocks noChangeShapeType="1"/>
            </p:cNvSpPr>
            <p:nvPr/>
          </p:nvSpPr>
          <p:spPr bwMode="auto">
            <a:xfrm>
              <a:off x="5901477" y="1703360"/>
              <a:ext cx="360974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3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" name="직사각형 3"/>
          <p:cNvSpPr/>
          <p:nvPr/>
        </p:nvSpPr>
        <p:spPr bwMode="auto">
          <a:xfrm>
            <a:off x="308882" y="1795092"/>
            <a:ext cx="1152000" cy="2204817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 및 </a:t>
            </a:r>
            <a:r>
              <a:rPr kumimoji="1" lang="ko-KR" altLang="en-US" sz="12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규제 </a:t>
            </a:r>
            <a:r>
              <a:rPr kumimoji="1"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환경</a:t>
            </a:r>
          </a:p>
        </p:txBody>
      </p:sp>
      <p:sp>
        <p:nvSpPr>
          <p:cNvPr id="9" name="직사각형 8"/>
          <p:cNvSpPr/>
          <p:nvPr/>
        </p:nvSpPr>
        <p:spPr bwMode="auto">
          <a:xfrm>
            <a:off x="305296" y="4088523"/>
            <a:ext cx="1152000" cy="693964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환경</a:t>
            </a:r>
            <a:endParaRPr kumimoji="1" lang="ko-KR" altLang="en-US" sz="12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305296" y="4873182"/>
            <a:ext cx="1152000" cy="1244176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 환경</a:t>
            </a:r>
          </a:p>
        </p:txBody>
      </p:sp>
      <p:sp>
        <p:nvSpPr>
          <p:cNvPr id="11" name="직사각형 10"/>
          <p:cNvSpPr/>
          <p:nvPr/>
        </p:nvSpPr>
        <p:spPr bwMode="auto">
          <a:xfrm>
            <a:off x="1536357" y="1800148"/>
            <a:ext cx="1266863" cy="494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금융 컨버전스 격화 예상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1536357" y="2370256"/>
            <a:ext cx="1266863" cy="494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익성 정체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1536357" y="4074934"/>
            <a:ext cx="1266863" cy="7087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커뮤니케이션 채널 디지털化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1536357" y="2940364"/>
            <a:ext cx="1266863" cy="494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국내 카드사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T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투자 확대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1540024" y="4873182"/>
            <a:ext cx="1266863" cy="6604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구축 필요성 제기</a:t>
            </a:r>
          </a:p>
        </p:txBody>
      </p:sp>
      <p:sp>
        <p:nvSpPr>
          <p:cNvPr id="38" name="직사각형 37"/>
          <p:cNvSpPr/>
          <p:nvPr/>
        </p:nvSpPr>
        <p:spPr bwMode="auto">
          <a:xfrm>
            <a:off x="1536357" y="5623134"/>
            <a:ext cx="1266863" cy="494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통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열별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업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수성 고려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35" name="그룹 34"/>
          <p:cNvGrpSpPr/>
          <p:nvPr/>
        </p:nvGrpSpPr>
        <p:grpSpPr>
          <a:xfrm>
            <a:off x="2911507" y="4015734"/>
            <a:ext cx="3553662" cy="814020"/>
            <a:chOff x="2911507" y="4015734"/>
            <a:chExt cx="2454489" cy="814020"/>
          </a:xfrm>
        </p:grpSpPr>
        <p:cxnSp>
          <p:nvCxnSpPr>
            <p:cNvPr id="42" name="직선 연결선 41"/>
            <p:cNvCxnSpPr/>
            <p:nvPr/>
          </p:nvCxnSpPr>
          <p:spPr bwMode="auto">
            <a:xfrm>
              <a:off x="2917725" y="4015734"/>
              <a:ext cx="244827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2911507" y="4829754"/>
              <a:ext cx="244827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45" name="TextBox 44"/>
          <p:cNvSpPr txBox="1"/>
          <p:nvPr/>
        </p:nvSpPr>
        <p:spPr bwMode="auto">
          <a:xfrm>
            <a:off x="2882420" y="1760116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급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 시장의 경쟁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심화에 따른 서비스 우위 성장 동력 필요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307148" y="1794246"/>
            <a:ext cx="288032" cy="28846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300798" y="4088184"/>
            <a:ext cx="288032" cy="28846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00005" y="4873182"/>
            <a:ext cx="288032" cy="28846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</a:t>
            </a:r>
            <a:endParaRPr kumimoji="1" lang="ko-KR" altLang="en-US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524071" y="3507649"/>
            <a:ext cx="1266863" cy="494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kumimoji="1" lang="ko-KR" altLang="en-US" sz="11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규제환경 변화</a:t>
            </a:r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object 63"/>
          <p:cNvSpPr txBox="1"/>
          <p:nvPr/>
        </p:nvSpPr>
        <p:spPr>
          <a:xfrm>
            <a:off x="7967521" y="3575338"/>
            <a:ext cx="1414543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3175"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i="1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“카드사업 </a:t>
            </a:r>
            <a:endParaRPr lang="en-US" altLang="ko-KR" sz="1400" i="1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  <a:p>
            <a:pPr marL="12700" marR="5080" indent="-3175"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i="1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Re-Positioning </a:t>
            </a:r>
          </a:p>
          <a:p>
            <a:pPr marL="12700" marR="5080" indent="-3175"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i="1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기반구축 </a:t>
            </a:r>
            <a:r>
              <a:rPr lang="ko-KR" altLang="en-US" sz="1400" i="1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및 </a:t>
            </a:r>
            <a:endParaRPr lang="en-US" altLang="ko-KR" sz="1400" i="1" dirty="0" smtClean="0">
              <a:solidFill>
                <a:srgbClr val="333333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  <a:p>
            <a:pPr marL="12700" marR="5080" indent="-3175"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i="1" dirty="0" smtClean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新성장동력 </a:t>
            </a:r>
            <a:r>
              <a:rPr lang="ko-KR" altLang="en-US" sz="1400" i="1" dirty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확보”</a:t>
            </a:r>
          </a:p>
        </p:txBody>
      </p:sp>
      <p:grpSp>
        <p:nvGrpSpPr>
          <p:cNvPr id="25" name="그룹 24"/>
          <p:cNvGrpSpPr/>
          <p:nvPr/>
        </p:nvGrpSpPr>
        <p:grpSpPr>
          <a:xfrm>
            <a:off x="6681191" y="2018432"/>
            <a:ext cx="1568379" cy="1152525"/>
            <a:chOff x="6681192" y="2018432"/>
            <a:chExt cx="1153796" cy="1152525"/>
          </a:xfrm>
        </p:grpSpPr>
        <p:sp>
          <p:nvSpPr>
            <p:cNvPr id="86" name="object 64"/>
            <p:cNvSpPr/>
            <p:nvPr/>
          </p:nvSpPr>
          <p:spPr>
            <a:xfrm>
              <a:off x="6813908" y="2080154"/>
              <a:ext cx="1021080" cy="1021080"/>
            </a:xfrm>
            <a:custGeom>
              <a:avLst/>
              <a:gdLst/>
              <a:ahLst/>
              <a:cxnLst/>
              <a:rect l="l" t="t" r="r" b="b"/>
              <a:pathLst>
                <a:path w="1021079" h="1021079">
                  <a:moveTo>
                    <a:pt x="260096" y="0"/>
                  </a:moveTo>
                  <a:lnTo>
                    <a:pt x="0" y="260223"/>
                  </a:lnTo>
                  <a:lnTo>
                    <a:pt x="684783" y="945007"/>
                  </a:lnTo>
                  <a:lnTo>
                    <a:pt x="1020952" y="1021079"/>
                  </a:lnTo>
                  <a:lnTo>
                    <a:pt x="944879" y="684784"/>
                  </a:lnTo>
                  <a:lnTo>
                    <a:pt x="2600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object 65"/>
            <p:cNvSpPr/>
            <p:nvPr/>
          </p:nvSpPr>
          <p:spPr>
            <a:xfrm>
              <a:off x="6681192" y="2018432"/>
              <a:ext cx="1152525" cy="1152525"/>
            </a:xfrm>
            <a:custGeom>
              <a:avLst/>
              <a:gdLst/>
              <a:ahLst/>
              <a:cxnLst/>
              <a:rect l="l" t="t" r="r" b="b"/>
              <a:pathLst>
                <a:path w="1152525" h="1152525">
                  <a:moveTo>
                    <a:pt x="576071" y="0"/>
                  </a:moveTo>
                  <a:lnTo>
                    <a:pt x="528827" y="1909"/>
                  </a:lnTo>
                  <a:lnTo>
                    <a:pt x="482635" y="7540"/>
                  </a:lnTo>
                  <a:lnTo>
                    <a:pt x="437641" y="16743"/>
                  </a:lnTo>
                  <a:lnTo>
                    <a:pt x="393996" y="29370"/>
                  </a:lnTo>
                  <a:lnTo>
                    <a:pt x="351847" y="45273"/>
                  </a:lnTo>
                  <a:lnTo>
                    <a:pt x="311342" y="64304"/>
                  </a:lnTo>
                  <a:lnTo>
                    <a:pt x="272631" y="86313"/>
                  </a:lnTo>
                  <a:lnTo>
                    <a:pt x="235860" y="111154"/>
                  </a:lnTo>
                  <a:lnTo>
                    <a:pt x="201179" y="138677"/>
                  </a:lnTo>
                  <a:lnTo>
                    <a:pt x="168735" y="168735"/>
                  </a:lnTo>
                  <a:lnTo>
                    <a:pt x="138677" y="201179"/>
                  </a:lnTo>
                  <a:lnTo>
                    <a:pt x="111154" y="235860"/>
                  </a:lnTo>
                  <a:lnTo>
                    <a:pt x="86313" y="272631"/>
                  </a:lnTo>
                  <a:lnTo>
                    <a:pt x="64304" y="311342"/>
                  </a:lnTo>
                  <a:lnTo>
                    <a:pt x="45273" y="351847"/>
                  </a:lnTo>
                  <a:lnTo>
                    <a:pt x="29370" y="393996"/>
                  </a:lnTo>
                  <a:lnTo>
                    <a:pt x="16743" y="437641"/>
                  </a:lnTo>
                  <a:lnTo>
                    <a:pt x="7540" y="482635"/>
                  </a:lnTo>
                  <a:lnTo>
                    <a:pt x="1909" y="528827"/>
                  </a:lnTo>
                  <a:lnTo>
                    <a:pt x="0" y="576072"/>
                  </a:lnTo>
                  <a:lnTo>
                    <a:pt x="1909" y="623316"/>
                  </a:lnTo>
                  <a:lnTo>
                    <a:pt x="7540" y="669508"/>
                  </a:lnTo>
                  <a:lnTo>
                    <a:pt x="16743" y="714502"/>
                  </a:lnTo>
                  <a:lnTo>
                    <a:pt x="29370" y="758147"/>
                  </a:lnTo>
                  <a:lnTo>
                    <a:pt x="45273" y="800296"/>
                  </a:lnTo>
                  <a:lnTo>
                    <a:pt x="64304" y="840801"/>
                  </a:lnTo>
                  <a:lnTo>
                    <a:pt x="86313" y="879512"/>
                  </a:lnTo>
                  <a:lnTo>
                    <a:pt x="111154" y="916283"/>
                  </a:lnTo>
                  <a:lnTo>
                    <a:pt x="138677" y="950964"/>
                  </a:lnTo>
                  <a:lnTo>
                    <a:pt x="168735" y="983408"/>
                  </a:lnTo>
                  <a:lnTo>
                    <a:pt x="201179" y="1013466"/>
                  </a:lnTo>
                  <a:lnTo>
                    <a:pt x="235860" y="1040989"/>
                  </a:lnTo>
                  <a:lnTo>
                    <a:pt x="272631" y="1065830"/>
                  </a:lnTo>
                  <a:lnTo>
                    <a:pt x="311342" y="1087839"/>
                  </a:lnTo>
                  <a:lnTo>
                    <a:pt x="351847" y="1106870"/>
                  </a:lnTo>
                  <a:lnTo>
                    <a:pt x="393996" y="1122773"/>
                  </a:lnTo>
                  <a:lnTo>
                    <a:pt x="437641" y="1135400"/>
                  </a:lnTo>
                  <a:lnTo>
                    <a:pt x="482635" y="1144603"/>
                  </a:lnTo>
                  <a:lnTo>
                    <a:pt x="528827" y="1150234"/>
                  </a:lnTo>
                  <a:lnTo>
                    <a:pt x="576071" y="1152144"/>
                  </a:lnTo>
                  <a:lnTo>
                    <a:pt x="623316" y="1150234"/>
                  </a:lnTo>
                  <a:lnTo>
                    <a:pt x="669508" y="1144603"/>
                  </a:lnTo>
                  <a:lnTo>
                    <a:pt x="714502" y="1135400"/>
                  </a:lnTo>
                  <a:lnTo>
                    <a:pt x="758147" y="1122773"/>
                  </a:lnTo>
                  <a:lnTo>
                    <a:pt x="800296" y="1106870"/>
                  </a:lnTo>
                  <a:lnTo>
                    <a:pt x="840801" y="1087839"/>
                  </a:lnTo>
                  <a:lnTo>
                    <a:pt x="879512" y="1065830"/>
                  </a:lnTo>
                  <a:lnTo>
                    <a:pt x="916283" y="1040989"/>
                  </a:lnTo>
                  <a:lnTo>
                    <a:pt x="950964" y="1013466"/>
                  </a:lnTo>
                  <a:lnTo>
                    <a:pt x="983408" y="983408"/>
                  </a:lnTo>
                  <a:lnTo>
                    <a:pt x="1013466" y="950964"/>
                  </a:lnTo>
                  <a:lnTo>
                    <a:pt x="1040989" y="916283"/>
                  </a:lnTo>
                  <a:lnTo>
                    <a:pt x="1065830" y="879512"/>
                  </a:lnTo>
                  <a:lnTo>
                    <a:pt x="1087839" y="840801"/>
                  </a:lnTo>
                  <a:lnTo>
                    <a:pt x="1106870" y="800296"/>
                  </a:lnTo>
                  <a:lnTo>
                    <a:pt x="1122773" y="758147"/>
                  </a:lnTo>
                  <a:lnTo>
                    <a:pt x="1135400" y="714502"/>
                  </a:lnTo>
                  <a:lnTo>
                    <a:pt x="1144603" y="669508"/>
                  </a:lnTo>
                  <a:lnTo>
                    <a:pt x="1150234" y="623316"/>
                  </a:lnTo>
                  <a:lnTo>
                    <a:pt x="1152143" y="576072"/>
                  </a:lnTo>
                  <a:lnTo>
                    <a:pt x="1150234" y="528827"/>
                  </a:lnTo>
                  <a:lnTo>
                    <a:pt x="1144603" y="482635"/>
                  </a:lnTo>
                  <a:lnTo>
                    <a:pt x="1135400" y="437641"/>
                  </a:lnTo>
                  <a:lnTo>
                    <a:pt x="1122773" y="393996"/>
                  </a:lnTo>
                  <a:lnTo>
                    <a:pt x="1106870" y="351847"/>
                  </a:lnTo>
                  <a:lnTo>
                    <a:pt x="1087839" y="311342"/>
                  </a:lnTo>
                  <a:lnTo>
                    <a:pt x="1065830" y="272631"/>
                  </a:lnTo>
                  <a:lnTo>
                    <a:pt x="1040989" y="235860"/>
                  </a:lnTo>
                  <a:lnTo>
                    <a:pt x="1013466" y="201179"/>
                  </a:lnTo>
                  <a:lnTo>
                    <a:pt x="983408" y="168735"/>
                  </a:lnTo>
                  <a:lnTo>
                    <a:pt x="950964" y="138677"/>
                  </a:lnTo>
                  <a:lnTo>
                    <a:pt x="916283" y="111154"/>
                  </a:lnTo>
                  <a:lnTo>
                    <a:pt x="879512" y="86313"/>
                  </a:lnTo>
                  <a:lnTo>
                    <a:pt x="840801" y="64304"/>
                  </a:lnTo>
                  <a:lnTo>
                    <a:pt x="800296" y="45273"/>
                  </a:lnTo>
                  <a:lnTo>
                    <a:pt x="758147" y="29370"/>
                  </a:lnTo>
                  <a:lnTo>
                    <a:pt x="714502" y="16743"/>
                  </a:lnTo>
                  <a:lnTo>
                    <a:pt x="669508" y="7540"/>
                  </a:lnTo>
                  <a:lnTo>
                    <a:pt x="623316" y="1909"/>
                  </a:lnTo>
                  <a:lnTo>
                    <a:pt x="57607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object 66"/>
            <p:cNvSpPr/>
            <p:nvPr/>
          </p:nvSpPr>
          <p:spPr>
            <a:xfrm>
              <a:off x="6681192" y="2018432"/>
              <a:ext cx="1152525" cy="1152525"/>
            </a:xfrm>
            <a:custGeom>
              <a:avLst/>
              <a:gdLst/>
              <a:ahLst/>
              <a:cxnLst/>
              <a:rect l="l" t="t" r="r" b="b"/>
              <a:pathLst>
                <a:path w="1152525" h="1152525">
                  <a:moveTo>
                    <a:pt x="0" y="576072"/>
                  </a:moveTo>
                  <a:lnTo>
                    <a:pt x="1909" y="528827"/>
                  </a:lnTo>
                  <a:lnTo>
                    <a:pt x="7540" y="482635"/>
                  </a:lnTo>
                  <a:lnTo>
                    <a:pt x="16743" y="437641"/>
                  </a:lnTo>
                  <a:lnTo>
                    <a:pt x="29370" y="393996"/>
                  </a:lnTo>
                  <a:lnTo>
                    <a:pt x="45273" y="351847"/>
                  </a:lnTo>
                  <a:lnTo>
                    <a:pt x="64304" y="311342"/>
                  </a:lnTo>
                  <a:lnTo>
                    <a:pt x="86313" y="272631"/>
                  </a:lnTo>
                  <a:lnTo>
                    <a:pt x="111154" y="235860"/>
                  </a:lnTo>
                  <a:lnTo>
                    <a:pt x="138677" y="201179"/>
                  </a:lnTo>
                  <a:lnTo>
                    <a:pt x="168735" y="168735"/>
                  </a:lnTo>
                  <a:lnTo>
                    <a:pt x="201179" y="138677"/>
                  </a:lnTo>
                  <a:lnTo>
                    <a:pt x="235860" y="111154"/>
                  </a:lnTo>
                  <a:lnTo>
                    <a:pt x="272631" y="86313"/>
                  </a:lnTo>
                  <a:lnTo>
                    <a:pt x="311342" y="64304"/>
                  </a:lnTo>
                  <a:lnTo>
                    <a:pt x="351847" y="45273"/>
                  </a:lnTo>
                  <a:lnTo>
                    <a:pt x="393996" y="29370"/>
                  </a:lnTo>
                  <a:lnTo>
                    <a:pt x="437641" y="16743"/>
                  </a:lnTo>
                  <a:lnTo>
                    <a:pt x="482635" y="7540"/>
                  </a:lnTo>
                  <a:lnTo>
                    <a:pt x="528827" y="1909"/>
                  </a:lnTo>
                  <a:lnTo>
                    <a:pt x="576071" y="0"/>
                  </a:lnTo>
                  <a:lnTo>
                    <a:pt x="623316" y="1909"/>
                  </a:lnTo>
                  <a:lnTo>
                    <a:pt x="669508" y="7540"/>
                  </a:lnTo>
                  <a:lnTo>
                    <a:pt x="714502" y="16743"/>
                  </a:lnTo>
                  <a:lnTo>
                    <a:pt x="758147" y="29370"/>
                  </a:lnTo>
                  <a:lnTo>
                    <a:pt x="800296" y="45273"/>
                  </a:lnTo>
                  <a:lnTo>
                    <a:pt x="840801" y="64304"/>
                  </a:lnTo>
                  <a:lnTo>
                    <a:pt x="879512" y="86313"/>
                  </a:lnTo>
                  <a:lnTo>
                    <a:pt x="916283" y="111154"/>
                  </a:lnTo>
                  <a:lnTo>
                    <a:pt x="950964" y="138677"/>
                  </a:lnTo>
                  <a:lnTo>
                    <a:pt x="983408" y="168735"/>
                  </a:lnTo>
                  <a:lnTo>
                    <a:pt x="1013466" y="201179"/>
                  </a:lnTo>
                  <a:lnTo>
                    <a:pt x="1040989" y="235860"/>
                  </a:lnTo>
                  <a:lnTo>
                    <a:pt x="1065830" y="272631"/>
                  </a:lnTo>
                  <a:lnTo>
                    <a:pt x="1087839" y="311342"/>
                  </a:lnTo>
                  <a:lnTo>
                    <a:pt x="1106870" y="351847"/>
                  </a:lnTo>
                  <a:lnTo>
                    <a:pt x="1122773" y="393996"/>
                  </a:lnTo>
                  <a:lnTo>
                    <a:pt x="1135400" y="437641"/>
                  </a:lnTo>
                  <a:lnTo>
                    <a:pt x="1144603" y="482635"/>
                  </a:lnTo>
                  <a:lnTo>
                    <a:pt x="1150234" y="528827"/>
                  </a:lnTo>
                  <a:lnTo>
                    <a:pt x="1152143" y="576072"/>
                  </a:lnTo>
                  <a:lnTo>
                    <a:pt x="1150234" y="623316"/>
                  </a:lnTo>
                  <a:lnTo>
                    <a:pt x="1144603" y="669508"/>
                  </a:lnTo>
                  <a:lnTo>
                    <a:pt x="1135400" y="714502"/>
                  </a:lnTo>
                  <a:lnTo>
                    <a:pt x="1122773" y="758147"/>
                  </a:lnTo>
                  <a:lnTo>
                    <a:pt x="1106870" y="800296"/>
                  </a:lnTo>
                  <a:lnTo>
                    <a:pt x="1087839" y="840801"/>
                  </a:lnTo>
                  <a:lnTo>
                    <a:pt x="1065830" y="879512"/>
                  </a:lnTo>
                  <a:lnTo>
                    <a:pt x="1040989" y="916283"/>
                  </a:lnTo>
                  <a:lnTo>
                    <a:pt x="1013466" y="950964"/>
                  </a:lnTo>
                  <a:lnTo>
                    <a:pt x="983408" y="983408"/>
                  </a:lnTo>
                  <a:lnTo>
                    <a:pt x="950964" y="1013466"/>
                  </a:lnTo>
                  <a:lnTo>
                    <a:pt x="916283" y="1040989"/>
                  </a:lnTo>
                  <a:lnTo>
                    <a:pt x="879512" y="1065830"/>
                  </a:lnTo>
                  <a:lnTo>
                    <a:pt x="840801" y="1087839"/>
                  </a:lnTo>
                  <a:lnTo>
                    <a:pt x="800296" y="1106870"/>
                  </a:lnTo>
                  <a:lnTo>
                    <a:pt x="758147" y="1122773"/>
                  </a:lnTo>
                  <a:lnTo>
                    <a:pt x="714502" y="1135400"/>
                  </a:lnTo>
                  <a:lnTo>
                    <a:pt x="669508" y="1144603"/>
                  </a:lnTo>
                  <a:lnTo>
                    <a:pt x="623316" y="1150234"/>
                  </a:lnTo>
                  <a:lnTo>
                    <a:pt x="576071" y="1152144"/>
                  </a:lnTo>
                  <a:lnTo>
                    <a:pt x="528827" y="1150234"/>
                  </a:lnTo>
                  <a:lnTo>
                    <a:pt x="482635" y="1144603"/>
                  </a:lnTo>
                  <a:lnTo>
                    <a:pt x="437641" y="1135400"/>
                  </a:lnTo>
                  <a:lnTo>
                    <a:pt x="393996" y="1122773"/>
                  </a:lnTo>
                  <a:lnTo>
                    <a:pt x="351847" y="1106870"/>
                  </a:lnTo>
                  <a:lnTo>
                    <a:pt x="311342" y="1087839"/>
                  </a:lnTo>
                  <a:lnTo>
                    <a:pt x="272631" y="1065830"/>
                  </a:lnTo>
                  <a:lnTo>
                    <a:pt x="235860" y="1040989"/>
                  </a:lnTo>
                  <a:lnTo>
                    <a:pt x="201179" y="1013466"/>
                  </a:lnTo>
                  <a:lnTo>
                    <a:pt x="168735" y="983408"/>
                  </a:lnTo>
                  <a:lnTo>
                    <a:pt x="138677" y="950964"/>
                  </a:lnTo>
                  <a:lnTo>
                    <a:pt x="111154" y="916283"/>
                  </a:lnTo>
                  <a:lnTo>
                    <a:pt x="86313" y="879512"/>
                  </a:lnTo>
                  <a:lnTo>
                    <a:pt x="64304" y="840801"/>
                  </a:lnTo>
                  <a:lnTo>
                    <a:pt x="45273" y="800296"/>
                  </a:lnTo>
                  <a:lnTo>
                    <a:pt x="29370" y="758147"/>
                  </a:lnTo>
                  <a:lnTo>
                    <a:pt x="16743" y="714502"/>
                  </a:lnTo>
                  <a:lnTo>
                    <a:pt x="7540" y="669508"/>
                  </a:lnTo>
                  <a:lnTo>
                    <a:pt x="1909" y="623316"/>
                  </a:lnTo>
                  <a:lnTo>
                    <a:pt x="0" y="576072"/>
                  </a:lnTo>
                  <a:close/>
                </a:path>
              </a:pathLst>
            </a:custGeom>
            <a:ln w="82296">
              <a:solidFill>
                <a:srgbClr val="C0C0C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object 67"/>
            <p:cNvSpPr txBox="1"/>
            <p:nvPr/>
          </p:nvSpPr>
          <p:spPr>
            <a:xfrm>
              <a:off x="6776053" y="2181624"/>
              <a:ext cx="982548" cy="92333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12700" marR="5080" indent="-3175"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범농협 </a:t>
              </a:r>
              <a:r>
                <a:rPr lang="en-US" altLang="ko-KR" sz="120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CLO, </a:t>
              </a:r>
              <a:r>
                <a:rPr lang="ko-KR" altLang="en-US" sz="120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빅데이터 활용</a:t>
              </a:r>
              <a:r>
                <a:rPr lang="en-US" altLang="ko-KR" sz="120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, </a:t>
              </a:r>
              <a:r>
                <a:rPr lang="ko-KR" altLang="en-US" sz="1200" dirty="0" smtClean="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유연한 상품 체계 구축을 통한 경쟁력 제고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</p:grpSp>
      <p:sp>
        <p:nvSpPr>
          <p:cNvPr id="90" name="object 68"/>
          <p:cNvSpPr/>
          <p:nvPr/>
        </p:nvSpPr>
        <p:spPr>
          <a:xfrm>
            <a:off x="6702149" y="3806084"/>
            <a:ext cx="1259205" cy="368935"/>
          </a:xfrm>
          <a:custGeom>
            <a:avLst/>
            <a:gdLst/>
            <a:ahLst/>
            <a:cxnLst/>
            <a:rect l="l" t="t" r="r" b="b"/>
            <a:pathLst>
              <a:path w="1259204" h="368935">
                <a:moveTo>
                  <a:pt x="966597" y="0"/>
                </a:moveTo>
                <a:lnTo>
                  <a:pt x="0" y="0"/>
                </a:lnTo>
                <a:lnTo>
                  <a:pt x="0" y="368808"/>
                </a:lnTo>
                <a:lnTo>
                  <a:pt x="966597" y="368808"/>
                </a:lnTo>
                <a:lnTo>
                  <a:pt x="1258824" y="184404"/>
                </a:lnTo>
                <a:lnTo>
                  <a:pt x="966597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object 69"/>
          <p:cNvSpPr/>
          <p:nvPr/>
        </p:nvSpPr>
        <p:spPr>
          <a:xfrm>
            <a:off x="6609184" y="3417464"/>
            <a:ext cx="1152525" cy="1152525"/>
          </a:xfrm>
          <a:custGeom>
            <a:avLst/>
            <a:gdLst/>
            <a:ahLst/>
            <a:cxnLst/>
            <a:rect l="l" t="t" r="r" b="b"/>
            <a:pathLst>
              <a:path w="1152525" h="1152525">
                <a:moveTo>
                  <a:pt x="576071" y="0"/>
                </a:moveTo>
                <a:lnTo>
                  <a:pt x="528827" y="1909"/>
                </a:lnTo>
                <a:lnTo>
                  <a:pt x="482635" y="7540"/>
                </a:lnTo>
                <a:lnTo>
                  <a:pt x="437641" y="16743"/>
                </a:lnTo>
                <a:lnTo>
                  <a:pt x="393996" y="29370"/>
                </a:lnTo>
                <a:lnTo>
                  <a:pt x="351847" y="45273"/>
                </a:lnTo>
                <a:lnTo>
                  <a:pt x="311342" y="64304"/>
                </a:lnTo>
                <a:lnTo>
                  <a:pt x="272631" y="86313"/>
                </a:lnTo>
                <a:lnTo>
                  <a:pt x="235860" y="111154"/>
                </a:lnTo>
                <a:lnTo>
                  <a:pt x="201179" y="138677"/>
                </a:lnTo>
                <a:lnTo>
                  <a:pt x="168735" y="168735"/>
                </a:lnTo>
                <a:lnTo>
                  <a:pt x="138677" y="201179"/>
                </a:lnTo>
                <a:lnTo>
                  <a:pt x="111154" y="235860"/>
                </a:lnTo>
                <a:lnTo>
                  <a:pt x="86313" y="272631"/>
                </a:lnTo>
                <a:lnTo>
                  <a:pt x="64304" y="311342"/>
                </a:lnTo>
                <a:lnTo>
                  <a:pt x="45273" y="351847"/>
                </a:lnTo>
                <a:lnTo>
                  <a:pt x="29370" y="393996"/>
                </a:lnTo>
                <a:lnTo>
                  <a:pt x="16743" y="437641"/>
                </a:lnTo>
                <a:lnTo>
                  <a:pt x="7540" y="482635"/>
                </a:lnTo>
                <a:lnTo>
                  <a:pt x="1909" y="528827"/>
                </a:lnTo>
                <a:lnTo>
                  <a:pt x="0" y="576071"/>
                </a:lnTo>
                <a:lnTo>
                  <a:pt x="1909" y="623316"/>
                </a:lnTo>
                <a:lnTo>
                  <a:pt x="7540" y="669508"/>
                </a:lnTo>
                <a:lnTo>
                  <a:pt x="16743" y="714502"/>
                </a:lnTo>
                <a:lnTo>
                  <a:pt x="29370" y="758147"/>
                </a:lnTo>
                <a:lnTo>
                  <a:pt x="45273" y="800296"/>
                </a:lnTo>
                <a:lnTo>
                  <a:pt x="64304" y="840801"/>
                </a:lnTo>
                <a:lnTo>
                  <a:pt x="86313" y="879512"/>
                </a:lnTo>
                <a:lnTo>
                  <a:pt x="111154" y="916283"/>
                </a:lnTo>
                <a:lnTo>
                  <a:pt x="138677" y="950964"/>
                </a:lnTo>
                <a:lnTo>
                  <a:pt x="168735" y="983408"/>
                </a:lnTo>
                <a:lnTo>
                  <a:pt x="201179" y="1013466"/>
                </a:lnTo>
                <a:lnTo>
                  <a:pt x="235860" y="1040989"/>
                </a:lnTo>
                <a:lnTo>
                  <a:pt x="272631" y="1065830"/>
                </a:lnTo>
                <a:lnTo>
                  <a:pt x="311342" y="1087839"/>
                </a:lnTo>
                <a:lnTo>
                  <a:pt x="351847" y="1106870"/>
                </a:lnTo>
                <a:lnTo>
                  <a:pt x="393996" y="1122773"/>
                </a:lnTo>
                <a:lnTo>
                  <a:pt x="437641" y="1135400"/>
                </a:lnTo>
                <a:lnTo>
                  <a:pt x="482635" y="1144603"/>
                </a:lnTo>
                <a:lnTo>
                  <a:pt x="528827" y="1150234"/>
                </a:lnTo>
                <a:lnTo>
                  <a:pt x="576071" y="1152143"/>
                </a:lnTo>
                <a:lnTo>
                  <a:pt x="623316" y="1150234"/>
                </a:lnTo>
                <a:lnTo>
                  <a:pt x="669508" y="1144603"/>
                </a:lnTo>
                <a:lnTo>
                  <a:pt x="714502" y="1135400"/>
                </a:lnTo>
                <a:lnTo>
                  <a:pt x="758147" y="1122773"/>
                </a:lnTo>
                <a:lnTo>
                  <a:pt x="800296" y="1106870"/>
                </a:lnTo>
                <a:lnTo>
                  <a:pt x="840801" y="1087839"/>
                </a:lnTo>
                <a:lnTo>
                  <a:pt x="879512" y="1065830"/>
                </a:lnTo>
                <a:lnTo>
                  <a:pt x="916283" y="1040989"/>
                </a:lnTo>
                <a:lnTo>
                  <a:pt x="950964" y="1013466"/>
                </a:lnTo>
                <a:lnTo>
                  <a:pt x="983408" y="983408"/>
                </a:lnTo>
                <a:lnTo>
                  <a:pt x="1013466" y="950964"/>
                </a:lnTo>
                <a:lnTo>
                  <a:pt x="1040989" y="916283"/>
                </a:lnTo>
                <a:lnTo>
                  <a:pt x="1065830" y="879512"/>
                </a:lnTo>
                <a:lnTo>
                  <a:pt x="1087839" y="840801"/>
                </a:lnTo>
                <a:lnTo>
                  <a:pt x="1106870" y="800296"/>
                </a:lnTo>
                <a:lnTo>
                  <a:pt x="1122773" y="758147"/>
                </a:lnTo>
                <a:lnTo>
                  <a:pt x="1135400" y="714502"/>
                </a:lnTo>
                <a:lnTo>
                  <a:pt x="1144603" y="669508"/>
                </a:lnTo>
                <a:lnTo>
                  <a:pt x="1150234" y="623316"/>
                </a:lnTo>
                <a:lnTo>
                  <a:pt x="1152143" y="576071"/>
                </a:lnTo>
                <a:lnTo>
                  <a:pt x="1150234" y="528827"/>
                </a:lnTo>
                <a:lnTo>
                  <a:pt x="1144603" y="482635"/>
                </a:lnTo>
                <a:lnTo>
                  <a:pt x="1135400" y="437641"/>
                </a:lnTo>
                <a:lnTo>
                  <a:pt x="1122773" y="393996"/>
                </a:lnTo>
                <a:lnTo>
                  <a:pt x="1106870" y="351847"/>
                </a:lnTo>
                <a:lnTo>
                  <a:pt x="1087839" y="311342"/>
                </a:lnTo>
                <a:lnTo>
                  <a:pt x="1065830" y="272631"/>
                </a:lnTo>
                <a:lnTo>
                  <a:pt x="1040989" y="235860"/>
                </a:lnTo>
                <a:lnTo>
                  <a:pt x="1013466" y="201179"/>
                </a:lnTo>
                <a:lnTo>
                  <a:pt x="983408" y="168735"/>
                </a:lnTo>
                <a:lnTo>
                  <a:pt x="950964" y="138677"/>
                </a:lnTo>
                <a:lnTo>
                  <a:pt x="916283" y="111154"/>
                </a:lnTo>
                <a:lnTo>
                  <a:pt x="879512" y="86313"/>
                </a:lnTo>
                <a:lnTo>
                  <a:pt x="840801" y="64304"/>
                </a:lnTo>
                <a:lnTo>
                  <a:pt x="800296" y="45273"/>
                </a:lnTo>
                <a:lnTo>
                  <a:pt x="758147" y="29370"/>
                </a:lnTo>
                <a:lnTo>
                  <a:pt x="714502" y="16743"/>
                </a:lnTo>
                <a:lnTo>
                  <a:pt x="669508" y="7540"/>
                </a:lnTo>
                <a:lnTo>
                  <a:pt x="623316" y="1909"/>
                </a:lnTo>
                <a:lnTo>
                  <a:pt x="57607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object 70"/>
          <p:cNvSpPr/>
          <p:nvPr/>
        </p:nvSpPr>
        <p:spPr>
          <a:xfrm>
            <a:off x="6609184" y="3417464"/>
            <a:ext cx="1152525" cy="1152525"/>
          </a:xfrm>
          <a:custGeom>
            <a:avLst/>
            <a:gdLst/>
            <a:ahLst/>
            <a:cxnLst/>
            <a:rect l="l" t="t" r="r" b="b"/>
            <a:pathLst>
              <a:path w="1152525" h="1152525">
                <a:moveTo>
                  <a:pt x="0" y="576071"/>
                </a:moveTo>
                <a:lnTo>
                  <a:pt x="1909" y="528827"/>
                </a:lnTo>
                <a:lnTo>
                  <a:pt x="7540" y="482635"/>
                </a:lnTo>
                <a:lnTo>
                  <a:pt x="16743" y="437641"/>
                </a:lnTo>
                <a:lnTo>
                  <a:pt x="29370" y="393996"/>
                </a:lnTo>
                <a:lnTo>
                  <a:pt x="45273" y="351847"/>
                </a:lnTo>
                <a:lnTo>
                  <a:pt x="64304" y="311342"/>
                </a:lnTo>
                <a:lnTo>
                  <a:pt x="86313" y="272631"/>
                </a:lnTo>
                <a:lnTo>
                  <a:pt x="111154" y="235860"/>
                </a:lnTo>
                <a:lnTo>
                  <a:pt x="138677" y="201179"/>
                </a:lnTo>
                <a:lnTo>
                  <a:pt x="168735" y="168735"/>
                </a:lnTo>
                <a:lnTo>
                  <a:pt x="201179" y="138677"/>
                </a:lnTo>
                <a:lnTo>
                  <a:pt x="235860" y="111154"/>
                </a:lnTo>
                <a:lnTo>
                  <a:pt x="272631" y="86313"/>
                </a:lnTo>
                <a:lnTo>
                  <a:pt x="311342" y="64304"/>
                </a:lnTo>
                <a:lnTo>
                  <a:pt x="351847" y="45273"/>
                </a:lnTo>
                <a:lnTo>
                  <a:pt x="393996" y="29370"/>
                </a:lnTo>
                <a:lnTo>
                  <a:pt x="437641" y="16743"/>
                </a:lnTo>
                <a:lnTo>
                  <a:pt x="482635" y="7540"/>
                </a:lnTo>
                <a:lnTo>
                  <a:pt x="528827" y="1909"/>
                </a:lnTo>
                <a:lnTo>
                  <a:pt x="576071" y="0"/>
                </a:lnTo>
                <a:lnTo>
                  <a:pt x="623316" y="1909"/>
                </a:lnTo>
                <a:lnTo>
                  <a:pt x="669508" y="7540"/>
                </a:lnTo>
                <a:lnTo>
                  <a:pt x="714502" y="16743"/>
                </a:lnTo>
                <a:lnTo>
                  <a:pt x="758147" y="29370"/>
                </a:lnTo>
                <a:lnTo>
                  <a:pt x="800296" y="45273"/>
                </a:lnTo>
                <a:lnTo>
                  <a:pt x="840801" y="64304"/>
                </a:lnTo>
                <a:lnTo>
                  <a:pt x="879512" y="86313"/>
                </a:lnTo>
                <a:lnTo>
                  <a:pt x="916283" y="111154"/>
                </a:lnTo>
                <a:lnTo>
                  <a:pt x="950964" y="138677"/>
                </a:lnTo>
                <a:lnTo>
                  <a:pt x="983408" y="168735"/>
                </a:lnTo>
                <a:lnTo>
                  <a:pt x="1013466" y="201179"/>
                </a:lnTo>
                <a:lnTo>
                  <a:pt x="1040989" y="235860"/>
                </a:lnTo>
                <a:lnTo>
                  <a:pt x="1065830" y="272631"/>
                </a:lnTo>
                <a:lnTo>
                  <a:pt x="1087839" y="311342"/>
                </a:lnTo>
                <a:lnTo>
                  <a:pt x="1106870" y="351847"/>
                </a:lnTo>
                <a:lnTo>
                  <a:pt x="1122773" y="393996"/>
                </a:lnTo>
                <a:lnTo>
                  <a:pt x="1135400" y="437641"/>
                </a:lnTo>
                <a:lnTo>
                  <a:pt x="1144603" y="482635"/>
                </a:lnTo>
                <a:lnTo>
                  <a:pt x="1150234" y="528827"/>
                </a:lnTo>
                <a:lnTo>
                  <a:pt x="1152143" y="576071"/>
                </a:lnTo>
                <a:lnTo>
                  <a:pt x="1150234" y="623316"/>
                </a:lnTo>
                <a:lnTo>
                  <a:pt x="1144603" y="669508"/>
                </a:lnTo>
                <a:lnTo>
                  <a:pt x="1135400" y="714502"/>
                </a:lnTo>
                <a:lnTo>
                  <a:pt x="1122773" y="758147"/>
                </a:lnTo>
                <a:lnTo>
                  <a:pt x="1106870" y="800296"/>
                </a:lnTo>
                <a:lnTo>
                  <a:pt x="1087839" y="840801"/>
                </a:lnTo>
                <a:lnTo>
                  <a:pt x="1065830" y="879512"/>
                </a:lnTo>
                <a:lnTo>
                  <a:pt x="1040989" y="916283"/>
                </a:lnTo>
                <a:lnTo>
                  <a:pt x="1013466" y="950964"/>
                </a:lnTo>
                <a:lnTo>
                  <a:pt x="983408" y="983408"/>
                </a:lnTo>
                <a:lnTo>
                  <a:pt x="950964" y="1013466"/>
                </a:lnTo>
                <a:lnTo>
                  <a:pt x="916283" y="1040989"/>
                </a:lnTo>
                <a:lnTo>
                  <a:pt x="879512" y="1065830"/>
                </a:lnTo>
                <a:lnTo>
                  <a:pt x="840801" y="1087839"/>
                </a:lnTo>
                <a:lnTo>
                  <a:pt x="800296" y="1106870"/>
                </a:lnTo>
                <a:lnTo>
                  <a:pt x="758147" y="1122773"/>
                </a:lnTo>
                <a:lnTo>
                  <a:pt x="714502" y="1135400"/>
                </a:lnTo>
                <a:lnTo>
                  <a:pt x="669508" y="1144603"/>
                </a:lnTo>
                <a:lnTo>
                  <a:pt x="623316" y="1150234"/>
                </a:lnTo>
                <a:lnTo>
                  <a:pt x="576071" y="1152143"/>
                </a:lnTo>
                <a:lnTo>
                  <a:pt x="528827" y="1150234"/>
                </a:lnTo>
                <a:lnTo>
                  <a:pt x="482635" y="1144603"/>
                </a:lnTo>
                <a:lnTo>
                  <a:pt x="437641" y="1135400"/>
                </a:lnTo>
                <a:lnTo>
                  <a:pt x="393996" y="1122773"/>
                </a:lnTo>
                <a:lnTo>
                  <a:pt x="351847" y="1106870"/>
                </a:lnTo>
                <a:lnTo>
                  <a:pt x="311342" y="1087839"/>
                </a:lnTo>
                <a:lnTo>
                  <a:pt x="272631" y="1065830"/>
                </a:lnTo>
                <a:lnTo>
                  <a:pt x="235860" y="1040989"/>
                </a:lnTo>
                <a:lnTo>
                  <a:pt x="201179" y="1013466"/>
                </a:lnTo>
                <a:lnTo>
                  <a:pt x="168735" y="983408"/>
                </a:lnTo>
                <a:lnTo>
                  <a:pt x="138677" y="950964"/>
                </a:lnTo>
                <a:lnTo>
                  <a:pt x="111154" y="916283"/>
                </a:lnTo>
                <a:lnTo>
                  <a:pt x="86313" y="879512"/>
                </a:lnTo>
                <a:lnTo>
                  <a:pt x="64304" y="840801"/>
                </a:lnTo>
                <a:lnTo>
                  <a:pt x="45273" y="800296"/>
                </a:lnTo>
                <a:lnTo>
                  <a:pt x="29370" y="758147"/>
                </a:lnTo>
                <a:lnTo>
                  <a:pt x="16743" y="714502"/>
                </a:lnTo>
                <a:lnTo>
                  <a:pt x="7540" y="669508"/>
                </a:lnTo>
                <a:lnTo>
                  <a:pt x="1909" y="623316"/>
                </a:lnTo>
                <a:lnTo>
                  <a:pt x="0" y="576071"/>
                </a:lnTo>
                <a:close/>
              </a:path>
            </a:pathLst>
          </a:custGeom>
          <a:ln w="82296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object 71"/>
          <p:cNvSpPr txBox="1"/>
          <p:nvPr/>
        </p:nvSpPr>
        <p:spPr>
          <a:xfrm>
            <a:off x="6670144" y="3632832"/>
            <a:ext cx="1056086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2700" marR="5080" indent="-3175"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defRPr>
            </a:lvl1pPr>
          </a:lstStyle>
          <a:p>
            <a:pPr latinLnBrk="0"/>
            <a:r>
              <a:rPr lang="ko-KR" altLang="en-US" dirty="0" smtClean="0"/>
              <a:t>고객서비스 혁신 및 미세 경영</a:t>
            </a:r>
            <a:r>
              <a:rPr lang="en-US" altLang="ko-KR" dirty="0"/>
              <a:t> </a:t>
            </a:r>
            <a:r>
              <a:rPr lang="ko-KR" altLang="en-US" dirty="0" smtClean="0"/>
              <a:t>관리 체계 구축</a:t>
            </a:r>
            <a:endParaRPr lang="ko-KR" altLang="en-US" dirty="0"/>
          </a:p>
        </p:txBody>
      </p:sp>
      <p:grpSp>
        <p:nvGrpSpPr>
          <p:cNvPr id="30" name="그룹 29"/>
          <p:cNvGrpSpPr/>
          <p:nvPr/>
        </p:nvGrpSpPr>
        <p:grpSpPr>
          <a:xfrm>
            <a:off x="6718320" y="4828687"/>
            <a:ext cx="1560002" cy="1149350"/>
            <a:chOff x="6681192" y="4828687"/>
            <a:chExt cx="1225804" cy="1149350"/>
          </a:xfrm>
        </p:grpSpPr>
        <p:sp>
          <p:nvSpPr>
            <p:cNvPr id="94" name="object 72"/>
            <p:cNvSpPr/>
            <p:nvPr/>
          </p:nvSpPr>
          <p:spPr>
            <a:xfrm>
              <a:off x="6758916" y="4995185"/>
              <a:ext cx="1148080" cy="857250"/>
            </a:xfrm>
            <a:custGeom>
              <a:avLst/>
              <a:gdLst/>
              <a:ahLst/>
              <a:cxnLst/>
              <a:rect l="l" t="t" r="r" b="b"/>
              <a:pathLst>
                <a:path w="1148079" h="857250">
                  <a:moveTo>
                    <a:pt x="1147571" y="0"/>
                  </a:moveTo>
                  <a:lnTo>
                    <a:pt x="802893" y="10540"/>
                  </a:lnTo>
                  <a:lnTo>
                    <a:pt x="0" y="552030"/>
                  </a:lnTo>
                  <a:lnTo>
                    <a:pt x="205866" y="857110"/>
                  </a:lnTo>
                  <a:lnTo>
                    <a:pt x="1008634" y="315594"/>
                  </a:lnTo>
                  <a:lnTo>
                    <a:pt x="114757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5" name="object 73"/>
            <p:cNvSpPr/>
            <p:nvPr/>
          </p:nvSpPr>
          <p:spPr>
            <a:xfrm>
              <a:off x="6681192" y="4828687"/>
              <a:ext cx="1152525" cy="1149350"/>
            </a:xfrm>
            <a:custGeom>
              <a:avLst/>
              <a:gdLst/>
              <a:ahLst/>
              <a:cxnLst/>
              <a:rect l="l" t="t" r="r" b="b"/>
              <a:pathLst>
                <a:path w="1152525" h="1149350">
                  <a:moveTo>
                    <a:pt x="576071" y="0"/>
                  </a:moveTo>
                  <a:lnTo>
                    <a:pt x="528827" y="1904"/>
                  </a:lnTo>
                  <a:lnTo>
                    <a:pt x="482635" y="7518"/>
                  </a:lnTo>
                  <a:lnTo>
                    <a:pt x="437641" y="16694"/>
                  </a:lnTo>
                  <a:lnTo>
                    <a:pt x="393996" y="29285"/>
                  </a:lnTo>
                  <a:lnTo>
                    <a:pt x="351847" y="45142"/>
                  </a:lnTo>
                  <a:lnTo>
                    <a:pt x="311342" y="64118"/>
                  </a:lnTo>
                  <a:lnTo>
                    <a:pt x="272631" y="86066"/>
                  </a:lnTo>
                  <a:lnTo>
                    <a:pt x="235860" y="110837"/>
                  </a:lnTo>
                  <a:lnTo>
                    <a:pt x="201179" y="138284"/>
                  </a:lnTo>
                  <a:lnTo>
                    <a:pt x="168735" y="168259"/>
                  </a:lnTo>
                  <a:lnTo>
                    <a:pt x="138677" y="200614"/>
                  </a:lnTo>
                  <a:lnTo>
                    <a:pt x="111154" y="235201"/>
                  </a:lnTo>
                  <a:lnTo>
                    <a:pt x="86313" y="271874"/>
                  </a:lnTo>
                  <a:lnTo>
                    <a:pt x="64304" y="310484"/>
                  </a:lnTo>
                  <a:lnTo>
                    <a:pt x="45273" y="350883"/>
                  </a:lnTo>
                  <a:lnTo>
                    <a:pt x="29370" y="392923"/>
                  </a:lnTo>
                  <a:lnTo>
                    <a:pt x="16743" y="436458"/>
                  </a:lnTo>
                  <a:lnTo>
                    <a:pt x="7540" y="481339"/>
                  </a:lnTo>
                  <a:lnTo>
                    <a:pt x="1909" y="527418"/>
                  </a:lnTo>
                  <a:lnTo>
                    <a:pt x="0" y="574547"/>
                  </a:lnTo>
                  <a:lnTo>
                    <a:pt x="1909" y="621669"/>
                  </a:lnTo>
                  <a:lnTo>
                    <a:pt x="7540" y="667741"/>
                  </a:lnTo>
                  <a:lnTo>
                    <a:pt x="16743" y="712617"/>
                  </a:lnTo>
                  <a:lnTo>
                    <a:pt x="29370" y="756147"/>
                  </a:lnTo>
                  <a:lnTo>
                    <a:pt x="45273" y="798186"/>
                  </a:lnTo>
                  <a:lnTo>
                    <a:pt x="64304" y="838583"/>
                  </a:lnTo>
                  <a:lnTo>
                    <a:pt x="86313" y="877193"/>
                  </a:lnTo>
                  <a:lnTo>
                    <a:pt x="111154" y="913866"/>
                  </a:lnTo>
                  <a:lnTo>
                    <a:pt x="138677" y="948455"/>
                  </a:lnTo>
                  <a:lnTo>
                    <a:pt x="168735" y="980813"/>
                  </a:lnTo>
                  <a:lnTo>
                    <a:pt x="201179" y="1010790"/>
                  </a:lnTo>
                  <a:lnTo>
                    <a:pt x="235860" y="1038240"/>
                  </a:lnTo>
                  <a:lnTo>
                    <a:pt x="272631" y="1063014"/>
                  </a:lnTo>
                  <a:lnTo>
                    <a:pt x="311342" y="1084965"/>
                  </a:lnTo>
                  <a:lnTo>
                    <a:pt x="351847" y="1103944"/>
                  </a:lnTo>
                  <a:lnTo>
                    <a:pt x="393996" y="1119804"/>
                  </a:lnTo>
                  <a:lnTo>
                    <a:pt x="437641" y="1132397"/>
                  </a:lnTo>
                  <a:lnTo>
                    <a:pt x="482635" y="1141576"/>
                  </a:lnTo>
                  <a:lnTo>
                    <a:pt x="528827" y="1147191"/>
                  </a:lnTo>
                  <a:lnTo>
                    <a:pt x="576071" y="1149095"/>
                  </a:lnTo>
                  <a:lnTo>
                    <a:pt x="623316" y="1147191"/>
                  </a:lnTo>
                  <a:lnTo>
                    <a:pt x="669508" y="1141576"/>
                  </a:lnTo>
                  <a:lnTo>
                    <a:pt x="714502" y="1132397"/>
                  </a:lnTo>
                  <a:lnTo>
                    <a:pt x="758147" y="1119804"/>
                  </a:lnTo>
                  <a:lnTo>
                    <a:pt x="800296" y="1103944"/>
                  </a:lnTo>
                  <a:lnTo>
                    <a:pt x="840801" y="1084965"/>
                  </a:lnTo>
                  <a:lnTo>
                    <a:pt x="879512" y="1063014"/>
                  </a:lnTo>
                  <a:lnTo>
                    <a:pt x="916283" y="1038240"/>
                  </a:lnTo>
                  <a:lnTo>
                    <a:pt x="950964" y="1010790"/>
                  </a:lnTo>
                  <a:lnTo>
                    <a:pt x="983408" y="980813"/>
                  </a:lnTo>
                  <a:lnTo>
                    <a:pt x="1013466" y="948455"/>
                  </a:lnTo>
                  <a:lnTo>
                    <a:pt x="1040989" y="913866"/>
                  </a:lnTo>
                  <a:lnTo>
                    <a:pt x="1065830" y="877193"/>
                  </a:lnTo>
                  <a:lnTo>
                    <a:pt x="1087839" y="838583"/>
                  </a:lnTo>
                  <a:lnTo>
                    <a:pt x="1106870" y="798186"/>
                  </a:lnTo>
                  <a:lnTo>
                    <a:pt x="1122773" y="756147"/>
                  </a:lnTo>
                  <a:lnTo>
                    <a:pt x="1135400" y="712617"/>
                  </a:lnTo>
                  <a:lnTo>
                    <a:pt x="1144603" y="667741"/>
                  </a:lnTo>
                  <a:lnTo>
                    <a:pt x="1150234" y="621669"/>
                  </a:lnTo>
                  <a:lnTo>
                    <a:pt x="1152143" y="574547"/>
                  </a:lnTo>
                  <a:lnTo>
                    <a:pt x="1150234" y="527418"/>
                  </a:lnTo>
                  <a:lnTo>
                    <a:pt x="1144603" y="481339"/>
                  </a:lnTo>
                  <a:lnTo>
                    <a:pt x="1135400" y="436458"/>
                  </a:lnTo>
                  <a:lnTo>
                    <a:pt x="1122773" y="392923"/>
                  </a:lnTo>
                  <a:lnTo>
                    <a:pt x="1106870" y="350883"/>
                  </a:lnTo>
                  <a:lnTo>
                    <a:pt x="1087839" y="310484"/>
                  </a:lnTo>
                  <a:lnTo>
                    <a:pt x="1065830" y="271874"/>
                  </a:lnTo>
                  <a:lnTo>
                    <a:pt x="1040989" y="235201"/>
                  </a:lnTo>
                  <a:lnTo>
                    <a:pt x="1013466" y="200614"/>
                  </a:lnTo>
                  <a:lnTo>
                    <a:pt x="983408" y="168259"/>
                  </a:lnTo>
                  <a:lnTo>
                    <a:pt x="950964" y="138284"/>
                  </a:lnTo>
                  <a:lnTo>
                    <a:pt x="916283" y="110837"/>
                  </a:lnTo>
                  <a:lnTo>
                    <a:pt x="879512" y="86066"/>
                  </a:lnTo>
                  <a:lnTo>
                    <a:pt x="840801" y="64118"/>
                  </a:lnTo>
                  <a:lnTo>
                    <a:pt x="800296" y="45142"/>
                  </a:lnTo>
                  <a:lnTo>
                    <a:pt x="758147" y="29285"/>
                  </a:lnTo>
                  <a:lnTo>
                    <a:pt x="714502" y="16694"/>
                  </a:lnTo>
                  <a:lnTo>
                    <a:pt x="669508" y="7518"/>
                  </a:lnTo>
                  <a:lnTo>
                    <a:pt x="623316" y="1904"/>
                  </a:lnTo>
                  <a:lnTo>
                    <a:pt x="57607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object 74"/>
            <p:cNvSpPr/>
            <p:nvPr/>
          </p:nvSpPr>
          <p:spPr>
            <a:xfrm>
              <a:off x="6681192" y="4828687"/>
              <a:ext cx="1152525" cy="1149350"/>
            </a:xfrm>
            <a:custGeom>
              <a:avLst/>
              <a:gdLst/>
              <a:ahLst/>
              <a:cxnLst/>
              <a:rect l="l" t="t" r="r" b="b"/>
              <a:pathLst>
                <a:path w="1152525" h="1149350">
                  <a:moveTo>
                    <a:pt x="0" y="574547"/>
                  </a:moveTo>
                  <a:lnTo>
                    <a:pt x="1909" y="527418"/>
                  </a:lnTo>
                  <a:lnTo>
                    <a:pt x="7540" y="481339"/>
                  </a:lnTo>
                  <a:lnTo>
                    <a:pt x="16743" y="436458"/>
                  </a:lnTo>
                  <a:lnTo>
                    <a:pt x="29370" y="392923"/>
                  </a:lnTo>
                  <a:lnTo>
                    <a:pt x="45273" y="350883"/>
                  </a:lnTo>
                  <a:lnTo>
                    <a:pt x="64304" y="310484"/>
                  </a:lnTo>
                  <a:lnTo>
                    <a:pt x="86313" y="271874"/>
                  </a:lnTo>
                  <a:lnTo>
                    <a:pt x="111154" y="235201"/>
                  </a:lnTo>
                  <a:lnTo>
                    <a:pt x="138677" y="200614"/>
                  </a:lnTo>
                  <a:lnTo>
                    <a:pt x="168735" y="168259"/>
                  </a:lnTo>
                  <a:lnTo>
                    <a:pt x="201179" y="138284"/>
                  </a:lnTo>
                  <a:lnTo>
                    <a:pt x="235860" y="110837"/>
                  </a:lnTo>
                  <a:lnTo>
                    <a:pt x="272631" y="86066"/>
                  </a:lnTo>
                  <a:lnTo>
                    <a:pt x="311342" y="64118"/>
                  </a:lnTo>
                  <a:lnTo>
                    <a:pt x="351847" y="45142"/>
                  </a:lnTo>
                  <a:lnTo>
                    <a:pt x="393996" y="29285"/>
                  </a:lnTo>
                  <a:lnTo>
                    <a:pt x="437641" y="16694"/>
                  </a:lnTo>
                  <a:lnTo>
                    <a:pt x="482635" y="7518"/>
                  </a:lnTo>
                  <a:lnTo>
                    <a:pt x="528827" y="1904"/>
                  </a:lnTo>
                  <a:lnTo>
                    <a:pt x="576071" y="0"/>
                  </a:lnTo>
                  <a:lnTo>
                    <a:pt x="623316" y="1904"/>
                  </a:lnTo>
                  <a:lnTo>
                    <a:pt x="669508" y="7518"/>
                  </a:lnTo>
                  <a:lnTo>
                    <a:pt x="714502" y="16694"/>
                  </a:lnTo>
                  <a:lnTo>
                    <a:pt x="758147" y="29285"/>
                  </a:lnTo>
                  <a:lnTo>
                    <a:pt x="800296" y="45142"/>
                  </a:lnTo>
                  <a:lnTo>
                    <a:pt x="840801" y="64118"/>
                  </a:lnTo>
                  <a:lnTo>
                    <a:pt x="879512" y="86066"/>
                  </a:lnTo>
                  <a:lnTo>
                    <a:pt x="916283" y="110837"/>
                  </a:lnTo>
                  <a:lnTo>
                    <a:pt x="950964" y="138284"/>
                  </a:lnTo>
                  <a:lnTo>
                    <a:pt x="983408" y="168259"/>
                  </a:lnTo>
                  <a:lnTo>
                    <a:pt x="1013466" y="200614"/>
                  </a:lnTo>
                  <a:lnTo>
                    <a:pt x="1040989" y="235201"/>
                  </a:lnTo>
                  <a:lnTo>
                    <a:pt x="1065830" y="271874"/>
                  </a:lnTo>
                  <a:lnTo>
                    <a:pt x="1087839" y="310484"/>
                  </a:lnTo>
                  <a:lnTo>
                    <a:pt x="1106870" y="350883"/>
                  </a:lnTo>
                  <a:lnTo>
                    <a:pt x="1122773" y="392923"/>
                  </a:lnTo>
                  <a:lnTo>
                    <a:pt x="1135400" y="436458"/>
                  </a:lnTo>
                  <a:lnTo>
                    <a:pt x="1144603" y="481339"/>
                  </a:lnTo>
                  <a:lnTo>
                    <a:pt x="1150234" y="527418"/>
                  </a:lnTo>
                  <a:lnTo>
                    <a:pt x="1152143" y="574547"/>
                  </a:lnTo>
                  <a:lnTo>
                    <a:pt x="1150234" y="621669"/>
                  </a:lnTo>
                  <a:lnTo>
                    <a:pt x="1144603" y="667741"/>
                  </a:lnTo>
                  <a:lnTo>
                    <a:pt x="1135400" y="712617"/>
                  </a:lnTo>
                  <a:lnTo>
                    <a:pt x="1122773" y="756147"/>
                  </a:lnTo>
                  <a:lnTo>
                    <a:pt x="1106870" y="798186"/>
                  </a:lnTo>
                  <a:lnTo>
                    <a:pt x="1087839" y="838583"/>
                  </a:lnTo>
                  <a:lnTo>
                    <a:pt x="1065830" y="877193"/>
                  </a:lnTo>
                  <a:lnTo>
                    <a:pt x="1040989" y="913866"/>
                  </a:lnTo>
                  <a:lnTo>
                    <a:pt x="1013466" y="948455"/>
                  </a:lnTo>
                  <a:lnTo>
                    <a:pt x="983408" y="980813"/>
                  </a:lnTo>
                  <a:lnTo>
                    <a:pt x="950964" y="1010790"/>
                  </a:lnTo>
                  <a:lnTo>
                    <a:pt x="916283" y="1038240"/>
                  </a:lnTo>
                  <a:lnTo>
                    <a:pt x="879512" y="1063014"/>
                  </a:lnTo>
                  <a:lnTo>
                    <a:pt x="840801" y="1084965"/>
                  </a:lnTo>
                  <a:lnTo>
                    <a:pt x="800296" y="1103944"/>
                  </a:lnTo>
                  <a:lnTo>
                    <a:pt x="758147" y="1119804"/>
                  </a:lnTo>
                  <a:lnTo>
                    <a:pt x="714502" y="1132397"/>
                  </a:lnTo>
                  <a:lnTo>
                    <a:pt x="669508" y="1141576"/>
                  </a:lnTo>
                  <a:lnTo>
                    <a:pt x="623316" y="1147191"/>
                  </a:lnTo>
                  <a:lnTo>
                    <a:pt x="576071" y="1149095"/>
                  </a:lnTo>
                  <a:lnTo>
                    <a:pt x="528827" y="1147191"/>
                  </a:lnTo>
                  <a:lnTo>
                    <a:pt x="482635" y="1141576"/>
                  </a:lnTo>
                  <a:lnTo>
                    <a:pt x="437641" y="1132397"/>
                  </a:lnTo>
                  <a:lnTo>
                    <a:pt x="393996" y="1119804"/>
                  </a:lnTo>
                  <a:lnTo>
                    <a:pt x="351847" y="1103944"/>
                  </a:lnTo>
                  <a:lnTo>
                    <a:pt x="311342" y="1084965"/>
                  </a:lnTo>
                  <a:lnTo>
                    <a:pt x="272631" y="1063014"/>
                  </a:lnTo>
                  <a:lnTo>
                    <a:pt x="235860" y="1038240"/>
                  </a:lnTo>
                  <a:lnTo>
                    <a:pt x="201179" y="1010790"/>
                  </a:lnTo>
                  <a:lnTo>
                    <a:pt x="168735" y="980813"/>
                  </a:lnTo>
                  <a:lnTo>
                    <a:pt x="138677" y="948455"/>
                  </a:lnTo>
                  <a:lnTo>
                    <a:pt x="111154" y="913866"/>
                  </a:lnTo>
                  <a:lnTo>
                    <a:pt x="86313" y="877193"/>
                  </a:lnTo>
                  <a:lnTo>
                    <a:pt x="64304" y="838583"/>
                  </a:lnTo>
                  <a:lnTo>
                    <a:pt x="45273" y="798186"/>
                  </a:lnTo>
                  <a:lnTo>
                    <a:pt x="29370" y="756147"/>
                  </a:lnTo>
                  <a:lnTo>
                    <a:pt x="16743" y="712617"/>
                  </a:lnTo>
                  <a:lnTo>
                    <a:pt x="7540" y="667741"/>
                  </a:lnTo>
                  <a:lnTo>
                    <a:pt x="1909" y="621669"/>
                  </a:lnTo>
                  <a:lnTo>
                    <a:pt x="0" y="574547"/>
                  </a:lnTo>
                  <a:close/>
                </a:path>
              </a:pathLst>
            </a:custGeom>
            <a:ln w="82296">
              <a:solidFill>
                <a:srgbClr val="C0C0C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object 75"/>
            <p:cNvSpPr txBox="1"/>
            <p:nvPr/>
          </p:nvSpPr>
          <p:spPr>
            <a:xfrm>
              <a:off x="6735529" y="5125952"/>
              <a:ext cx="107207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12700" marR="5080" indent="-3175" algn="ctr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333333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defRPr>
              </a:lvl1pPr>
            </a:lstStyle>
            <a:p>
              <a:pPr latinLnBrk="0"/>
              <a:r>
                <a:rPr lang="en-US" altLang="ko-KR" dirty="0" smtClean="0"/>
                <a:t>IT</a:t>
              </a:r>
              <a:r>
                <a:rPr lang="ko-KR" altLang="en-US" dirty="0" smtClean="0"/>
                <a:t> 확장성 및 안정성</a:t>
              </a:r>
              <a:r>
                <a:rPr lang="en-US" altLang="ko-KR" dirty="0" smtClean="0"/>
                <a:t>, </a:t>
              </a:r>
              <a:r>
                <a:rPr lang="ko-KR" altLang="en-US" dirty="0" smtClean="0"/>
                <a:t>서비스 유연성 확보</a:t>
              </a:r>
              <a:endParaRPr dirty="0"/>
            </a:p>
          </p:txBody>
        </p:sp>
      </p:grpSp>
      <p:sp>
        <p:nvSpPr>
          <p:cNvPr id="98" name="TextBox 97"/>
          <p:cNvSpPr txBox="1"/>
          <p:nvPr/>
        </p:nvSpPr>
        <p:spPr bwMode="auto">
          <a:xfrm>
            <a:off x="2868960" y="2356610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용카드 산업의 시장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숙 및 규제에 따라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익성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악화</a:t>
            </a:r>
          </a:p>
        </p:txBody>
      </p:sp>
      <p:sp>
        <p:nvSpPr>
          <p:cNvPr id="99" name="TextBox 98"/>
          <p:cNvSpPr txBox="1"/>
          <p:nvPr/>
        </p:nvSpPr>
        <p:spPr bwMode="auto">
          <a:xfrm>
            <a:off x="2877468" y="2919974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기반 고도화를 위한 경쟁사 차세대 구축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gital Transformation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한 차세대 추진 중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 bwMode="auto">
          <a:xfrm>
            <a:off x="2845125" y="3465757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사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사업 인가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sz="12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핀테크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규제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완화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세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TextBox 100"/>
          <p:cNvSpPr txBox="1"/>
          <p:nvPr/>
        </p:nvSpPr>
        <p:spPr bwMode="auto">
          <a:xfrm>
            <a:off x="2884263" y="4185855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마트폰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시 접속과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셜미디어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多채널 활용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의 카드 가입 및 사용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행태가 디지털 化</a:t>
            </a:r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TextBox 101"/>
          <p:cNvSpPr txBox="1"/>
          <p:nvPr/>
        </p:nvSpPr>
        <p:spPr bwMode="auto">
          <a:xfrm>
            <a:off x="2884263" y="4947647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애 없고 안정적인 </a:t>
            </a:r>
            <a:r>
              <a: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lang="en-US" altLang="ko-KR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처리 관행 혁신과 연계하여 추진</a:t>
            </a: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2896963" y="5595613"/>
            <a:ext cx="3573745" cy="496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90488" indent="-90488" latinLnBrk="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움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BC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열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특수성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농축협과의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집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손익배분 특수성에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한 이해</a:t>
            </a:r>
          </a:p>
        </p:txBody>
      </p:sp>
    </p:spTree>
    <p:extLst>
      <p:ext uri="{BB962C8B-B14F-4D97-AF65-F5344CB8AC3E}">
        <p14:creationId xmlns:p14="http://schemas.microsoft.com/office/powerpoint/2010/main" val="24778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   프로세스 </a:t>
            </a: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반 차세대시스템 개발 노하우 </a:t>
            </a:r>
            <a:r>
              <a:rPr lang="ko-KR" altLang="en-US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활용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기반의 차세대 시스템 개발계획 수립 및 차세대 구축 경험을 통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I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에서 필요한 핵심 업무를 이해하고 있음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gray">
          <a:xfrm>
            <a:off x="3370358" y="3329696"/>
            <a:ext cx="6262592" cy="20162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3" name="직사각형 62"/>
          <p:cNvSpPr/>
          <p:nvPr/>
        </p:nvSpPr>
        <p:spPr bwMode="gray">
          <a:xfrm>
            <a:off x="3370358" y="1836948"/>
            <a:ext cx="6262592" cy="61647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4" name="직사각형 63"/>
          <p:cNvSpPr/>
          <p:nvPr/>
        </p:nvSpPr>
        <p:spPr bwMode="gray">
          <a:xfrm>
            <a:off x="1124687" y="1975570"/>
            <a:ext cx="2012071" cy="642938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2" name="직사각형 71"/>
          <p:cNvSpPr/>
          <p:nvPr/>
        </p:nvSpPr>
        <p:spPr bwMode="gray">
          <a:xfrm>
            <a:off x="1124687" y="3137593"/>
            <a:ext cx="2012071" cy="174830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4" name="직사각형 73"/>
          <p:cNvSpPr/>
          <p:nvPr/>
        </p:nvSpPr>
        <p:spPr bwMode="gray">
          <a:xfrm>
            <a:off x="1124687" y="5211785"/>
            <a:ext cx="2012071" cy="853182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1385347" y="2047657"/>
            <a:ext cx="1452919" cy="498764"/>
            <a:chOff x="1233714" y="2352964"/>
            <a:chExt cx="1624693" cy="498764"/>
          </a:xfrm>
        </p:grpSpPr>
        <p:sp>
          <p:nvSpPr>
            <p:cNvPr id="76" name="오각형 1"/>
            <p:cNvSpPr/>
            <p:nvPr/>
          </p:nvSpPr>
          <p:spPr bwMode="gray">
            <a:xfrm>
              <a:off x="1233714" y="2352964"/>
              <a:ext cx="411341" cy="211016"/>
            </a:xfrm>
            <a:prstGeom prst="homePlate">
              <a:avLst>
                <a:gd name="adj" fmla="val 13397"/>
              </a:avLst>
            </a:prstGeom>
            <a:solidFill>
              <a:sysClr val="window" lastClr="FFFFFF">
                <a:lumMod val="95000"/>
              </a:sysClr>
            </a:solidFill>
            <a:ln w="9525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77" name="오각형 39"/>
            <p:cNvSpPr/>
            <p:nvPr/>
          </p:nvSpPr>
          <p:spPr bwMode="gray">
            <a:xfrm>
              <a:off x="1840390" y="2640712"/>
              <a:ext cx="411341" cy="211016"/>
            </a:xfrm>
            <a:prstGeom prst="homePlate">
              <a:avLst>
                <a:gd name="adj" fmla="val 13397"/>
              </a:avLst>
            </a:prstGeom>
            <a:solidFill>
              <a:sysClr val="window" lastClr="FFFFFF">
                <a:lumMod val="95000"/>
              </a:sysClr>
            </a:solidFill>
            <a:ln w="9525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cxnSp>
          <p:nvCxnSpPr>
            <p:cNvPr id="78" name="꺾인 연결선 4"/>
            <p:cNvCxnSpPr>
              <a:stCxn id="76" idx="3"/>
              <a:endCxn id="77" idx="1"/>
            </p:cNvCxnSpPr>
            <p:nvPr/>
          </p:nvCxnSpPr>
          <p:spPr>
            <a:xfrm>
              <a:off x="1645055" y="2458472"/>
              <a:ext cx="195335" cy="287748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79" name="오각형 46"/>
            <p:cNvSpPr/>
            <p:nvPr/>
          </p:nvSpPr>
          <p:spPr bwMode="gray">
            <a:xfrm>
              <a:off x="2447066" y="2352964"/>
              <a:ext cx="411341" cy="211016"/>
            </a:xfrm>
            <a:prstGeom prst="homePlate">
              <a:avLst>
                <a:gd name="adj" fmla="val 13397"/>
              </a:avLst>
            </a:prstGeom>
            <a:solidFill>
              <a:sysClr val="window" lastClr="FFFFFF">
                <a:lumMod val="95000"/>
              </a:sysClr>
            </a:solidFill>
            <a:ln w="9525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cxnSp>
          <p:nvCxnSpPr>
            <p:cNvPr id="80" name="꺾인 연결선 47"/>
            <p:cNvCxnSpPr>
              <a:stCxn id="77" idx="3"/>
              <a:endCxn id="79" idx="1"/>
            </p:cNvCxnSpPr>
            <p:nvPr/>
          </p:nvCxnSpPr>
          <p:spPr>
            <a:xfrm flipV="1">
              <a:off x="2251731" y="2458472"/>
              <a:ext cx="195335" cy="287748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</p:grpSp>
      <p:pic>
        <p:nvPicPr>
          <p:cNvPr id="83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402" y="3225588"/>
            <a:ext cx="1752264" cy="167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직사각형 83"/>
          <p:cNvSpPr/>
          <p:nvPr/>
        </p:nvSpPr>
        <p:spPr bwMode="gray">
          <a:xfrm>
            <a:off x="289227" y="1975570"/>
            <a:ext cx="781148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latinLnBrk="0"/>
            <a:r>
              <a:rPr lang="en-US" altLang="ko-KR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iz</a:t>
            </a:r>
          </a:p>
          <a:p>
            <a:pPr algn="ctr" latinLnBrk="0"/>
            <a:r>
              <a:rPr lang="ko-KR" alt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</a:t>
            </a:r>
            <a:endParaRPr lang="en-US" altLang="ko-KR" sz="1300" i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latinLnBrk="0"/>
            <a:r>
              <a:rPr lang="ko-KR" alt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수립</a:t>
            </a:r>
            <a:endParaRPr lang="en-US" sz="1300" i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85" name="그룹 84"/>
          <p:cNvGrpSpPr/>
          <p:nvPr/>
        </p:nvGrpSpPr>
        <p:grpSpPr>
          <a:xfrm>
            <a:off x="1186076" y="3224810"/>
            <a:ext cx="281439" cy="1455517"/>
            <a:chOff x="-240177" y="3349498"/>
            <a:chExt cx="836754" cy="1455517"/>
          </a:xfrm>
        </p:grpSpPr>
        <p:sp>
          <p:nvSpPr>
            <p:cNvPr id="86" name="직사각형 85"/>
            <p:cNvSpPr/>
            <p:nvPr/>
          </p:nvSpPr>
          <p:spPr bwMode="gray">
            <a:xfrm>
              <a:off x="-240177" y="3349498"/>
              <a:ext cx="836754" cy="376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latinLnBrk="0"/>
              <a:r>
                <a:rPr lang="en-US" sz="1200" i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AA</a:t>
              </a:r>
            </a:p>
          </p:txBody>
        </p:sp>
        <p:sp>
          <p:nvSpPr>
            <p:cNvPr id="87" name="직사각형 86"/>
            <p:cNvSpPr/>
            <p:nvPr/>
          </p:nvSpPr>
          <p:spPr bwMode="gray">
            <a:xfrm>
              <a:off x="-240177" y="3879031"/>
              <a:ext cx="836754" cy="376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latinLnBrk="0"/>
              <a:r>
                <a:rPr lang="en-US" sz="1200" i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DA</a:t>
              </a:r>
            </a:p>
          </p:txBody>
        </p:sp>
        <p:sp>
          <p:nvSpPr>
            <p:cNvPr id="88" name="직사각형 87"/>
            <p:cNvSpPr/>
            <p:nvPr/>
          </p:nvSpPr>
          <p:spPr bwMode="gray">
            <a:xfrm>
              <a:off x="-240177" y="4428474"/>
              <a:ext cx="836754" cy="376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latinLnBrk="0"/>
              <a:r>
                <a:rPr lang="en-US" sz="1200" i="1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TA</a:t>
              </a:r>
            </a:p>
          </p:txBody>
        </p:sp>
      </p:grpSp>
      <p:sp>
        <p:nvSpPr>
          <p:cNvPr id="89" name="위쪽 화살표 134"/>
          <p:cNvSpPr/>
          <p:nvPr/>
        </p:nvSpPr>
        <p:spPr bwMode="gray">
          <a:xfrm flipV="1">
            <a:off x="1475517" y="2732810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0" name="위쪽 화살표 137"/>
          <p:cNvSpPr/>
          <p:nvPr/>
        </p:nvSpPr>
        <p:spPr bwMode="gray">
          <a:xfrm flipV="1">
            <a:off x="1915041" y="2732810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1" name="위쪽 화살표 138"/>
          <p:cNvSpPr/>
          <p:nvPr/>
        </p:nvSpPr>
        <p:spPr bwMode="gray">
          <a:xfrm flipV="1">
            <a:off x="2354567" y="2732810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2" name="직사각형 91"/>
          <p:cNvSpPr/>
          <p:nvPr/>
        </p:nvSpPr>
        <p:spPr bwMode="gray">
          <a:xfrm>
            <a:off x="1409402" y="2784123"/>
            <a:ext cx="1404808" cy="211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latinLnBrk="0"/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-IT 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연계</a:t>
            </a:r>
            <a:endParaRPr 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3" name="직사각형 92"/>
          <p:cNvSpPr/>
          <p:nvPr/>
        </p:nvSpPr>
        <p:spPr bwMode="gray">
          <a:xfrm>
            <a:off x="276248" y="5450106"/>
            <a:ext cx="807108" cy="376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latinLnBrk="0"/>
            <a:r>
              <a:rPr lang="ko-KR" alt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차세대</a:t>
            </a:r>
            <a:r>
              <a:rPr lang="en-US" altLang="ko-KR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endParaRPr lang="en-US" sz="1300" i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4" name="위쪽 화살표 145"/>
          <p:cNvSpPr/>
          <p:nvPr/>
        </p:nvSpPr>
        <p:spPr bwMode="gray">
          <a:xfrm rot="10800000">
            <a:off x="1475517" y="4943078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5" name="위쪽 화살표 146"/>
          <p:cNvSpPr/>
          <p:nvPr/>
        </p:nvSpPr>
        <p:spPr bwMode="gray">
          <a:xfrm rot="10800000">
            <a:off x="1915041" y="4943078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6" name="위쪽 화살표 147"/>
          <p:cNvSpPr/>
          <p:nvPr/>
        </p:nvSpPr>
        <p:spPr bwMode="gray">
          <a:xfrm rot="10800000">
            <a:off x="2354567" y="4943078"/>
            <a:ext cx="393530" cy="314325"/>
          </a:xfrm>
          <a:prstGeom prst="upArrow">
            <a:avLst/>
          </a:prstGeom>
          <a:solidFill>
            <a:srgbClr val="4F81BD">
              <a:lumMod val="20000"/>
              <a:lumOff val="80000"/>
            </a:srgb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square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7" name="직사각형 96"/>
          <p:cNvSpPr/>
          <p:nvPr/>
        </p:nvSpPr>
        <p:spPr bwMode="gray">
          <a:xfrm>
            <a:off x="1638046" y="4994391"/>
            <a:ext cx="947520" cy="211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latinLnBrk="0"/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연계</a:t>
            </a:r>
            <a:endParaRPr 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8" name="직사각형 97"/>
          <p:cNvSpPr/>
          <p:nvPr/>
        </p:nvSpPr>
        <p:spPr bwMode="gray">
          <a:xfrm>
            <a:off x="289227" y="3692438"/>
            <a:ext cx="781148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latinLnBrk="0"/>
            <a:r>
              <a:rPr 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</a:p>
          <a:p>
            <a:pPr algn="ctr" latinLnBrk="0"/>
            <a:r>
              <a:rPr lang="ko-KR" altLang="en-US" sz="1300" i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아키텍처 수립</a:t>
            </a:r>
            <a:endParaRPr lang="en-US" sz="1300" i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pic>
        <p:nvPicPr>
          <p:cNvPr id="99" name="Picture 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848" y="5247371"/>
            <a:ext cx="1535744" cy="8175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" name="Rectangle 76"/>
          <p:cNvSpPr/>
          <p:nvPr/>
        </p:nvSpPr>
        <p:spPr bwMode="gray">
          <a:xfrm>
            <a:off x="3452625" y="1893392"/>
            <a:ext cx="1810209" cy="503590"/>
          </a:xfrm>
          <a:prstGeom prst="rect">
            <a:avLst/>
          </a:prstGeom>
          <a:noFill/>
        </p:spPr>
        <p:txBody>
          <a:bodyPr wrap="square" lIns="0" tIns="36000" rIns="0" bIns="3600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</a:t>
            </a: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통합 및 표준화</a:t>
            </a:r>
            <a:endParaRPr lang="en-US" altLang="ko-KR" sz="1400" b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1" name="Rectangle 76"/>
          <p:cNvSpPr/>
          <p:nvPr/>
        </p:nvSpPr>
        <p:spPr bwMode="gray">
          <a:xfrm>
            <a:off x="5290308" y="2551256"/>
            <a:ext cx="4342641" cy="665173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-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면 매핑을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한 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ranularity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증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85725" indent="-85725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별 데이터의 생성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경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폐기를 정의하여 개발 시 활용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Rectangle 76"/>
          <p:cNvSpPr/>
          <p:nvPr/>
        </p:nvSpPr>
        <p:spPr bwMode="gray">
          <a:xfrm>
            <a:off x="5290308" y="1929532"/>
            <a:ext cx="4342641" cy="442035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Plan-Do-See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반 프로세스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체계 표준화 및 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OB</a:t>
            </a:r>
            <a:r>
              <a:rPr lang="en-US" altLang="ko-KR" sz="1200" b="0" baseline="30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)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공통</a:t>
            </a:r>
            <a:r>
              <a:rPr lang="en-US" altLang="ko-KR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통합화</a:t>
            </a:r>
            <a:endParaRPr lang="en-US" altLang="ko-KR" sz="1200" b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3" name="Rectangle 76"/>
          <p:cNvSpPr/>
          <p:nvPr/>
        </p:nvSpPr>
        <p:spPr bwMode="gray">
          <a:xfrm>
            <a:off x="3452625" y="2632047"/>
            <a:ext cx="1810209" cy="503590"/>
          </a:xfrm>
          <a:prstGeom prst="rect">
            <a:avLst/>
          </a:prstGeom>
          <a:noFill/>
        </p:spPr>
        <p:txBody>
          <a:bodyPr wrap="square" lIns="0" tIns="36000" rIns="0" bIns="3600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ts val="600"/>
              </a:spcAft>
            </a:pPr>
            <a:r>
              <a:rPr lang="en-US" altLang="ko-KR" sz="140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Biz-IT </a:t>
            </a:r>
            <a:r>
              <a:rPr lang="ko-KR" altLang="en-US" sz="140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  <a:r>
              <a:rPr lang="en-US" altLang="ko-KR" sz="140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40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연계 검증</a:t>
            </a:r>
            <a:endParaRPr lang="en-US" altLang="ko-KR" sz="1400" b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Rectangle 76"/>
          <p:cNvSpPr/>
          <p:nvPr/>
        </p:nvSpPr>
        <p:spPr bwMode="gray">
          <a:xfrm>
            <a:off x="3452625" y="3429000"/>
            <a:ext cx="1810209" cy="719034"/>
          </a:xfrm>
          <a:prstGeom prst="rect">
            <a:avLst/>
          </a:prstGeom>
          <a:noFill/>
        </p:spPr>
        <p:txBody>
          <a:bodyPr wrap="square" lIns="0" tIns="36000" rIns="0" bIns="3600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ts val="600"/>
              </a:spcAft>
            </a:pP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Activity</a:t>
            </a: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별</a:t>
            </a: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기능 개선</a:t>
            </a: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방안 정의</a:t>
            </a:r>
            <a:endParaRPr lang="en-US" altLang="ko-KR" sz="1400" b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5" name="Rectangle 76"/>
          <p:cNvSpPr/>
          <p:nvPr/>
        </p:nvSpPr>
        <p:spPr bwMode="gray">
          <a:xfrm>
            <a:off x="3452625" y="4444763"/>
            <a:ext cx="1810209" cy="719034"/>
          </a:xfrm>
          <a:prstGeom prst="rect">
            <a:avLst/>
          </a:prstGeom>
          <a:noFill/>
        </p:spPr>
        <p:txBody>
          <a:bodyPr wrap="square" lIns="0" tIns="36000" rIns="0" bIns="3600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ts val="600"/>
              </a:spcAft>
            </a:pP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프로세스 기반 </a:t>
            </a: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발 관리 </a:t>
            </a:r>
            <a: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체계수립</a:t>
            </a:r>
            <a:endParaRPr lang="en-US" altLang="ko-KR" sz="1400" b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06" name="Rectangle 76"/>
          <p:cNvSpPr/>
          <p:nvPr/>
        </p:nvSpPr>
        <p:spPr bwMode="gray">
          <a:xfrm>
            <a:off x="3452625" y="5504050"/>
            <a:ext cx="1810209" cy="503590"/>
          </a:xfrm>
          <a:prstGeom prst="rect">
            <a:avLst/>
          </a:prstGeom>
          <a:noFill/>
        </p:spPr>
        <p:txBody>
          <a:bodyPr wrap="square" lIns="0" tIns="36000" rIns="0" bIns="36000" anchor="ctr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 기반</a:t>
            </a:r>
            <a:r>
              <a:rPr lang="en-US" altLang="ko-KR" sz="1400" b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400" b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ko-KR" altLang="en-US" sz="1400" b="1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요구사항 추적</a:t>
            </a:r>
          </a:p>
        </p:txBody>
      </p:sp>
      <p:sp>
        <p:nvSpPr>
          <p:cNvPr id="107" name="자유형 14"/>
          <p:cNvSpPr/>
          <p:nvPr/>
        </p:nvSpPr>
        <p:spPr bwMode="gray">
          <a:xfrm flipV="1">
            <a:off x="3152800" y="2461832"/>
            <a:ext cx="6480150" cy="191450"/>
          </a:xfrm>
          <a:custGeom>
            <a:avLst/>
            <a:gdLst>
              <a:gd name="connsiteX0" fmla="*/ 0 w 6525491"/>
              <a:gd name="connsiteY0" fmla="*/ 0 h 332509"/>
              <a:gd name="connsiteX1" fmla="*/ 166255 w 6525491"/>
              <a:gd name="connsiteY1" fmla="*/ 332509 h 332509"/>
              <a:gd name="connsiteX2" fmla="*/ 6525491 w 6525491"/>
              <a:gd name="connsiteY2" fmla="*/ 332509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25491" h="332509">
                <a:moveTo>
                  <a:pt x="0" y="0"/>
                </a:moveTo>
                <a:lnTo>
                  <a:pt x="166255" y="332509"/>
                </a:lnTo>
                <a:lnTo>
                  <a:pt x="6525491" y="332509"/>
                </a:lnTo>
              </a:path>
            </a:pathLst>
          </a:cu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08" name="자유형 87"/>
          <p:cNvSpPr/>
          <p:nvPr/>
        </p:nvSpPr>
        <p:spPr bwMode="gray">
          <a:xfrm flipV="1">
            <a:off x="3152800" y="1831176"/>
            <a:ext cx="6480150" cy="146336"/>
          </a:xfrm>
          <a:custGeom>
            <a:avLst/>
            <a:gdLst>
              <a:gd name="connsiteX0" fmla="*/ 0 w 6525491"/>
              <a:gd name="connsiteY0" fmla="*/ 0 h 332509"/>
              <a:gd name="connsiteX1" fmla="*/ 166255 w 6525491"/>
              <a:gd name="connsiteY1" fmla="*/ 332509 h 332509"/>
              <a:gd name="connsiteX2" fmla="*/ 6525491 w 6525491"/>
              <a:gd name="connsiteY2" fmla="*/ 332509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25491" h="332509">
                <a:moveTo>
                  <a:pt x="0" y="0"/>
                </a:moveTo>
                <a:lnTo>
                  <a:pt x="166255" y="332509"/>
                </a:lnTo>
                <a:lnTo>
                  <a:pt x="6525491" y="332509"/>
                </a:lnTo>
              </a:path>
            </a:pathLst>
          </a:cu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09" name="자유형 88"/>
          <p:cNvSpPr/>
          <p:nvPr/>
        </p:nvSpPr>
        <p:spPr bwMode="gray">
          <a:xfrm>
            <a:off x="3152800" y="6064966"/>
            <a:ext cx="6480150" cy="104947"/>
          </a:xfrm>
          <a:custGeom>
            <a:avLst/>
            <a:gdLst>
              <a:gd name="connsiteX0" fmla="*/ 0 w 6525491"/>
              <a:gd name="connsiteY0" fmla="*/ 0 h 332509"/>
              <a:gd name="connsiteX1" fmla="*/ 166255 w 6525491"/>
              <a:gd name="connsiteY1" fmla="*/ 332509 h 332509"/>
              <a:gd name="connsiteX2" fmla="*/ 6525491 w 6525491"/>
              <a:gd name="connsiteY2" fmla="*/ 332509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25491" h="332509">
                <a:moveTo>
                  <a:pt x="0" y="0"/>
                </a:moveTo>
                <a:lnTo>
                  <a:pt x="166255" y="332509"/>
                </a:lnTo>
                <a:lnTo>
                  <a:pt x="6525491" y="332509"/>
                </a:lnTo>
              </a:path>
            </a:pathLst>
          </a:cu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0" name="자유형 92"/>
          <p:cNvSpPr/>
          <p:nvPr/>
        </p:nvSpPr>
        <p:spPr bwMode="gray">
          <a:xfrm>
            <a:off x="3152800" y="5210022"/>
            <a:ext cx="6480150" cy="135898"/>
          </a:xfrm>
          <a:custGeom>
            <a:avLst/>
            <a:gdLst>
              <a:gd name="connsiteX0" fmla="*/ 0 w 6525491"/>
              <a:gd name="connsiteY0" fmla="*/ 0 h 332509"/>
              <a:gd name="connsiteX1" fmla="*/ 166255 w 6525491"/>
              <a:gd name="connsiteY1" fmla="*/ 332509 h 332509"/>
              <a:gd name="connsiteX2" fmla="*/ 6525491 w 6525491"/>
              <a:gd name="connsiteY2" fmla="*/ 332509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25491" h="332509">
                <a:moveTo>
                  <a:pt x="0" y="0"/>
                </a:moveTo>
                <a:lnTo>
                  <a:pt x="166255" y="332509"/>
                </a:lnTo>
                <a:lnTo>
                  <a:pt x="6525491" y="332509"/>
                </a:lnTo>
              </a:path>
            </a:pathLst>
          </a:cu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1" name="자유형 202"/>
          <p:cNvSpPr/>
          <p:nvPr/>
        </p:nvSpPr>
        <p:spPr bwMode="gray">
          <a:xfrm>
            <a:off x="3152800" y="3140968"/>
            <a:ext cx="6480150" cy="179339"/>
          </a:xfrm>
          <a:custGeom>
            <a:avLst/>
            <a:gdLst>
              <a:gd name="connsiteX0" fmla="*/ 0 w 6525491"/>
              <a:gd name="connsiteY0" fmla="*/ 0 h 332509"/>
              <a:gd name="connsiteX1" fmla="*/ 166255 w 6525491"/>
              <a:gd name="connsiteY1" fmla="*/ 332509 h 332509"/>
              <a:gd name="connsiteX2" fmla="*/ 6525491 w 6525491"/>
              <a:gd name="connsiteY2" fmla="*/ 332509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25491" h="332509">
                <a:moveTo>
                  <a:pt x="0" y="0"/>
                </a:moveTo>
                <a:lnTo>
                  <a:pt x="166255" y="332509"/>
                </a:lnTo>
                <a:lnTo>
                  <a:pt x="6525491" y="332509"/>
                </a:lnTo>
              </a:path>
            </a:pathLst>
          </a:cu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  <a:effectLst/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2" name="Rectangle 76"/>
          <p:cNvSpPr/>
          <p:nvPr/>
        </p:nvSpPr>
        <p:spPr bwMode="gray">
          <a:xfrm>
            <a:off x="5290308" y="3496607"/>
            <a:ext cx="4342641" cy="665173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ule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적용 대상 프로세스를 식별하여 시스템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요건 정의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작업 전산화 대상 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ctivity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별 및 관련 기능개선요건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절차 정의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3" name="Rectangle 76"/>
          <p:cNvSpPr/>
          <p:nvPr/>
        </p:nvSpPr>
        <p:spPr bwMode="gray">
          <a:xfrm>
            <a:off x="5290308" y="5534827"/>
            <a:ext cx="4342641" cy="442035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상세 프로세스 단위의 요구사항 추적 관리로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IT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자원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화면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어플리케이션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데이터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)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연계 추적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반 마련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4" name="Rectangle 76"/>
          <p:cNvSpPr/>
          <p:nvPr/>
        </p:nvSpPr>
        <p:spPr bwMode="gray">
          <a:xfrm>
            <a:off x="5290308" y="4379361"/>
            <a:ext cx="4342641" cy="849839"/>
          </a:xfrm>
          <a:prstGeom prst="rect">
            <a:avLst/>
          </a:prstGeom>
          <a:noFill/>
        </p:spPr>
        <p:txBody>
          <a:bodyPr wrap="square" lIns="36000" tIns="36000" rIns="36000" bIns="3600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 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ctivity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단위로 개선과제 연계와 기능 개선 요건이 정의되도록 연계 체계 정의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85725" indent="-85725" fontAlgn="base" latinLnBrk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프로세스와 개선과제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능개선요건</a:t>
            </a:r>
            <a:r>
              <a:rPr lang="en-US" altLang="ko-KR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IT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구축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을 연계한 차세대 개발 범위 검토 및 </a:t>
            </a:r>
            <a:r>
              <a:rPr lang="ko-KR" altLang="en-US"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정</a:t>
            </a:r>
            <a:endParaRPr lang="en-US" altLang="ko-KR" sz="12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15" name="Straight Connector 47"/>
          <p:cNvCxnSpPr/>
          <p:nvPr/>
        </p:nvCxnSpPr>
        <p:spPr bwMode="auto">
          <a:xfrm>
            <a:off x="3397654" y="4275680"/>
            <a:ext cx="6145345" cy="0"/>
          </a:xfrm>
          <a:prstGeom prst="line">
            <a:avLst/>
          </a:prstGeom>
          <a:solidFill>
            <a:srgbClr val="4F81BD"/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16" name="그룹 115"/>
          <p:cNvGrpSpPr/>
          <p:nvPr/>
        </p:nvGrpSpPr>
        <p:grpSpPr>
          <a:xfrm>
            <a:off x="272481" y="1382624"/>
            <a:ext cx="2864278" cy="315803"/>
            <a:chOff x="525530" y="1601029"/>
            <a:chExt cx="4068000" cy="315803"/>
          </a:xfrm>
        </p:grpSpPr>
        <p:sp>
          <p:nvSpPr>
            <p:cNvPr id="117" name="Text Box 29"/>
            <p:cNvSpPr txBox="1">
              <a:spLocks noChangeArrowheads="1"/>
            </p:cNvSpPr>
            <p:nvPr/>
          </p:nvSpPr>
          <p:spPr bwMode="auto">
            <a:xfrm>
              <a:off x="896846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atinLnBrk="0">
                <a:defRPr/>
              </a:pPr>
              <a:r>
                <a:rPr lang="ko-KR" altLang="en-US" kern="0" dirty="0">
                  <a:solidFill>
                    <a:srgbClr val="000000"/>
                  </a:solidFill>
                </a:rPr>
                <a:t>프로세스 기반 차세대 개발 단계</a:t>
              </a:r>
              <a:endParaRPr lang="en-US" altLang="ko-KR" kern="0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118" name="직선 연결선 117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19" name="그룹 118"/>
          <p:cNvGrpSpPr/>
          <p:nvPr/>
        </p:nvGrpSpPr>
        <p:grpSpPr>
          <a:xfrm>
            <a:off x="3357570" y="1382624"/>
            <a:ext cx="6248084" cy="315803"/>
            <a:chOff x="525530" y="1601029"/>
            <a:chExt cx="4068000" cy="315803"/>
          </a:xfrm>
        </p:grpSpPr>
        <p:sp>
          <p:nvSpPr>
            <p:cNvPr id="120" name="Text Box 29"/>
            <p:cNvSpPr txBox="1">
              <a:spLocks noChangeArrowheads="1"/>
            </p:cNvSpPr>
            <p:nvPr/>
          </p:nvSpPr>
          <p:spPr bwMode="auto">
            <a:xfrm>
              <a:off x="896846" y="1601029"/>
              <a:ext cx="3312000" cy="28733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latinLnBrk="0">
                <a:defRPr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atinLnBrk="0">
                <a:defRPr/>
              </a:pPr>
              <a:r>
                <a:rPr lang="ko-KR" altLang="en-US" kern="0" dirty="0">
                  <a:solidFill>
                    <a:srgbClr val="000000"/>
                  </a:solidFill>
                </a:rPr>
                <a:t>중점 관리 사항</a:t>
              </a:r>
              <a:endParaRPr lang="en-US" altLang="ko-KR" kern="0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121" name="직선 연결선 120"/>
            <p:cNvCxnSpPr/>
            <p:nvPr/>
          </p:nvCxnSpPr>
          <p:spPr bwMode="auto">
            <a:xfrm>
              <a:off x="525530" y="1916832"/>
              <a:ext cx="406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122" name="TextBox 121"/>
          <p:cNvSpPr txBox="1"/>
          <p:nvPr/>
        </p:nvSpPr>
        <p:spPr bwMode="auto">
          <a:xfrm>
            <a:off x="297750" y="6169913"/>
            <a:ext cx="2863916" cy="2265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000" b="0" dirty="0">
                <a:solidFill>
                  <a:srgbClr val="000000"/>
                </a:solidFill>
                <a:latin typeface="맑은 고딕"/>
                <a:ea typeface="맑은 고딕"/>
              </a:rPr>
              <a:t>1) LOB (Line of Business)</a:t>
            </a:r>
            <a:endParaRPr lang="ko-KR" altLang="en-US" sz="10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67326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박연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/>
              <a:t>상품</a:t>
            </a:r>
            <a:r>
              <a:rPr lang="en-US" altLang="ko-KR" dirty="0" smtClean="0"/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/>
              <a:t>PL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64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06 ~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진행중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상품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서비스 운용 프로세스 개선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93663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상품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서비스 시스템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기능개선 요구사항 정의 및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모델 설계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화생명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06 ~ 2016.04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빅데이터 기반의 경쟁력 강화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 성향 분석을 통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X/Up Sell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증대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소득추정정교화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 네트워크분석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대출가망고객 등 데이터 기반의 고객가치평가 방안 수립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그룹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03 ~ 2015.05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경영관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계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Vision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립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경영관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계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부문의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Vision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수립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그룹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4.01 ~ 2014.12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 금융일류화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석 설계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금융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ERP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구축을 위한 상품 부문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프로세스 설계 및 상품표준화 방법론 수립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7889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577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4366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915594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394492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87339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352289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83118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외환펀드서비스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7889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577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4366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915594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394492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87339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352289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83118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3.12 ~ 2014.01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7889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577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4366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915594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394492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87339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352289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83118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외환펀드서비스 정보전략계획 수립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7889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577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4366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915594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394492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87339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352289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83118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내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외부 경영환경 분석 및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 방향 도출 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삼성화재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3.09 ~ 2013.11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화재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Global Operating Model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설계 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차세대 시스템 구축을 위한 상품 부문의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Global Operating Model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 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1111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은급재단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3.05 ~ 2013.08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은급재단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연기금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시스템 구축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MO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7889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577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436696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915594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394492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873390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352289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831188" algn="l" defTabSz="957796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연기금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시스템 구축 관리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MO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한국고용정보원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3.03 ~ 2013.04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한국고용정보원 고용보험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BPR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Global benchmarking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및 차세대 구축 요구사항 정의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Thai Life Insurance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2.10 ~ 2013.02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타이생명 차세대 구축을 위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I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차세대 구축을 위한 개선과제 정의 및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프로세스 설계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상품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 부문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itchFamily="2" charset="2"/>
                        </a:rPr>
                        <a:t>롯데멤버스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2.08 ~ 2012.10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롯데멤버스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I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차세대 구축을 위한 개선과제 정의 및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프로세스 설계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상품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서비스 및 회원관리 부문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856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</a:t>
            </a:r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신강우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강우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카드사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Operation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Univ. of Auckland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5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일본어학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회계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679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1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은행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PI 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9" name="Picture 2" descr="C:\Users\ethanshin\Desktop\7.Personal\개인사진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46" y="1734868"/>
            <a:ext cx="1224000" cy="162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1138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</a:t>
            </a:r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신강우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57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6.06~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현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상품</a:t>
                      </a:r>
                      <a:r>
                        <a:rPr lang="en-US" altLang="ko-KR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서비스 프로세스 개선 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상품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케팅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고객 서비스 운영  프로세스 진단 및 개선</a:t>
                      </a:r>
                    </a:p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유사서비스 표준화 수립 및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Compliance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향도 진단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KTB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증권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6.04~2016.06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KTB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증권 중장기 성장 전략 수립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경영 진단 및 중장기 성장 방향 도출 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단기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Quick-Win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과제 수립 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삼성전자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6.02~2016.04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삼성전자 부진매장 운영효율화 전략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삼성 디지털플라자 부진 매장 운영 진단 및 개선방향 수립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세진전자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5.10~2015.12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세진전자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urn-Around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전략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세진전자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경영진단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시장분석 및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urn-Around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방안 수립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롯데호텔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(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면세점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)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5.06~2016.09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롯데면세점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인터넷 채널 차세대 전략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인터넷 채널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Front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,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Back Office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진단 및 개선방향 도출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Global Practice Benchmarking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수행 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롯데카드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5.03~2015.05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롯데카드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Compliance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체계수립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준법감시 체계 진단 및 법률준수 체크리스트 도출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(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공정거래법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하도급공정화법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여전법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)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삼성금융그룹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4.05~2015.02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삼성금융그룹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Core Insurance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재보험금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처리 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프로세스 설계 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NH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농협손해보험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2013.08~2014.04</a:t>
                      </a:r>
                      <a:endParaRPr lang="ko-KR" altLang="en-US" sz="1100" b="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NH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농협손해 차세대 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재무회계  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o-Be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프로세스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시스템  설계  및 구축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 (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고정자산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임대차 관리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)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3.03~2013.07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카드 경영관리 고도화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비용계정 세분화 방향 수립 및 프로세스 설계 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예산관리 고도화 방안 수립 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NH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생명보험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3.01~2013.03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NH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농협생명 차세대 시스템 구축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재무회계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To-Be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세스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설계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예산관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2371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</a:t>
            </a:r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신강우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016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롯데정보통신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2.07~2012.10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롯데멤버스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시스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ISP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롯데멤버스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시스템 구축을 위한 정보화 전략 수립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여신금융협회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2.01~2012.06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여신금융협회 신용카드 가맹점 수수료 전략 수립 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신용카드 가맹점수수료 체계 개편을 위한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수료율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원가산정 및 해외벤치마킹 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공제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1.08~2011.12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농협생명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손해 전환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NH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생명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손해 회계분리 전환시스템 설계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아시아나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IDT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1.06~2011.08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아시아나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IDT IFRS Package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분개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Rule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검증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아시아나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IDT IFRS Package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분개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Rule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및 공시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검증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02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우리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Aviva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생명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0.10~2011.06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우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Aviva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생명 회계시스템 구축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재무회계 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To-Be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세스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시스템 설계 및 구축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예산관리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24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GS Retail,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Rohde &amp;Schwarz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2010.06~2010.08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9pPr>
                    </a:lstStyle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회계감사지원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  <a:cs typeface="Arial"/>
                        </a:defRPr>
                      </a:lvl9pPr>
                    </a:lstStyle>
                    <a:p>
                      <a:pPr marL="3600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GS Retail, Rohde &amp;Schwarz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등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기말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기 회계감사지원</a:t>
                      </a:r>
                      <a:endParaRPr kumimoji="0" lang="en-US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04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세호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0080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세호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고객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연세대학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lang="en-US" altLang="ko-KR"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07.08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경영학 석사</a:t>
                      </a:r>
                      <a:endParaRPr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연세대학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lang="en-US" altLang="ko-KR"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999.02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전문대기과학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학사</a:t>
                      </a:r>
                      <a:endParaRPr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705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706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73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PM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6.06 ~ 현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금융 디지털 특화 컨설팅 (디지털 Offering/ PI/ ISP/ MP 등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액센츄어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0.08 ~ 2016.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금융업 차세대 PI/ PMO, 비즈니스 컨설팅 (카드, 보험 등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시카고비즈니스먼트 A.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08.05 ~ 2010.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금융업 (카드) 특화 사업 및 운영 전략 컨설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인터아카데미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999.03 ~ 2002.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온라인 교육 컨텐츠 사업 (프로모션/ 세일즈 전략 개발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37" y="1774839"/>
            <a:ext cx="1190791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852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세호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1"/>
          <a:ext cx="9360926" cy="48337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2234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카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 ~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시스템 구축 마스터플랜 수립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널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 C&amp;C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4 ~ 2016.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업그레이드 전략 수립 (B2B)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 관리 시스템 및 비즈니스 Offering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푸르덴셜 코리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 ~ 2016.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Capa 및 효율 증진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조직/ 역량/ 서비스 진단, 우선 과제 도출 및 개선 방안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36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4 ~ 2015.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 Requirement 정의 (고객-오퍼-채널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데이터 마트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36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7 ~ 2015.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콜센터 개선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리스크, 현황 모니터링 등 프로젝트 관리 개선, 콜센터 Requirement 정의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화재해상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9 ~ 2013.12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글로벌 운영 모델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lobal 기업 도약을 위한 비즈니스 모델 개발 및 End-to-End 프로세스 정의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4 ~ 2013.06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usiness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즈니스 요건 정의, 이슈 및 리스크 관리, 업무 협의체 운영 등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86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 ~ 2013.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 고도화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/ 마케팅/ 영업/ CS 부문 PI 고도화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ERP 관점)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86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1 ~ 2012.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</a:t>
                      </a:r>
                      <a:r>
                        <a:rPr kumimoji="0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usiness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 및 마케팅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즈니스 요건 정의, 이슈 및 리스크 관리, 업무 협의체 운영 등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외환은행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0 ~ 2010.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 Branch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 Branch 글로벌 사례 분석, 운영 모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의 및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798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세호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433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9985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4 ~ 2010.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상품 개발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상품 시장 분석, 고객 세분화, 신상품 컨셉 개발, 마케팅 및 영업 채널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2 ~ 2010.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센터 성과 개선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VR 데이터 활용 분석 방법 개발, 고객 세분화 기준 라우팅 시스템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금융지주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1 ~ 2010.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oint  Venture 재무 Projection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V 전략 수립 및 시장 경쟁력 분석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37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롯데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11 ~ 2010.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센터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센터 원가/ 수익 측정 모델 및 방법론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롯데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6 ~ 2009.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리볼빙 포트폴리오 확장 위한 리스크 관리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isk Based 입회 승인 및 가격 책정 모델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79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11 ~ 2009.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마케팅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론 캠페인 반응률 예측 모델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20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국민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~2008.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자바우처 사업 개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자바우처 사업 및 비즈니스 프로세스 개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6986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윤민정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/>
              <a:t>부장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민정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, Marketin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화여자대학교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2.08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S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석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화여자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.02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어국문학 학사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20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1706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73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P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4 ~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g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</a:t>
                      </a:r>
                      <a:r>
                        <a:rPr sz="1200" spc="2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1200" spc="-3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Consu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g 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r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vi</a:t>
                      </a:r>
                      <a:r>
                        <a:rPr sz="1200" spc="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c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딜로이트컨설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1 ~ 2015.03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spc="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ch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그룹</a:t>
                      </a:r>
                      <a:r>
                        <a:rPr sz="1200" spc="-9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소속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금융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통신</a:t>
                      </a:r>
                      <a:r>
                        <a:rPr sz="1200" spc="-5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영역</a:t>
                      </a:r>
                      <a:r>
                        <a:rPr sz="1200" spc="-8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/I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spc="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및</a:t>
                      </a:r>
                      <a:r>
                        <a:rPr sz="1200" spc="-8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O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수행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오픈타이드코리아</a:t>
                      </a:r>
                      <a:endParaRPr sz="12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6.07 ~ 2012.01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금융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서비스사업부</a:t>
                      </a:r>
                      <a:r>
                        <a:rPr sz="1200" spc="-6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F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ce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팀</a:t>
                      </a:r>
                      <a:r>
                        <a:rPr sz="1200" spc="-6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소속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금융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제조</a:t>
                      </a:r>
                      <a:r>
                        <a:rPr sz="1200" spc="-6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영역</a:t>
                      </a:r>
                      <a:r>
                        <a:rPr sz="1200" spc="-6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/I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날리지큐브</a:t>
                      </a:r>
                      <a:endParaRPr sz="12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.10</a:t>
                      </a:r>
                      <a:r>
                        <a:rPr lang="en-US" altLang="ko-KR" sz="12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~ 2006.07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컨설팅사업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팀</a:t>
                      </a:r>
                      <a:r>
                        <a:rPr sz="1200" spc="-6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소속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금융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제조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공공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서비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스</a:t>
                      </a:r>
                      <a:r>
                        <a:rPr sz="1200" spc="-4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영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역</a:t>
                      </a:r>
                      <a:r>
                        <a:rPr sz="1200" spc="-9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spc="-2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/I</a:t>
                      </a:r>
                      <a:r>
                        <a:rPr sz="1200" spc="-2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spc="-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수행</a:t>
                      </a:r>
                      <a:endParaRPr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200" spc="-8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한국정보화진흥원</a:t>
                      </a:r>
                      <a:endParaRPr sz="12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4 ~ 2002.08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spc="-8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정보화기획</a:t>
                      </a:r>
                      <a:r>
                        <a:rPr sz="1200" spc="8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단</a:t>
                      </a:r>
                      <a:r>
                        <a:rPr sz="1200" spc="-8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연구원</a:t>
                      </a:r>
                      <a:endParaRPr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맑은 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직사각형 3"/>
          <p:cNvSpPr/>
          <p:nvPr/>
        </p:nvSpPr>
        <p:spPr bwMode="auto">
          <a:xfrm>
            <a:off x="1596380" y="1740448"/>
            <a:ext cx="44116" cy="16082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332640" y="1740448"/>
            <a:ext cx="44116" cy="16082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 rot="5400000">
            <a:off x="954000" y="2651308"/>
            <a:ext cx="44116" cy="132914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 rot="5400000">
            <a:off x="954000" y="1122998"/>
            <a:ext cx="44116" cy="132914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81" y="1786068"/>
            <a:ext cx="1190791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4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윤민정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/>
              <a:t>부장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556792"/>
          <a:ext cx="9360926" cy="4651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카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 ~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시스템 구축 마스터플랜 수립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널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NH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농협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1~2016.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Master Plan 수립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/영업/마케팅/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아프로서비스</a:t>
                      </a:r>
                      <a:r>
                        <a:rPr sz="1200" spc="-5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 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그룹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5~2015.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성과관리체계 고도화 컨설팅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부/저축은행/캐피탈 등 그룹사 성과관리체계 재설계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965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spc="1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t</a:t>
                      </a:r>
                      <a:endParaRPr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2~2015.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SS 2단계 PMO 프로젝트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분석/설계 단계 프로젝트 최종보고 및 개발 단계 프로젝트 계획 수립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한국은행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1~2014.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망 업무환경 개선 컨설팅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사례 및 주요 기술구조 조사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</a:t>
                      </a:r>
                      <a:r>
                        <a:rPr sz="1200" spc="-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spc="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</a:t>
                      </a:r>
                      <a:r>
                        <a:rPr sz="1200" spc="-1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</a:t>
                      </a: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eco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7~2014.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 혁신 Pre-PI 프로젝트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널 영역 혁신과제 수립 담당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한국거래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8~2014.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(EXTURE+) PMO 컨설팅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권 매매체결 시스템 To-Be 프로세스 설계 및 시스템 개발 관리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0476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한국거래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1~2013.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기 전문인력 아웃소싱 프로젝트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원화이자율스왑 CCP 청산 시스템 구축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및 석유전자상거래 시스템 구축 PMO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삼성그룹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11~2012.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ERP일류화 수행역량 확보/인력양성 방안 수립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년 이후 중장기 로드맵에 따른 인력소싱 및 전문가 양성교육 방안 설계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맑은 고딕"/>
                        </a:rPr>
                        <a:t>삼성화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3~2011.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 Biz. 모바일化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영업 및 계약/심사/입출금 영역 담당</a:t>
                      </a:r>
                    </a:p>
                  </a:txBody>
                  <a:tcPr marL="72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580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윤민정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/>
              <a:t>부장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en-US" altLang="ko-KR" dirty="0"/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556793"/>
          <a:ext cx="9360926" cy="4695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12899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삼성SD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1~2011.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obile Enterprise Health Check 방법론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사 업종별 전사 Mobile 추진 로드맵 제공을 위한 Health Check 및 Pre-sales 자료 작성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삼성화재</a:t>
                      </a:r>
                      <a:endParaRPr sz="1200" kern="120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1~2011.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 개발 및 운영관리 선진화 프로젝트 계획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 개발/운영관리 선진화 방향 수립 및 추진과제 도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교원나라벤처투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11~2009.12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사업 전략 수립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사업 영역 발굴 및 추진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OSC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9~2009.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육재단 재무구조 개선 및 수익사업 추진 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규 재원 창출전략 수립 및 신 수익사업 발굴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3322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NG생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4~2009.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GIS(Next Generation Insurance System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) Planning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AS 현황 분석 및 Biz/IT 개선기회 도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Allianz생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3~2009.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W &amp; 분석CRM 시스템 구축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운영현황 분석 및 개선 Point 도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한국거래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11~2009.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(EXTURE) PMO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장시스템(청산결제, APM) 및 시장관리(상장공시,종합감리), 개발/운영 F/W 영역 관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대한생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4.04~2004.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혁신 환경진단 컨설팅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행 정보화 수준 진단 및 개선방향 도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20342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G화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2~2003.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혁신 PI/ISP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정형정보 시스템 분산/중복 현황 분석 및 시스템 통합 방안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7995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현대/기아자동차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2.10~2003.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합 R&amp;D센터 BPR 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존 양사/지역별 R&amp;D센터 업무 , 통합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&amp;D 업무 프로세스 도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93257">
                <a:tc>
                  <a:txBody>
                    <a:bodyPr/>
                    <a:lstStyle/>
                    <a:p>
                      <a:pPr marL="66675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sz="12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동원증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1.01~2001.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혁신 PI/ISP 전략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 업무 프로세스 개선 및 시스템 구축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방안 수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7068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직사각형 147"/>
          <p:cNvSpPr/>
          <p:nvPr/>
        </p:nvSpPr>
        <p:spPr bwMode="auto">
          <a:xfrm>
            <a:off x="2064907" y="4660288"/>
            <a:ext cx="7568043" cy="16277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2064907" y="2093609"/>
            <a:ext cx="7568043" cy="24783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4" name="직선 연결선 143"/>
          <p:cNvCxnSpPr/>
          <p:nvPr/>
        </p:nvCxnSpPr>
        <p:spPr bwMode="auto">
          <a:xfrm>
            <a:off x="416496" y="3835365"/>
            <a:ext cx="90724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145" name="직선 연결선 144"/>
          <p:cNvCxnSpPr/>
          <p:nvPr/>
        </p:nvCxnSpPr>
        <p:spPr bwMode="auto">
          <a:xfrm>
            <a:off x="416496" y="4634530"/>
            <a:ext cx="90724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cxnSp>
        <p:nvCxnSpPr>
          <p:cNvPr id="146" name="직선 연결선 145"/>
          <p:cNvCxnSpPr/>
          <p:nvPr/>
        </p:nvCxnSpPr>
        <p:spPr bwMode="auto">
          <a:xfrm>
            <a:off x="416496" y="5433695"/>
            <a:ext cx="90724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최신의 </a:t>
            </a:r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카드사 </a:t>
            </a:r>
            <a:r>
              <a:rPr lang="en-US" altLang="ko-KR" dirty="0" smtClean="0">
                <a:solidFill>
                  <a:srgbClr val="FFFFFF"/>
                </a:solidFill>
                <a:cs typeface="Arial" charset="0"/>
              </a:rPr>
              <a:t>PI/ISP </a:t>
            </a:r>
            <a:r>
              <a:rPr lang="ko-KR" altLang="en-US" dirty="0">
                <a:solidFill>
                  <a:srgbClr val="FFFFFF"/>
                </a:solidFill>
                <a:cs typeface="Arial" charset="0"/>
              </a:rPr>
              <a:t>수행 </a:t>
            </a:r>
            <a:r>
              <a:rPr lang="ko-KR" altLang="en-US" dirty="0" smtClean="0">
                <a:solidFill>
                  <a:srgbClr val="FFFFFF"/>
                </a:solidFill>
                <a:cs typeface="Arial" charset="0"/>
              </a:rPr>
              <a:t>경험</a:t>
            </a:r>
            <a:endParaRPr lang="ko-KR" altLang="en-US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최신의 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KB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국민카드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, BC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카드 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PI 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수행을 통해 최신의 시장 및 고객 환경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변화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 (Digital </a:t>
            </a:r>
            <a:r>
              <a:rPr lang="en-US" altLang="ko-KR" dirty="0" smtClean="0">
                <a:solidFill>
                  <a:srgbClr val="000000"/>
                </a:solidFill>
                <a:cs typeface="Arial" charset="0"/>
              </a:rPr>
              <a:t>Transformation 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포함</a:t>
            </a: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)</a:t>
            </a:r>
            <a:r>
              <a:rPr lang="ko-KR" altLang="en-US" dirty="0">
                <a:solidFill>
                  <a:srgbClr val="000000"/>
                </a:solidFill>
                <a:cs typeface="Arial" charset="0"/>
              </a:rPr>
              <a:t>에 대한 </a:t>
            </a:r>
            <a:r>
              <a:rPr lang="ko-KR" altLang="en-US" dirty="0" smtClean="0">
                <a:solidFill>
                  <a:srgbClr val="000000"/>
                </a:solidFill>
                <a:cs typeface="Arial" charset="0"/>
              </a:rPr>
              <a:t>이해를 보유하고 있음</a:t>
            </a:r>
            <a:endParaRPr lang="ko-KR" altLang="en-US" dirty="0"/>
          </a:p>
        </p:txBody>
      </p:sp>
      <p:sp>
        <p:nvSpPr>
          <p:cNvPr id="81" name="직사각형 8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44624"/>
            <a:ext cx="314873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4. </a:t>
            </a:r>
            <a:r>
              <a:rPr lang="ko-KR" altLang="en-US" sz="1400" kern="0" dirty="0">
                <a:solidFill>
                  <a:srgbClr val="FFFFFF"/>
                </a:solidFill>
              </a:rPr>
              <a:t>제안의 특장점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8254301" y="1412776"/>
            <a:ext cx="945901" cy="302968"/>
          </a:xfrm>
          <a:prstGeom prst="rect">
            <a:avLst/>
          </a:prstGeom>
          <a:solidFill>
            <a:srgbClr val="EFEEEC"/>
          </a:solidFill>
          <a:ln w="6350" cap="flat">
            <a:noFill/>
            <a:miter lim="800000"/>
          </a:ln>
          <a:extLs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none" lIns="108014" tIns="54007" rIns="108014" bIns="54007" rtlCol="0" anchor="t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858274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elective</a:t>
            </a: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858274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030844" y="1374620"/>
            <a:ext cx="3844322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국내 카드사 차세대 추진 현황 및 </a:t>
            </a:r>
            <a:r>
              <a:rPr lang="en-US" altLang="ko-KR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KPMG </a:t>
            </a:r>
            <a:r>
              <a:rPr lang="ko-KR" altLang="en-US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경험</a:t>
            </a:r>
            <a:endParaRPr lang="ko-KR" altLang="en-US" sz="14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2064907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1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3146056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2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227205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3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5308354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4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6389503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5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7470652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6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8551801" y="1700808"/>
            <a:ext cx="1081149" cy="3269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17</a:t>
            </a:r>
            <a:endParaRPr kumimoji="1" lang="ko-KR" altLang="en-US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68385" y="1628800"/>
            <a:ext cx="1739579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latinLnBrk="0" hangingPunct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카드사</a:t>
            </a:r>
            <a:r>
              <a:rPr lang="en-US" altLang="ko-KR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제안사 및 인력 수행 경험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65" name="그림 6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5589296"/>
            <a:ext cx="1584176" cy="504000"/>
          </a:xfrm>
          <a:prstGeom prst="rect">
            <a:avLst/>
          </a:prstGeom>
        </p:spPr>
      </p:pic>
      <p:pic>
        <p:nvPicPr>
          <p:cNvPr id="66" name="Picture 8" descr="shinhan4332634842.bmp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96" y="2348936"/>
            <a:ext cx="1584176" cy="387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29" descr="images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6496" y="3969116"/>
            <a:ext cx="1584176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1"/>
          <p:cNvPicPr>
            <a:picLocks noChangeAspect="1" noChangeArrowheads="1"/>
          </p:cNvPicPr>
          <p:nvPr/>
        </p:nvPicPr>
        <p:blipFill rotWithShape="1">
          <a:blip r:embed="rId5" cstate="print"/>
          <a:srcRect l="12654" t="7264" r="10006" b="9996"/>
          <a:stretch/>
        </p:blipFill>
        <p:spPr bwMode="auto">
          <a:xfrm>
            <a:off x="416496" y="3159026"/>
            <a:ext cx="1584176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그림 6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4867153"/>
            <a:ext cx="1584176" cy="348399"/>
          </a:xfrm>
          <a:prstGeom prst="rect">
            <a:avLst/>
          </a:prstGeom>
        </p:spPr>
      </p:pic>
      <p:cxnSp>
        <p:nvCxnSpPr>
          <p:cNvPr id="75" name="직선 화살표 연결선 74"/>
          <p:cNvCxnSpPr/>
          <p:nvPr/>
        </p:nvCxnSpPr>
        <p:spPr>
          <a:xfrm>
            <a:off x="2360712" y="2564904"/>
            <a:ext cx="18002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miter lim="800000"/>
            <a:headEnd type="oval" w="med" len="med"/>
            <a:tailEnd type="triangle" w="med" len="med"/>
          </a:ln>
          <a:effectLst/>
        </p:spPr>
      </p:cxnSp>
      <p:sp>
        <p:nvSpPr>
          <p:cNvPr id="7" name="TextBox 6"/>
          <p:cNvSpPr txBox="1"/>
          <p:nvPr/>
        </p:nvSpPr>
        <p:spPr bwMode="auto">
          <a:xfrm>
            <a:off x="2504728" y="2307535"/>
            <a:ext cx="1425638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11.1 ~’12.10 (21M)</a:t>
            </a: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0" name="직선 화살표 연결선 79"/>
          <p:cNvCxnSpPr/>
          <p:nvPr/>
        </p:nvCxnSpPr>
        <p:spPr>
          <a:xfrm>
            <a:off x="4232920" y="3356992"/>
            <a:ext cx="18002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miter lim="800000"/>
            <a:headEnd type="oval" w="med" len="med"/>
            <a:tailEnd type="triangle" w="med" len="med"/>
          </a:ln>
          <a:effectLst/>
        </p:spPr>
      </p:cxnSp>
      <p:sp>
        <p:nvSpPr>
          <p:cNvPr id="83" name="TextBox 82"/>
          <p:cNvSpPr txBox="1"/>
          <p:nvPr/>
        </p:nvSpPr>
        <p:spPr bwMode="auto">
          <a:xfrm>
            <a:off x="4387386" y="3078338"/>
            <a:ext cx="1425638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12.12 ~’14.8 (21M)</a:t>
            </a: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5" name="직선 화살표 연결선 84"/>
          <p:cNvCxnSpPr/>
          <p:nvPr/>
        </p:nvCxnSpPr>
        <p:spPr>
          <a:xfrm>
            <a:off x="4736976" y="4241705"/>
            <a:ext cx="2016224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miter lim="800000"/>
            <a:headEnd type="oval" w="med" len="med"/>
            <a:tailEnd type="triangle" w="med" len="med"/>
          </a:ln>
          <a:effectLst/>
        </p:spPr>
      </p:cxnSp>
      <p:sp>
        <p:nvSpPr>
          <p:cNvPr id="86" name="TextBox 85"/>
          <p:cNvSpPr txBox="1"/>
          <p:nvPr/>
        </p:nvSpPr>
        <p:spPr bwMode="auto">
          <a:xfrm>
            <a:off x="5054684" y="3933056"/>
            <a:ext cx="1340679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13.3 ~’15.2 (24M)</a:t>
            </a: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8196949" y="4829911"/>
            <a:ext cx="1436001" cy="0"/>
          </a:xfrm>
          <a:prstGeom prst="straightConnector1">
            <a:avLst/>
          </a:prstGeom>
          <a:noFill/>
          <a:ln w="44450" cap="flat" cmpd="sng" algn="ctr">
            <a:solidFill>
              <a:srgbClr val="002060"/>
            </a:solidFill>
            <a:prstDash val="solid"/>
            <a:miter lim="800000"/>
            <a:headEnd type="oval" w="med" len="med"/>
            <a:tailEnd type="triangle" w="med" len="med"/>
          </a:ln>
          <a:effectLst/>
        </p:spPr>
      </p:cxnSp>
      <p:cxnSp>
        <p:nvCxnSpPr>
          <p:cNvPr id="88" name="직선 화살표 연결선 87"/>
          <p:cNvCxnSpPr/>
          <p:nvPr/>
        </p:nvCxnSpPr>
        <p:spPr>
          <a:xfrm>
            <a:off x="8337376" y="5733256"/>
            <a:ext cx="1295574" cy="0"/>
          </a:xfrm>
          <a:prstGeom prst="straightConnector1">
            <a:avLst/>
          </a:prstGeom>
          <a:noFill/>
          <a:ln w="44450" cap="flat" cmpd="sng" algn="ctr">
            <a:solidFill>
              <a:srgbClr val="002060"/>
            </a:solidFill>
            <a:prstDash val="solid"/>
            <a:miter lim="800000"/>
            <a:headEnd type="oval" w="med" len="med"/>
            <a:tailEnd type="triangle" w="med" len="med"/>
          </a:ln>
          <a:effectLst/>
        </p:spPr>
      </p:cxnSp>
      <p:sp>
        <p:nvSpPr>
          <p:cNvPr id="90" name="TextBox 89"/>
          <p:cNvSpPr txBox="1"/>
          <p:nvPr/>
        </p:nvSpPr>
        <p:spPr bwMode="auto">
          <a:xfrm>
            <a:off x="8225771" y="4869160"/>
            <a:ext cx="1278161" cy="4420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chemeClr val="bg2"/>
              </a:buClr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b="0" dirty="0" smtClean="0"/>
              <a:t>MP </a:t>
            </a:r>
            <a:r>
              <a:rPr lang="ko-KR" altLang="en-US" b="0" dirty="0"/>
              <a:t>및 </a:t>
            </a:r>
            <a:r>
              <a:rPr lang="en-US" altLang="ko-KR" b="0" dirty="0"/>
              <a:t>PI </a:t>
            </a:r>
            <a:r>
              <a:rPr lang="ko-KR" altLang="en-US" b="0" dirty="0"/>
              <a:t>진행 중</a:t>
            </a:r>
            <a:r>
              <a:rPr lang="en-US" altLang="ko-KR" b="0" dirty="0"/>
              <a:t/>
            </a:r>
            <a:br>
              <a:rPr lang="en-US" altLang="ko-KR" b="0" dirty="0"/>
            </a:br>
            <a:r>
              <a:rPr lang="en-US" altLang="ko-KR" b="0" dirty="0"/>
              <a:t>(‘16.8 ~ ‘17.1)</a:t>
            </a:r>
            <a:endParaRPr lang="ko-KR" altLang="en-US" b="0" dirty="0"/>
          </a:p>
        </p:txBody>
      </p:sp>
      <p:sp>
        <p:nvSpPr>
          <p:cNvPr id="91" name="TextBox 90"/>
          <p:cNvSpPr txBox="1"/>
          <p:nvPr/>
        </p:nvSpPr>
        <p:spPr bwMode="auto">
          <a:xfrm>
            <a:off x="8402355" y="5763919"/>
            <a:ext cx="1029696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P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 중</a:t>
            </a: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‘16.9 ~ ‘17.1)</a:t>
            </a:r>
            <a:endParaRPr lang="ko-KR" altLang="en-US" sz="1200" b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사각형 설명선 11"/>
          <p:cNvSpPr/>
          <p:nvPr/>
        </p:nvSpPr>
        <p:spPr bwMode="auto">
          <a:xfrm>
            <a:off x="4423777" y="2172470"/>
            <a:ext cx="2941618" cy="770803"/>
          </a:xfrm>
          <a:prstGeom prst="wedgeRectCallout">
            <a:avLst>
              <a:gd name="adj1" fmla="val -59257"/>
              <a:gd name="adj2" fmla="val -1758"/>
            </a:avLst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지향적 업무 프로세스 개선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속한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대응환경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플랫폼 고도화 및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역량 강화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사각형 설명선 139"/>
          <p:cNvSpPr/>
          <p:nvPr/>
        </p:nvSpPr>
        <p:spPr bwMode="auto">
          <a:xfrm>
            <a:off x="6224238" y="3036200"/>
            <a:ext cx="3337274" cy="770803"/>
          </a:xfrm>
          <a:prstGeom prst="wedgeRectCallout">
            <a:avLst>
              <a:gd name="adj1" fmla="val -55451"/>
              <a:gd name="adj2" fmla="val -11644"/>
            </a:avLst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체계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구축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및 손익 분석 강화</a:t>
            </a: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가치 기반 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M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구축</a:t>
            </a:r>
          </a:p>
        </p:txBody>
      </p:sp>
      <p:sp>
        <p:nvSpPr>
          <p:cNvPr id="141" name="사각형 설명선 140"/>
          <p:cNvSpPr/>
          <p:nvPr/>
        </p:nvSpPr>
        <p:spPr bwMode="auto">
          <a:xfrm>
            <a:off x="4664968" y="4410786"/>
            <a:ext cx="3343018" cy="941145"/>
          </a:xfrm>
          <a:prstGeom prst="wedgeRectCallout">
            <a:avLst>
              <a:gd name="adj1" fmla="val 54239"/>
              <a:gd name="adj2" fmla="val -10123"/>
            </a:avLst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미래 디지털 성장 기반 고도화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최상의 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X/UX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Omni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 구현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ustomer &amp; Client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편의 중심 프로세스 개선</a:t>
            </a:r>
          </a:p>
        </p:txBody>
      </p:sp>
      <p:sp>
        <p:nvSpPr>
          <p:cNvPr id="142" name="사각형 설명선 141"/>
          <p:cNvSpPr/>
          <p:nvPr/>
        </p:nvSpPr>
        <p:spPr bwMode="auto">
          <a:xfrm>
            <a:off x="4659864" y="5517232"/>
            <a:ext cx="3461488" cy="770803"/>
          </a:xfrm>
          <a:prstGeom prst="wedgeRectCallout">
            <a:avLst>
              <a:gd name="adj1" fmla="val 54182"/>
              <a:gd name="adj2" fmla="val -18234"/>
            </a:avLst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사</a:t>
            </a:r>
            <a:r>
              <a:rPr kumimoji="1"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개별화 요구 대응 강화를 통한 비즈니스 본업 경쟁력 강화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플랫폼 비즈니스 강화 및 글로벌 진출 확대</a:t>
            </a:r>
          </a:p>
        </p:txBody>
      </p:sp>
      <p:sp>
        <p:nvSpPr>
          <p:cNvPr id="143" name="사각형 설명선 142"/>
          <p:cNvSpPr/>
          <p:nvPr/>
        </p:nvSpPr>
        <p:spPr bwMode="auto">
          <a:xfrm>
            <a:off x="2064907" y="3788474"/>
            <a:ext cx="2456045" cy="922299"/>
          </a:xfrm>
          <a:prstGeom prst="wedgeRectCallout">
            <a:avLst>
              <a:gd name="adj1" fmla="val 56532"/>
              <a:gd name="adj2" fmla="val -5615"/>
            </a:avLst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marL="171450" indent="-171450" latinLnBrk="0">
              <a:lnSpc>
                <a:spcPct val="8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체계 구축 및 비용관리체계 </a:t>
            </a: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강화</a:t>
            </a:r>
            <a:endParaRPr kumimoji="1"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8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sibility </a:t>
            </a:r>
            <a:r>
              <a:rPr kumimoji="1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강화 및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nd-to-End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</a:t>
            </a:r>
            <a:endParaRPr kumimoji="1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" name="직선 연결선 13"/>
          <p:cNvCxnSpPr/>
          <p:nvPr/>
        </p:nvCxnSpPr>
        <p:spPr bwMode="auto">
          <a:xfrm>
            <a:off x="416496" y="3036200"/>
            <a:ext cx="90724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sm" len="sm"/>
            <a:tailEnd type="none" w="med" len="med"/>
          </a:ln>
          <a:effectLst/>
        </p:spPr>
      </p:cxnSp>
      <p:sp>
        <p:nvSpPr>
          <p:cNvPr id="19" name="폭발 1 18"/>
          <p:cNvSpPr/>
          <p:nvPr/>
        </p:nvSpPr>
        <p:spPr bwMode="auto">
          <a:xfrm>
            <a:off x="2097847" y="2498892"/>
            <a:ext cx="2062495" cy="1133982"/>
          </a:xfrm>
          <a:prstGeom prst="irregularSeal1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9" name="TextBox 148"/>
          <p:cNvSpPr txBox="1"/>
          <p:nvPr/>
        </p:nvSpPr>
        <p:spPr bwMode="auto">
          <a:xfrm>
            <a:off x="2360712" y="2817549"/>
            <a:ext cx="1512201" cy="442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“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 기반 고도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endParaRPr lang="ko-KR" altLang="en-US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폭발 1 149"/>
          <p:cNvSpPr/>
          <p:nvPr/>
        </p:nvSpPr>
        <p:spPr bwMode="auto">
          <a:xfrm>
            <a:off x="2144689" y="4779206"/>
            <a:ext cx="2015654" cy="1508829"/>
          </a:xfrm>
          <a:prstGeom prst="irregularSeal1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TextBox 150"/>
          <p:cNvSpPr txBox="1"/>
          <p:nvPr/>
        </p:nvSpPr>
        <p:spPr bwMode="auto">
          <a:xfrm>
            <a:off x="2504728" y="5157192"/>
            <a:ext cx="1312338" cy="626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algn="ctr" latinLnBrk="0">
              <a:spcBef>
                <a:spcPct val="30000"/>
              </a:spcBef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“ Digital</a:t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ransformation ”</a:t>
            </a:r>
            <a:endParaRPr lang="ko-KR" altLang="en-US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0465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동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동규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PMO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 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익대학교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2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과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2"/>
          <a:ext cx="9360000" cy="1277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706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73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74696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1179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PMG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5.11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~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err="1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현재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anagement Consulting Servic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1179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엑센추어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1.04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~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5.12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Business Analyst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37" y="1787275"/>
            <a:ext cx="1190791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83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동규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1"/>
          <a:ext cx="9360926" cy="3554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2234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카드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 ~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시스템 구축 마스터플랜 수립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널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체 어플리케이션 담당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외환은행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6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외환은행 IT시스템 통합 PMI PMO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관리</a:t>
                      </a:r>
                      <a:endParaRPr kumimoji="0" sz="11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고객영역 담당)</a:t>
                      </a:r>
                      <a:endParaRPr kumimoji="0" sz="11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3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0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전략 및 시스템 구축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분석, 마케팅성과 분석을 </a:t>
                      </a:r>
                      <a:r>
                        <a:rPr kumimoji="0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위한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캠페인관리 </a:t>
                      </a:r>
                      <a:r>
                        <a:rPr kumimoji="0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트 설계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36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4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2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PMO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즈니스 요건 관리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슈 및 </a:t>
                      </a:r>
                      <a:r>
                        <a:rPr kumimoji="0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리스크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관리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36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3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사전준비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</a:t>
                      </a:r>
                      <a:r>
                        <a:rPr kumimoji="0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도화</a:t>
                      </a: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계획 수립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1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9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3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PMO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</a:t>
                      </a:r>
                      <a:r>
                        <a:rPr kumimoji="0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즈니스 요건 관리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1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5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9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마케팅/상품 PI</a:t>
                      </a:r>
                      <a:endParaRPr kumimoji="0" sz="11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</a:t>
                      </a:r>
                      <a:r>
                        <a:rPr kumimoji="0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마케팅</a:t>
                      </a:r>
                      <a:r>
                        <a:rPr kumimoji="0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endParaRPr kumimoji="0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2469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진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카드프로세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L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진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 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및 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g Data </a:t>
                      </a:r>
                      <a:r>
                        <a:rPr lang="en-US" altLang="ko-KR" sz="1200" b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nlaytics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ko-KR" altLang="en-US" sz="1200" b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싱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연세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2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7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은행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I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 C&amp;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2~2003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.06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b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텔레콤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RP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운영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  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pSp>
        <p:nvGrpSpPr>
          <p:cNvPr id="10" name="그룹 9"/>
          <p:cNvGrpSpPr/>
          <p:nvPr/>
        </p:nvGrpSpPr>
        <p:grpSpPr>
          <a:xfrm>
            <a:off x="380101" y="1743303"/>
            <a:ext cx="1260531" cy="1637014"/>
            <a:chOff x="395536" y="1134369"/>
            <a:chExt cx="857250" cy="1223342"/>
          </a:xfrm>
        </p:grpSpPr>
        <p:sp>
          <p:nvSpPr>
            <p:cNvPr id="11" name="직사각형 10"/>
            <p:cNvSpPr/>
            <p:nvPr/>
          </p:nvSpPr>
          <p:spPr>
            <a:xfrm>
              <a:off x="395536" y="1134370"/>
              <a:ext cx="857250" cy="1223341"/>
            </a:xfrm>
            <a:prstGeom prst="rect">
              <a:avLst/>
            </a:prstGeom>
            <a:noFill/>
            <a:ln w="19050">
              <a:solidFill>
                <a:schemeClr val="tx2">
                  <a:lumMod val="50000"/>
                </a:schemeClr>
              </a:solidFill>
            </a:ln>
          </p:spPr>
          <p:txBody>
            <a:bodyPr vert="horz" wrap="square" lIns="91440" tIns="45720" rIns="91440" bIns="45720" rtlCol="0" anchor="t">
              <a:noAutofit/>
            </a:bodyPr>
            <a:lstStyle/>
            <a:p>
              <a:pPr algn="ctr"/>
              <a:endParaRPr lang="ko-KR" altLang="en-US" dirty="0" err="1">
                <a:solidFill>
                  <a:srgbClr val="FF0000"/>
                </a:solidFill>
                <a:latin typeface="맑은 고딕" panose="020B0503020000020004" pitchFamily="50" charset="-127"/>
              </a:endParaRPr>
            </a:p>
          </p:txBody>
        </p:sp>
        <p:pic>
          <p:nvPicPr>
            <p:cNvPr id="12" name="Picture 2" descr="http://hlink.samil.com/employeeImage?emp_id=4063&amp;image_type=P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1134369"/>
              <a:ext cx="857250" cy="1219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5791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진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카드프로세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L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620967"/>
          <a:ext cx="9360926" cy="46479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0508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8433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농협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6.08~2016.0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조합 간접원가 정산체계 개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축협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조합 간접원가 정산 체계 개선안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9380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농협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5.01~2015.05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업점 업무 대행체계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업력 강화를 위한 영업점 업무 대행 체계 설계</a:t>
                      </a:r>
                    </a:p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상품 판매 신장을 위한 업적 평가 방안 설계</a:t>
                      </a:r>
                    </a:p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 회계 분리를 위한 업무 영향 범위 검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8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롯데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3.02~014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카드 경영관리 선진화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상품 관리 체계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I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1365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롯데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2.11~2013.06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롯데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MO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시스템 구축 및 해외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Roll out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을 위한 프로젝트 전략 수립 및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roject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진행 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8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롯데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2.07~2012.1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롯데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I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차세대 시스템 구축을 위한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I/ISP</a:t>
                      </a:r>
                    </a:p>
                    <a:p>
                      <a:pPr marL="36000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해외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멤버스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운영 전략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8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삼성</a:t>
                      </a:r>
                      <a:r>
                        <a:rPr lang="en-US" altLang="ko-KR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SDS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1.07~2012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그룹 일류화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그룹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S-ERP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축을 개선 방향 및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PI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과제 수립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드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생명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화재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증권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8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11.04~2011.06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정보활용 체계 구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보 분석을 통한 경영현안 발굴 및 상시 정보 분석체계 수립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09.10~2011.03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전사 혁신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전사 혁신 과제 진행</a:t>
                      </a:r>
                    </a:p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손익관리 체계 개선 및 정보 활용도 제고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98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카드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09.09~2010.09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익 인식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FRS 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회계 기준 준수를 위한 업무 설계 및 시스템 설계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98433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LG</a:t>
                      </a:r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3.07~2004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G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드 신 경영관리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LG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드 경영관리 체계 혁신 및 재무회계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관리회계 시스템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36000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56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진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카드프로세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L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4896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한화생명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06~2016.05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빅데이터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기반의 경쟁력 강화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Cross/up-sell,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 이탈 방지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가치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소득 추정 모델 등 데이터 분석을 통한 분석모델 설계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신한생명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itchFamily="50" charset="-127"/>
                          <a:cs typeface="Arial" panose="020B0604020202020204" pitchFamily="34" charset="0"/>
                        </a:rPr>
                        <a:t>2008.01~2008.12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경영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경영관리 업무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I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시스템 설계 구축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미래에셋생명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7.05~2007.1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가치경영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가치경영체계 확립을 위한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I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497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대한생명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6.04~2007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경영관리 선진화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경영관리 업무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I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재무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과관리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EIS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하나로 </a:t>
                      </a:r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텔레콤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05.04~2006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경영관리 선진화 프로젝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업무 </a:t>
                      </a: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이랜드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4.05~2005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뉴코아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백화점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Roll out 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이랜드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그룹의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뉴코아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백화점 인수 후 경영관리 시스템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Roll-out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롯데손해</a:t>
                      </a:r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 보험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01~2015.05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영업점 업무 대행체계 설계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영업조직 지표 발굴 및 목표 수립 체계 설계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  <a:p>
                      <a:pPr marL="93663" marR="0" lvl="0" indent="-936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목표 수립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-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실행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-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분석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Cycl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관리를 위한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PI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81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대익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사</a:t>
                      </a:r>
                      <a:r>
                        <a:rPr lang="ko-KR" altLang="en-US" sz="12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peration PI 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/>
                      </a:r>
                      <a:b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무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관리 컨설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양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컴퓨터교육 학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363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0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은행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I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maxsoft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9 ~ 2010.09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컨설팅본부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롯데정보통신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1 ~ 2007.08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미수업무운영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cap="none" baseline="0" dirty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  <a:r>
                        <a:rPr lang="ko-KR" altLang="en-US" sz="1200" b="0" kern="1200" cap="none" baseline="0" dirty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4488" y="1727074"/>
            <a:ext cx="1256914" cy="16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84977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대익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79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우리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6.02 ~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현재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우리카드 </a:t>
                      </a:r>
                      <a:r>
                        <a:rPr lang="en-US" altLang="ko-KR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RP </a:t>
                      </a: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우리카드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RP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회계 부문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MetLife Korea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12 ~ 2016.0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etLife </a:t>
                      </a: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유지율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개선 전략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olicy Attrition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 및 대응 방안 제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증권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09 ~ 2015.10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noProof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증권 디지털 </a:t>
                      </a:r>
                      <a:r>
                        <a:rPr lang="en-US" altLang="ko-KR" sz="1100" b="0" kern="1200" baseline="0" noProof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UX </a:t>
                      </a:r>
                      <a:r>
                        <a:rPr lang="ko-KR" altLang="en-US" sz="1100" b="0" kern="1200" baseline="0" noProof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온라인 채널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UX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 수립 및 마스터 플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하나대투증권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04 ~ 2015.0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대투증권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차세대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관리회계 부문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4.09 ~ 2015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차세대 관리회계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관리회계 시스템 이행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한국산업은행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4.07 ~ 2014.0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해운보증보험 설립 지원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규 </a:t>
                      </a:r>
                      <a:r>
                        <a:rPr lang="ko-KR" altLang="en-US" sz="1100" b="0" kern="12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공금융사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프라 계획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3.09 ~ 2014.06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사업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다차원 통합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경영계획 및 손익결산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롯데손해보험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3.01 ~ 2013.08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롯데손보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재무 프로세스 개선 및  시스템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카드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2.10 ~ 2012.12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차세대 경영관리 고도화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RP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반 차세대 경영관리체계 모델 수립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88900" marR="0" lvl="0" indent="-88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카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ctr" defTabSz="938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2.04 ~ 2012.09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RP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반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세스 혁신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차세대 프로세스 수립 및 혁신과제 도출 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카드 </a:t>
                      </a:r>
                      <a:r>
                        <a:rPr kumimoji="0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프로세싱</a:t>
                      </a:r>
                      <a:r>
                        <a:rPr kumimoji="0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 부문</a:t>
                      </a: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24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대익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8746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한국장학재단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2.01 ~ 2012.03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장학재단  학자금시스템 고도화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재무 프로세스 개선 및  시스템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rchitecture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09.02 ~ 2010.0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카드 </a:t>
                      </a:r>
                      <a:r>
                        <a:rPr lang="en-US" altLang="ko-KR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lang="ko-KR" alt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FRS </a:t>
                      </a: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상품 평가 설계 및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부산</a:t>
                      </a:r>
                      <a:r>
                        <a:rPr lang="en-US" altLang="ko-KR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대구은행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8.04 ~ 2008.09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부산</a:t>
                      </a: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구은행 차세대 </a:t>
                      </a: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P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lang="ko-KR" altLang="en-US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방은행 차세대 공동수행 전략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신한은행</a:t>
                      </a:r>
                      <a:endParaRPr lang="ko-KR" alt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08.02 ~ 2008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신한은행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글로벌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T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국외점포시스템  진단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개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en-US" sz="1100" b="0" baseline="0" dirty="0">
                          <a:latin typeface="맑은 고딕" pitchFamily="50" charset="-127"/>
                          <a:ea typeface="맑은 고딕" pitchFamily="50" charset="-127"/>
                        </a:rPr>
                        <a:t>KTF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07.10 ~ 2007.12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TF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-WIN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차세대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빌링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프로세스 파일럿 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err="1">
                          <a:latin typeface="맑은 고딕" pitchFamily="50" charset="-127"/>
                          <a:ea typeface="맑은 고딕" pitchFamily="50" charset="-127"/>
                        </a:rPr>
                        <a:t>롯데카드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5.12 ~2007.01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롯데카드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신통합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차세대 시스템 입금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정산 부문 설계 및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 err="1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쇼핑</a:t>
                      </a:r>
                      <a:endParaRPr lang="en-US" sz="1100" b="0" kern="1200" baseline="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3.04 ~ 2003.12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카드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전환 프로젝트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청구</a:t>
                      </a: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입금 부문 설계 및 구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24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1100" b="0" kern="1200" baseline="0" dirty="0" err="1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쇼핑</a:t>
                      </a: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3.01 ~ 2007.08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 err="1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카드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시스템 운영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청구</a:t>
                      </a: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입금</a:t>
                      </a:r>
                      <a:r>
                        <a:rPr lang="en-US" altLang="ko-KR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0" kern="1200" baseline="0" dirty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채권 부문 프로세스 개선 및 시스템 운영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897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송영근 차장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영근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AP ERP FI, CO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분석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그램 설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금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동국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2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통신공학 학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8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차세대구축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분석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T DS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2 ~ 2013.08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RP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세무회계 시스템 구축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부가세신고 및 전자세금계산서 시스템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57" y="1803190"/>
            <a:ext cx="1167927" cy="155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421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송영근 차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871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우리카드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6.02 ~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현재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우리카드 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ERP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전표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청구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결제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예산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재무 분석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테스트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이행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안정화</a:t>
                      </a:r>
                      <a:endParaRPr kumimoji="0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기업은행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12 ~ 2016.01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기업은행 </a:t>
                      </a: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빅데이터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분석 시스템 구축을 위한 시범사업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시범과제 최종보고서 작성 및 전략 과제 도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LF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10 ~ 2015.12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LF e-Biz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고객 분석 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정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비정형 보고서 분석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증권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09 ~ 2015.10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증권 고객중심의 온라인 채널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UX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전략 컨설팅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최종보고서 작성 및 전략 과제 도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하나금융투자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04 ~ 2015.09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하나금융투자 차세대 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세무회계 시스템 분석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카드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4.05 ~ 2015.04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카드 차세대 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기간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발급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승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금융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할부 등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와 재무회계 간의 회계처리구조 설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테스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운영전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안정화 수행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농협손해보험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3.08 ~ 2013.05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농협손해보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신보험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SAP ER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세무회계 시스템 구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부가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원천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지방소득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교육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법인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분석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설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테스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마이그레이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운영전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안정화 수행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KT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1.07 ~ 2013.07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KT BIT SAP ER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시스템 구축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세무회계 시스템 구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부가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원천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법인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)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분석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테스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마이그레이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운영전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안정화 수행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KT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09.02 ~ 2012.06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KT ORACLE ER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시스템 고도화</a:t>
                      </a: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부가세 신고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/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전자세금계산서 시스템 구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AR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수입 매출 채권 관리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물류 발주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RP, PO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관리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72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328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2769280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27372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정호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장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포인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정호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수료 정산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분석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인트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2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정보시스템 석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대학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02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 학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w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3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은행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 등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I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/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1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2011.04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사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용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분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405" y="1705998"/>
            <a:ext cx="1292878" cy="16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464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카드프로세싱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정호 차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포인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2969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농협카드 </a:t>
                      </a:r>
                      <a:endParaRPr lang="en-US" sz="1100" b="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6.08~2016.08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조합 간접원가 정산체계 개선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itchFamily="34" charset="0"/>
                        <a:buNone/>
                        <a:tabLst/>
                      </a:pPr>
                      <a:r>
                        <a:rPr lang="ko-KR" altLang="en-US" sz="11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축협</a:t>
                      </a: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조합 간접원가 정산 체계 개선안 설계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삼성증권</a:t>
                      </a:r>
                      <a:endParaRPr lang="en-US" altLang="ko-KR" sz="1100" b="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6.03~2016.06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증권 </a:t>
                      </a:r>
                      <a:r>
                        <a:rPr lang="ko-KR" altLang="en-US" sz="1100" b="0" kern="1200" dirty="0" err="1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빅데이터</a:t>
                      </a:r>
                      <a:r>
                        <a:rPr lang="ko-KR" altLang="en-US" sz="11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분석 파일럿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금융상품 불완전판매 데이터분석 모델 및 활용방안 수립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NH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농협카드 </a:t>
                      </a:r>
                      <a:endParaRPr lang="en-US" altLang="ko-KR" sz="1100" b="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11~2016.01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1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카드 가맹점수수료 </a:t>
                      </a:r>
                      <a:r>
                        <a:rPr lang="ko-KR" altLang="en-US" sz="1100" b="0" kern="1200" dirty="0" err="1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재산정</a:t>
                      </a:r>
                      <a:endParaRPr lang="ko-KR" altLang="en-US" sz="1100" b="0" kern="12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공통 및 개별 가맹점 </a:t>
                      </a:r>
                      <a:r>
                        <a:rPr lang="ko-KR" altLang="en-US" sz="11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수료율</a:t>
                      </a: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재산정</a:t>
                      </a: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및 정산 지원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여신금융협회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5.06~2015.11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가맹점수수료체계 개편 후속조치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신용카드 가맹점수수료체계 개편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비용률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및 효과 산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삼성카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4.11~2015.04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카드 사업통합손익산출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CO)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CO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축 및 데이터 테스트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삼성자산운용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014.03~2014.10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삼성자산운용 실적분석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마케팅모판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업지원리포트 시스템 구축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520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현숙 이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현숙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화여자대학교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89.02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자계산학과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22539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996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㈜</a:t>
                      </a:r>
                      <a:r>
                        <a:rPr lang="ko-KR" sz="1100" b="1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포씨엔씨</a:t>
                      </a:r>
                      <a:endParaRPr lang="ko-KR" sz="11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6 ~ </a:t>
                      </a: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9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업무 분석 및 설계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비즈니스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경희세무회계</a:t>
                      </a:r>
                      <a:endParaRPr lang="ko-KR" sz="11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0 ~ 2016.05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재무회계 시스템 운영 및 개발</a:t>
                      </a:r>
                      <a:endParaRPr lang="ko-KR" sz="1100" kern="100" dirty="0">
                        <a:solidFill>
                          <a:schemeClr val="dk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1246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레디트라인</a:t>
                      </a: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0 ~ </a:t>
                      </a: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4 / </a:t>
                      </a: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2 ~ 2007.04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수행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</a:t>
                      </a:r>
                      <a:r>
                        <a:rPr lang="en-US" altLang="ko-KR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kern="100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 컨설팅 프로젝트 수행</a:t>
                      </a:r>
                      <a:endParaRPr lang="ko-KR" altLang="en-US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1200" cap="none" baseline="0" dirty="0" smtClean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채권관리</a:t>
                      </a:r>
                      <a:r>
                        <a:rPr lang="en-US" altLang="ko-KR" sz="1100" b="1" kern="1200" cap="none" baseline="0" dirty="0" smtClean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b="1" kern="1200" cap="none" baseline="0" dirty="0" smtClean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용 등</a:t>
                      </a:r>
                      <a:endParaRPr lang="ko-KR" altLang="en-US" sz="11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8 ~ 2012.08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개발 프로젝트 수행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cap="none" baseline="0" dirty="0" smtClean="0">
                          <a:solidFill>
                            <a:srgbClr val="333333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관리</a:t>
                      </a:r>
                      <a:endParaRPr lang="ko-KR" altLang="en-US" sz="11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컴포넌트비젼</a:t>
                      </a:r>
                      <a:r>
                        <a:rPr lang="ko-KR" sz="1100" b="1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.06 ~</a:t>
                      </a:r>
                      <a:r>
                        <a:rPr kumimoji="1" lang="en-US" sz="1100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1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-285750" algn="l" defTabSz="914400" rtl="0" eaLnBrk="1" latinLnBrk="1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ts val="800"/>
                        <a:buFont typeface="Symbol"/>
                        <a:buNone/>
                        <a:tabLst>
                          <a:tab pos="571500" algn="l"/>
                        </a:tabLst>
                      </a:pP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삼성생명 </a:t>
                      </a:r>
                      <a:r>
                        <a:rPr lang="ko-KR" altLang="en-US" sz="1100" kern="100" dirty="0" err="1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비전속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채널 시스템 개발 프로젝트 수행</a:t>
                      </a:r>
                      <a:endParaRPr lang="ko-KR" altLang="ko-KR" sz="1100" kern="100" dirty="0" smtClean="0">
                        <a:solidFill>
                          <a:schemeClr val="dk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3679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캐피탈</a:t>
                      </a:r>
                      <a:r>
                        <a:rPr lang="ko-KR" sz="1100" b="1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7.10 ~</a:t>
                      </a:r>
                      <a:r>
                        <a:rPr kumimoji="1" lang="en-US" sz="1100" kern="12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10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카드시스템 개발 </a:t>
                      </a:r>
                      <a:r>
                        <a:rPr lang="ko-KR" altLang="en-US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(CRM 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구축</a:t>
                      </a:r>
                      <a:r>
                        <a:rPr lang="en-US" altLang="ko-KR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, DW</a:t>
                      </a:r>
                      <a:r>
                        <a:rPr lang="en-US" altLang="ko-KR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구축</a:t>
                      </a:r>
                      <a:r>
                        <a:rPr lang="en-US" altLang="ko-KR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Siebel </a:t>
                      </a: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키지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</a:t>
                      </a:r>
                      <a:r>
                        <a:rPr lang="ko-KR" sz="1100" b="1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endParaRPr lang="ko-KR" sz="11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1.08 ~</a:t>
                      </a:r>
                      <a:r>
                        <a:rPr kumimoji="1" lang="en-US" sz="1100" kern="12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6.09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카드시스템 개발 </a:t>
                      </a:r>
                      <a:r>
                        <a:rPr lang="ko-KR" altLang="en-US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(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카드론</a:t>
                      </a:r>
                      <a:r>
                        <a:rPr lang="en-US" altLang="ko-KR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,</a:t>
                      </a:r>
                      <a:r>
                        <a:rPr 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모집</a:t>
                      </a:r>
                      <a:r>
                        <a:rPr 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/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심사</a:t>
                      </a:r>
                      <a:r>
                        <a:rPr 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/</a:t>
                      </a:r>
                      <a:r>
                        <a:rPr lang="ko-KR" altLang="en-US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발급 </a:t>
                      </a:r>
                      <a:r>
                        <a:rPr lang="en-US" altLang="ko-KR" sz="1100" kern="10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,</a:t>
                      </a:r>
                      <a:r>
                        <a:rPr lang="en-US" altLang="ko-KR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채권관리</a:t>
                      </a:r>
                      <a:r>
                        <a:rPr lang="en-US" altLang="ko-KR" sz="1100" kern="100" baseline="0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ko-KR" altLang="en-US" sz="1100" kern="100" dirty="0">
                        <a:solidFill>
                          <a:schemeClr val="dk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266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1100" b="1" kern="100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맥정보산업</a:t>
                      </a:r>
                      <a:endParaRPr lang="ko-KR" sz="11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89.03 ~</a:t>
                      </a:r>
                      <a:r>
                        <a:rPr kumimoji="1" lang="en-US" sz="1100" kern="12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sz="1100" kern="1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1.06</a:t>
                      </a:r>
                      <a:endParaRPr lang="ko-KR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시스템운영 및 개발 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(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회계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, </a:t>
                      </a:r>
                      <a:r>
                        <a:rPr lang="ko-KR" altLang="en-US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인사급여</a:t>
                      </a:r>
                      <a:r>
                        <a:rPr lang="en-US" altLang="ko-KR" sz="11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ko-KR" altLang="en-US" sz="11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65" marR="62865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026" name="Picture 2" descr="흑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7259" y="1790959"/>
            <a:ext cx="1233929" cy="1529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2574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현숙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89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5 ~ 2014.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    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0 ~ 2013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사전구축전략 수립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8 ~ 2012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카드 차세대 시스템 구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석 및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829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한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4 ~ 2010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 전략 정교화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7 ~ 2007.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6.11 ~ 2007.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In/out bound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링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5.06 ~ 2006.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시스템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관리공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5.01 ~ 2005.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전반 혁신 컨설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캐피탈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4.08 ~ 2004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isk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전략컨설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 컨설팅 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11 ~ 2004.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QA 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품질관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QA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생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411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/>
              <a:t>신용</a:t>
            </a:r>
            <a:r>
              <a:rPr lang="en-US" altLang="ko-KR" dirty="0" smtClean="0"/>
              <a:t>/</a:t>
            </a:r>
            <a:r>
              <a:rPr lang="ko-KR" altLang="en-US" dirty="0" smtClean="0"/>
              <a:t>채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현숙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채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89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흥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.03 ~ 2003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관리시스템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생명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2.11 ~ 2003.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전속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채널시스템 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D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1 ~ 2001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콜센타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829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.07 ~ 2000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수립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.01 ~ 2000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부금융 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9.01 ~ 1999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8.01 ~ 1998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7.01 ~ 1997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부금융 채권관리시스템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5.01 ~ 1996.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채권관리시스템 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석 및 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엘지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3.01 ~ 1994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모집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급 시스템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모집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심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급 시스템 분석 및 설계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67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강문식 </a:t>
            </a:r>
            <a:r>
              <a:rPr lang="ko-KR" altLang="en-US" dirty="0" smtClean="0"/>
              <a:t>이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L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문식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8.08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학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386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PMG</a:t>
                      </a:r>
                      <a:endParaRPr lang="ko-KR" altLang="en-US" sz="12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1 ~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nagement Consulting Service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Y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5 ~ 2009.12</a:t>
                      </a:r>
                      <a:endParaRPr 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usiness Advisory Service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orwath</a:t>
                      </a: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0" kern="1200" spc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hoongjung</a:t>
                      </a: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onsulting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8 ~ 2008.04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nagement Consulting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42003" y="1700808"/>
            <a:ext cx="1255615" cy="1670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2780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강문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L 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39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캐피탈</a:t>
                      </a:r>
                    </a:p>
                  </a:txBody>
                  <a:tcPr marL="36000" marR="3600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6.07 ~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재</a:t>
                      </a:r>
                    </a:p>
                  </a:txBody>
                  <a:tcPr marL="36000" marR="3600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회계 고도화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2 ~ 2016.06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ster Plan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부문 리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9 ~ 2016.02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 업무원가 변경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교직원공제회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2 ~ 2015.05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장기 재정추계모형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카드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피탈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커머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0 ~ 2014.11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카드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피탈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커머셜 관리회계 고도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26262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9 ~ 2013.09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분석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원가 파트 리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8 ~ 2012.09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T-ERP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투자계획 파트 리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교직원공제회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12 ~ 2011.02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컨설팅 프로젝트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운용전략 파트 리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DB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지주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5 ~ 2010.12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수익성관리 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원가 파트 리더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행정공제회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2 ~ 2010.04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컨설팅 프로젝트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운용전략 수립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4153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강문식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L 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731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 U+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01 ~ 2010.12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관리체계 개선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관리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도출 및 상세 요건 설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코닝정밀유리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08 ~ 2008.10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절감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tion Item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절감 과제 도출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전력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01 ~ 2008.04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전분할 이후의 성과분석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전부문 자회사 분할 이후의 경영성과 분석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글로비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3 ~ 2007.11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회계시스템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회계 프로세스 및 시스템 구축 요건 설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IG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해보험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6.04 ~ 2007.02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 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BC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의 업무원가 로직 설계 및 수익성분석 체계 설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풍산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6.01 ~ 2006.03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 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총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ORAIL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5.03 ~ 2005.12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도출 및 상세 요건 설계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롬라이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4.08 ~ 2004.10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전략 수립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채널 운영전략 수립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679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지환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/>
              <a:t>회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지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성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앙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1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705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PMG</a:t>
                      </a:r>
                      <a:endParaRPr lang="ko-KR" altLang="en-US" sz="12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11 ~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CS1 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부 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PS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팀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BM GBS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4 ~ 2008.11</a:t>
                      </a:r>
                      <a:endParaRPr 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사업본부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EXERVE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2 ~ 2008.04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</a:t>
                      </a: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업본부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NTROI</a:t>
                      </a:r>
                      <a:r>
                        <a:rPr lang="en-US" altLang="ko-KR" sz="1200" b="0" baseline="0" dirty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Consulting</a:t>
                      </a:r>
                      <a:endParaRPr lang="ko-KR" altLang="en-US" sz="1200" b="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5.12 ~ 2007.02</a:t>
                      </a:r>
                      <a:endParaRPr lang="ko-KR" altLang="en-US" sz="1200" b="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spc="0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P</a:t>
                      </a:r>
                      <a:r>
                        <a:rPr lang="en-US" altLang="ko-KR" sz="1200" b="0" i="0" u="none" strike="noStrike" spc="0" baseline="0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i="0" u="none" strike="noStrike" spc="0" baseline="0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본부</a:t>
                      </a:r>
                      <a:endParaRPr lang="en-US" altLang="ko-KR" sz="1200" b="0" i="0" u="none" strike="noStrike" spc="0" dirty="0"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kern="1200" cap="none" baseline="0" dirty="0">
                        <a:solidFill>
                          <a:srgbClr val="333333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4" name="그림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99" y="1788907"/>
            <a:ext cx="1143160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0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지환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/>
              <a:t>회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89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캐피탈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6.08 ~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캐피탈 관리회계 구축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안정화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회계 설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이행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테스트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안정화 담당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5.08 ~ 2016.07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 영업회계 시스템 구축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채권잔액 관리시스템 분석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설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테스트 담당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대캐피탈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대카드 업무 포함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06 ~ 2015.1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캐피탈 관리회계 구축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회계 분석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설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이행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테스트 담당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82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1.04 ~ 2013.05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00" dirty="0"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KT </a:t>
                      </a:r>
                      <a:r>
                        <a:rPr lang="ko-KR" altLang="en-US" sz="1200" kern="100" dirty="0"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관리회계 시스템 구축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익성분석부문 네트워크원가 담당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한국산업은행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0.12 ~ 2011.03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종합수익관리시스템 개선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익관리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업무분석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개선사항분석 담당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동양종합금융증권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0.02 ~ 2010.11</a:t>
                      </a:r>
                      <a:endParaRPr lang="ko-KR" altLang="ko-KR" sz="120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양종합금융증권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RP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구축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회계 설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이행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테스트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안정화 담당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하나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dirty="0">
                          <a:latin typeface="맑은 고딕" pitchFamily="50" charset="-127"/>
                          <a:ea typeface="맑은 고딕" pitchFamily="50" charset="-127"/>
                        </a:rPr>
                        <a:t>2009.10</a:t>
                      </a:r>
                      <a:r>
                        <a:rPr lang="en-US" altLang="ko-KR" sz="1200" baseline="0" dirty="0">
                          <a:latin typeface="맑은 고딕" pitchFamily="50" charset="-127"/>
                          <a:ea typeface="맑은 고딕" pitchFamily="50" charset="-127"/>
                        </a:rPr>
                        <a:t> ~ 2010.02</a:t>
                      </a:r>
                      <a:endParaRPr kumimoji="0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하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카드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RP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구축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회계 비용 및 세금업무 담당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캐피탈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dirty="0">
                          <a:latin typeface="맑은 고딕" pitchFamily="50" charset="-127"/>
                          <a:ea typeface="맑은 고딕" pitchFamily="50" charset="-127"/>
                        </a:rPr>
                        <a:t>2008.11 ~ 2009.10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대카드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캐피탈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RP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회계 비용 및 세금업무 담당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일진전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.05 ~ 2008.10</a:t>
                      </a:r>
                      <a:endParaRPr kumimoji="0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일진전기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RP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회계 담당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FDS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7.10 ~ 2008.04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T FDS  ERP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</a:t>
                      </a:r>
                      <a:endParaRPr lang="ko-KR" altLang="en-US" sz="12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회계 담당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970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2706422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일반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재무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영업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</a:t>
            </a:r>
            <a:r>
              <a:rPr lang="ko-KR" altLang="en-US" sz="22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현황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175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송현선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/>
              <a:t>상품수익성</a:t>
            </a:r>
            <a:r>
              <a:rPr lang="en-US" altLang="ko-KR" dirty="0" smtClean="0"/>
              <a:t>/</a:t>
            </a:r>
            <a:r>
              <a:rPr lang="ko-KR" altLang="en-US" dirty="0" smtClean="0"/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현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성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수익성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양대학교 경영대학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8.08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A 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전략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ck)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구가톨릭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.02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통계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PMG</a:t>
                      </a:r>
                      <a:endParaRPr lang="ko-KR" altLang="en-US" sz="120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2 ~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회계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익성분석 및 경영관리   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㈜</a:t>
                      </a:r>
                      <a:r>
                        <a:rPr lang="en-US" altLang="ko-KR" sz="1200" b="0" kern="1200" spc="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nE</a:t>
                      </a:r>
                      <a:endParaRPr lang="ko-KR" alt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1 ~ 2011.01</a:t>
                      </a:r>
                      <a:endParaRPr lang="en-US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 </a:t>
                      </a: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</a:t>
                      </a:r>
                      <a:r>
                        <a:rPr lang="en-US" altLang="ko-KR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I </a:t>
                      </a:r>
                      <a:r>
                        <a:rPr lang="ko-KR" altLang="en-US" sz="1200" b="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9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1679058"/>
            <a:ext cx="1381125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1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송현선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/>
              <a:t>상품수익성</a:t>
            </a:r>
            <a:r>
              <a:rPr lang="en-US" altLang="ko-KR" dirty="0" smtClean="0"/>
              <a:t>/</a:t>
            </a:r>
            <a:r>
              <a:rPr lang="ko-KR" altLang="en-US" dirty="0" smtClean="0"/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69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842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0964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5.05 ~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정보인프라 구축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15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분석 및 상세설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계약원가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,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영업회계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납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파트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4.12 ~ 2015.02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무회계인프라 </a:t>
                      </a:r>
                      <a:r>
                        <a:rPr lang="ko-KR" altLang="en-US" sz="1200" b="0" i="0" u="none" strike="noStrike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재구축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사전분석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15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도출 및 마스터플랜 수립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커머셜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 업무 포함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12 ~ 2014.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현대카드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캐피탈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커머셜 관리회계고도화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익성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PA)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영업손익</a:t>
                      </a:r>
                      <a:endParaRPr lang="ko-KR" altLang="en-US" sz="1200" b="0" i="0" u="none" strike="noStrike" kern="1200" dirty="0">
                        <a:solidFill>
                          <a:srgbClr val="262626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82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3.07 ~ 2013.10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익성분석 고도화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2.10 ~ 2013.05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T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수익성분석 프로젝트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회계 상세모델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대리점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고객 수익성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대우건설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1.09 ~ 2012.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대우건설 차세대 통합공사관리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모듈리더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㈜두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11.02 ~ 2011.0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㈜두산 계획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관리 연결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PI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HUMAX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9.11 ~ 2010.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HUMAX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BPC 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연결프로젝트</a:t>
                      </a:r>
                      <a:endParaRPr lang="ko-KR" altLang="en-US" sz="12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tabLst>
                          <a:tab pos="0" algn="l"/>
                        </a:tabLst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PM</a:t>
                      </a:r>
                      <a:endParaRPr lang="ko-KR" altLang="en-US" sz="12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자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9.02 ~ 2009.09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자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분석 및 상세설계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유형자산 자산손상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CNS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8.10 ~ 2009.01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CNS IFRS 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사전분석 </a:t>
                      </a:r>
                      <a:r>
                        <a:rPr lang="en-US" altLang="ko-KR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단계</a:t>
                      </a:r>
                      <a:endParaRPr lang="ko-KR" altLang="en-US" sz="12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IFRS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과제도출 및</a:t>
                      </a:r>
                      <a:r>
                        <a:rPr lang="ko-KR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상세설계</a:t>
                      </a:r>
                      <a:endParaRPr lang="ko-KR" altLang="en-US" sz="12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811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관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송현선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수익성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89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842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02446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29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㈜보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8.01 ~ 2008.09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령그룹 차세대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RP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 및 모듈리더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웅진코웨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7.06 ~ 2007.12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웅진코웨이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경영정보시스템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 및 모듈리더</a:t>
                      </a:r>
                      <a:endParaRPr lang="ko-KR" altLang="en-US" sz="1200" b="0" i="0" u="none" strike="noStrike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6.07 ~ 2007.0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KT KPI Management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구축 프로젝트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KPI </a:t>
                      </a:r>
                      <a:r>
                        <a:rPr lang="ko-KR" altLang="en-US" sz="1200" b="0" i="0" u="none" strike="noStrike" kern="1200" dirty="0">
                          <a:solidFill>
                            <a:srgbClr val="262626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 및 모듈리더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829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롯데지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5.11 ~ 2006.05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롯데지주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경영정보시스템 구축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CJ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5.05 ~ 2005.10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CJ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경영정보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고도화 프로젝트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CJ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LION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12 ~ 2005.0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CJ LION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경영정보 구축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자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4.02 ~ 2004.0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LG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전자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Q-Cost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분석시스템 프로젝트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전자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3.05 ~ 2004.0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전자 </a:t>
                      </a:r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SCM Monitoring</a:t>
                      </a:r>
                      <a:r>
                        <a:rPr lang="en-US" altLang="ko-KR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분석시스템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1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증권 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3.08 ~ 2004.0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증권 선진경영관리시스템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 </a:t>
                      </a:r>
                      <a:r>
                        <a:rPr lang="ko-KR" altLang="en-US" sz="1200" b="0" i="0" u="none" strike="noStrike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0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2003.03 ~ 2003.07</a:t>
                      </a:r>
                      <a:endParaRPr lang="ko-KR" altLang="en-US" sz="1200" b="0" i="0" u="none" strike="noStrike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삼성카드 경영정보시스템 구축 프로젝트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EIS 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보고서 상세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395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유승열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72420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승열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비즈니스 전반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           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 차세대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MP/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관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북대학교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4.02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산통계학과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6441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811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KPMG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6.08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~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현재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Management Consulting Servic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7727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한화S&amp;C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4.04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~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5.12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sz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PM, BA</a:t>
                      </a:r>
                      <a:endParaRPr sz="120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7659"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 err="1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신한카드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995.01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~</a:t>
                      </a:r>
                      <a:r>
                        <a:rPr 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013.12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lang="ko-KR" alt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차세대 구축 </a:t>
                      </a:r>
                      <a:r>
                        <a:rPr lang="en-US" altLang="ko-KR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Biz Lead, </a:t>
                      </a:r>
                      <a:r>
                        <a:rPr lang="ko-KR" altLang="en-US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비즈니스 요건 전체 관리</a:t>
                      </a:r>
                      <a:r>
                        <a:rPr lang="en-US" altLang="ko-KR" sz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, IT</a:t>
                      </a:r>
                      <a:r>
                        <a:rPr lang="en-US" altLang="ko-KR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기획</a:t>
                      </a:r>
                      <a:r>
                        <a:rPr lang="en-US" altLang="ko-KR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개발</a:t>
                      </a:r>
                      <a:r>
                        <a:rPr lang="en-US" altLang="ko-KR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200" baseline="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운영</a:t>
                      </a:r>
                      <a:endParaRPr sz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37" y="1794779"/>
            <a:ext cx="1190791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16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승열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4"/>
          <a:ext cx="9360926" cy="45894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19035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카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 ~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시스템 구축 마스터플랜 수립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어플리케이션 아키텍처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ead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.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카드 차세대 프로젝트 사전준비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비즈니스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IT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과제 선행 분석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화생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0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핀테크 사업화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해외 및 국내의 </a:t>
                      </a:r>
                      <a:r>
                        <a:rPr kumimoji="0" lang="ko-KR" altLang="en-US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핀테크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관련 신기술 도입에 대한 전략 수립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64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지주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5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7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지주 IT역량진단 컨설팅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st 차세대 필요성 진단 (카드)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50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광주은행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4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 컨설팅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업무  PI  수행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카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8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카드 중장기 전략 수립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점에서의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중장기 전략 수립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시스템 기획 및 운영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 비즈니스 요건 전체 관리 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RM)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24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2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계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계 총괄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PMO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Biz Lead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24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7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준비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계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계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 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파트 수행 리드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.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산센터 이전 프로젝트 및 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센터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/>
                      </a:r>
                      <a:b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 관리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51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/>
              <a:t>유승열 이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3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37"/>
          <a:ext cx="9360926" cy="3753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202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93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10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LG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산 통합작업(Day2) 수행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즈니스 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L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9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LG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산 통합작업(Day1) 수행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총괄</a:t>
                      </a: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카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품질관리 업무 수행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QA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5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5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ERP </a:t>
                      </a:r>
                      <a:r>
                        <a:rPr kumimoji="0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 설계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2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4.12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승인시스템 개발, 운영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 설계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카드</a:t>
                      </a:r>
                      <a:endParaRPr kumimoji="0" sz="1200" b="0" i="0" u="none" strike="noStrike" kern="1200" cap="none" normalizeH="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5.01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1</a:t>
                      </a:r>
                      <a:endParaRPr kumimoji="0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시스템 운영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 설계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운영</a:t>
                      </a:r>
                      <a:r>
                        <a:rPr kumimoji="0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987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진영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진영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DW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권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2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학과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8 ~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산업 결제 서비스 관련 전략 수립 및 프로세스 컨설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enture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2 ~ 2010.07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산업 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전략 수립 및 차세대 구축 </a:t>
                      </a: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r>
                        <a:rPr lang="ko-KR" altLang="en-US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70" y="1800952"/>
            <a:ext cx="1143160" cy="152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0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진영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4"/>
          <a:ext cx="9360926" cy="47617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19035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~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을 위한 마스터 플랜 수립 컨설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즈니스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 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영역 전반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B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은행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 ~ 2016.06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IT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통합 구축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PMO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대행 및 기업 고객 개별 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니즈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통합관리 요건 고도화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및 사업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4 ~ 2015.06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nking, Settlement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요건 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6411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9 ~ 2015.01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을 위한 프로세스 혁신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I)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딘계별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글로벌 확장을 고려한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ck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ffice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제 프로세스 설계 및 구축 요건 정의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2735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20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.02 ~ 2014.05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을 위한 마스터플랜 수립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ISP)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 글로벌 확장을 위한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ttlement/Clearing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고도화 체계 수립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HN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20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.04 ~ 2013.11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보험시스템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병행과제 구축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ck Office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즈니스 요건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DB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업은행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2 ~ 2013.03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점 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선업무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고도화를 위한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DW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외점포 포함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ack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Office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합 관점의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DW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설계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245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영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1 ~ 2012.12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Strategy</a:t>
                      </a:r>
                      <a:r>
                        <a:rPr 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lan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립 컨설팅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 수립 및 프로세스 혁신 과제 정의</a:t>
                      </a: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245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미래에셋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012.07 ~ 2012.10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정보계 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리뉴얼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ISP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비즈니스 요건 정의 및 프로세스 설계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5677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삼성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011.02 ~ 2012.03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차세대 시스템 구축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PMO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비즈니스 요건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5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z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진영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37"/>
          <a:ext cx="9360926" cy="2624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202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366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삼성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010.08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 ~ 2010.11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차세대 시스템 구축 프로세스 혁신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PI)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거래소 대상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rokerage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ttlement/Clearing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공을 위한 단계별 확장 방안 수립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366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우리은행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009.03 ~ 2010.07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통합 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트레이딩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시스템 구축 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후선업무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프로세스 설계 및 구축 요건 정의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8335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GS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Caltex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008.09 ~ 2008.12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중장기 정보화 전략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수립</a:t>
                      </a:r>
                      <a:r>
                        <a:rPr lang="en-US" altLang="ko-KR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ISP) </a:t>
                      </a:r>
                      <a:r>
                        <a:rPr lang="ko-KR" altLang="en-US" sz="1200" b="0" kern="100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비즈니스 과제 정의 및 이행계획 수립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6409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신한투자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008.02 ~ 2008.07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차세대 시스템 구축 </a:t>
                      </a: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PMO 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비즈니스 요건관리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002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삼성증권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007.12 ~ 2008.02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전사 </a:t>
                      </a: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리스크관리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시스템 구축 컨설팅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리스크관리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구축 요건 정의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078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춘근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Application Architecture 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춘근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, EA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A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홍익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5.02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컴퓨터소프트웨어 학과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PMG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8 ~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Architecture (AA, TA)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태광시스템즈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3 ~ 2015.08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kern="1200" spc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Architecture (AA, TA)</a:t>
                      </a:r>
                      <a:endParaRPr lang="ko-KR" altLang="en-US" sz="1200" kern="1200" spc="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89" y="1792948"/>
            <a:ext cx="1233290" cy="152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584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en-US" altLang="ko-KR" dirty="0"/>
              <a:t> –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rnationa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 International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87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립되었으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산업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야별 특화된 전문성을 보유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lobal Consulting Firm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임</a:t>
            </a:r>
          </a:p>
        </p:txBody>
      </p:sp>
      <p:sp>
        <p:nvSpPr>
          <p:cNvPr id="1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>
                <a:solidFill>
                  <a:srgbClr val="FFFFFF"/>
                </a:solidFill>
              </a:rPr>
              <a:t>II. </a:t>
            </a:r>
            <a:r>
              <a:rPr lang="ko-KR" altLang="en-US" sz="1400" b="1" dirty="0">
                <a:solidFill>
                  <a:srgbClr val="FFFFFF"/>
                </a:solidFill>
              </a:rPr>
              <a:t>제안 업체 현황</a:t>
            </a:r>
            <a:endParaRPr lang="en-US" altLang="ko-KR" sz="1400" b="1" dirty="0">
              <a:solidFill>
                <a:srgbClr val="FFFFFF"/>
              </a:solidFill>
            </a:endParaRPr>
          </a:p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FFFFFF"/>
                </a:solidFill>
              </a:rPr>
              <a:t>1. </a:t>
            </a:r>
            <a:r>
              <a:rPr lang="ko-KR" altLang="en-US" sz="1400" b="1" dirty="0" smtClean="0">
                <a:solidFill>
                  <a:srgbClr val="FFFFFF"/>
                </a:solidFill>
              </a:rPr>
              <a:t>일반현황</a:t>
            </a:r>
            <a:endParaRPr lang="ko-KR" altLang="en-US" sz="1400" b="1" dirty="0">
              <a:solidFill>
                <a:srgbClr val="FFFFFF"/>
              </a:solidFill>
            </a:endParaRPr>
          </a:p>
        </p:txBody>
      </p:sp>
      <p:grpSp>
        <p:nvGrpSpPr>
          <p:cNvPr id="2" name="Group 171"/>
          <p:cNvGrpSpPr>
            <a:grpSpLocks/>
          </p:cNvGrpSpPr>
          <p:nvPr/>
        </p:nvGrpSpPr>
        <p:grpSpPr bwMode="auto">
          <a:xfrm>
            <a:off x="726193" y="1482600"/>
            <a:ext cx="8280400" cy="4746625"/>
            <a:chOff x="192" y="969"/>
            <a:chExt cx="5376" cy="2391"/>
          </a:xfrm>
        </p:grpSpPr>
        <p:grpSp>
          <p:nvGrpSpPr>
            <p:cNvPr id="3" name="Group 172"/>
            <p:cNvGrpSpPr>
              <a:grpSpLocks/>
            </p:cNvGrpSpPr>
            <p:nvPr/>
          </p:nvGrpSpPr>
          <p:grpSpPr bwMode="auto">
            <a:xfrm>
              <a:off x="639" y="1025"/>
              <a:ext cx="4462" cy="1439"/>
              <a:chOff x="674" y="1177"/>
              <a:chExt cx="4462" cy="2035"/>
            </a:xfrm>
          </p:grpSpPr>
          <p:sp>
            <p:nvSpPr>
              <p:cNvPr id="101" name="Freeform 173"/>
              <p:cNvSpPr>
                <a:spLocks/>
              </p:cNvSpPr>
              <p:nvPr/>
            </p:nvSpPr>
            <p:spPr bwMode="gray">
              <a:xfrm>
                <a:off x="3089" y="1660"/>
                <a:ext cx="24" cy="24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23"/>
                  </a:cxn>
                  <a:cxn ang="0">
                    <a:pos x="11" y="23"/>
                  </a:cxn>
                  <a:cxn ang="0">
                    <a:pos x="0" y="11"/>
                  </a:cxn>
                  <a:cxn ang="0">
                    <a:pos x="0" y="0"/>
                  </a:cxn>
                  <a:cxn ang="0">
                    <a:pos x="23" y="0"/>
                  </a:cxn>
                </a:cxnLst>
                <a:rect l="0" t="0" r="r" b="b"/>
                <a:pathLst>
                  <a:path w="24" h="24">
                    <a:moveTo>
                      <a:pt x="23" y="0"/>
                    </a:moveTo>
                    <a:lnTo>
                      <a:pt x="23" y="23"/>
                    </a:lnTo>
                    <a:lnTo>
                      <a:pt x="11" y="23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EAEAEA"/>
              </a:solidFill>
              <a:ln w="3175" cap="rnd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2" name="Freeform 174"/>
              <p:cNvSpPr>
                <a:spLocks/>
              </p:cNvSpPr>
              <p:nvPr/>
            </p:nvSpPr>
            <p:spPr bwMode="gray">
              <a:xfrm>
                <a:off x="3043" y="1626"/>
                <a:ext cx="24" cy="35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0" y="0"/>
                  </a:cxn>
                  <a:cxn ang="0">
                    <a:pos x="0" y="34"/>
                  </a:cxn>
                  <a:cxn ang="0">
                    <a:pos x="23" y="22"/>
                  </a:cxn>
                  <a:cxn ang="0">
                    <a:pos x="23" y="0"/>
                  </a:cxn>
                </a:cxnLst>
                <a:rect l="0" t="0" r="r" b="b"/>
                <a:pathLst>
                  <a:path w="24" h="35">
                    <a:moveTo>
                      <a:pt x="23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3" y="22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EAEAEA"/>
              </a:solidFill>
              <a:ln w="3175" cap="rnd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grpSp>
            <p:nvGrpSpPr>
              <p:cNvPr id="6" name="Group 175"/>
              <p:cNvGrpSpPr>
                <a:grpSpLocks/>
              </p:cNvGrpSpPr>
              <p:nvPr/>
            </p:nvGrpSpPr>
            <p:grpSpPr bwMode="auto">
              <a:xfrm>
                <a:off x="674" y="1177"/>
                <a:ext cx="4462" cy="2035"/>
                <a:chOff x="674" y="1177"/>
                <a:chExt cx="4462" cy="2035"/>
              </a:xfrm>
            </p:grpSpPr>
            <p:grpSp>
              <p:nvGrpSpPr>
                <p:cNvPr id="7" name="Group 176"/>
                <p:cNvGrpSpPr>
                  <a:grpSpLocks/>
                </p:cNvGrpSpPr>
                <p:nvPr/>
              </p:nvGrpSpPr>
              <p:grpSpPr bwMode="auto">
                <a:xfrm>
                  <a:off x="2652" y="1189"/>
                  <a:ext cx="2484" cy="2023"/>
                  <a:chOff x="2652" y="1189"/>
                  <a:chExt cx="2484" cy="2023"/>
                </a:xfrm>
              </p:grpSpPr>
              <p:grpSp>
                <p:nvGrpSpPr>
                  <p:cNvPr id="8" name="Group 177"/>
                  <p:cNvGrpSpPr>
                    <a:grpSpLocks/>
                  </p:cNvGrpSpPr>
                  <p:nvPr/>
                </p:nvGrpSpPr>
                <p:grpSpPr bwMode="auto">
                  <a:xfrm>
                    <a:off x="4353" y="2200"/>
                    <a:ext cx="783" cy="1012"/>
                    <a:chOff x="4353" y="2200"/>
                    <a:chExt cx="783" cy="1012"/>
                  </a:xfrm>
                </p:grpSpPr>
                <p:sp>
                  <p:nvSpPr>
                    <p:cNvPr id="139" name="Freeform 178"/>
                    <p:cNvSpPr>
                      <a:spLocks/>
                    </p:cNvSpPr>
                    <p:nvPr/>
                  </p:nvSpPr>
                  <p:spPr bwMode="gray">
                    <a:xfrm>
                      <a:off x="4353" y="3016"/>
                      <a:ext cx="553" cy="196"/>
                    </a:xfrm>
                    <a:custGeom>
                      <a:avLst/>
                      <a:gdLst/>
                      <a:ahLst/>
                      <a:cxnLst>
                        <a:cxn ang="0">
                          <a:pos x="115" y="11"/>
                        </a:cxn>
                        <a:cxn ang="0">
                          <a:pos x="150" y="11"/>
                        </a:cxn>
                        <a:cxn ang="0">
                          <a:pos x="173" y="11"/>
                        </a:cxn>
                        <a:cxn ang="0">
                          <a:pos x="196" y="0"/>
                        </a:cxn>
                        <a:cxn ang="0">
                          <a:pos x="219" y="0"/>
                        </a:cxn>
                        <a:cxn ang="0">
                          <a:pos x="242" y="23"/>
                        </a:cxn>
                        <a:cxn ang="0">
                          <a:pos x="265" y="23"/>
                        </a:cxn>
                        <a:cxn ang="0">
                          <a:pos x="288" y="23"/>
                        </a:cxn>
                        <a:cxn ang="0">
                          <a:pos x="311" y="11"/>
                        </a:cxn>
                        <a:cxn ang="0">
                          <a:pos x="334" y="11"/>
                        </a:cxn>
                        <a:cxn ang="0">
                          <a:pos x="357" y="11"/>
                        </a:cxn>
                        <a:cxn ang="0">
                          <a:pos x="403" y="23"/>
                        </a:cxn>
                        <a:cxn ang="0">
                          <a:pos x="426" y="23"/>
                        </a:cxn>
                        <a:cxn ang="0">
                          <a:pos x="437" y="34"/>
                        </a:cxn>
                        <a:cxn ang="0">
                          <a:pos x="460" y="34"/>
                        </a:cxn>
                        <a:cxn ang="0">
                          <a:pos x="472" y="23"/>
                        </a:cxn>
                        <a:cxn ang="0">
                          <a:pos x="495" y="34"/>
                        </a:cxn>
                        <a:cxn ang="0">
                          <a:pos x="518" y="34"/>
                        </a:cxn>
                        <a:cxn ang="0">
                          <a:pos x="541" y="46"/>
                        </a:cxn>
                        <a:cxn ang="0">
                          <a:pos x="552" y="57"/>
                        </a:cxn>
                        <a:cxn ang="0">
                          <a:pos x="552" y="80"/>
                        </a:cxn>
                        <a:cxn ang="0">
                          <a:pos x="529" y="92"/>
                        </a:cxn>
                        <a:cxn ang="0">
                          <a:pos x="506" y="103"/>
                        </a:cxn>
                        <a:cxn ang="0">
                          <a:pos x="506" y="115"/>
                        </a:cxn>
                        <a:cxn ang="0">
                          <a:pos x="483" y="138"/>
                        </a:cxn>
                        <a:cxn ang="0">
                          <a:pos x="460" y="138"/>
                        </a:cxn>
                        <a:cxn ang="0">
                          <a:pos x="449" y="149"/>
                        </a:cxn>
                        <a:cxn ang="0">
                          <a:pos x="472" y="172"/>
                        </a:cxn>
                        <a:cxn ang="0">
                          <a:pos x="426" y="172"/>
                        </a:cxn>
                        <a:cxn ang="0">
                          <a:pos x="391" y="184"/>
                        </a:cxn>
                        <a:cxn ang="0">
                          <a:pos x="368" y="195"/>
                        </a:cxn>
                        <a:cxn ang="0">
                          <a:pos x="322" y="184"/>
                        </a:cxn>
                        <a:cxn ang="0">
                          <a:pos x="288" y="184"/>
                        </a:cxn>
                        <a:cxn ang="0">
                          <a:pos x="253" y="172"/>
                        </a:cxn>
                        <a:cxn ang="0">
                          <a:pos x="219" y="161"/>
                        </a:cxn>
                        <a:cxn ang="0">
                          <a:pos x="184" y="149"/>
                        </a:cxn>
                        <a:cxn ang="0">
                          <a:pos x="138" y="138"/>
                        </a:cxn>
                        <a:cxn ang="0">
                          <a:pos x="115" y="126"/>
                        </a:cxn>
                        <a:cxn ang="0">
                          <a:pos x="92" y="115"/>
                        </a:cxn>
                        <a:cxn ang="0">
                          <a:pos x="69" y="103"/>
                        </a:cxn>
                        <a:cxn ang="0">
                          <a:pos x="46" y="80"/>
                        </a:cxn>
                        <a:cxn ang="0">
                          <a:pos x="23" y="69"/>
                        </a:cxn>
                        <a:cxn ang="0">
                          <a:pos x="0" y="46"/>
                        </a:cxn>
                        <a:cxn ang="0">
                          <a:pos x="12" y="34"/>
                        </a:cxn>
                        <a:cxn ang="0">
                          <a:pos x="23" y="23"/>
                        </a:cxn>
                        <a:cxn ang="0">
                          <a:pos x="58" y="11"/>
                        </a:cxn>
                      </a:cxnLst>
                      <a:rect l="0" t="0" r="r" b="b"/>
                      <a:pathLst>
                        <a:path w="553" h="196">
                          <a:moveTo>
                            <a:pt x="58" y="11"/>
                          </a:moveTo>
                          <a:lnTo>
                            <a:pt x="115" y="11"/>
                          </a:lnTo>
                          <a:lnTo>
                            <a:pt x="127" y="11"/>
                          </a:lnTo>
                          <a:lnTo>
                            <a:pt x="150" y="11"/>
                          </a:lnTo>
                          <a:lnTo>
                            <a:pt x="161" y="23"/>
                          </a:lnTo>
                          <a:lnTo>
                            <a:pt x="173" y="11"/>
                          </a:lnTo>
                          <a:lnTo>
                            <a:pt x="184" y="11"/>
                          </a:lnTo>
                          <a:lnTo>
                            <a:pt x="196" y="0"/>
                          </a:lnTo>
                          <a:lnTo>
                            <a:pt x="207" y="0"/>
                          </a:lnTo>
                          <a:lnTo>
                            <a:pt x="219" y="0"/>
                          </a:lnTo>
                          <a:lnTo>
                            <a:pt x="242" y="11"/>
                          </a:lnTo>
                          <a:lnTo>
                            <a:pt x="242" y="23"/>
                          </a:lnTo>
                          <a:lnTo>
                            <a:pt x="253" y="23"/>
                          </a:lnTo>
                          <a:lnTo>
                            <a:pt x="265" y="23"/>
                          </a:lnTo>
                          <a:lnTo>
                            <a:pt x="276" y="23"/>
                          </a:lnTo>
                          <a:lnTo>
                            <a:pt x="288" y="23"/>
                          </a:lnTo>
                          <a:lnTo>
                            <a:pt x="299" y="11"/>
                          </a:lnTo>
                          <a:lnTo>
                            <a:pt x="311" y="11"/>
                          </a:lnTo>
                          <a:lnTo>
                            <a:pt x="322" y="11"/>
                          </a:lnTo>
                          <a:lnTo>
                            <a:pt x="334" y="11"/>
                          </a:lnTo>
                          <a:lnTo>
                            <a:pt x="345" y="11"/>
                          </a:lnTo>
                          <a:lnTo>
                            <a:pt x="357" y="11"/>
                          </a:lnTo>
                          <a:lnTo>
                            <a:pt x="380" y="11"/>
                          </a:lnTo>
                          <a:lnTo>
                            <a:pt x="403" y="23"/>
                          </a:lnTo>
                          <a:lnTo>
                            <a:pt x="414" y="23"/>
                          </a:lnTo>
                          <a:lnTo>
                            <a:pt x="426" y="23"/>
                          </a:lnTo>
                          <a:lnTo>
                            <a:pt x="437" y="23"/>
                          </a:lnTo>
                          <a:lnTo>
                            <a:pt x="437" y="34"/>
                          </a:lnTo>
                          <a:lnTo>
                            <a:pt x="449" y="34"/>
                          </a:lnTo>
                          <a:lnTo>
                            <a:pt x="460" y="34"/>
                          </a:lnTo>
                          <a:lnTo>
                            <a:pt x="460" y="23"/>
                          </a:lnTo>
                          <a:lnTo>
                            <a:pt x="472" y="23"/>
                          </a:lnTo>
                          <a:lnTo>
                            <a:pt x="483" y="34"/>
                          </a:lnTo>
                          <a:lnTo>
                            <a:pt x="495" y="34"/>
                          </a:lnTo>
                          <a:lnTo>
                            <a:pt x="506" y="34"/>
                          </a:lnTo>
                          <a:lnTo>
                            <a:pt x="518" y="34"/>
                          </a:lnTo>
                          <a:lnTo>
                            <a:pt x="529" y="46"/>
                          </a:lnTo>
                          <a:lnTo>
                            <a:pt x="541" y="46"/>
                          </a:lnTo>
                          <a:lnTo>
                            <a:pt x="541" y="57"/>
                          </a:lnTo>
                          <a:lnTo>
                            <a:pt x="552" y="57"/>
                          </a:lnTo>
                          <a:lnTo>
                            <a:pt x="552" y="69"/>
                          </a:lnTo>
                          <a:lnTo>
                            <a:pt x="552" y="80"/>
                          </a:lnTo>
                          <a:lnTo>
                            <a:pt x="541" y="80"/>
                          </a:lnTo>
                          <a:lnTo>
                            <a:pt x="529" y="92"/>
                          </a:lnTo>
                          <a:lnTo>
                            <a:pt x="518" y="92"/>
                          </a:lnTo>
                          <a:lnTo>
                            <a:pt x="506" y="103"/>
                          </a:lnTo>
                          <a:lnTo>
                            <a:pt x="495" y="103"/>
                          </a:lnTo>
                          <a:lnTo>
                            <a:pt x="506" y="115"/>
                          </a:lnTo>
                          <a:lnTo>
                            <a:pt x="495" y="126"/>
                          </a:lnTo>
                          <a:lnTo>
                            <a:pt x="483" y="138"/>
                          </a:lnTo>
                          <a:lnTo>
                            <a:pt x="472" y="138"/>
                          </a:lnTo>
                          <a:lnTo>
                            <a:pt x="460" y="138"/>
                          </a:lnTo>
                          <a:lnTo>
                            <a:pt x="460" y="149"/>
                          </a:lnTo>
                          <a:lnTo>
                            <a:pt x="449" y="149"/>
                          </a:lnTo>
                          <a:lnTo>
                            <a:pt x="483" y="161"/>
                          </a:lnTo>
                          <a:lnTo>
                            <a:pt x="472" y="172"/>
                          </a:lnTo>
                          <a:lnTo>
                            <a:pt x="437" y="161"/>
                          </a:lnTo>
                          <a:lnTo>
                            <a:pt x="426" y="172"/>
                          </a:lnTo>
                          <a:lnTo>
                            <a:pt x="403" y="172"/>
                          </a:lnTo>
                          <a:lnTo>
                            <a:pt x="391" y="184"/>
                          </a:lnTo>
                          <a:lnTo>
                            <a:pt x="391" y="195"/>
                          </a:lnTo>
                          <a:lnTo>
                            <a:pt x="368" y="195"/>
                          </a:lnTo>
                          <a:lnTo>
                            <a:pt x="357" y="195"/>
                          </a:lnTo>
                          <a:lnTo>
                            <a:pt x="322" y="184"/>
                          </a:lnTo>
                          <a:lnTo>
                            <a:pt x="311" y="184"/>
                          </a:lnTo>
                          <a:lnTo>
                            <a:pt x="288" y="184"/>
                          </a:lnTo>
                          <a:lnTo>
                            <a:pt x="276" y="172"/>
                          </a:lnTo>
                          <a:lnTo>
                            <a:pt x="253" y="172"/>
                          </a:lnTo>
                          <a:lnTo>
                            <a:pt x="242" y="172"/>
                          </a:lnTo>
                          <a:lnTo>
                            <a:pt x="219" y="161"/>
                          </a:lnTo>
                          <a:lnTo>
                            <a:pt x="207" y="161"/>
                          </a:lnTo>
                          <a:lnTo>
                            <a:pt x="184" y="149"/>
                          </a:lnTo>
                          <a:lnTo>
                            <a:pt x="161" y="138"/>
                          </a:lnTo>
                          <a:lnTo>
                            <a:pt x="138" y="138"/>
                          </a:lnTo>
                          <a:lnTo>
                            <a:pt x="127" y="126"/>
                          </a:lnTo>
                          <a:lnTo>
                            <a:pt x="115" y="126"/>
                          </a:lnTo>
                          <a:lnTo>
                            <a:pt x="104" y="115"/>
                          </a:lnTo>
                          <a:lnTo>
                            <a:pt x="92" y="115"/>
                          </a:lnTo>
                          <a:lnTo>
                            <a:pt x="81" y="103"/>
                          </a:lnTo>
                          <a:lnTo>
                            <a:pt x="69" y="103"/>
                          </a:lnTo>
                          <a:lnTo>
                            <a:pt x="58" y="92"/>
                          </a:lnTo>
                          <a:lnTo>
                            <a:pt x="46" y="80"/>
                          </a:lnTo>
                          <a:lnTo>
                            <a:pt x="35" y="69"/>
                          </a:lnTo>
                          <a:lnTo>
                            <a:pt x="23" y="69"/>
                          </a:lnTo>
                          <a:lnTo>
                            <a:pt x="12" y="57"/>
                          </a:lnTo>
                          <a:lnTo>
                            <a:pt x="0" y="46"/>
                          </a:lnTo>
                          <a:lnTo>
                            <a:pt x="23" y="46"/>
                          </a:lnTo>
                          <a:lnTo>
                            <a:pt x="12" y="34"/>
                          </a:lnTo>
                          <a:lnTo>
                            <a:pt x="35" y="23"/>
                          </a:lnTo>
                          <a:lnTo>
                            <a:pt x="23" y="23"/>
                          </a:lnTo>
                          <a:lnTo>
                            <a:pt x="46" y="11"/>
                          </a:lnTo>
                          <a:lnTo>
                            <a:pt x="58" y="11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grpSp>
                  <p:nvGrpSpPr>
                    <p:cNvPr id="73" name="Group 17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67" y="2602"/>
                      <a:ext cx="369" cy="173"/>
                      <a:chOff x="4767" y="2602"/>
                      <a:chExt cx="369" cy="173"/>
                    </a:xfrm>
                  </p:grpSpPr>
                  <p:sp>
                    <p:nvSpPr>
                      <p:cNvPr id="142" name="Freeform 180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5078" y="2602"/>
                        <a:ext cx="58" cy="104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" y="0"/>
                          </a:cxn>
                          <a:cxn ang="0">
                            <a:pos x="23" y="0"/>
                          </a:cxn>
                          <a:cxn ang="0">
                            <a:pos x="34" y="12"/>
                          </a:cxn>
                          <a:cxn ang="0">
                            <a:pos x="34" y="46"/>
                          </a:cxn>
                          <a:cxn ang="0">
                            <a:pos x="46" y="58"/>
                          </a:cxn>
                          <a:cxn ang="0">
                            <a:pos x="57" y="46"/>
                          </a:cxn>
                          <a:cxn ang="0">
                            <a:pos x="57" y="58"/>
                          </a:cxn>
                          <a:cxn ang="0">
                            <a:pos x="46" y="58"/>
                          </a:cxn>
                          <a:cxn ang="0">
                            <a:pos x="46" y="69"/>
                          </a:cxn>
                          <a:cxn ang="0">
                            <a:pos x="34" y="81"/>
                          </a:cxn>
                          <a:cxn ang="0">
                            <a:pos x="23" y="92"/>
                          </a:cxn>
                          <a:cxn ang="0">
                            <a:pos x="34" y="92"/>
                          </a:cxn>
                          <a:cxn ang="0">
                            <a:pos x="34" y="103"/>
                          </a:cxn>
                          <a:cxn ang="0">
                            <a:pos x="23" y="103"/>
                          </a:cxn>
                          <a:cxn ang="0">
                            <a:pos x="11" y="103"/>
                          </a:cxn>
                          <a:cxn ang="0">
                            <a:pos x="0" y="103"/>
                          </a:cxn>
                          <a:cxn ang="0">
                            <a:pos x="0" y="92"/>
                          </a:cxn>
                          <a:cxn ang="0">
                            <a:pos x="11" y="92"/>
                          </a:cxn>
                          <a:cxn ang="0">
                            <a:pos x="11" y="81"/>
                          </a:cxn>
                          <a:cxn ang="0">
                            <a:pos x="0" y="81"/>
                          </a:cxn>
                          <a:cxn ang="0">
                            <a:pos x="0" y="69"/>
                          </a:cxn>
                          <a:cxn ang="0">
                            <a:pos x="11" y="58"/>
                          </a:cxn>
                          <a:cxn ang="0">
                            <a:pos x="11" y="46"/>
                          </a:cxn>
                          <a:cxn ang="0">
                            <a:pos x="11" y="35"/>
                          </a:cxn>
                          <a:cxn ang="0">
                            <a:pos x="11" y="23"/>
                          </a:cxn>
                          <a:cxn ang="0">
                            <a:pos x="11" y="12"/>
                          </a:cxn>
                          <a:cxn ang="0">
                            <a:pos x="11" y="0"/>
                          </a:cxn>
                        </a:cxnLst>
                        <a:rect l="0" t="0" r="r" b="b"/>
                        <a:pathLst>
                          <a:path w="58" h="104">
                            <a:moveTo>
                              <a:pt x="11" y="0"/>
                            </a:moveTo>
                            <a:lnTo>
                              <a:pt x="23" y="0"/>
                            </a:lnTo>
                            <a:lnTo>
                              <a:pt x="34" y="12"/>
                            </a:lnTo>
                            <a:lnTo>
                              <a:pt x="34" y="46"/>
                            </a:lnTo>
                            <a:lnTo>
                              <a:pt x="46" y="58"/>
                            </a:lnTo>
                            <a:lnTo>
                              <a:pt x="57" y="46"/>
                            </a:lnTo>
                            <a:lnTo>
                              <a:pt x="57" y="58"/>
                            </a:lnTo>
                            <a:lnTo>
                              <a:pt x="46" y="58"/>
                            </a:lnTo>
                            <a:lnTo>
                              <a:pt x="46" y="69"/>
                            </a:lnTo>
                            <a:lnTo>
                              <a:pt x="34" y="81"/>
                            </a:lnTo>
                            <a:lnTo>
                              <a:pt x="23" y="92"/>
                            </a:lnTo>
                            <a:lnTo>
                              <a:pt x="34" y="92"/>
                            </a:lnTo>
                            <a:lnTo>
                              <a:pt x="34" y="103"/>
                            </a:lnTo>
                            <a:lnTo>
                              <a:pt x="23" y="103"/>
                            </a:lnTo>
                            <a:lnTo>
                              <a:pt x="11" y="103"/>
                            </a:lnTo>
                            <a:lnTo>
                              <a:pt x="0" y="103"/>
                            </a:lnTo>
                            <a:lnTo>
                              <a:pt x="0" y="92"/>
                            </a:lnTo>
                            <a:lnTo>
                              <a:pt x="11" y="92"/>
                            </a:lnTo>
                            <a:lnTo>
                              <a:pt x="11" y="81"/>
                            </a:lnTo>
                            <a:lnTo>
                              <a:pt x="0" y="81"/>
                            </a:lnTo>
                            <a:lnTo>
                              <a:pt x="0" y="69"/>
                            </a:lnTo>
                            <a:lnTo>
                              <a:pt x="11" y="58"/>
                            </a:lnTo>
                            <a:lnTo>
                              <a:pt x="11" y="46"/>
                            </a:lnTo>
                            <a:lnTo>
                              <a:pt x="11" y="35"/>
                            </a:lnTo>
                            <a:lnTo>
                              <a:pt x="11" y="23"/>
                            </a:lnTo>
                            <a:lnTo>
                              <a:pt x="11" y="12"/>
                            </a:lnTo>
                            <a:lnTo>
                              <a:pt x="11" y="0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  <p:sp>
                    <p:nvSpPr>
                      <p:cNvPr id="143" name="Freeform 181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963" y="2683"/>
                        <a:ext cx="104" cy="92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80" y="0"/>
                          </a:cxn>
                          <a:cxn ang="0">
                            <a:pos x="92" y="0"/>
                          </a:cxn>
                          <a:cxn ang="0">
                            <a:pos x="103" y="22"/>
                          </a:cxn>
                          <a:cxn ang="0">
                            <a:pos x="92" y="45"/>
                          </a:cxn>
                          <a:cxn ang="0">
                            <a:pos x="92" y="57"/>
                          </a:cxn>
                          <a:cxn ang="0">
                            <a:pos x="80" y="57"/>
                          </a:cxn>
                          <a:cxn ang="0">
                            <a:pos x="69" y="57"/>
                          </a:cxn>
                          <a:cxn ang="0">
                            <a:pos x="57" y="68"/>
                          </a:cxn>
                          <a:cxn ang="0">
                            <a:pos x="46" y="80"/>
                          </a:cxn>
                          <a:cxn ang="0">
                            <a:pos x="34" y="91"/>
                          </a:cxn>
                          <a:cxn ang="0">
                            <a:pos x="34" y="80"/>
                          </a:cxn>
                          <a:cxn ang="0">
                            <a:pos x="23" y="80"/>
                          </a:cxn>
                          <a:cxn ang="0">
                            <a:pos x="11" y="80"/>
                          </a:cxn>
                          <a:cxn ang="0">
                            <a:pos x="0" y="80"/>
                          </a:cxn>
                          <a:cxn ang="0">
                            <a:pos x="11" y="68"/>
                          </a:cxn>
                          <a:cxn ang="0">
                            <a:pos x="23" y="57"/>
                          </a:cxn>
                          <a:cxn ang="0">
                            <a:pos x="34" y="45"/>
                          </a:cxn>
                          <a:cxn ang="0">
                            <a:pos x="46" y="45"/>
                          </a:cxn>
                          <a:cxn ang="0">
                            <a:pos x="57" y="45"/>
                          </a:cxn>
                          <a:cxn ang="0">
                            <a:pos x="57" y="34"/>
                          </a:cxn>
                          <a:cxn ang="0">
                            <a:pos x="57" y="22"/>
                          </a:cxn>
                          <a:cxn ang="0">
                            <a:pos x="69" y="34"/>
                          </a:cxn>
                          <a:cxn ang="0">
                            <a:pos x="80" y="22"/>
                          </a:cxn>
                          <a:cxn ang="0">
                            <a:pos x="80" y="0"/>
                          </a:cxn>
                        </a:cxnLst>
                        <a:rect l="0" t="0" r="r" b="b"/>
                        <a:pathLst>
                          <a:path w="104" h="92">
                            <a:moveTo>
                              <a:pt x="80" y="0"/>
                            </a:moveTo>
                            <a:lnTo>
                              <a:pt x="92" y="0"/>
                            </a:lnTo>
                            <a:lnTo>
                              <a:pt x="103" y="22"/>
                            </a:lnTo>
                            <a:lnTo>
                              <a:pt x="92" y="45"/>
                            </a:lnTo>
                            <a:lnTo>
                              <a:pt x="92" y="57"/>
                            </a:lnTo>
                            <a:lnTo>
                              <a:pt x="80" y="57"/>
                            </a:lnTo>
                            <a:lnTo>
                              <a:pt x="69" y="57"/>
                            </a:lnTo>
                            <a:lnTo>
                              <a:pt x="57" y="68"/>
                            </a:lnTo>
                            <a:lnTo>
                              <a:pt x="46" y="80"/>
                            </a:lnTo>
                            <a:lnTo>
                              <a:pt x="34" y="91"/>
                            </a:lnTo>
                            <a:lnTo>
                              <a:pt x="34" y="80"/>
                            </a:lnTo>
                            <a:lnTo>
                              <a:pt x="23" y="80"/>
                            </a:lnTo>
                            <a:lnTo>
                              <a:pt x="11" y="80"/>
                            </a:lnTo>
                            <a:lnTo>
                              <a:pt x="0" y="80"/>
                            </a:lnTo>
                            <a:lnTo>
                              <a:pt x="11" y="68"/>
                            </a:lnTo>
                            <a:lnTo>
                              <a:pt x="23" y="57"/>
                            </a:lnTo>
                            <a:lnTo>
                              <a:pt x="34" y="45"/>
                            </a:lnTo>
                            <a:lnTo>
                              <a:pt x="46" y="45"/>
                            </a:lnTo>
                            <a:lnTo>
                              <a:pt x="57" y="45"/>
                            </a:lnTo>
                            <a:lnTo>
                              <a:pt x="57" y="34"/>
                            </a:lnTo>
                            <a:lnTo>
                              <a:pt x="57" y="22"/>
                            </a:lnTo>
                            <a:lnTo>
                              <a:pt x="69" y="34"/>
                            </a:lnTo>
                            <a:lnTo>
                              <a:pt x="80" y="22"/>
                            </a:lnTo>
                            <a:lnTo>
                              <a:pt x="80" y="0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  <p:sp>
                    <p:nvSpPr>
                      <p:cNvPr id="144" name="Freeform 182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767" y="2694"/>
                        <a:ext cx="47" cy="4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12" y="0"/>
                          </a:cxn>
                          <a:cxn ang="0">
                            <a:pos x="23" y="0"/>
                          </a:cxn>
                          <a:cxn ang="0">
                            <a:pos x="46" y="0"/>
                          </a:cxn>
                          <a:cxn ang="0">
                            <a:pos x="35" y="11"/>
                          </a:cxn>
                          <a:cxn ang="0">
                            <a:pos x="46" y="23"/>
                          </a:cxn>
                          <a:cxn ang="0">
                            <a:pos x="35" y="23"/>
                          </a:cxn>
                          <a:cxn ang="0">
                            <a:pos x="23" y="23"/>
                          </a:cxn>
                          <a:cxn ang="0">
                            <a:pos x="35" y="46"/>
                          </a:cxn>
                          <a:cxn ang="0">
                            <a:pos x="23" y="46"/>
                          </a:cxn>
                          <a:cxn ang="0">
                            <a:pos x="12" y="34"/>
                          </a:cxn>
                          <a:cxn ang="0">
                            <a:pos x="12" y="23"/>
                          </a:cxn>
                          <a:cxn ang="0">
                            <a:pos x="12" y="11"/>
                          </a:cxn>
                          <a:cxn ang="0">
                            <a:pos x="0" y="11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w="47" h="47">
                            <a:moveTo>
                              <a:pt x="0" y="0"/>
                            </a:moveTo>
                            <a:lnTo>
                              <a:pt x="12" y="0"/>
                            </a:lnTo>
                            <a:lnTo>
                              <a:pt x="23" y="0"/>
                            </a:lnTo>
                            <a:lnTo>
                              <a:pt x="46" y="0"/>
                            </a:lnTo>
                            <a:lnTo>
                              <a:pt x="35" y="11"/>
                            </a:lnTo>
                            <a:lnTo>
                              <a:pt x="46" y="23"/>
                            </a:lnTo>
                            <a:lnTo>
                              <a:pt x="35" y="23"/>
                            </a:lnTo>
                            <a:lnTo>
                              <a:pt x="23" y="23"/>
                            </a:lnTo>
                            <a:lnTo>
                              <a:pt x="35" y="46"/>
                            </a:lnTo>
                            <a:lnTo>
                              <a:pt x="23" y="46"/>
                            </a:lnTo>
                            <a:lnTo>
                              <a:pt x="12" y="34"/>
                            </a:lnTo>
                            <a:lnTo>
                              <a:pt x="12" y="23"/>
                            </a:lnTo>
                            <a:lnTo>
                              <a:pt x="12" y="11"/>
                            </a:lnTo>
                            <a:lnTo>
                              <a:pt x="0" y="11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41" name="Freeform 183"/>
                    <p:cNvSpPr>
                      <a:spLocks/>
                    </p:cNvSpPr>
                    <p:nvPr/>
                  </p:nvSpPr>
                  <p:spPr bwMode="gray">
                    <a:xfrm>
                      <a:off x="4836" y="2200"/>
                      <a:ext cx="70" cy="47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11"/>
                        </a:cxn>
                        <a:cxn ang="0">
                          <a:pos x="0" y="34"/>
                        </a:cxn>
                        <a:cxn ang="0">
                          <a:pos x="12" y="46"/>
                        </a:cxn>
                        <a:cxn ang="0">
                          <a:pos x="23" y="46"/>
                        </a:cxn>
                        <a:cxn ang="0">
                          <a:pos x="46" y="46"/>
                        </a:cxn>
                        <a:cxn ang="0">
                          <a:pos x="46" y="34"/>
                        </a:cxn>
                        <a:cxn ang="0">
                          <a:pos x="58" y="23"/>
                        </a:cxn>
                        <a:cxn ang="0">
                          <a:pos x="69" y="23"/>
                        </a:cxn>
                        <a:cxn ang="0">
                          <a:pos x="69" y="11"/>
                        </a:cxn>
                        <a:cxn ang="0">
                          <a:pos x="69" y="0"/>
                        </a:cxn>
                        <a:cxn ang="0">
                          <a:pos x="46" y="0"/>
                        </a:cxn>
                        <a:cxn ang="0">
                          <a:pos x="46" y="11"/>
                        </a:cxn>
                        <a:cxn ang="0">
                          <a:pos x="58" y="23"/>
                        </a:cxn>
                        <a:cxn ang="0">
                          <a:pos x="46" y="23"/>
                        </a:cxn>
                        <a:cxn ang="0">
                          <a:pos x="35" y="23"/>
                        </a:cxn>
                        <a:cxn ang="0">
                          <a:pos x="12" y="11"/>
                        </a:cxn>
                      </a:cxnLst>
                      <a:rect l="0" t="0" r="r" b="b"/>
                      <a:pathLst>
                        <a:path w="70" h="47">
                          <a:moveTo>
                            <a:pt x="12" y="11"/>
                          </a:moveTo>
                          <a:lnTo>
                            <a:pt x="0" y="34"/>
                          </a:lnTo>
                          <a:lnTo>
                            <a:pt x="12" y="46"/>
                          </a:lnTo>
                          <a:lnTo>
                            <a:pt x="23" y="46"/>
                          </a:lnTo>
                          <a:lnTo>
                            <a:pt x="46" y="46"/>
                          </a:lnTo>
                          <a:lnTo>
                            <a:pt x="46" y="34"/>
                          </a:lnTo>
                          <a:lnTo>
                            <a:pt x="58" y="23"/>
                          </a:lnTo>
                          <a:lnTo>
                            <a:pt x="69" y="23"/>
                          </a:lnTo>
                          <a:lnTo>
                            <a:pt x="69" y="11"/>
                          </a:lnTo>
                          <a:lnTo>
                            <a:pt x="69" y="0"/>
                          </a:lnTo>
                          <a:lnTo>
                            <a:pt x="46" y="0"/>
                          </a:lnTo>
                          <a:lnTo>
                            <a:pt x="46" y="11"/>
                          </a:lnTo>
                          <a:lnTo>
                            <a:pt x="58" y="23"/>
                          </a:lnTo>
                          <a:lnTo>
                            <a:pt x="46" y="23"/>
                          </a:lnTo>
                          <a:lnTo>
                            <a:pt x="35" y="23"/>
                          </a:lnTo>
                          <a:lnTo>
                            <a:pt x="12" y="11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79" name="Group 184"/>
                  <p:cNvGrpSpPr>
                    <a:grpSpLocks/>
                  </p:cNvGrpSpPr>
                  <p:nvPr/>
                </p:nvGrpSpPr>
                <p:grpSpPr bwMode="auto">
                  <a:xfrm>
                    <a:off x="4123" y="1430"/>
                    <a:ext cx="772" cy="1242"/>
                    <a:chOff x="4123" y="1430"/>
                    <a:chExt cx="772" cy="1242"/>
                  </a:xfrm>
                </p:grpSpPr>
                <p:grpSp>
                  <p:nvGrpSpPr>
                    <p:cNvPr id="83" name="Group 185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250" y="1557"/>
                      <a:ext cx="162" cy="380"/>
                      <a:chOff x="4250" y="1557"/>
                      <a:chExt cx="162" cy="380"/>
                    </a:xfrm>
                  </p:grpSpPr>
                  <p:sp>
                    <p:nvSpPr>
                      <p:cNvPr id="136" name="Freeform 186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250" y="1890"/>
                        <a:ext cx="35" cy="4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34"/>
                          </a:cxn>
                          <a:cxn ang="0">
                            <a:pos x="0" y="34"/>
                          </a:cxn>
                          <a:cxn ang="0">
                            <a:pos x="11" y="34"/>
                          </a:cxn>
                          <a:cxn ang="0">
                            <a:pos x="23" y="46"/>
                          </a:cxn>
                          <a:cxn ang="0">
                            <a:pos x="34" y="46"/>
                          </a:cxn>
                          <a:cxn ang="0">
                            <a:pos x="34" y="23"/>
                          </a:cxn>
                          <a:cxn ang="0">
                            <a:pos x="23" y="11"/>
                          </a:cxn>
                          <a:cxn ang="0">
                            <a:pos x="11" y="0"/>
                          </a:cxn>
                          <a:cxn ang="0">
                            <a:pos x="0" y="0"/>
                          </a:cxn>
                          <a:cxn ang="0">
                            <a:pos x="0" y="11"/>
                          </a:cxn>
                          <a:cxn ang="0">
                            <a:pos x="0" y="34"/>
                          </a:cxn>
                        </a:cxnLst>
                        <a:rect l="0" t="0" r="r" b="b"/>
                        <a:pathLst>
                          <a:path w="35" h="47">
                            <a:moveTo>
                              <a:pt x="0" y="34"/>
                            </a:moveTo>
                            <a:lnTo>
                              <a:pt x="0" y="34"/>
                            </a:lnTo>
                            <a:lnTo>
                              <a:pt x="11" y="34"/>
                            </a:lnTo>
                            <a:lnTo>
                              <a:pt x="23" y="46"/>
                            </a:lnTo>
                            <a:lnTo>
                              <a:pt x="34" y="46"/>
                            </a:lnTo>
                            <a:lnTo>
                              <a:pt x="34" y="23"/>
                            </a:lnTo>
                            <a:lnTo>
                              <a:pt x="23" y="11"/>
                            </a:lnTo>
                            <a:lnTo>
                              <a:pt x="11" y="0"/>
                            </a:lnTo>
                            <a:lnTo>
                              <a:pt x="0" y="0"/>
                            </a:lnTo>
                            <a:lnTo>
                              <a:pt x="0" y="11"/>
                            </a:lnTo>
                            <a:lnTo>
                              <a:pt x="0" y="34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  <p:sp>
                    <p:nvSpPr>
                      <p:cNvPr id="137" name="Freeform 187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353" y="1832"/>
                        <a:ext cx="36" cy="4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2" y="0"/>
                          </a:cxn>
                          <a:cxn ang="0">
                            <a:pos x="23" y="0"/>
                          </a:cxn>
                          <a:cxn ang="0">
                            <a:pos x="35" y="12"/>
                          </a:cxn>
                          <a:cxn ang="0">
                            <a:pos x="35" y="23"/>
                          </a:cxn>
                          <a:cxn ang="0">
                            <a:pos x="35" y="35"/>
                          </a:cxn>
                          <a:cxn ang="0">
                            <a:pos x="35" y="46"/>
                          </a:cxn>
                          <a:cxn ang="0">
                            <a:pos x="23" y="46"/>
                          </a:cxn>
                          <a:cxn ang="0">
                            <a:pos x="12" y="46"/>
                          </a:cxn>
                          <a:cxn ang="0">
                            <a:pos x="12" y="35"/>
                          </a:cxn>
                          <a:cxn ang="0">
                            <a:pos x="0" y="35"/>
                          </a:cxn>
                          <a:cxn ang="0">
                            <a:pos x="0" y="23"/>
                          </a:cxn>
                          <a:cxn ang="0">
                            <a:pos x="0" y="12"/>
                          </a:cxn>
                          <a:cxn ang="0">
                            <a:pos x="12" y="0"/>
                          </a:cxn>
                        </a:cxnLst>
                        <a:rect l="0" t="0" r="r" b="b"/>
                        <a:pathLst>
                          <a:path w="36" h="47">
                            <a:moveTo>
                              <a:pt x="12" y="0"/>
                            </a:moveTo>
                            <a:lnTo>
                              <a:pt x="23" y="0"/>
                            </a:lnTo>
                            <a:lnTo>
                              <a:pt x="35" y="12"/>
                            </a:lnTo>
                            <a:lnTo>
                              <a:pt x="35" y="23"/>
                            </a:lnTo>
                            <a:lnTo>
                              <a:pt x="35" y="35"/>
                            </a:lnTo>
                            <a:lnTo>
                              <a:pt x="35" y="46"/>
                            </a:lnTo>
                            <a:lnTo>
                              <a:pt x="23" y="46"/>
                            </a:lnTo>
                            <a:lnTo>
                              <a:pt x="12" y="46"/>
                            </a:lnTo>
                            <a:lnTo>
                              <a:pt x="12" y="35"/>
                            </a:lnTo>
                            <a:lnTo>
                              <a:pt x="0" y="35"/>
                            </a:lnTo>
                            <a:lnTo>
                              <a:pt x="0" y="23"/>
                            </a:lnTo>
                            <a:lnTo>
                              <a:pt x="0" y="12"/>
                            </a:lnTo>
                            <a:lnTo>
                              <a:pt x="12" y="0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  <p:sp>
                    <p:nvSpPr>
                      <p:cNvPr id="138" name="Freeform 188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342" y="1557"/>
                        <a:ext cx="70" cy="4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" y="0"/>
                          </a:cxn>
                          <a:cxn ang="0">
                            <a:pos x="23" y="11"/>
                          </a:cxn>
                          <a:cxn ang="0">
                            <a:pos x="34" y="11"/>
                          </a:cxn>
                          <a:cxn ang="0">
                            <a:pos x="46" y="11"/>
                          </a:cxn>
                          <a:cxn ang="0">
                            <a:pos x="57" y="11"/>
                          </a:cxn>
                          <a:cxn ang="0">
                            <a:pos x="69" y="23"/>
                          </a:cxn>
                          <a:cxn ang="0">
                            <a:pos x="69" y="34"/>
                          </a:cxn>
                          <a:cxn ang="0">
                            <a:pos x="57" y="34"/>
                          </a:cxn>
                          <a:cxn ang="0">
                            <a:pos x="57" y="46"/>
                          </a:cxn>
                          <a:cxn ang="0">
                            <a:pos x="46" y="46"/>
                          </a:cxn>
                          <a:cxn ang="0">
                            <a:pos x="34" y="34"/>
                          </a:cxn>
                          <a:cxn ang="0">
                            <a:pos x="23" y="34"/>
                          </a:cxn>
                          <a:cxn ang="0">
                            <a:pos x="23" y="46"/>
                          </a:cxn>
                          <a:cxn ang="0">
                            <a:pos x="11" y="46"/>
                          </a:cxn>
                          <a:cxn ang="0">
                            <a:pos x="11" y="34"/>
                          </a:cxn>
                          <a:cxn ang="0">
                            <a:pos x="0" y="34"/>
                          </a:cxn>
                          <a:cxn ang="0">
                            <a:pos x="11" y="23"/>
                          </a:cxn>
                          <a:cxn ang="0">
                            <a:pos x="11" y="0"/>
                          </a:cxn>
                        </a:cxnLst>
                        <a:rect l="0" t="0" r="r" b="b"/>
                        <a:pathLst>
                          <a:path w="70" h="47">
                            <a:moveTo>
                              <a:pt x="11" y="0"/>
                            </a:moveTo>
                            <a:lnTo>
                              <a:pt x="23" y="11"/>
                            </a:lnTo>
                            <a:lnTo>
                              <a:pt x="34" y="11"/>
                            </a:lnTo>
                            <a:lnTo>
                              <a:pt x="46" y="11"/>
                            </a:lnTo>
                            <a:lnTo>
                              <a:pt x="57" y="11"/>
                            </a:lnTo>
                            <a:lnTo>
                              <a:pt x="69" y="23"/>
                            </a:lnTo>
                            <a:lnTo>
                              <a:pt x="69" y="34"/>
                            </a:lnTo>
                            <a:lnTo>
                              <a:pt x="57" y="34"/>
                            </a:lnTo>
                            <a:lnTo>
                              <a:pt x="57" y="46"/>
                            </a:lnTo>
                            <a:lnTo>
                              <a:pt x="46" y="46"/>
                            </a:lnTo>
                            <a:lnTo>
                              <a:pt x="34" y="34"/>
                            </a:lnTo>
                            <a:lnTo>
                              <a:pt x="23" y="34"/>
                            </a:lnTo>
                            <a:lnTo>
                              <a:pt x="23" y="46"/>
                            </a:lnTo>
                            <a:lnTo>
                              <a:pt x="11" y="46"/>
                            </a:lnTo>
                            <a:lnTo>
                              <a:pt x="11" y="34"/>
                            </a:lnTo>
                            <a:lnTo>
                              <a:pt x="0" y="34"/>
                            </a:lnTo>
                            <a:lnTo>
                              <a:pt x="11" y="23"/>
                            </a:lnTo>
                            <a:lnTo>
                              <a:pt x="11" y="0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27" name="Freeform 189"/>
                    <p:cNvSpPr>
                      <a:spLocks/>
                    </p:cNvSpPr>
                    <p:nvPr/>
                  </p:nvSpPr>
                  <p:spPr bwMode="gray">
                    <a:xfrm>
                      <a:off x="4411" y="2315"/>
                      <a:ext cx="484" cy="357"/>
                    </a:xfrm>
                    <a:custGeom>
                      <a:avLst/>
                      <a:gdLst/>
                      <a:ahLst/>
                      <a:cxnLst>
                        <a:cxn ang="0">
                          <a:pos x="368" y="0"/>
                        </a:cxn>
                        <a:cxn ang="0">
                          <a:pos x="379" y="34"/>
                        </a:cxn>
                        <a:cxn ang="0">
                          <a:pos x="391" y="46"/>
                        </a:cxn>
                        <a:cxn ang="0">
                          <a:pos x="402" y="92"/>
                        </a:cxn>
                        <a:cxn ang="0">
                          <a:pos x="425" y="126"/>
                        </a:cxn>
                        <a:cxn ang="0">
                          <a:pos x="471" y="172"/>
                        </a:cxn>
                        <a:cxn ang="0">
                          <a:pos x="471" y="230"/>
                        </a:cxn>
                        <a:cxn ang="0">
                          <a:pos x="460" y="253"/>
                        </a:cxn>
                        <a:cxn ang="0">
                          <a:pos x="448" y="276"/>
                        </a:cxn>
                        <a:cxn ang="0">
                          <a:pos x="437" y="299"/>
                        </a:cxn>
                        <a:cxn ang="0">
                          <a:pos x="414" y="333"/>
                        </a:cxn>
                        <a:cxn ang="0">
                          <a:pos x="402" y="345"/>
                        </a:cxn>
                        <a:cxn ang="0">
                          <a:pos x="379" y="356"/>
                        </a:cxn>
                        <a:cxn ang="0">
                          <a:pos x="356" y="345"/>
                        </a:cxn>
                        <a:cxn ang="0">
                          <a:pos x="322" y="333"/>
                        </a:cxn>
                        <a:cxn ang="0">
                          <a:pos x="299" y="310"/>
                        </a:cxn>
                        <a:cxn ang="0">
                          <a:pos x="299" y="287"/>
                        </a:cxn>
                        <a:cxn ang="0">
                          <a:pos x="287" y="276"/>
                        </a:cxn>
                        <a:cxn ang="0">
                          <a:pos x="264" y="276"/>
                        </a:cxn>
                        <a:cxn ang="0">
                          <a:pos x="241" y="264"/>
                        </a:cxn>
                        <a:cxn ang="0">
                          <a:pos x="230" y="253"/>
                        </a:cxn>
                        <a:cxn ang="0">
                          <a:pos x="207" y="264"/>
                        </a:cxn>
                        <a:cxn ang="0">
                          <a:pos x="195" y="253"/>
                        </a:cxn>
                        <a:cxn ang="0">
                          <a:pos x="184" y="264"/>
                        </a:cxn>
                        <a:cxn ang="0">
                          <a:pos x="161" y="276"/>
                        </a:cxn>
                        <a:cxn ang="0">
                          <a:pos x="149" y="287"/>
                        </a:cxn>
                        <a:cxn ang="0">
                          <a:pos x="126" y="287"/>
                        </a:cxn>
                        <a:cxn ang="0">
                          <a:pos x="103" y="299"/>
                        </a:cxn>
                        <a:cxn ang="0">
                          <a:pos x="80" y="310"/>
                        </a:cxn>
                        <a:cxn ang="0">
                          <a:pos x="46" y="299"/>
                        </a:cxn>
                        <a:cxn ang="0">
                          <a:pos x="46" y="276"/>
                        </a:cxn>
                        <a:cxn ang="0">
                          <a:pos x="46" y="253"/>
                        </a:cxn>
                        <a:cxn ang="0">
                          <a:pos x="34" y="230"/>
                        </a:cxn>
                        <a:cxn ang="0">
                          <a:pos x="23" y="218"/>
                        </a:cxn>
                        <a:cxn ang="0">
                          <a:pos x="0" y="184"/>
                        </a:cxn>
                        <a:cxn ang="0">
                          <a:pos x="0" y="149"/>
                        </a:cxn>
                        <a:cxn ang="0">
                          <a:pos x="0" y="126"/>
                        </a:cxn>
                        <a:cxn ang="0">
                          <a:pos x="34" y="103"/>
                        </a:cxn>
                        <a:cxn ang="0">
                          <a:pos x="57" y="115"/>
                        </a:cxn>
                        <a:cxn ang="0">
                          <a:pos x="69" y="103"/>
                        </a:cxn>
                        <a:cxn ang="0">
                          <a:pos x="69" y="103"/>
                        </a:cxn>
                        <a:cxn ang="0">
                          <a:pos x="80" y="80"/>
                        </a:cxn>
                        <a:cxn ang="0">
                          <a:pos x="92" y="69"/>
                        </a:cxn>
                        <a:cxn ang="0">
                          <a:pos x="115" y="46"/>
                        </a:cxn>
                        <a:cxn ang="0">
                          <a:pos x="138" y="34"/>
                        </a:cxn>
                        <a:cxn ang="0">
                          <a:pos x="149" y="23"/>
                        </a:cxn>
                        <a:cxn ang="0">
                          <a:pos x="172" y="46"/>
                        </a:cxn>
                        <a:cxn ang="0">
                          <a:pos x="184" y="23"/>
                        </a:cxn>
                        <a:cxn ang="0">
                          <a:pos x="207" y="11"/>
                        </a:cxn>
                        <a:cxn ang="0">
                          <a:pos x="218" y="0"/>
                        </a:cxn>
                        <a:cxn ang="0">
                          <a:pos x="241" y="0"/>
                        </a:cxn>
                        <a:cxn ang="0">
                          <a:pos x="264" y="11"/>
                        </a:cxn>
                        <a:cxn ang="0">
                          <a:pos x="264" y="34"/>
                        </a:cxn>
                        <a:cxn ang="0">
                          <a:pos x="299" y="57"/>
                        </a:cxn>
                        <a:cxn ang="0">
                          <a:pos x="310" y="69"/>
                        </a:cxn>
                        <a:cxn ang="0">
                          <a:pos x="333" y="57"/>
                        </a:cxn>
                        <a:cxn ang="0">
                          <a:pos x="345" y="23"/>
                        </a:cxn>
                        <a:cxn ang="0">
                          <a:pos x="345" y="0"/>
                        </a:cxn>
                      </a:cxnLst>
                      <a:rect l="0" t="0" r="r" b="b"/>
                      <a:pathLst>
                        <a:path w="484" h="357">
                          <a:moveTo>
                            <a:pt x="345" y="0"/>
                          </a:moveTo>
                          <a:lnTo>
                            <a:pt x="368" y="0"/>
                          </a:lnTo>
                          <a:lnTo>
                            <a:pt x="368" y="23"/>
                          </a:lnTo>
                          <a:lnTo>
                            <a:pt x="379" y="34"/>
                          </a:lnTo>
                          <a:lnTo>
                            <a:pt x="391" y="34"/>
                          </a:lnTo>
                          <a:lnTo>
                            <a:pt x="391" y="46"/>
                          </a:lnTo>
                          <a:lnTo>
                            <a:pt x="391" y="69"/>
                          </a:lnTo>
                          <a:lnTo>
                            <a:pt x="402" y="92"/>
                          </a:lnTo>
                          <a:lnTo>
                            <a:pt x="425" y="115"/>
                          </a:lnTo>
                          <a:lnTo>
                            <a:pt x="425" y="126"/>
                          </a:lnTo>
                          <a:lnTo>
                            <a:pt x="448" y="149"/>
                          </a:lnTo>
                          <a:lnTo>
                            <a:pt x="471" y="172"/>
                          </a:lnTo>
                          <a:lnTo>
                            <a:pt x="483" y="195"/>
                          </a:lnTo>
                          <a:lnTo>
                            <a:pt x="471" y="230"/>
                          </a:lnTo>
                          <a:lnTo>
                            <a:pt x="471" y="241"/>
                          </a:lnTo>
                          <a:lnTo>
                            <a:pt x="460" y="253"/>
                          </a:lnTo>
                          <a:lnTo>
                            <a:pt x="460" y="264"/>
                          </a:lnTo>
                          <a:lnTo>
                            <a:pt x="448" y="276"/>
                          </a:lnTo>
                          <a:lnTo>
                            <a:pt x="437" y="287"/>
                          </a:lnTo>
                          <a:lnTo>
                            <a:pt x="437" y="299"/>
                          </a:lnTo>
                          <a:lnTo>
                            <a:pt x="425" y="322"/>
                          </a:lnTo>
                          <a:lnTo>
                            <a:pt x="414" y="333"/>
                          </a:lnTo>
                          <a:lnTo>
                            <a:pt x="414" y="345"/>
                          </a:lnTo>
                          <a:lnTo>
                            <a:pt x="402" y="345"/>
                          </a:lnTo>
                          <a:lnTo>
                            <a:pt x="391" y="345"/>
                          </a:lnTo>
                          <a:lnTo>
                            <a:pt x="379" y="356"/>
                          </a:lnTo>
                          <a:lnTo>
                            <a:pt x="368" y="345"/>
                          </a:lnTo>
                          <a:lnTo>
                            <a:pt x="356" y="345"/>
                          </a:lnTo>
                          <a:lnTo>
                            <a:pt x="333" y="345"/>
                          </a:lnTo>
                          <a:lnTo>
                            <a:pt x="322" y="333"/>
                          </a:lnTo>
                          <a:lnTo>
                            <a:pt x="310" y="322"/>
                          </a:lnTo>
                          <a:lnTo>
                            <a:pt x="299" y="310"/>
                          </a:lnTo>
                          <a:lnTo>
                            <a:pt x="299" y="299"/>
                          </a:lnTo>
                          <a:lnTo>
                            <a:pt x="299" y="287"/>
                          </a:lnTo>
                          <a:lnTo>
                            <a:pt x="299" y="276"/>
                          </a:lnTo>
                          <a:lnTo>
                            <a:pt x="287" y="276"/>
                          </a:lnTo>
                          <a:lnTo>
                            <a:pt x="276" y="276"/>
                          </a:lnTo>
                          <a:lnTo>
                            <a:pt x="264" y="276"/>
                          </a:lnTo>
                          <a:lnTo>
                            <a:pt x="253" y="276"/>
                          </a:lnTo>
                          <a:lnTo>
                            <a:pt x="241" y="264"/>
                          </a:lnTo>
                          <a:lnTo>
                            <a:pt x="230" y="264"/>
                          </a:lnTo>
                          <a:lnTo>
                            <a:pt x="230" y="253"/>
                          </a:lnTo>
                          <a:lnTo>
                            <a:pt x="218" y="264"/>
                          </a:lnTo>
                          <a:lnTo>
                            <a:pt x="207" y="264"/>
                          </a:lnTo>
                          <a:lnTo>
                            <a:pt x="195" y="264"/>
                          </a:lnTo>
                          <a:lnTo>
                            <a:pt x="195" y="253"/>
                          </a:lnTo>
                          <a:lnTo>
                            <a:pt x="195" y="264"/>
                          </a:lnTo>
                          <a:lnTo>
                            <a:pt x="184" y="264"/>
                          </a:lnTo>
                          <a:lnTo>
                            <a:pt x="172" y="264"/>
                          </a:lnTo>
                          <a:lnTo>
                            <a:pt x="161" y="276"/>
                          </a:lnTo>
                          <a:lnTo>
                            <a:pt x="149" y="276"/>
                          </a:lnTo>
                          <a:lnTo>
                            <a:pt x="149" y="287"/>
                          </a:lnTo>
                          <a:lnTo>
                            <a:pt x="138" y="287"/>
                          </a:lnTo>
                          <a:lnTo>
                            <a:pt x="126" y="287"/>
                          </a:lnTo>
                          <a:lnTo>
                            <a:pt x="115" y="287"/>
                          </a:lnTo>
                          <a:lnTo>
                            <a:pt x="103" y="299"/>
                          </a:lnTo>
                          <a:lnTo>
                            <a:pt x="92" y="299"/>
                          </a:lnTo>
                          <a:lnTo>
                            <a:pt x="80" y="310"/>
                          </a:lnTo>
                          <a:lnTo>
                            <a:pt x="57" y="310"/>
                          </a:lnTo>
                          <a:lnTo>
                            <a:pt x="46" y="299"/>
                          </a:lnTo>
                          <a:lnTo>
                            <a:pt x="46" y="287"/>
                          </a:lnTo>
                          <a:lnTo>
                            <a:pt x="46" y="276"/>
                          </a:lnTo>
                          <a:lnTo>
                            <a:pt x="46" y="264"/>
                          </a:lnTo>
                          <a:lnTo>
                            <a:pt x="46" y="253"/>
                          </a:lnTo>
                          <a:lnTo>
                            <a:pt x="34" y="241"/>
                          </a:lnTo>
                          <a:lnTo>
                            <a:pt x="34" y="230"/>
                          </a:lnTo>
                          <a:lnTo>
                            <a:pt x="23" y="230"/>
                          </a:lnTo>
                          <a:lnTo>
                            <a:pt x="23" y="218"/>
                          </a:lnTo>
                          <a:lnTo>
                            <a:pt x="11" y="207"/>
                          </a:lnTo>
                          <a:lnTo>
                            <a:pt x="0" y="184"/>
                          </a:lnTo>
                          <a:lnTo>
                            <a:pt x="0" y="161"/>
                          </a:lnTo>
                          <a:lnTo>
                            <a:pt x="0" y="149"/>
                          </a:lnTo>
                          <a:lnTo>
                            <a:pt x="0" y="138"/>
                          </a:lnTo>
                          <a:lnTo>
                            <a:pt x="0" y="126"/>
                          </a:lnTo>
                          <a:lnTo>
                            <a:pt x="11" y="103"/>
                          </a:lnTo>
                          <a:lnTo>
                            <a:pt x="34" y="103"/>
                          </a:lnTo>
                          <a:lnTo>
                            <a:pt x="34" y="115"/>
                          </a:lnTo>
                          <a:lnTo>
                            <a:pt x="57" y="115"/>
                          </a:lnTo>
                          <a:lnTo>
                            <a:pt x="57" y="103"/>
                          </a:lnTo>
                          <a:lnTo>
                            <a:pt x="69" y="103"/>
                          </a:lnTo>
                          <a:lnTo>
                            <a:pt x="80" y="103"/>
                          </a:lnTo>
                          <a:lnTo>
                            <a:pt x="69" y="103"/>
                          </a:lnTo>
                          <a:lnTo>
                            <a:pt x="80" y="92"/>
                          </a:lnTo>
                          <a:lnTo>
                            <a:pt x="80" y="80"/>
                          </a:lnTo>
                          <a:lnTo>
                            <a:pt x="80" y="69"/>
                          </a:lnTo>
                          <a:lnTo>
                            <a:pt x="92" y="69"/>
                          </a:lnTo>
                          <a:lnTo>
                            <a:pt x="103" y="69"/>
                          </a:lnTo>
                          <a:lnTo>
                            <a:pt x="115" y="46"/>
                          </a:lnTo>
                          <a:lnTo>
                            <a:pt x="126" y="34"/>
                          </a:lnTo>
                          <a:lnTo>
                            <a:pt x="138" y="34"/>
                          </a:lnTo>
                          <a:lnTo>
                            <a:pt x="138" y="23"/>
                          </a:lnTo>
                          <a:lnTo>
                            <a:pt x="149" y="23"/>
                          </a:lnTo>
                          <a:lnTo>
                            <a:pt x="161" y="46"/>
                          </a:lnTo>
                          <a:lnTo>
                            <a:pt x="172" y="46"/>
                          </a:lnTo>
                          <a:lnTo>
                            <a:pt x="172" y="34"/>
                          </a:lnTo>
                          <a:lnTo>
                            <a:pt x="184" y="23"/>
                          </a:lnTo>
                          <a:lnTo>
                            <a:pt x="195" y="11"/>
                          </a:lnTo>
                          <a:lnTo>
                            <a:pt x="207" y="11"/>
                          </a:lnTo>
                          <a:lnTo>
                            <a:pt x="207" y="0"/>
                          </a:lnTo>
                          <a:lnTo>
                            <a:pt x="218" y="0"/>
                          </a:lnTo>
                          <a:lnTo>
                            <a:pt x="230" y="0"/>
                          </a:lnTo>
                          <a:lnTo>
                            <a:pt x="241" y="0"/>
                          </a:lnTo>
                          <a:lnTo>
                            <a:pt x="253" y="0"/>
                          </a:lnTo>
                          <a:lnTo>
                            <a:pt x="264" y="11"/>
                          </a:lnTo>
                          <a:lnTo>
                            <a:pt x="264" y="23"/>
                          </a:lnTo>
                          <a:lnTo>
                            <a:pt x="264" y="34"/>
                          </a:lnTo>
                          <a:lnTo>
                            <a:pt x="287" y="57"/>
                          </a:lnTo>
                          <a:lnTo>
                            <a:pt x="299" y="57"/>
                          </a:lnTo>
                          <a:lnTo>
                            <a:pt x="299" y="69"/>
                          </a:lnTo>
                          <a:lnTo>
                            <a:pt x="310" y="69"/>
                          </a:lnTo>
                          <a:lnTo>
                            <a:pt x="322" y="69"/>
                          </a:lnTo>
                          <a:lnTo>
                            <a:pt x="333" y="57"/>
                          </a:lnTo>
                          <a:lnTo>
                            <a:pt x="333" y="46"/>
                          </a:lnTo>
                          <a:lnTo>
                            <a:pt x="345" y="23"/>
                          </a:lnTo>
                          <a:lnTo>
                            <a:pt x="345" y="11"/>
                          </a:lnTo>
                          <a:lnTo>
                            <a:pt x="345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28" name="Freeform 190"/>
                    <p:cNvSpPr>
                      <a:spLocks/>
                    </p:cNvSpPr>
                    <p:nvPr/>
                  </p:nvSpPr>
                  <p:spPr bwMode="gray">
                    <a:xfrm>
                      <a:off x="4296" y="2234"/>
                      <a:ext cx="265" cy="47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1" y="12"/>
                        </a:cxn>
                        <a:cxn ang="0">
                          <a:pos x="34" y="12"/>
                        </a:cxn>
                        <a:cxn ang="0">
                          <a:pos x="46" y="12"/>
                        </a:cxn>
                        <a:cxn ang="0">
                          <a:pos x="57" y="12"/>
                        </a:cxn>
                        <a:cxn ang="0">
                          <a:pos x="69" y="12"/>
                        </a:cxn>
                        <a:cxn ang="0">
                          <a:pos x="80" y="12"/>
                        </a:cxn>
                        <a:cxn ang="0">
                          <a:pos x="92" y="23"/>
                        </a:cxn>
                        <a:cxn ang="0">
                          <a:pos x="103" y="23"/>
                        </a:cxn>
                        <a:cxn ang="0">
                          <a:pos x="115" y="23"/>
                        </a:cxn>
                        <a:cxn ang="0">
                          <a:pos x="126" y="35"/>
                        </a:cxn>
                        <a:cxn ang="0">
                          <a:pos x="138" y="35"/>
                        </a:cxn>
                        <a:cxn ang="0">
                          <a:pos x="138" y="23"/>
                        </a:cxn>
                        <a:cxn ang="0">
                          <a:pos x="149" y="23"/>
                        </a:cxn>
                        <a:cxn ang="0">
                          <a:pos x="161" y="23"/>
                        </a:cxn>
                        <a:cxn ang="0">
                          <a:pos x="184" y="23"/>
                        </a:cxn>
                        <a:cxn ang="0">
                          <a:pos x="195" y="23"/>
                        </a:cxn>
                        <a:cxn ang="0">
                          <a:pos x="207" y="35"/>
                        </a:cxn>
                        <a:cxn ang="0">
                          <a:pos x="218" y="35"/>
                        </a:cxn>
                        <a:cxn ang="0">
                          <a:pos x="230" y="35"/>
                        </a:cxn>
                        <a:cxn ang="0">
                          <a:pos x="230" y="23"/>
                        </a:cxn>
                        <a:cxn ang="0">
                          <a:pos x="241" y="23"/>
                        </a:cxn>
                        <a:cxn ang="0">
                          <a:pos x="253" y="23"/>
                        </a:cxn>
                        <a:cxn ang="0">
                          <a:pos x="264" y="23"/>
                        </a:cxn>
                        <a:cxn ang="0">
                          <a:pos x="264" y="35"/>
                        </a:cxn>
                        <a:cxn ang="0">
                          <a:pos x="253" y="35"/>
                        </a:cxn>
                        <a:cxn ang="0">
                          <a:pos x="241" y="35"/>
                        </a:cxn>
                        <a:cxn ang="0">
                          <a:pos x="241" y="46"/>
                        </a:cxn>
                        <a:cxn ang="0">
                          <a:pos x="230" y="46"/>
                        </a:cxn>
                        <a:cxn ang="0">
                          <a:pos x="218" y="46"/>
                        </a:cxn>
                        <a:cxn ang="0">
                          <a:pos x="207" y="46"/>
                        </a:cxn>
                        <a:cxn ang="0">
                          <a:pos x="195" y="46"/>
                        </a:cxn>
                        <a:cxn ang="0">
                          <a:pos x="184" y="46"/>
                        </a:cxn>
                        <a:cxn ang="0">
                          <a:pos x="184" y="35"/>
                        </a:cxn>
                        <a:cxn ang="0">
                          <a:pos x="172" y="46"/>
                        </a:cxn>
                        <a:cxn ang="0">
                          <a:pos x="161" y="46"/>
                        </a:cxn>
                        <a:cxn ang="0">
                          <a:pos x="149" y="35"/>
                        </a:cxn>
                        <a:cxn ang="0">
                          <a:pos x="149" y="46"/>
                        </a:cxn>
                        <a:cxn ang="0">
                          <a:pos x="138" y="46"/>
                        </a:cxn>
                        <a:cxn ang="0">
                          <a:pos x="126" y="46"/>
                        </a:cxn>
                        <a:cxn ang="0">
                          <a:pos x="115" y="46"/>
                        </a:cxn>
                        <a:cxn ang="0">
                          <a:pos x="115" y="35"/>
                        </a:cxn>
                        <a:cxn ang="0">
                          <a:pos x="103" y="46"/>
                        </a:cxn>
                        <a:cxn ang="0">
                          <a:pos x="92" y="46"/>
                        </a:cxn>
                        <a:cxn ang="0">
                          <a:pos x="80" y="46"/>
                        </a:cxn>
                        <a:cxn ang="0">
                          <a:pos x="69" y="35"/>
                        </a:cxn>
                        <a:cxn ang="0">
                          <a:pos x="57" y="35"/>
                        </a:cxn>
                        <a:cxn ang="0">
                          <a:pos x="46" y="35"/>
                        </a:cxn>
                        <a:cxn ang="0">
                          <a:pos x="34" y="35"/>
                        </a:cxn>
                        <a:cxn ang="0">
                          <a:pos x="23" y="35"/>
                        </a:cxn>
                        <a:cxn ang="0">
                          <a:pos x="11" y="23"/>
                        </a:cxn>
                        <a:cxn ang="0">
                          <a:pos x="0" y="23"/>
                        </a:cxn>
                        <a:cxn ang="0">
                          <a:pos x="0" y="12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65" h="47">
                          <a:moveTo>
                            <a:pt x="0" y="0"/>
                          </a:moveTo>
                          <a:lnTo>
                            <a:pt x="11" y="12"/>
                          </a:lnTo>
                          <a:lnTo>
                            <a:pt x="34" y="12"/>
                          </a:lnTo>
                          <a:lnTo>
                            <a:pt x="46" y="12"/>
                          </a:lnTo>
                          <a:lnTo>
                            <a:pt x="57" y="12"/>
                          </a:lnTo>
                          <a:lnTo>
                            <a:pt x="69" y="12"/>
                          </a:lnTo>
                          <a:lnTo>
                            <a:pt x="80" y="12"/>
                          </a:lnTo>
                          <a:lnTo>
                            <a:pt x="92" y="23"/>
                          </a:lnTo>
                          <a:lnTo>
                            <a:pt x="103" y="23"/>
                          </a:lnTo>
                          <a:lnTo>
                            <a:pt x="115" y="23"/>
                          </a:lnTo>
                          <a:lnTo>
                            <a:pt x="126" y="35"/>
                          </a:lnTo>
                          <a:lnTo>
                            <a:pt x="138" y="35"/>
                          </a:lnTo>
                          <a:lnTo>
                            <a:pt x="138" y="23"/>
                          </a:lnTo>
                          <a:lnTo>
                            <a:pt x="149" y="23"/>
                          </a:lnTo>
                          <a:lnTo>
                            <a:pt x="161" y="23"/>
                          </a:lnTo>
                          <a:lnTo>
                            <a:pt x="184" y="23"/>
                          </a:lnTo>
                          <a:lnTo>
                            <a:pt x="195" y="23"/>
                          </a:lnTo>
                          <a:lnTo>
                            <a:pt x="207" y="35"/>
                          </a:lnTo>
                          <a:lnTo>
                            <a:pt x="218" y="35"/>
                          </a:lnTo>
                          <a:lnTo>
                            <a:pt x="230" y="35"/>
                          </a:lnTo>
                          <a:lnTo>
                            <a:pt x="230" y="23"/>
                          </a:lnTo>
                          <a:lnTo>
                            <a:pt x="241" y="23"/>
                          </a:lnTo>
                          <a:lnTo>
                            <a:pt x="253" y="23"/>
                          </a:lnTo>
                          <a:lnTo>
                            <a:pt x="264" y="23"/>
                          </a:lnTo>
                          <a:lnTo>
                            <a:pt x="264" y="35"/>
                          </a:lnTo>
                          <a:lnTo>
                            <a:pt x="253" y="35"/>
                          </a:lnTo>
                          <a:lnTo>
                            <a:pt x="241" y="35"/>
                          </a:lnTo>
                          <a:lnTo>
                            <a:pt x="241" y="46"/>
                          </a:lnTo>
                          <a:lnTo>
                            <a:pt x="230" y="46"/>
                          </a:lnTo>
                          <a:lnTo>
                            <a:pt x="218" y="46"/>
                          </a:lnTo>
                          <a:lnTo>
                            <a:pt x="207" y="46"/>
                          </a:lnTo>
                          <a:lnTo>
                            <a:pt x="195" y="46"/>
                          </a:lnTo>
                          <a:lnTo>
                            <a:pt x="184" y="46"/>
                          </a:lnTo>
                          <a:lnTo>
                            <a:pt x="184" y="35"/>
                          </a:lnTo>
                          <a:lnTo>
                            <a:pt x="172" y="46"/>
                          </a:lnTo>
                          <a:lnTo>
                            <a:pt x="161" y="46"/>
                          </a:lnTo>
                          <a:lnTo>
                            <a:pt x="149" y="35"/>
                          </a:lnTo>
                          <a:lnTo>
                            <a:pt x="149" y="46"/>
                          </a:lnTo>
                          <a:lnTo>
                            <a:pt x="138" y="46"/>
                          </a:lnTo>
                          <a:lnTo>
                            <a:pt x="126" y="46"/>
                          </a:lnTo>
                          <a:lnTo>
                            <a:pt x="115" y="46"/>
                          </a:lnTo>
                          <a:lnTo>
                            <a:pt x="115" y="35"/>
                          </a:lnTo>
                          <a:lnTo>
                            <a:pt x="103" y="46"/>
                          </a:lnTo>
                          <a:lnTo>
                            <a:pt x="92" y="46"/>
                          </a:lnTo>
                          <a:lnTo>
                            <a:pt x="80" y="46"/>
                          </a:lnTo>
                          <a:lnTo>
                            <a:pt x="69" y="35"/>
                          </a:lnTo>
                          <a:lnTo>
                            <a:pt x="57" y="35"/>
                          </a:lnTo>
                          <a:lnTo>
                            <a:pt x="46" y="35"/>
                          </a:lnTo>
                          <a:lnTo>
                            <a:pt x="34" y="35"/>
                          </a:lnTo>
                          <a:lnTo>
                            <a:pt x="23" y="35"/>
                          </a:lnTo>
                          <a:lnTo>
                            <a:pt x="11" y="23"/>
                          </a:lnTo>
                          <a:lnTo>
                            <a:pt x="0" y="23"/>
                          </a:lnTo>
                          <a:lnTo>
                            <a:pt x="0" y="12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29" name="Freeform 191"/>
                    <p:cNvSpPr>
                      <a:spLocks/>
                    </p:cNvSpPr>
                    <p:nvPr/>
                  </p:nvSpPr>
                  <p:spPr bwMode="gray">
                    <a:xfrm>
                      <a:off x="4434" y="2143"/>
                      <a:ext cx="127" cy="92"/>
                    </a:xfrm>
                    <a:custGeom>
                      <a:avLst/>
                      <a:gdLst/>
                      <a:ahLst/>
                      <a:cxnLst>
                        <a:cxn ang="0">
                          <a:pos x="34" y="0"/>
                        </a:cxn>
                        <a:cxn ang="0">
                          <a:pos x="69" y="0"/>
                        </a:cxn>
                        <a:cxn ang="0">
                          <a:pos x="92" y="0"/>
                        </a:cxn>
                        <a:cxn ang="0">
                          <a:pos x="103" y="0"/>
                        </a:cxn>
                        <a:cxn ang="0">
                          <a:pos x="126" y="0"/>
                        </a:cxn>
                        <a:cxn ang="0">
                          <a:pos x="115" y="11"/>
                        </a:cxn>
                        <a:cxn ang="0">
                          <a:pos x="103" y="11"/>
                        </a:cxn>
                        <a:cxn ang="0">
                          <a:pos x="103" y="23"/>
                        </a:cxn>
                        <a:cxn ang="0">
                          <a:pos x="92" y="23"/>
                        </a:cxn>
                        <a:cxn ang="0">
                          <a:pos x="80" y="23"/>
                        </a:cxn>
                        <a:cxn ang="0">
                          <a:pos x="80" y="34"/>
                        </a:cxn>
                        <a:cxn ang="0">
                          <a:pos x="69" y="34"/>
                        </a:cxn>
                        <a:cxn ang="0">
                          <a:pos x="69" y="23"/>
                        </a:cxn>
                        <a:cxn ang="0">
                          <a:pos x="57" y="11"/>
                        </a:cxn>
                        <a:cxn ang="0">
                          <a:pos x="46" y="11"/>
                        </a:cxn>
                        <a:cxn ang="0">
                          <a:pos x="46" y="23"/>
                        </a:cxn>
                        <a:cxn ang="0">
                          <a:pos x="46" y="34"/>
                        </a:cxn>
                        <a:cxn ang="0">
                          <a:pos x="57" y="34"/>
                        </a:cxn>
                        <a:cxn ang="0">
                          <a:pos x="69" y="34"/>
                        </a:cxn>
                        <a:cxn ang="0">
                          <a:pos x="69" y="45"/>
                        </a:cxn>
                        <a:cxn ang="0">
                          <a:pos x="57" y="57"/>
                        </a:cxn>
                        <a:cxn ang="0">
                          <a:pos x="69" y="57"/>
                        </a:cxn>
                        <a:cxn ang="0">
                          <a:pos x="69" y="68"/>
                        </a:cxn>
                        <a:cxn ang="0">
                          <a:pos x="69" y="57"/>
                        </a:cxn>
                        <a:cxn ang="0">
                          <a:pos x="69" y="68"/>
                        </a:cxn>
                        <a:cxn ang="0">
                          <a:pos x="69" y="80"/>
                        </a:cxn>
                        <a:cxn ang="0">
                          <a:pos x="57" y="91"/>
                        </a:cxn>
                        <a:cxn ang="0">
                          <a:pos x="46" y="91"/>
                        </a:cxn>
                        <a:cxn ang="0">
                          <a:pos x="46" y="80"/>
                        </a:cxn>
                        <a:cxn ang="0">
                          <a:pos x="46" y="68"/>
                        </a:cxn>
                        <a:cxn ang="0">
                          <a:pos x="46" y="57"/>
                        </a:cxn>
                        <a:cxn ang="0">
                          <a:pos x="34" y="57"/>
                        </a:cxn>
                        <a:cxn ang="0">
                          <a:pos x="23" y="57"/>
                        </a:cxn>
                        <a:cxn ang="0">
                          <a:pos x="34" y="57"/>
                        </a:cxn>
                        <a:cxn ang="0">
                          <a:pos x="34" y="68"/>
                        </a:cxn>
                        <a:cxn ang="0">
                          <a:pos x="34" y="80"/>
                        </a:cxn>
                        <a:cxn ang="0">
                          <a:pos x="34" y="91"/>
                        </a:cxn>
                        <a:cxn ang="0">
                          <a:pos x="23" y="91"/>
                        </a:cxn>
                        <a:cxn ang="0">
                          <a:pos x="23" y="80"/>
                        </a:cxn>
                        <a:cxn ang="0">
                          <a:pos x="23" y="68"/>
                        </a:cxn>
                        <a:cxn ang="0">
                          <a:pos x="11" y="68"/>
                        </a:cxn>
                        <a:cxn ang="0">
                          <a:pos x="11" y="57"/>
                        </a:cxn>
                        <a:cxn ang="0">
                          <a:pos x="0" y="57"/>
                        </a:cxn>
                        <a:cxn ang="0">
                          <a:pos x="11" y="57"/>
                        </a:cxn>
                        <a:cxn ang="0">
                          <a:pos x="11" y="45"/>
                        </a:cxn>
                        <a:cxn ang="0">
                          <a:pos x="23" y="34"/>
                        </a:cxn>
                        <a:cxn ang="0">
                          <a:pos x="23" y="23"/>
                        </a:cxn>
                        <a:cxn ang="0">
                          <a:pos x="23" y="11"/>
                        </a:cxn>
                        <a:cxn ang="0">
                          <a:pos x="34" y="0"/>
                        </a:cxn>
                      </a:cxnLst>
                      <a:rect l="0" t="0" r="r" b="b"/>
                      <a:pathLst>
                        <a:path w="127" h="92">
                          <a:moveTo>
                            <a:pt x="34" y="0"/>
                          </a:moveTo>
                          <a:lnTo>
                            <a:pt x="69" y="0"/>
                          </a:lnTo>
                          <a:lnTo>
                            <a:pt x="92" y="0"/>
                          </a:lnTo>
                          <a:lnTo>
                            <a:pt x="103" y="0"/>
                          </a:lnTo>
                          <a:lnTo>
                            <a:pt x="126" y="0"/>
                          </a:lnTo>
                          <a:lnTo>
                            <a:pt x="115" y="11"/>
                          </a:lnTo>
                          <a:lnTo>
                            <a:pt x="103" y="11"/>
                          </a:lnTo>
                          <a:lnTo>
                            <a:pt x="103" y="23"/>
                          </a:lnTo>
                          <a:lnTo>
                            <a:pt x="92" y="23"/>
                          </a:lnTo>
                          <a:lnTo>
                            <a:pt x="80" y="23"/>
                          </a:lnTo>
                          <a:lnTo>
                            <a:pt x="80" y="34"/>
                          </a:lnTo>
                          <a:lnTo>
                            <a:pt x="69" y="34"/>
                          </a:lnTo>
                          <a:lnTo>
                            <a:pt x="69" y="23"/>
                          </a:lnTo>
                          <a:lnTo>
                            <a:pt x="57" y="11"/>
                          </a:lnTo>
                          <a:lnTo>
                            <a:pt x="46" y="11"/>
                          </a:lnTo>
                          <a:lnTo>
                            <a:pt x="46" y="23"/>
                          </a:lnTo>
                          <a:lnTo>
                            <a:pt x="46" y="34"/>
                          </a:lnTo>
                          <a:lnTo>
                            <a:pt x="57" y="34"/>
                          </a:lnTo>
                          <a:lnTo>
                            <a:pt x="69" y="34"/>
                          </a:lnTo>
                          <a:lnTo>
                            <a:pt x="69" y="45"/>
                          </a:lnTo>
                          <a:lnTo>
                            <a:pt x="57" y="57"/>
                          </a:lnTo>
                          <a:lnTo>
                            <a:pt x="69" y="57"/>
                          </a:lnTo>
                          <a:lnTo>
                            <a:pt x="69" y="68"/>
                          </a:lnTo>
                          <a:lnTo>
                            <a:pt x="69" y="57"/>
                          </a:lnTo>
                          <a:lnTo>
                            <a:pt x="69" y="68"/>
                          </a:lnTo>
                          <a:lnTo>
                            <a:pt x="69" y="80"/>
                          </a:lnTo>
                          <a:lnTo>
                            <a:pt x="57" y="91"/>
                          </a:lnTo>
                          <a:lnTo>
                            <a:pt x="46" y="91"/>
                          </a:lnTo>
                          <a:lnTo>
                            <a:pt x="46" y="80"/>
                          </a:lnTo>
                          <a:lnTo>
                            <a:pt x="46" y="68"/>
                          </a:lnTo>
                          <a:lnTo>
                            <a:pt x="46" y="57"/>
                          </a:lnTo>
                          <a:lnTo>
                            <a:pt x="34" y="57"/>
                          </a:lnTo>
                          <a:lnTo>
                            <a:pt x="23" y="57"/>
                          </a:lnTo>
                          <a:lnTo>
                            <a:pt x="34" y="57"/>
                          </a:lnTo>
                          <a:lnTo>
                            <a:pt x="34" y="68"/>
                          </a:lnTo>
                          <a:lnTo>
                            <a:pt x="34" y="80"/>
                          </a:lnTo>
                          <a:lnTo>
                            <a:pt x="34" y="91"/>
                          </a:lnTo>
                          <a:lnTo>
                            <a:pt x="23" y="91"/>
                          </a:lnTo>
                          <a:lnTo>
                            <a:pt x="23" y="80"/>
                          </a:lnTo>
                          <a:lnTo>
                            <a:pt x="23" y="68"/>
                          </a:lnTo>
                          <a:lnTo>
                            <a:pt x="11" y="68"/>
                          </a:lnTo>
                          <a:lnTo>
                            <a:pt x="11" y="57"/>
                          </a:lnTo>
                          <a:lnTo>
                            <a:pt x="0" y="57"/>
                          </a:lnTo>
                          <a:lnTo>
                            <a:pt x="11" y="57"/>
                          </a:lnTo>
                          <a:lnTo>
                            <a:pt x="11" y="45"/>
                          </a:lnTo>
                          <a:lnTo>
                            <a:pt x="23" y="34"/>
                          </a:lnTo>
                          <a:lnTo>
                            <a:pt x="23" y="23"/>
                          </a:lnTo>
                          <a:lnTo>
                            <a:pt x="23" y="11"/>
                          </a:lnTo>
                          <a:lnTo>
                            <a:pt x="34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0" name="Freeform 192"/>
                    <p:cNvSpPr>
                      <a:spLocks/>
                    </p:cNvSpPr>
                    <p:nvPr/>
                  </p:nvSpPr>
                  <p:spPr bwMode="gray">
                    <a:xfrm>
                      <a:off x="4307" y="2097"/>
                      <a:ext cx="139" cy="127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6"/>
                        </a:cxn>
                        <a:cxn ang="0">
                          <a:pos x="35" y="23"/>
                        </a:cxn>
                        <a:cxn ang="0">
                          <a:pos x="46" y="11"/>
                        </a:cxn>
                        <a:cxn ang="0">
                          <a:pos x="58" y="11"/>
                        </a:cxn>
                        <a:cxn ang="0">
                          <a:pos x="69" y="0"/>
                        </a:cxn>
                        <a:cxn ang="0">
                          <a:pos x="81" y="11"/>
                        </a:cxn>
                        <a:cxn ang="0">
                          <a:pos x="92" y="11"/>
                        </a:cxn>
                        <a:cxn ang="0">
                          <a:pos x="104" y="0"/>
                        </a:cxn>
                        <a:cxn ang="0">
                          <a:pos x="115" y="0"/>
                        </a:cxn>
                        <a:cxn ang="0">
                          <a:pos x="115" y="11"/>
                        </a:cxn>
                        <a:cxn ang="0">
                          <a:pos x="115" y="23"/>
                        </a:cxn>
                        <a:cxn ang="0">
                          <a:pos x="127" y="46"/>
                        </a:cxn>
                        <a:cxn ang="0">
                          <a:pos x="127" y="57"/>
                        </a:cxn>
                        <a:cxn ang="0">
                          <a:pos x="138" y="57"/>
                        </a:cxn>
                        <a:cxn ang="0">
                          <a:pos x="127" y="69"/>
                        </a:cxn>
                        <a:cxn ang="0">
                          <a:pos x="127" y="57"/>
                        </a:cxn>
                        <a:cxn ang="0">
                          <a:pos x="115" y="69"/>
                        </a:cxn>
                        <a:cxn ang="0">
                          <a:pos x="115" y="80"/>
                        </a:cxn>
                        <a:cxn ang="0">
                          <a:pos x="104" y="80"/>
                        </a:cxn>
                        <a:cxn ang="0">
                          <a:pos x="104" y="103"/>
                        </a:cxn>
                        <a:cxn ang="0">
                          <a:pos x="104" y="114"/>
                        </a:cxn>
                        <a:cxn ang="0">
                          <a:pos x="104" y="126"/>
                        </a:cxn>
                        <a:cxn ang="0">
                          <a:pos x="92" y="126"/>
                        </a:cxn>
                        <a:cxn ang="0">
                          <a:pos x="81" y="126"/>
                        </a:cxn>
                        <a:cxn ang="0">
                          <a:pos x="81" y="114"/>
                        </a:cxn>
                        <a:cxn ang="0">
                          <a:pos x="69" y="114"/>
                        </a:cxn>
                        <a:cxn ang="0">
                          <a:pos x="46" y="114"/>
                        </a:cxn>
                        <a:cxn ang="0">
                          <a:pos x="35" y="114"/>
                        </a:cxn>
                        <a:cxn ang="0">
                          <a:pos x="23" y="103"/>
                        </a:cxn>
                        <a:cxn ang="0">
                          <a:pos x="12" y="91"/>
                        </a:cxn>
                        <a:cxn ang="0">
                          <a:pos x="12" y="80"/>
                        </a:cxn>
                        <a:cxn ang="0">
                          <a:pos x="12" y="69"/>
                        </a:cxn>
                        <a:cxn ang="0">
                          <a:pos x="0" y="46"/>
                        </a:cxn>
                      </a:cxnLst>
                      <a:rect l="0" t="0" r="r" b="b"/>
                      <a:pathLst>
                        <a:path w="139" h="127">
                          <a:moveTo>
                            <a:pt x="0" y="46"/>
                          </a:moveTo>
                          <a:lnTo>
                            <a:pt x="35" y="23"/>
                          </a:lnTo>
                          <a:lnTo>
                            <a:pt x="46" y="11"/>
                          </a:lnTo>
                          <a:lnTo>
                            <a:pt x="58" y="11"/>
                          </a:lnTo>
                          <a:lnTo>
                            <a:pt x="69" y="0"/>
                          </a:lnTo>
                          <a:lnTo>
                            <a:pt x="81" y="11"/>
                          </a:lnTo>
                          <a:lnTo>
                            <a:pt x="92" y="11"/>
                          </a:lnTo>
                          <a:lnTo>
                            <a:pt x="104" y="0"/>
                          </a:lnTo>
                          <a:lnTo>
                            <a:pt x="115" y="0"/>
                          </a:lnTo>
                          <a:lnTo>
                            <a:pt x="115" y="11"/>
                          </a:lnTo>
                          <a:lnTo>
                            <a:pt x="115" y="23"/>
                          </a:lnTo>
                          <a:lnTo>
                            <a:pt x="127" y="46"/>
                          </a:lnTo>
                          <a:lnTo>
                            <a:pt x="127" y="57"/>
                          </a:lnTo>
                          <a:lnTo>
                            <a:pt x="138" y="57"/>
                          </a:lnTo>
                          <a:lnTo>
                            <a:pt x="127" y="69"/>
                          </a:lnTo>
                          <a:lnTo>
                            <a:pt x="127" y="57"/>
                          </a:lnTo>
                          <a:lnTo>
                            <a:pt x="115" y="69"/>
                          </a:lnTo>
                          <a:lnTo>
                            <a:pt x="115" y="80"/>
                          </a:lnTo>
                          <a:lnTo>
                            <a:pt x="104" y="80"/>
                          </a:lnTo>
                          <a:lnTo>
                            <a:pt x="104" y="103"/>
                          </a:lnTo>
                          <a:lnTo>
                            <a:pt x="104" y="114"/>
                          </a:lnTo>
                          <a:lnTo>
                            <a:pt x="104" y="126"/>
                          </a:lnTo>
                          <a:lnTo>
                            <a:pt x="92" y="126"/>
                          </a:lnTo>
                          <a:lnTo>
                            <a:pt x="81" y="126"/>
                          </a:lnTo>
                          <a:lnTo>
                            <a:pt x="81" y="114"/>
                          </a:lnTo>
                          <a:lnTo>
                            <a:pt x="69" y="114"/>
                          </a:lnTo>
                          <a:lnTo>
                            <a:pt x="46" y="114"/>
                          </a:lnTo>
                          <a:lnTo>
                            <a:pt x="35" y="114"/>
                          </a:lnTo>
                          <a:lnTo>
                            <a:pt x="23" y="103"/>
                          </a:lnTo>
                          <a:lnTo>
                            <a:pt x="12" y="91"/>
                          </a:lnTo>
                          <a:lnTo>
                            <a:pt x="12" y="80"/>
                          </a:lnTo>
                          <a:lnTo>
                            <a:pt x="12" y="69"/>
                          </a:lnTo>
                          <a:lnTo>
                            <a:pt x="0" y="46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1" name="Freeform 193"/>
                    <p:cNvSpPr>
                      <a:spLocks/>
                    </p:cNvSpPr>
                    <p:nvPr/>
                  </p:nvSpPr>
                  <p:spPr bwMode="gray">
                    <a:xfrm>
                      <a:off x="4595" y="2166"/>
                      <a:ext cx="254" cy="127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3" y="11"/>
                        </a:cxn>
                        <a:cxn ang="0">
                          <a:pos x="46" y="11"/>
                        </a:cxn>
                        <a:cxn ang="0">
                          <a:pos x="46" y="22"/>
                        </a:cxn>
                        <a:cxn ang="0">
                          <a:pos x="57" y="34"/>
                        </a:cxn>
                        <a:cxn ang="0">
                          <a:pos x="69" y="34"/>
                        </a:cxn>
                        <a:cxn ang="0">
                          <a:pos x="80" y="34"/>
                        </a:cxn>
                        <a:cxn ang="0">
                          <a:pos x="92" y="22"/>
                        </a:cxn>
                        <a:cxn ang="0">
                          <a:pos x="103" y="22"/>
                        </a:cxn>
                        <a:cxn ang="0">
                          <a:pos x="126" y="34"/>
                        </a:cxn>
                        <a:cxn ang="0">
                          <a:pos x="138" y="34"/>
                        </a:cxn>
                        <a:cxn ang="0">
                          <a:pos x="149" y="34"/>
                        </a:cxn>
                        <a:cxn ang="0">
                          <a:pos x="161" y="34"/>
                        </a:cxn>
                        <a:cxn ang="0">
                          <a:pos x="161" y="45"/>
                        </a:cxn>
                        <a:cxn ang="0">
                          <a:pos x="172" y="45"/>
                        </a:cxn>
                        <a:cxn ang="0">
                          <a:pos x="195" y="57"/>
                        </a:cxn>
                        <a:cxn ang="0">
                          <a:pos x="207" y="68"/>
                        </a:cxn>
                        <a:cxn ang="0">
                          <a:pos x="207" y="80"/>
                        </a:cxn>
                        <a:cxn ang="0">
                          <a:pos x="218" y="80"/>
                        </a:cxn>
                        <a:cxn ang="0">
                          <a:pos x="230" y="80"/>
                        </a:cxn>
                        <a:cxn ang="0">
                          <a:pos x="241" y="91"/>
                        </a:cxn>
                        <a:cxn ang="0">
                          <a:pos x="241" y="103"/>
                        </a:cxn>
                        <a:cxn ang="0">
                          <a:pos x="253" y="114"/>
                        </a:cxn>
                        <a:cxn ang="0">
                          <a:pos x="253" y="126"/>
                        </a:cxn>
                        <a:cxn ang="0">
                          <a:pos x="241" y="126"/>
                        </a:cxn>
                        <a:cxn ang="0">
                          <a:pos x="230" y="126"/>
                        </a:cxn>
                        <a:cxn ang="0">
                          <a:pos x="207" y="103"/>
                        </a:cxn>
                        <a:cxn ang="0">
                          <a:pos x="195" y="103"/>
                        </a:cxn>
                        <a:cxn ang="0">
                          <a:pos x="172" y="103"/>
                        </a:cxn>
                        <a:cxn ang="0">
                          <a:pos x="161" y="114"/>
                        </a:cxn>
                        <a:cxn ang="0">
                          <a:pos x="149" y="126"/>
                        </a:cxn>
                        <a:cxn ang="0">
                          <a:pos x="149" y="114"/>
                        </a:cxn>
                        <a:cxn ang="0">
                          <a:pos x="138" y="114"/>
                        </a:cxn>
                        <a:cxn ang="0">
                          <a:pos x="126" y="114"/>
                        </a:cxn>
                        <a:cxn ang="0">
                          <a:pos x="115" y="114"/>
                        </a:cxn>
                        <a:cxn ang="0">
                          <a:pos x="115" y="103"/>
                        </a:cxn>
                        <a:cxn ang="0">
                          <a:pos x="103" y="91"/>
                        </a:cxn>
                        <a:cxn ang="0">
                          <a:pos x="92" y="68"/>
                        </a:cxn>
                        <a:cxn ang="0">
                          <a:pos x="80" y="57"/>
                        </a:cxn>
                        <a:cxn ang="0">
                          <a:pos x="57" y="57"/>
                        </a:cxn>
                        <a:cxn ang="0">
                          <a:pos x="46" y="57"/>
                        </a:cxn>
                        <a:cxn ang="0">
                          <a:pos x="34" y="57"/>
                        </a:cxn>
                        <a:cxn ang="0">
                          <a:pos x="23" y="45"/>
                        </a:cxn>
                        <a:cxn ang="0">
                          <a:pos x="23" y="22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54" h="127">
                          <a:moveTo>
                            <a:pt x="0" y="0"/>
                          </a:moveTo>
                          <a:lnTo>
                            <a:pt x="23" y="11"/>
                          </a:lnTo>
                          <a:lnTo>
                            <a:pt x="46" y="11"/>
                          </a:lnTo>
                          <a:lnTo>
                            <a:pt x="46" y="22"/>
                          </a:lnTo>
                          <a:lnTo>
                            <a:pt x="57" y="34"/>
                          </a:lnTo>
                          <a:lnTo>
                            <a:pt x="69" y="34"/>
                          </a:lnTo>
                          <a:lnTo>
                            <a:pt x="80" y="34"/>
                          </a:lnTo>
                          <a:lnTo>
                            <a:pt x="92" y="22"/>
                          </a:lnTo>
                          <a:lnTo>
                            <a:pt x="103" y="22"/>
                          </a:lnTo>
                          <a:lnTo>
                            <a:pt x="126" y="34"/>
                          </a:lnTo>
                          <a:lnTo>
                            <a:pt x="138" y="34"/>
                          </a:lnTo>
                          <a:lnTo>
                            <a:pt x="149" y="34"/>
                          </a:lnTo>
                          <a:lnTo>
                            <a:pt x="161" y="34"/>
                          </a:lnTo>
                          <a:lnTo>
                            <a:pt x="161" y="45"/>
                          </a:lnTo>
                          <a:lnTo>
                            <a:pt x="172" y="45"/>
                          </a:lnTo>
                          <a:lnTo>
                            <a:pt x="195" y="57"/>
                          </a:lnTo>
                          <a:lnTo>
                            <a:pt x="207" y="68"/>
                          </a:lnTo>
                          <a:lnTo>
                            <a:pt x="207" y="80"/>
                          </a:lnTo>
                          <a:lnTo>
                            <a:pt x="218" y="80"/>
                          </a:lnTo>
                          <a:lnTo>
                            <a:pt x="230" y="80"/>
                          </a:lnTo>
                          <a:lnTo>
                            <a:pt x="241" y="91"/>
                          </a:lnTo>
                          <a:lnTo>
                            <a:pt x="241" y="103"/>
                          </a:lnTo>
                          <a:lnTo>
                            <a:pt x="253" y="114"/>
                          </a:lnTo>
                          <a:lnTo>
                            <a:pt x="253" y="126"/>
                          </a:lnTo>
                          <a:lnTo>
                            <a:pt x="241" y="126"/>
                          </a:lnTo>
                          <a:lnTo>
                            <a:pt x="230" y="126"/>
                          </a:lnTo>
                          <a:lnTo>
                            <a:pt x="207" y="103"/>
                          </a:lnTo>
                          <a:lnTo>
                            <a:pt x="195" y="103"/>
                          </a:lnTo>
                          <a:lnTo>
                            <a:pt x="172" y="103"/>
                          </a:lnTo>
                          <a:lnTo>
                            <a:pt x="161" y="114"/>
                          </a:lnTo>
                          <a:lnTo>
                            <a:pt x="149" y="126"/>
                          </a:lnTo>
                          <a:lnTo>
                            <a:pt x="149" y="114"/>
                          </a:lnTo>
                          <a:lnTo>
                            <a:pt x="138" y="114"/>
                          </a:lnTo>
                          <a:lnTo>
                            <a:pt x="126" y="114"/>
                          </a:lnTo>
                          <a:lnTo>
                            <a:pt x="115" y="114"/>
                          </a:lnTo>
                          <a:lnTo>
                            <a:pt x="115" y="103"/>
                          </a:lnTo>
                          <a:lnTo>
                            <a:pt x="103" y="91"/>
                          </a:lnTo>
                          <a:lnTo>
                            <a:pt x="92" y="68"/>
                          </a:lnTo>
                          <a:lnTo>
                            <a:pt x="80" y="57"/>
                          </a:lnTo>
                          <a:lnTo>
                            <a:pt x="57" y="57"/>
                          </a:lnTo>
                          <a:lnTo>
                            <a:pt x="46" y="57"/>
                          </a:lnTo>
                          <a:lnTo>
                            <a:pt x="34" y="57"/>
                          </a:lnTo>
                          <a:lnTo>
                            <a:pt x="23" y="45"/>
                          </a:lnTo>
                          <a:lnTo>
                            <a:pt x="23" y="22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2" name="Freeform 194"/>
                    <p:cNvSpPr>
                      <a:spLocks/>
                    </p:cNvSpPr>
                    <p:nvPr/>
                  </p:nvSpPr>
                  <p:spPr bwMode="gray">
                    <a:xfrm>
                      <a:off x="4123" y="2085"/>
                      <a:ext cx="151" cy="16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2" y="0"/>
                        </a:cxn>
                        <a:cxn ang="0">
                          <a:pos x="35" y="12"/>
                        </a:cxn>
                        <a:cxn ang="0">
                          <a:pos x="35" y="23"/>
                        </a:cxn>
                        <a:cxn ang="0">
                          <a:pos x="46" y="23"/>
                        </a:cxn>
                        <a:cxn ang="0">
                          <a:pos x="69" y="46"/>
                        </a:cxn>
                        <a:cxn ang="0">
                          <a:pos x="69" y="58"/>
                        </a:cxn>
                        <a:cxn ang="0">
                          <a:pos x="81" y="58"/>
                        </a:cxn>
                        <a:cxn ang="0">
                          <a:pos x="92" y="58"/>
                        </a:cxn>
                        <a:cxn ang="0">
                          <a:pos x="115" y="58"/>
                        </a:cxn>
                        <a:cxn ang="0">
                          <a:pos x="115" y="81"/>
                        </a:cxn>
                        <a:cxn ang="0">
                          <a:pos x="115" y="92"/>
                        </a:cxn>
                        <a:cxn ang="0">
                          <a:pos x="138" y="103"/>
                        </a:cxn>
                        <a:cxn ang="0">
                          <a:pos x="150" y="103"/>
                        </a:cxn>
                        <a:cxn ang="0">
                          <a:pos x="150" y="138"/>
                        </a:cxn>
                        <a:cxn ang="0">
                          <a:pos x="150" y="149"/>
                        </a:cxn>
                        <a:cxn ang="0">
                          <a:pos x="150" y="161"/>
                        </a:cxn>
                        <a:cxn ang="0">
                          <a:pos x="138" y="161"/>
                        </a:cxn>
                        <a:cxn ang="0">
                          <a:pos x="138" y="149"/>
                        </a:cxn>
                        <a:cxn ang="0">
                          <a:pos x="127" y="161"/>
                        </a:cxn>
                        <a:cxn ang="0">
                          <a:pos x="115" y="138"/>
                        </a:cxn>
                        <a:cxn ang="0">
                          <a:pos x="104" y="126"/>
                        </a:cxn>
                        <a:cxn ang="0">
                          <a:pos x="92" y="115"/>
                        </a:cxn>
                        <a:cxn ang="0">
                          <a:pos x="69" y="103"/>
                        </a:cxn>
                        <a:cxn ang="0">
                          <a:pos x="69" y="92"/>
                        </a:cxn>
                        <a:cxn ang="0">
                          <a:pos x="58" y="69"/>
                        </a:cxn>
                        <a:cxn ang="0">
                          <a:pos x="46" y="58"/>
                        </a:cxn>
                        <a:cxn ang="0">
                          <a:pos x="35" y="46"/>
                        </a:cxn>
                        <a:cxn ang="0">
                          <a:pos x="12" y="2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151" h="162">
                          <a:moveTo>
                            <a:pt x="0" y="0"/>
                          </a:moveTo>
                          <a:lnTo>
                            <a:pt x="12" y="0"/>
                          </a:lnTo>
                          <a:lnTo>
                            <a:pt x="35" y="12"/>
                          </a:lnTo>
                          <a:lnTo>
                            <a:pt x="35" y="23"/>
                          </a:lnTo>
                          <a:lnTo>
                            <a:pt x="46" y="23"/>
                          </a:lnTo>
                          <a:lnTo>
                            <a:pt x="69" y="46"/>
                          </a:lnTo>
                          <a:lnTo>
                            <a:pt x="69" y="58"/>
                          </a:lnTo>
                          <a:lnTo>
                            <a:pt x="81" y="58"/>
                          </a:lnTo>
                          <a:lnTo>
                            <a:pt x="92" y="58"/>
                          </a:lnTo>
                          <a:lnTo>
                            <a:pt x="115" y="58"/>
                          </a:lnTo>
                          <a:lnTo>
                            <a:pt x="115" y="81"/>
                          </a:lnTo>
                          <a:lnTo>
                            <a:pt x="115" y="92"/>
                          </a:lnTo>
                          <a:lnTo>
                            <a:pt x="138" y="103"/>
                          </a:lnTo>
                          <a:lnTo>
                            <a:pt x="150" y="103"/>
                          </a:lnTo>
                          <a:lnTo>
                            <a:pt x="150" y="138"/>
                          </a:lnTo>
                          <a:lnTo>
                            <a:pt x="150" y="149"/>
                          </a:lnTo>
                          <a:lnTo>
                            <a:pt x="150" y="161"/>
                          </a:lnTo>
                          <a:lnTo>
                            <a:pt x="138" y="161"/>
                          </a:lnTo>
                          <a:lnTo>
                            <a:pt x="138" y="149"/>
                          </a:lnTo>
                          <a:lnTo>
                            <a:pt x="127" y="161"/>
                          </a:lnTo>
                          <a:lnTo>
                            <a:pt x="115" y="138"/>
                          </a:lnTo>
                          <a:lnTo>
                            <a:pt x="104" y="126"/>
                          </a:lnTo>
                          <a:lnTo>
                            <a:pt x="92" y="115"/>
                          </a:lnTo>
                          <a:lnTo>
                            <a:pt x="69" y="103"/>
                          </a:lnTo>
                          <a:lnTo>
                            <a:pt x="69" y="92"/>
                          </a:lnTo>
                          <a:lnTo>
                            <a:pt x="58" y="69"/>
                          </a:lnTo>
                          <a:lnTo>
                            <a:pt x="46" y="58"/>
                          </a:lnTo>
                          <a:lnTo>
                            <a:pt x="35" y="46"/>
                          </a:lnTo>
                          <a:lnTo>
                            <a:pt x="12" y="23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3" name="Freeform 195"/>
                    <p:cNvSpPr>
                      <a:spLocks/>
                    </p:cNvSpPr>
                    <p:nvPr/>
                  </p:nvSpPr>
                  <p:spPr bwMode="gray">
                    <a:xfrm>
                      <a:off x="4399" y="1913"/>
                      <a:ext cx="151" cy="173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3" y="0"/>
                        </a:cxn>
                        <a:cxn ang="0">
                          <a:pos x="35" y="23"/>
                        </a:cxn>
                        <a:cxn ang="0">
                          <a:pos x="35" y="34"/>
                        </a:cxn>
                        <a:cxn ang="0">
                          <a:pos x="46" y="46"/>
                        </a:cxn>
                        <a:cxn ang="0">
                          <a:pos x="46" y="57"/>
                        </a:cxn>
                        <a:cxn ang="0">
                          <a:pos x="58" y="57"/>
                        </a:cxn>
                        <a:cxn ang="0">
                          <a:pos x="69" y="57"/>
                        </a:cxn>
                        <a:cxn ang="0">
                          <a:pos x="81" y="69"/>
                        </a:cxn>
                        <a:cxn ang="0">
                          <a:pos x="92" y="80"/>
                        </a:cxn>
                        <a:cxn ang="0">
                          <a:pos x="104" y="80"/>
                        </a:cxn>
                        <a:cxn ang="0">
                          <a:pos x="115" y="92"/>
                        </a:cxn>
                        <a:cxn ang="0">
                          <a:pos x="115" y="115"/>
                        </a:cxn>
                        <a:cxn ang="0">
                          <a:pos x="127" y="126"/>
                        </a:cxn>
                        <a:cxn ang="0">
                          <a:pos x="138" y="138"/>
                        </a:cxn>
                        <a:cxn ang="0">
                          <a:pos x="138" y="149"/>
                        </a:cxn>
                        <a:cxn ang="0">
                          <a:pos x="150" y="149"/>
                        </a:cxn>
                        <a:cxn ang="0">
                          <a:pos x="150" y="161"/>
                        </a:cxn>
                        <a:cxn ang="0">
                          <a:pos x="138" y="161"/>
                        </a:cxn>
                        <a:cxn ang="0">
                          <a:pos x="127" y="161"/>
                        </a:cxn>
                        <a:cxn ang="0">
                          <a:pos x="127" y="172"/>
                        </a:cxn>
                        <a:cxn ang="0">
                          <a:pos x="115" y="172"/>
                        </a:cxn>
                        <a:cxn ang="0">
                          <a:pos x="104" y="172"/>
                        </a:cxn>
                        <a:cxn ang="0">
                          <a:pos x="104" y="161"/>
                        </a:cxn>
                        <a:cxn ang="0">
                          <a:pos x="104" y="149"/>
                        </a:cxn>
                        <a:cxn ang="0">
                          <a:pos x="92" y="149"/>
                        </a:cxn>
                        <a:cxn ang="0">
                          <a:pos x="81" y="161"/>
                        </a:cxn>
                        <a:cxn ang="0">
                          <a:pos x="81" y="149"/>
                        </a:cxn>
                        <a:cxn ang="0">
                          <a:pos x="81" y="138"/>
                        </a:cxn>
                        <a:cxn ang="0">
                          <a:pos x="92" y="138"/>
                        </a:cxn>
                        <a:cxn ang="0">
                          <a:pos x="104" y="138"/>
                        </a:cxn>
                        <a:cxn ang="0">
                          <a:pos x="104" y="126"/>
                        </a:cxn>
                        <a:cxn ang="0">
                          <a:pos x="92" y="115"/>
                        </a:cxn>
                        <a:cxn ang="0">
                          <a:pos x="92" y="103"/>
                        </a:cxn>
                        <a:cxn ang="0">
                          <a:pos x="81" y="92"/>
                        </a:cxn>
                        <a:cxn ang="0">
                          <a:pos x="69" y="80"/>
                        </a:cxn>
                        <a:cxn ang="0">
                          <a:pos x="58" y="69"/>
                        </a:cxn>
                        <a:cxn ang="0">
                          <a:pos x="46" y="69"/>
                        </a:cxn>
                        <a:cxn ang="0">
                          <a:pos x="58" y="80"/>
                        </a:cxn>
                        <a:cxn ang="0">
                          <a:pos x="46" y="92"/>
                        </a:cxn>
                        <a:cxn ang="0">
                          <a:pos x="35" y="69"/>
                        </a:cxn>
                        <a:cxn ang="0">
                          <a:pos x="23" y="69"/>
                        </a:cxn>
                        <a:cxn ang="0">
                          <a:pos x="23" y="57"/>
                        </a:cxn>
                        <a:cxn ang="0">
                          <a:pos x="12" y="46"/>
                        </a:cxn>
                        <a:cxn ang="0">
                          <a:pos x="0" y="46"/>
                        </a:cxn>
                        <a:cxn ang="0">
                          <a:pos x="0" y="34"/>
                        </a:cxn>
                        <a:cxn ang="0">
                          <a:pos x="0" y="23"/>
                        </a:cxn>
                        <a:cxn ang="0">
                          <a:pos x="12" y="34"/>
                        </a:cxn>
                        <a:cxn ang="0">
                          <a:pos x="12" y="23"/>
                        </a:cxn>
                        <a:cxn ang="0">
                          <a:pos x="12" y="11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151" h="173">
                          <a:moveTo>
                            <a:pt x="12" y="0"/>
                          </a:moveTo>
                          <a:lnTo>
                            <a:pt x="23" y="0"/>
                          </a:lnTo>
                          <a:lnTo>
                            <a:pt x="35" y="23"/>
                          </a:lnTo>
                          <a:lnTo>
                            <a:pt x="35" y="34"/>
                          </a:lnTo>
                          <a:lnTo>
                            <a:pt x="46" y="46"/>
                          </a:lnTo>
                          <a:lnTo>
                            <a:pt x="46" y="57"/>
                          </a:lnTo>
                          <a:lnTo>
                            <a:pt x="58" y="57"/>
                          </a:lnTo>
                          <a:lnTo>
                            <a:pt x="69" y="57"/>
                          </a:lnTo>
                          <a:lnTo>
                            <a:pt x="81" y="69"/>
                          </a:lnTo>
                          <a:lnTo>
                            <a:pt x="92" y="80"/>
                          </a:lnTo>
                          <a:lnTo>
                            <a:pt x="104" y="80"/>
                          </a:lnTo>
                          <a:lnTo>
                            <a:pt x="115" y="92"/>
                          </a:lnTo>
                          <a:lnTo>
                            <a:pt x="115" y="115"/>
                          </a:lnTo>
                          <a:lnTo>
                            <a:pt x="127" y="126"/>
                          </a:lnTo>
                          <a:lnTo>
                            <a:pt x="138" y="138"/>
                          </a:lnTo>
                          <a:lnTo>
                            <a:pt x="138" y="149"/>
                          </a:lnTo>
                          <a:lnTo>
                            <a:pt x="150" y="149"/>
                          </a:lnTo>
                          <a:lnTo>
                            <a:pt x="150" y="161"/>
                          </a:lnTo>
                          <a:lnTo>
                            <a:pt x="138" y="161"/>
                          </a:lnTo>
                          <a:lnTo>
                            <a:pt x="127" y="161"/>
                          </a:lnTo>
                          <a:lnTo>
                            <a:pt x="127" y="172"/>
                          </a:lnTo>
                          <a:lnTo>
                            <a:pt x="115" y="172"/>
                          </a:lnTo>
                          <a:lnTo>
                            <a:pt x="104" y="172"/>
                          </a:lnTo>
                          <a:lnTo>
                            <a:pt x="104" y="161"/>
                          </a:lnTo>
                          <a:lnTo>
                            <a:pt x="104" y="149"/>
                          </a:lnTo>
                          <a:lnTo>
                            <a:pt x="92" y="149"/>
                          </a:lnTo>
                          <a:lnTo>
                            <a:pt x="81" y="161"/>
                          </a:lnTo>
                          <a:lnTo>
                            <a:pt x="81" y="149"/>
                          </a:lnTo>
                          <a:lnTo>
                            <a:pt x="81" y="138"/>
                          </a:lnTo>
                          <a:lnTo>
                            <a:pt x="92" y="138"/>
                          </a:lnTo>
                          <a:lnTo>
                            <a:pt x="104" y="138"/>
                          </a:lnTo>
                          <a:lnTo>
                            <a:pt x="104" y="126"/>
                          </a:lnTo>
                          <a:lnTo>
                            <a:pt x="92" y="115"/>
                          </a:lnTo>
                          <a:lnTo>
                            <a:pt x="92" y="103"/>
                          </a:lnTo>
                          <a:lnTo>
                            <a:pt x="81" y="92"/>
                          </a:lnTo>
                          <a:lnTo>
                            <a:pt x="69" y="80"/>
                          </a:lnTo>
                          <a:lnTo>
                            <a:pt x="58" y="69"/>
                          </a:lnTo>
                          <a:lnTo>
                            <a:pt x="46" y="69"/>
                          </a:lnTo>
                          <a:lnTo>
                            <a:pt x="58" y="80"/>
                          </a:lnTo>
                          <a:lnTo>
                            <a:pt x="46" y="92"/>
                          </a:lnTo>
                          <a:lnTo>
                            <a:pt x="35" y="69"/>
                          </a:lnTo>
                          <a:lnTo>
                            <a:pt x="23" y="69"/>
                          </a:lnTo>
                          <a:lnTo>
                            <a:pt x="23" y="57"/>
                          </a:lnTo>
                          <a:lnTo>
                            <a:pt x="12" y="46"/>
                          </a:lnTo>
                          <a:lnTo>
                            <a:pt x="0" y="46"/>
                          </a:lnTo>
                          <a:lnTo>
                            <a:pt x="0" y="34"/>
                          </a:lnTo>
                          <a:lnTo>
                            <a:pt x="0" y="23"/>
                          </a:lnTo>
                          <a:lnTo>
                            <a:pt x="12" y="34"/>
                          </a:lnTo>
                          <a:lnTo>
                            <a:pt x="12" y="23"/>
                          </a:lnTo>
                          <a:lnTo>
                            <a:pt x="12" y="11"/>
                          </a:lnTo>
                          <a:lnTo>
                            <a:pt x="12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4" name="Freeform 196"/>
                    <p:cNvSpPr>
                      <a:spLocks/>
                    </p:cNvSpPr>
                    <p:nvPr/>
                  </p:nvSpPr>
                  <p:spPr bwMode="gray">
                    <a:xfrm>
                      <a:off x="4365" y="1614"/>
                      <a:ext cx="104" cy="150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0"/>
                        </a:cxn>
                        <a:cxn ang="0">
                          <a:pos x="46" y="12"/>
                        </a:cxn>
                        <a:cxn ang="0">
                          <a:pos x="57" y="23"/>
                        </a:cxn>
                        <a:cxn ang="0">
                          <a:pos x="69" y="34"/>
                        </a:cxn>
                        <a:cxn ang="0">
                          <a:pos x="69" y="46"/>
                        </a:cxn>
                        <a:cxn ang="0">
                          <a:pos x="80" y="46"/>
                        </a:cxn>
                        <a:cxn ang="0">
                          <a:pos x="80" y="57"/>
                        </a:cxn>
                        <a:cxn ang="0">
                          <a:pos x="103" y="69"/>
                        </a:cxn>
                        <a:cxn ang="0">
                          <a:pos x="103" y="92"/>
                        </a:cxn>
                        <a:cxn ang="0">
                          <a:pos x="92" y="92"/>
                        </a:cxn>
                        <a:cxn ang="0">
                          <a:pos x="80" y="92"/>
                        </a:cxn>
                        <a:cxn ang="0">
                          <a:pos x="80" y="103"/>
                        </a:cxn>
                        <a:cxn ang="0">
                          <a:pos x="80" y="115"/>
                        </a:cxn>
                        <a:cxn ang="0">
                          <a:pos x="80" y="126"/>
                        </a:cxn>
                        <a:cxn ang="0">
                          <a:pos x="80" y="115"/>
                        </a:cxn>
                        <a:cxn ang="0">
                          <a:pos x="69" y="115"/>
                        </a:cxn>
                        <a:cxn ang="0">
                          <a:pos x="57" y="103"/>
                        </a:cxn>
                        <a:cxn ang="0">
                          <a:pos x="57" y="92"/>
                        </a:cxn>
                        <a:cxn ang="0">
                          <a:pos x="46" y="103"/>
                        </a:cxn>
                        <a:cxn ang="0">
                          <a:pos x="34" y="103"/>
                        </a:cxn>
                        <a:cxn ang="0">
                          <a:pos x="34" y="115"/>
                        </a:cxn>
                        <a:cxn ang="0">
                          <a:pos x="46" y="115"/>
                        </a:cxn>
                        <a:cxn ang="0">
                          <a:pos x="57" y="126"/>
                        </a:cxn>
                        <a:cxn ang="0">
                          <a:pos x="69" y="138"/>
                        </a:cxn>
                        <a:cxn ang="0">
                          <a:pos x="69" y="149"/>
                        </a:cxn>
                        <a:cxn ang="0">
                          <a:pos x="57" y="149"/>
                        </a:cxn>
                        <a:cxn ang="0">
                          <a:pos x="46" y="149"/>
                        </a:cxn>
                        <a:cxn ang="0">
                          <a:pos x="46" y="138"/>
                        </a:cxn>
                        <a:cxn ang="0">
                          <a:pos x="46" y="149"/>
                        </a:cxn>
                        <a:cxn ang="0">
                          <a:pos x="34" y="149"/>
                        </a:cxn>
                        <a:cxn ang="0">
                          <a:pos x="23" y="149"/>
                        </a:cxn>
                        <a:cxn ang="0">
                          <a:pos x="23" y="126"/>
                        </a:cxn>
                        <a:cxn ang="0">
                          <a:pos x="23" y="115"/>
                        </a:cxn>
                        <a:cxn ang="0">
                          <a:pos x="11" y="126"/>
                        </a:cxn>
                        <a:cxn ang="0">
                          <a:pos x="0" y="126"/>
                        </a:cxn>
                        <a:cxn ang="0">
                          <a:pos x="0" y="103"/>
                        </a:cxn>
                        <a:cxn ang="0">
                          <a:pos x="11" y="103"/>
                        </a:cxn>
                        <a:cxn ang="0">
                          <a:pos x="11" y="80"/>
                        </a:cxn>
                        <a:cxn ang="0">
                          <a:pos x="11" y="69"/>
                        </a:cxn>
                        <a:cxn ang="0">
                          <a:pos x="23" y="69"/>
                        </a:cxn>
                        <a:cxn ang="0">
                          <a:pos x="34" y="80"/>
                        </a:cxn>
                        <a:cxn ang="0">
                          <a:pos x="34" y="69"/>
                        </a:cxn>
                        <a:cxn ang="0">
                          <a:pos x="34" y="57"/>
                        </a:cxn>
                        <a:cxn ang="0">
                          <a:pos x="23" y="57"/>
                        </a:cxn>
                        <a:cxn ang="0">
                          <a:pos x="34" y="57"/>
                        </a:cxn>
                        <a:cxn ang="0">
                          <a:pos x="46" y="57"/>
                        </a:cxn>
                        <a:cxn ang="0">
                          <a:pos x="46" y="46"/>
                        </a:cxn>
                        <a:cxn ang="0">
                          <a:pos x="34" y="34"/>
                        </a:cxn>
                        <a:cxn ang="0">
                          <a:pos x="34" y="23"/>
                        </a:cxn>
                        <a:cxn ang="0">
                          <a:pos x="23" y="23"/>
                        </a:cxn>
                        <a:cxn ang="0">
                          <a:pos x="11" y="12"/>
                        </a:cxn>
                        <a:cxn ang="0">
                          <a:pos x="23" y="0"/>
                        </a:cxn>
                      </a:cxnLst>
                      <a:rect l="0" t="0" r="r" b="b"/>
                      <a:pathLst>
                        <a:path w="104" h="150">
                          <a:moveTo>
                            <a:pt x="23" y="0"/>
                          </a:moveTo>
                          <a:lnTo>
                            <a:pt x="46" y="12"/>
                          </a:lnTo>
                          <a:lnTo>
                            <a:pt x="57" y="23"/>
                          </a:lnTo>
                          <a:lnTo>
                            <a:pt x="69" y="34"/>
                          </a:lnTo>
                          <a:lnTo>
                            <a:pt x="69" y="46"/>
                          </a:lnTo>
                          <a:lnTo>
                            <a:pt x="80" y="46"/>
                          </a:lnTo>
                          <a:lnTo>
                            <a:pt x="80" y="57"/>
                          </a:lnTo>
                          <a:lnTo>
                            <a:pt x="103" y="69"/>
                          </a:lnTo>
                          <a:lnTo>
                            <a:pt x="103" y="92"/>
                          </a:lnTo>
                          <a:lnTo>
                            <a:pt x="92" y="92"/>
                          </a:lnTo>
                          <a:lnTo>
                            <a:pt x="80" y="92"/>
                          </a:lnTo>
                          <a:lnTo>
                            <a:pt x="80" y="103"/>
                          </a:lnTo>
                          <a:lnTo>
                            <a:pt x="80" y="115"/>
                          </a:lnTo>
                          <a:lnTo>
                            <a:pt x="80" y="126"/>
                          </a:lnTo>
                          <a:lnTo>
                            <a:pt x="80" y="115"/>
                          </a:lnTo>
                          <a:lnTo>
                            <a:pt x="69" y="115"/>
                          </a:lnTo>
                          <a:lnTo>
                            <a:pt x="57" y="103"/>
                          </a:lnTo>
                          <a:lnTo>
                            <a:pt x="57" y="92"/>
                          </a:lnTo>
                          <a:lnTo>
                            <a:pt x="46" y="103"/>
                          </a:lnTo>
                          <a:lnTo>
                            <a:pt x="34" y="103"/>
                          </a:lnTo>
                          <a:lnTo>
                            <a:pt x="34" y="115"/>
                          </a:lnTo>
                          <a:lnTo>
                            <a:pt x="46" y="115"/>
                          </a:lnTo>
                          <a:lnTo>
                            <a:pt x="57" y="126"/>
                          </a:lnTo>
                          <a:lnTo>
                            <a:pt x="69" y="138"/>
                          </a:lnTo>
                          <a:lnTo>
                            <a:pt x="69" y="149"/>
                          </a:lnTo>
                          <a:lnTo>
                            <a:pt x="57" y="149"/>
                          </a:lnTo>
                          <a:lnTo>
                            <a:pt x="46" y="149"/>
                          </a:lnTo>
                          <a:lnTo>
                            <a:pt x="46" y="138"/>
                          </a:lnTo>
                          <a:lnTo>
                            <a:pt x="46" y="149"/>
                          </a:lnTo>
                          <a:lnTo>
                            <a:pt x="34" y="149"/>
                          </a:lnTo>
                          <a:lnTo>
                            <a:pt x="23" y="149"/>
                          </a:lnTo>
                          <a:lnTo>
                            <a:pt x="23" y="126"/>
                          </a:lnTo>
                          <a:lnTo>
                            <a:pt x="23" y="115"/>
                          </a:lnTo>
                          <a:lnTo>
                            <a:pt x="11" y="126"/>
                          </a:lnTo>
                          <a:lnTo>
                            <a:pt x="0" y="126"/>
                          </a:lnTo>
                          <a:lnTo>
                            <a:pt x="0" y="103"/>
                          </a:lnTo>
                          <a:lnTo>
                            <a:pt x="11" y="103"/>
                          </a:lnTo>
                          <a:lnTo>
                            <a:pt x="11" y="80"/>
                          </a:lnTo>
                          <a:lnTo>
                            <a:pt x="11" y="69"/>
                          </a:lnTo>
                          <a:lnTo>
                            <a:pt x="23" y="69"/>
                          </a:lnTo>
                          <a:lnTo>
                            <a:pt x="34" y="80"/>
                          </a:lnTo>
                          <a:lnTo>
                            <a:pt x="34" y="69"/>
                          </a:lnTo>
                          <a:lnTo>
                            <a:pt x="34" y="57"/>
                          </a:lnTo>
                          <a:lnTo>
                            <a:pt x="23" y="57"/>
                          </a:lnTo>
                          <a:lnTo>
                            <a:pt x="34" y="57"/>
                          </a:lnTo>
                          <a:lnTo>
                            <a:pt x="46" y="57"/>
                          </a:lnTo>
                          <a:lnTo>
                            <a:pt x="46" y="46"/>
                          </a:lnTo>
                          <a:lnTo>
                            <a:pt x="34" y="34"/>
                          </a:lnTo>
                          <a:lnTo>
                            <a:pt x="34" y="23"/>
                          </a:lnTo>
                          <a:lnTo>
                            <a:pt x="23" y="23"/>
                          </a:lnTo>
                          <a:lnTo>
                            <a:pt x="11" y="12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35" name="Freeform 197"/>
                    <p:cNvSpPr>
                      <a:spLocks/>
                    </p:cNvSpPr>
                    <p:nvPr/>
                  </p:nvSpPr>
                  <p:spPr bwMode="gray">
                    <a:xfrm>
                      <a:off x="4238" y="1430"/>
                      <a:ext cx="116" cy="12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2" y="0"/>
                        </a:cxn>
                        <a:cxn ang="0">
                          <a:pos x="12" y="12"/>
                        </a:cxn>
                        <a:cxn ang="0">
                          <a:pos x="35" y="23"/>
                        </a:cxn>
                        <a:cxn ang="0">
                          <a:pos x="35" y="46"/>
                        </a:cxn>
                        <a:cxn ang="0">
                          <a:pos x="46" y="46"/>
                        </a:cxn>
                        <a:cxn ang="0">
                          <a:pos x="58" y="46"/>
                        </a:cxn>
                        <a:cxn ang="0">
                          <a:pos x="69" y="46"/>
                        </a:cxn>
                        <a:cxn ang="0">
                          <a:pos x="81" y="58"/>
                        </a:cxn>
                        <a:cxn ang="0">
                          <a:pos x="92" y="69"/>
                        </a:cxn>
                        <a:cxn ang="0">
                          <a:pos x="104" y="69"/>
                        </a:cxn>
                        <a:cxn ang="0">
                          <a:pos x="92" y="81"/>
                        </a:cxn>
                        <a:cxn ang="0">
                          <a:pos x="81" y="81"/>
                        </a:cxn>
                        <a:cxn ang="0">
                          <a:pos x="92" y="92"/>
                        </a:cxn>
                        <a:cxn ang="0">
                          <a:pos x="104" y="104"/>
                        </a:cxn>
                        <a:cxn ang="0">
                          <a:pos x="115" y="104"/>
                        </a:cxn>
                        <a:cxn ang="0">
                          <a:pos x="115" y="115"/>
                        </a:cxn>
                        <a:cxn ang="0">
                          <a:pos x="104" y="115"/>
                        </a:cxn>
                        <a:cxn ang="0">
                          <a:pos x="104" y="127"/>
                        </a:cxn>
                        <a:cxn ang="0">
                          <a:pos x="92" y="127"/>
                        </a:cxn>
                        <a:cxn ang="0">
                          <a:pos x="81" y="115"/>
                        </a:cxn>
                        <a:cxn ang="0">
                          <a:pos x="69" y="104"/>
                        </a:cxn>
                        <a:cxn ang="0">
                          <a:pos x="58" y="81"/>
                        </a:cxn>
                        <a:cxn ang="0">
                          <a:pos x="46" y="69"/>
                        </a:cxn>
                        <a:cxn ang="0">
                          <a:pos x="35" y="46"/>
                        </a:cxn>
                        <a:cxn ang="0">
                          <a:pos x="23" y="46"/>
                        </a:cxn>
                        <a:cxn ang="0">
                          <a:pos x="12" y="46"/>
                        </a:cxn>
                        <a:cxn ang="0">
                          <a:pos x="12" y="35"/>
                        </a:cxn>
                        <a:cxn ang="0">
                          <a:pos x="0" y="2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116" h="128">
                          <a:moveTo>
                            <a:pt x="0" y="0"/>
                          </a:moveTo>
                          <a:lnTo>
                            <a:pt x="12" y="0"/>
                          </a:lnTo>
                          <a:lnTo>
                            <a:pt x="12" y="12"/>
                          </a:lnTo>
                          <a:lnTo>
                            <a:pt x="35" y="23"/>
                          </a:lnTo>
                          <a:lnTo>
                            <a:pt x="35" y="46"/>
                          </a:lnTo>
                          <a:lnTo>
                            <a:pt x="46" y="46"/>
                          </a:lnTo>
                          <a:lnTo>
                            <a:pt x="58" y="46"/>
                          </a:lnTo>
                          <a:lnTo>
                            <a:pt x="69" y="46"/>
                          </a:lnTo>
                          <a:lnTo>
                            <a:pt x="81" y="58"/>
                          </a:lnTo>
                          <a:lnTo>
                            <a:pt x="92" y="69"/>
                          </a:lnTo>
                          <a:lnTo>
                            <a:pt x="104" y="69"/>
                          </a:lnTo>
                          <a:lnTo>
                            <a:pt x="92" y="81"/>
                          </a:lnTo>
                          <a:lnTo>
                            <a:pt x="81" y="81"/>
                          </a:lnTo>
                          <a:lnTo>
                            <a:pt x="92" y="92"/>
                          </a:lnTo>
                          <a:lnTo>
                            <a:pt x="104" y="104"/>
                          </a:lnTo>
                          <a:lnTo>
                            <a:pt x="115" y="104"/>
                          </a:lnTo>
                          <a:lnTo>
                            <a:pt x="115" y="115"/>
                          </a:lnTo>
                          <a:lnTo>
                            <a:pt x="104" y="115"/>
                          </a:lnTo>
                          <a:lnTo>
                            <a:pt x="104" y="127"/>
                          </a:lnTo>
                          <a:lnTo>
                            <a:pt x="92" y="127"/>
                          </a:lnTo>
                          <a:lnTo>
                            <a:pt x="81" y="115"/>
                          </a:lnTo>
                          <a:lnTo>
                            <a:pt x="69" y="104"/>
                          </a:lnTo>
                          <a:lnTo>
                            <a:pt x="58" y="81"/>
                          </a:lnTo>
                          <a:lnTo>
                            <a:pt x="46" y="69"/>
                          </a:lnTo>
                          <a:lnTo>
                            <a:pt x="35" y="46"/>
                          </a:lnTo>
                          <a:lnTo>
                            <a:pt x="23" y="46"/>
                          </a:lnTo>
                          <a:lnTo>
                            <a:pt x="12" y="46"/>
                          </a:lnTo>
                          <a:lnTo>
                            <a:pt x="12" y="35"/>
                          </a:lnTo>
                          <a:lnTo>
                            <a:pt x="0" y="23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96" name="Group 198"/>
                  <p:cNvGrpSpPr>
                    <a:grpSpLocks/>
                  </p:cNvGrpSpPr>
                  <p:nvPr/>
                </p:nvGrpSpPr>
                <p:grpSpPr bwMode="auto">
                  <a:xfrm>
                    <a:off x="2652" y="1189"/>
                    <a:ext cx="1771" cy="2012"/>
                    <a:chOff x="2652" y="1189"/>
                    <a:chExt cx="1771" cy="2012"/>
                  </a:xfrm>
                </p:grpSpPr>
                <p:sp>
                  <p:nvSpPr>
                    <p:cNvPr id="117" name="Freeform 199"/>
                    <p:cNvSpPr>
                      <a:spLocks/>
                    </p:cNvSpPr>
                    <p:nvPr/>
                  </p:nvSpPr>
                  <p:spPr bwMode="gray">
                    <a:xfrm>
                      <a:off x="2652" y="1683"/>
                      <a:ext cx="886" cy="932"/>
                    </a:xfrm>
                    <a:custGeom>
                      <a:avLst/>
                      <a:gdLst/>
                      <a:ahLst/>
                      <a:cxnLst>
                        <a:cxn ang="0">
                          <a:pos x="678" y="149"/>
                        </a:cxn>
                        <a:cxn ang="0">
                          <a:pos x="759" y="299"/>
                        </a:cxn>
                        <a:cxn ang="0">
                          <a:pos x="793" y="345"/>
                        </a:cxn>
                        <a:cxn ang="0">
                          <a:pos x="862" y="333"/>
                        </a:cxn>
                        <a:cxn ang="0">
                          <a:pos x="885" y="368"/>
                        </a:cxn>
                        <a:cxn ang="0">
                          <a:pos x="793" y="471"/>
                        </a:cxn>
                        <a:cxn ang="0">
                          <a:pos x="724" y="597"/>
                        </a:cxn>
                        <a:cxn ang="0">
                          <a:pos x="736" y="632"/>
                        </a:cxn>
                        <a:cxn ang="0">
                          <a:pos x="736" y="678"/>
                        </a:cxn>
                        <a:cxn ang="0">
                          <a:pos x="701" y="701"/>
                        </a:cxn>
                        <a:cxn ang="0">
                          <a:pos x="655" y="758"/>
                        </a:cxn>
                        <a:cxn ang="0">
                          <a:pos x="644" y="804"/>
                        </a:cxn>
                        <a:cxn ang="0">
                          <a:pos x="598" y="873"/>
                        </a:cxn>
                        <a:cxn ang="0">
                          <a:pos x="575" y="885"/>
                        </a:cxn>
                        <a:cxn ang="0">
                          <a:pos x="517" y="919"/>
                        </a:cxn>
                        <a:cxn ang="0">
                          <a:pos x="448" y="908"/>
                        </a:cxn>
                        <a:cxn ang="0">
                          <a:pos x="448" y="885"/>
                        </a:cxn>
                        <a:cxn ang="0">
                          <a:pos x="414" y="839"/>
                        </a:cxn>
                        <a:cxn ang="0">
                          <a:pos x="414" y="793"/>
                        </a:cxn>
                        <a:cxn ang="0">
                          <a:pos x="402" y="770"/>
                        </a:cxn>
                        <a:cxn ang="0">
                          <a:pos x="379" y="735"/>
                        </a:cxn>
                        <a:cxn ang="0">
                          <a:pos x="356" y="701"/>
                        </a:cxn>
                        <a:cxn ang="0">
                          <a:pos x="379" y="643"/>
                        </a:cxn>
                        <a:cxn ang="0">
                          <a:pos x="368" y="551"/>
                        </a:cxn>
                        <a:cxn ang="0">
                          <a:pos x="333" y="505"/>
                        </a:cxn>
                        <a:cxn ang="0">
                          <a:pos x="322" y="437"/>
                        </a:cxn>
                        <a:cxn ang="0">
                          <a:pos x="264" y="414"/>
                        </a:cxn>
                        <a:cxn ang="0">
                          <a:pos x="195" y="414"/>
                        </a:cxn>
                        <a:cxn ang="0">
                          <a:pos x="46" y="356"/>
                        </a:cxn>
                        <a:cxn ang="0">
                          <a:pos x="11" y="264"/>
                        </a:cxn>
                        <a:cxn ang="0">
                          <a:pos x="34" y="207"/>
                        </a:cxn>
                        <a:cxn ang="0">
                          <a:pos x="92" y="138"/>
                        </a:cxn>
                        <a:cxn ang="0">
                          <a:pos x="161" y="80"/>
                        </a:cxn>
                        <a:cxn ang="0">
                          <a:pos x="218" y="23"/>
                        </a:cxn>
                        <a:cxn ang="0">
                          <a:pos x="276" y="46"/>
                        </a:cxn>
                        <a:cxn ang="0">
                          <a:pos x="322" y="11"/>
                        </a:cxn>
                        <a:cxn ang="0">
                          <a:pos x="368" y="0"/>
                        </a:cxn>
                        <a:cxn ang="0">
                          <a:pos x="391" y="34"/>
                        </a:cxn>
                        <a:cxn ang="0">
                          <a:pos x="460" y="80"/>
                        </a:cxn>
                        <a:cxn ang="0">
                          <a:pos x="494" y="57"/>
                        </a:cxn>
                        <a:cxn ang="0">
                          <a:pos x="563" y="69"/>
                        </a:cxn>
                        <a:cxn ang="0">
                          <a:pos x="632" y="69"/>
                        </a:cxn>
                      </a:cxnLst>
                      <a:rect l="0" t="0" r="r" b="b"/>
                      <a:pathLst>
                        <a:path w="886" h="932">
                          <a:moveTo>
                            <a:pt x="655" y="115"/>
                          </a:moveTo>
                          <a:lnTo>
                            <a:pt x="678" y="149"/>
                          </a:lnTo>
                          <a:lnTo>
                            <a:pt x="701" y="207"/>
                          </a:lnTo>
                          <a:lnTo>
                            <a:pt x="759" y="299"/>
                          </a:lnTo>
                          <a:lnTo>
                            <a:pt x="782" y="322"/>
                          </a:lnTo>
                          <a:lnTo>
                            <a:pt x="793" y="345"/>
                          </a:lnTo>
                          <a:lnTo>
                            <a:pt x="828" y="345"/>
                          </a:lnTo>
                          <a:lnTo>
                            <a:pt x="862" y="333"/>
                          </a:lnTo>
                          <a:lnTo>
                            <a:pt x="885" y="333"/>
                          </a:lnTo>
                          <a:lnTo>
                            <a:pt x="885" y="368"/>
                          </a:lnTo>
                          <a:lnTo>
                            <a:pt x="874" y="391"/>
                          </a:lnTo>
                          <a:lnTo>
                            <a:pt x="793" y="471"/>
                          </a:lnTo>
                          <a:lnTo>
                            <a:pt x="724" y="563"/>
                          </a:lnTo>
                          <a:lnTo>
                            <a:pt x="724" y="597"/>
                          </a:lnTo>
                          <a:lnTo>
                            <a:pt x="747" y="620"/>
                          </a:lnTo>
                          <a:lnTo>
                            <a:pt x="736" y="632"/>
                          </a:lnTo>
                          <a:lnTo>
                            <a:pt x="736" y="666"/>
                          </a:lnTo>
                          <a:lnTo>
                            <a:pt x="736" y="678"/>
                          </a:lnTo>
                          <a:lnTo>
                            <a:pt x="713" y="701"/>
                          </a:lnTo>
                          <a:lnTo>
                            <a:pt x="701" y="701"/>
                          </a:lnTo>
                          <a:lnTo>
                            <a:pt x="678" y="724"/>
                          </a:lnTo>
                          <a:lnTo>
                            <a:pt x="655" y="758"/>
                          </a:lnTo>
                          <a:lnTo>
                            <a:pt x="655" y="793"/>
                          </a:lnTo>
                          <a:lnTo>
                            <a:pt x="644" y="804"/>
                          </a:lnTo>
                          <a:lnTo>
                            <a:pt x="621" y="839"/>
                          </a:lnTo>
                          <a:lnTo>
                            <a:pt x="598" y="873"/>
                          </a:lnTo>
                          <a:lnTo>
                            <a:pt x="586" y="885"/>
                          </a:lnTo>
                          <a:lnTo>
                            <a:pt x="575" y="885"/>
                          </a:lnTo>
                          <a:lnTo>
                            <a:pt x="552" y="908"/>
                          </a:lnTo>
                          <a:lnTo>
                            <a:pt x="517" y="919"/>
                          </a:lnTo>
                          <a:lnTo>
                            <a:pt x="471" y="931"/>
                          </a:lnTo>
                          <a:lnTo>
                            <a:pt x="448" y="908"/>
                          </a:lnTo>
                          <a:lnTo>
                            <a:pt x="448" y="896"/>
                          </a:lnTo>
                          <a:lnTo>
                            <a:pt x="448" y="885"/>
                          </a:lnTo>
                          <a:lnTo>
                            <a:pt x="425" y="873"/>
                          </a:lnTo>
                          <a:lnTo>
                            <a:pt x="414" y="839"/>
                          </a:lnTo>
                          <a:lnTo>
                            <a:pt x="414" y="816"/>
                          </a:lnTo>
                          <a:lnTo>
                            <a:pt x="414" y="793"/>
                          </a:lnTo>
                          <a:lnTo>
                            <a:pt x="402" y="781"/>
                          </a:lnTo>
                          <a:lnTo>
                            <a:pt x="402" y="770"/>
                          </a:lnTo>
                          <a:lnTo>
                            <a:pt x="391" y="758"/>
                          </a:lnTo>
                          <a:lnTo>
                            <a:pt x="379" y="735"/>
                          </a:lnTo>
                          <a:lnTo>
                            <a:pt x="368" y="724"/>
                          </a:lnTo>
                          <a:lnTo>
                            <a:pt x="356" y="701"/>
                          </a:lnTo>
                          <a:lnTo>
                            <a:pt x="356" y="678"/>
                          </a:lnTo>
                          <a:lnTo>
                            <a:pt x="379" y="643"/>
                          </a:lnTo>
                          <a:lnTo>
                            <a:pt x="391" y="597"/>
                          </a:lnTo>
                          <a:lnTo>
                            <a:pt x="368" y="551"/>
                          </a:lnTo>
                          <a:lnTo>
                            <a:pt x="345" y="528"/>
                          </a:lnTo>
                          <a:lnTo>
                            <a:pt x="333" y="505"/>
                          </a:lnTo>
                          <a:lnTo>
                            <a:pt x="333" y="471"/>
                          </a:lnTo>
                          <a:lnTo>
                            <a:pt x="322" y="437"/>
                          </a:lnTo>
                          <a:lnTo>
                            <a:pt x="299" y="437"/>
                          </a:lnTo>
                          <a:lnTo>
                            <a:pt x="264" y="414"/>
                          </a:lnTo>
                          <a:lnTo>
                            <a:pt x="230" y="402"/>
                          </a:lnTo>
                          <a:lnTo>
                            <a:pt x="195" y="414"/>
                          </a:lnTo>
                          <a:lnTo>
                            <a:pt x="103" y="414"/>
                          </a:lnTo>
                          <a:lnTo>
                            <a:pt x="46" y="356"/>
                          </a:lnTo>
                          <a:lnTo>
                            <a:pt x="0" y="287"/>
                          </a:lnTo>
                          <a:lnTo>
                            <a:pt x="11" y="264"/>
                          </a:lnTo>
                          <a:lnTo>
                            <a:pt x="34" y="253"/>
                          </a:lnTo>
                          <a:lnTo>
                            <a:pt x="34" y="207"/>
                          </a:lnTo>
                          <a:lnTo>
                            <a:pt x="57" y="172"/>
                          </a:lnTo>
                          <a:lnTo>
                            <a:pt x="92" y="138"/>
                          </a:lnTo>
                          <a:lnTo>
                            <a:pt x="126" y="115"/>
                          </a:lnTo>
                          <a:lnTo>
                            <a:pt x="161" y="80"/>
                          </a:lnTo>
                          <a:lnTo>
                            <a:pt x="172" y="69"/>
                          </a:lnTo>
                          <a:lnTo>
                            <a:pt x="218" y="23"/>
                          </a:lnTo>
                          <a:lnTo>
                            <a:pt x="253" y="46"/>
                          </a:lnTo>
                          <a:lnTo>
                            <a:pt x="276" y="46"/>
                          </a:lnTo>
                          <a:lnTo>
                            <a:pt x="299" y="23"/>
                          </a:lnTo>
                          <a:lnTo>
                            <a:pt x="322" y="11"/>
                          </a:lnTo>
                          <a:lnTo>
                            <a:pt x="345" y="23"/>
                          </a:lnTo>
                          <a:lnTo>
                            <a:pt x="368" y="0"/>
                          </a:lnTo>
                          <a:lnTo>
                            <a:pt x="391" y="0"/>
                          </a:lnTo>
                          <a:lnTo>
                            <a:pt x="391" y="34"/>
                          </a:lnTo>
                          <a:lnTo>
                            <a:pt x="414" y="57"/>
                          </a:lnTo>
                          <a:lnTo>
                            <a:pt x="460" y="80"/>
                          </a:lnTo>
                          <a:lnTo>
                            <a:pt x="494" y="80"/>
                          </a:lnTo>
                          <a:lnTo>
                            <a:pt x="494" y="57"/>
                          </a:lnTo>
                          <a:lnTo>
                            <a:pt x="529" y="57"/>
                          </a:lnTo>
                          <a:lnTo>
                            <a:pt x="563" y="69"/>
                          </a:lnTo>
                          <a:lnTo>
                            <a:pt x="598" y="80"/>
                          </a:lnTo>
                          <a:lnTo>
                            <a:pt x="632" y="69"/>
                          </a:lnTo>
                          <a:lnTo>
                            <a:pt x="655" y="115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grpSp>
                  <p:nvGrpSpPr>
                    <p:cNvPr id="103" name="Group 20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721" y="1189"/>
                      <a:ext cx="380" cy="311"/>
                      <a:chOff x="2721" y="1189"/>
                      <a:chExt cx="380" cy="311"/>
                    </a:xfrm>
                  </p:grpSpPr>
                  <p:grpSp>
                    <p:nvGrpSpPr>
                      <p:cNvPr id="104" name="Group 201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2870" y="1384"/>
                        <a:ext cx="116" cy="116"/>
                        <a:chOff x="2870" y="1384"/>
                        <a:chExt cx="116" cy="116"/>
                      </a:xfrm>
                    </p:grpSpPr>
                    <p:sp>
                      <p:nvSpPr>
                        <p:cNvPr id="124" name="Freeform 202"/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870" y="1430"/>
                          <a:ext cx="59" cy="59"/>
                        </a:xfrm>
                        <a:custGeom>
                          <a:avLst/>
                          <a:gdLst/>
                          <a:ahLst/>
                          <a:cxnLst>
                            <a:cxn ang="0">
                              <a:pos x="12" y="23"/>
                            </a:cxn>
                            <a:cxn ang="0">
                              <a:pos x="12" y="12"/>
                            </a:cxn>
                            <a:cxn ang="0">
                              <a:pos x="23" y="12"/>
                            </a:cxn>
                            <a:cxn ang="0">
                              <a:pos x="46" y="0"/>
                            </a:cxn>
                            <a:cxn ang="0">
                              <a:pos x="46" y="12"/>
                            </a:cxn>
                            <a:cxn ang="0">
                              <a:pos x="58" y="12"/>
                            </a:cxn>
                            <a:cxn ang="0">
                              <a:pos x="46" y="23"/>
                            </a:cxn>
                            <a:cxn ang="0">
                              <a:pos x="46" y="35"/>
                            </a:cxn>
                            <a:cxn ang="0">
                              <a:pos x="46" y="46"/>
                            </a:cxn>
                            <a:cxn ang="0">
                              <a:pos x="35" y="46"/>
                            </a:cxn>
                            <a:cxn ang="0">
                              <a:pos x="35" y="58"/>
                            </a:cxn>
                            <a:cxn ang="0">
                              <a:pos x="23" y="58"/>
                            </a:cxn>
                            <a:cxn ang="0">
                              <a:pos x="12" y="58"/>
                            </a:cxn>
                            <a:cxn ang="0">
                              <a:pos x="0" y="58"/>
                            </a:cxn>
                            <a:cxn ang="0">
                              <a:pos x="0" y="46"/>
                            </a:cxn>
                            <a:cxn ang="0">
                              <a:pos x="12" y="46"/>
                            </a:cxn>
                            <a:cxn ang="0">
                              <a:pos x="12" y="35"/>
                            </a:cxn>
                            <a:cxn ang="0">
                              <a:pos x="23" y="35"/>
                            </a:cxn>
                            <a:cxn ang="0">
                              <a:pos x="12" y="23"/>
                            </a:cxn>
                          </a:cxnLst>
                          <a:rect l="0" t="0" r="r" b="b"/>
                          <a:pathLst>
                            <a:path w="59" h="59">
                              <a:moveTo>
                                <a:pt x="12" y="23"/>
                              </a:moveTo>
                              <a:lnTo>
                                <a:pt x="12" y="12"/>
                              </a:lnTo>
                              <a:lnTo>
                                <a:pt x="23" y="12"/>
                              </a:lnTo>
                              <a:lnTo>
                                <a:pt x="46" y="0"/>
                              </a:lnTo>
                              <a:lnTo>
                                <a:pt x="46" y="12"/>
                              </a:lnTo>
                              <a:lnTo>
                                <a:pt x="58" y="12"/>
                              </a:lnTo>
                              <a:lnTo>
                                <a:pt x="46" y="23"/>
                              </a:lnTo>
                              <a:lnTo>
                                <a:pt x="46" y="35"/>
                              </a:lnTo>
                              <a:lnTo>
                                <a:pt x="46" y="46"/>
                              </a:lnTo>
                              <a:lnTo>
                                <a:pt x="35" y="46"/>
                              </a:lnTo>
                              <a:lnTo>
                                <a:pt x="35" y="58"/>
                              </a:lnTo>
                              <a:lnTo>
                                <a:pt x="23" y="58"/>
                              </a:lnTo>
                              <a:lnTo>
                                <a:pt x="12" y="58"/>
                              </a:lnTo>
                              <a:lnTo>
                                <a:pt x="0" y="58"/>
                              </a:lnTo>
                              <a:lnTo>
                                <a:pt x="0" y="46"/>
                              </a:lnTo>
                              <a:lnTo>
                                <a:pt x="12" y="46"/>
                              </a:lnTo>
                              <a:lnTo>
                                <a:pt x="12" y="35"/>
                              </a:lnTo>
                              <a:lnTo>
                                <a:pt x="23" y="35"/>
                              </a:lnTo>
                              <a:lnTo>
                                <a:pt x="12" y="23"/>
                              </a:lnTo>
                            </a:path>
                          </a:pathLst>
                        </a:custGeom>
                        <a:solidFill>
                          <a:srgbClr val="EAEAEA"/>
                        </a:solidFill>
                        <a:ln w="3175" cap="rnd" cmpd="sng">
                          <a:solidFill>
                            <a:srgbClr val="DDDDDD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/>
                        <a:lstStyle/>
                        <a:p>
                          <a:pPr algn="l" rtl="0" eaLnBrk="0" fontAlgn="t" latinLnBrk="1" hangingPunct="0">
                            <a:spcBef>
                              <a:spcPct val="50000"/>
                            </a:spcBef>
                            <a:spcAft>
                              <a:spcPct val="0"/>
                            </a:spcAft>
                          </a:pPr>
                          <a:endParaRPr lang="ko-KR" altLang="en-US" sz="1000" kern="1200" dirty="0">
                            <a:solidFill>
                              <a:srgbClr val="000000"/>
                            </a:solidFill>
                            <a:latin typeface="맑은 고딕" pitchFamily="50" charset="-127"/>
                            <a:ea typeface="맑은 고딕" pitchFamily="50" charset="-127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25" name="Freeform 203"/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916" y="1384"/>
                          <a:ext cx="70" cy="116"/>
                        </a:xfrm>
                        <a:custGeom>
                          <a:avLst/>
                          <a:gdLst/>
                          <a:ahLst/>
                          <a:cxnLst>
                            <a:cxn ang="0">
                              <a:pos x="23" y="12"/>
                            </a:cxn>
                            <a:cxn ang="0">
                              <a:pos x="35" y="12"/>
                            </a:cxn>
                            <a:cxn ang="0">
                              <a:pos x="46" y="12"/>
                            </a:cxn>
                            <a:cxn ang="0">
                              <a:pos x="58" y="12"/>
                            </a:cxn>
                            <a:cxn ang="0">
                              <a:pos x="58" y="0"/>
                            </a:cxn>
                            <a:cxn ang="0">
                              <a:pos x="69" y="0"/>
                            </a:cxn>
                            <a:cxn ang="0">
                              <a:pos x="69" y="12"/>
                            </a:cxn>
                            <a:cxn ang="0">
                              <a:pos x="58" y="12"/>
                            </a:cxn>
                            <a:cxn ang="0">
                              <a:pos x="58" y="23"/>
                            </a:cxn>
                            <a:cxn ang="0">
                              <a:pos x="69" y="23"/>
                            </a:cxn>
                            <a:cxn ang="0">
                              <a:pos x="69" y="35"/>
                            </a:cxn>
                            <a:cxn ang="0">
                              <a:pos x="58" y="35"/>
                            </a:cxn>
                            <a:cxn ang="0">
                              <a:pos x="58" y="46"/>
                            </a:cxn>
                            <a:cxn ang="0">
                              <a:pos x="69" y="58"/>
                            </a:cxn>
                            <a:cxn ang="0">
                              <a:pos x="69" y="69"/>
                            </a:cxn>
                            <a:cxn ang="0">
                              <a:pos x="69" y="81"/>
                            </a:cxn>
                            <a:cxn ang="0">
                              <a:pos x="69" y="92"/>
                            </a:cxn>
                            <a:cxn ang="0">
                              <a:pos x="58" y="104"/>
                            </a:cxn>
                            <a:cxn ang="0">
                              <a:pos x="69" y="104"/>
                            </a:cxn>
                            <a:cxn ang="0">
                              <a:pos x="69" y="115"/>
                            </a:cxn>
                            <a:cxn ang="0">
                              <a:pos x="58" y="115"/>
                            </a:cxn>
                            <a:cxn ang="0">
                              <a:pos x="46" y="104"/>
                            </a:cxn>
                            <a:cxn ang="0">
                              <a:pos x="35" y="115"/>
                            </a:cxn>
                            <a:cxn ang="0">
                              <a:pos x="23" y="115"/>
                            </a:cxn>
                            <a:cxn ang="0">
                              <a:pos x="12" y="115"/>
                            </a:cxn>
                            <a:cxn ang="0">
                              <a:pos x="0" y="115"/>
                            </a:cxn>
                            <a:cxn ang="0">
                              <a:pos x="0" y="104"/>
                            </a:cxn>
                            <a:cxn ang="0">
                              <a:pos x="12" y="92"/>
                            </a:cxn>
                            <a:cxn ang="0">
                              <a:pos x="23" y="92"/>
                            </a:cxn>
                            <a:cxn ang="0">
                              <a:pos x="12" y="92"/>
                            </a:cxn>
                            <a:cxn ang="0">
                              <a:pos x="12" y="81"/>
                            </a:cxn>
                            <a:cxn ang="0">
                              <a:pos x="23" y="81"/>
                            </a:cxn>
                            <a:cxn ang="0">
                              <a:pos x="35" y="81"/>
                            </a:cxn>
                            <a:cxn ang="0">
                              <a:pos x="35" y="69"/>
                            </a:cxn>
                            <a:cxn ang="0">
                              <a:pos x="46" y="58"/>
                            </a:cxn>
                            <a:cxn ang="0">
                              <a:pos x="35" y="58"/>
                            </a:cxn>
                            <a:cxn ang="0">
                              <a:pos x="35" y="46"/>
                            </a:cxn>
                            <a:cxn ang="0">
                              <a:pos x="23" y="46"/>
                            </a:cxn>
                            <a:cxn ang="0">
                              <a:pos x="23" y="35"/>
                            </a:cxn>
                            <a:cxn ang="0">
                              <a:pos x="23" y="12"/>
                            </a:cxn>
                          </a:cxnLst>
                          <a:rect l="0" t="0" r="r" b="b"/>
                          <a:pathLst>
                            <a:path w="70" h="116">
                              <a:moveTo>
                                <a:pt x="23" y="12"/>
                              </a:moveTo>
                              <a:lnTo>
                                <a:pt x="35" y="12"/>
                              </a:lnTo>
                              <a:lnTo>
                                <a:pt x="46" y="12"/>
                              </a:lnTo>
                              <a:lnTo>
                                <a:pt x="58" y="12"/>
                              </a:lnTo>
                              <a:lnTo>
                                <a:pt x="58" y="0"/>
                              </a:lnTo>
                              <a:lnTo>
                                <a:pt x="69" y="0"/>
                              </a:lnTo>
                              <a:lnTo>
                                <a:pt x="69" y="12"/>
                              </a:lnTo>
                              <a:lnTo>
                                <a:pt x="58" y="12"/>
                              </a:lnTo>
                              <a:lnTo>
                                <a:pt x="58" y="23"/>
                              </a:lnTo>
                              <a:lnTo>
                                <a:pt x="69" y="23"/>
                              </a:lnTo>
                              <a:lnTo>
                                <a:pt x="69" y="35"/>
                              </a:lnTo>
                              <a:lnTo>
                                <a:pt x="58" y="35"/>
                              </a:lnTo>
                              <a:lnTo>
                                <a:pt x="58" y="46"/>
                              </a:lnTo>
                              <a:lnTo>
                                <a:pt x="69" y="58"/>
                              </a:lnTo>
                              <a:lnTo>
                                <a:pt x="69" y="69"/>
                              </a:lnTo>
                              <a:lnTo>
                                <a:pt x="69" y="81"/>
                              </a:lnTo>
                              <a:lnTo>
                                <a:pt x="69" y="92"/>
                              </a:lnTo>
                              <a:lnTo>
                                <a:pt x="58" y="104"/>
                              </a:lnTo>
                              <a:lnTo>
                                <a:pt x="69" y="104"/>
                              </a:lnTo>
                              <a:lnTo>
                                <a:pt x="69" y="115"/>
                              </a:lnTo>
                              <a:lnTo>
                                <a:pt x="58" y="115"/>
                              </a:lnTo>
                              <a:lnTo>
                                <a:pt x="46" y="104"/>
                              </a:lnTo>
                              <a:lnTo>
                                <a:pt x="35" y="115"/>
                              </a:lnTo>
                              <a:lnTo>
                                <a:pt x="23" y="115"/>
                              </a:lnTo>
                              <a:lnTo>
                                <a:pt x="12" y="115"/>
                              </a:lnTo>
                              <a:lnTo>
                                <a:pt x="0" y="115"/>
                              </a:lnTo>
                              <a:lnTo>
                                <a:pt x="0" y="104"/>
                              </a:lnTo>
                              <a:lnTo>
                                <a:pt x="12" y="92"/>
                              </a:lnTo>
                              <a:lnTo>
                                <a:pt x="23" y="92"/>
                              </a:lnTo>
                              <a:lnTo>
                                <a:pt x="12" y="92"/>
                              </a:lnTo>
                              <a:lnTo>
                                <a:pt x="12" y="81"/>
                              </a:lnTo>
                              <a:lnTo>
                                <a:pt x="23" y="81"/>
                              </a:lnTo>
                              <a:lnTo>
                                <a:pt x="35" y="81"/>
                              </a:lnTo>
                              <a:lnTo>
                                <a:pt x="35" y="69"/>
                              </a:lnTo>
                              <a:lnTo>
                                <a:pt x="46" y="58"/>
                              </a:lnTo>
                              <a:lnTo>
                                <a:pt x="35" y="58"/>
                              </a:lnTo>
                              <a:lnTo>
                                <a:pt x="35" y="46"/>
                              </a:lnTo>
                              <a:lnTo>
                                <a:pt x="23" y="46"/>
                              </a:lnTo>
                              <a:lnTo>
                                <a:pt x="23" y="35"/>
                              </a:lnTo>
                              <a:lnTo>
                                <a:pt x="23" y="12"/>
                              </a:lnTo>
                            </a:path>
                          </a:pathLst>
                        </a:custGeom>
                        <a:solidFill>
                          <a:srgbClr val="EAEAEA"/>
                        </a:solidFill>
                        <a:ln w="3175" cap="rnd" cmpd="sng">
                          <a:solidFill>
                            <a:srgbClr val="DDDDDD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/>
                        <a:lstStyle/>
                        <a:p>
                          <a:pPr algn="l" rtl="0" eaLnBrk="0" fontAlgn="t" latinLnBrk="1" hangingPunct="0">
                            <a:spcBef>
                              <a:spcPct val="50000"/>
                            </a:spcBef>
                            <a:spcAft>
                              <a:spcPct val="0"/>
                            </a:spcAft>
                          </a:pPr>
                          <a:endParaRPr lang="ko-KR" altLang="en-US" sz="1000" kern="1200" dirty="0">
                            <a:solidFill>
                              <a:srgbClr val="000000"/>
                            </a:solidFill>
                            <a:latin typeface="맑은 고딕" pitchFamily="50" charset="-127"/>
                            <a:ea typeface="맑은 고딕" pitchFamily="50" charset="-127"/>
                            <a:cs typeface="+mn-cs"/>
                          </a:endParaRPr>
                        </a:p>
                      </p:txBody>
                    </p:sp>
                  </p:grpSp>
                  <p:sp>
                    <p:nvSpPr>
                      <p:cNvPr id="123" name="Freeform 204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2721" y="1189"/>
                        <a:ext cx="380" cy="196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3" y="195"/>
                          </a:cxn>
                          <a:cxn ang="0">
                            <a:pos x="34" y="172"/>
                          </a:cxn>
                          <a:cxn ang="0">
                            <a:pos x="57" y="172"/>
                          </a:cxn>
                          <a:cxn ang="0">
                            <a:pos x="69" y="161"/>
                          </a:cxn>
                          <a:cxn ang="0">
                            <a:pos x="80" y="149"/>
                          </a:cxn>
                          <a:cxn ang="0">
                            <a:pos x="103" y="149"/>
                          </a:cxn>
                          <a:cxn ang="0">
                            <a:pos x="126" y="138"/>
                          </a:cxn>
                          <a:cxn ang="0">
                            <a:pos x="149" y="138"/>
                          </a:cxn>
                          <a:cxn ang="0">
                            <a:pos x="172" y="138"/>
                          </a:cxn>
                          <a:cxn ang="0">
                            <a:pos x="184" y="115"/>
                          </a:cxn>
                          <a:cxn ang="0">
                            <a:pos x="195" y="103"/>
                          </a:cxn>
                          <a:cxn ang="0">
                            <a:pos x="207" y="92"/>
                          </a:cxn>
                          <a:cxn ang="0">
                            <a:pos x="230" y="92"/>
                          </a:cxn>
                          <a:cxn ang="0">
                            <a:pos x="230" y="92"/>
                          </a:cxn>
                          <a:cxn ang="0">
                            <a:pos x="253" y="92"/>
                          </a:cxn>
                          <a:cxn ang="0">
                            <a:pos x="264" y="69"/>
                          </a:cxn>
                          <a:cxn ang="0">
                            <a:pos x="287" y="69"/>
                          </a:cxn>
                          <a:cxn ang="0">
                            <a:pos x="310" y="57"/>
                          </a:cxn>
                          <a:cxn ang="0">
                            <a:pos x="333" y="46"/>
                          </a:cxn>
                          <a:cxn ang="0">
                            <a:pos x="356" y="23"/>
                          </a:cxn>
                          <a:cxn ang="0">
                            <a:pos x="368" y="11"/>
                          </a:cxn>
                          <a:cxn ang="0">
                            <a:pos x="368" y="0"/>
                          </a:cxn>
                          <a:cxn ang="0">
                            <a:pos x="333" y="0"/>
                          </a:cxn>
                          <a:cxn ang="0">
                            <a:pos x="310" y="11"/>
                          </a:cxn>
                          <a:cxn ang="0">
                            <a:pos x="264" y="23"/>
                          </a:cxn>
                          <a:cxn ang="0">
                            <a:pos x="241" y="34"/>
                          </a:cxn>
                          <a:cxn ang="0">
                            <a:pos x="207" y="34"/>
                          </a:cxn>
                          <a:cxn ang="0">
                            <a:pos x="184" y="46"/>
                          </a:cxn>
                          <a:cxn ang="0">
                            <a:pos x="172" y="57"/>
                          </a:cxn>
                          <a:cxn ang="0">
                            <a:pos x="149" y="80"/>
                          </a:cxn>
                          <a:cxn ang="0">
                            <a:pos x="115" y="92"/>
                          </a:cxn>
                          <a:cxn ang="0">
                            <a:pos x="92" y="115"/>
                          </a:cxn>
                          <a:cxn ang="0">
                            <a:pos x="57" y="138"/>
                          </a:cxn>
                          <a:cxn ang="0">
                            <a:pos x="46" y="149"/>
                          </a:cxn>
                          <a:cxn ang="0">
                            <a:pos x="23" y="161"/>
                          </a:cxn>
                        </a:cxnLst>
                        <a:rect l="0" t="0" r="r" b="b"/>
                        <a:pathLst>
                          <a:path w="380" h="196">
                            <a:moveTo>
                              <a:pt x="0" y="195"/>
                            </a:moveTo>
                            <a:lnTo>
                              <a:pt x="23" y="195"/>
                            </a:lnTo>
                            <a:lnTo>
                              <a:pt x="23" y="184"/>
                            </a:lnTo>
                            <a:lnTo>
                              <a:pt x="34" y="172"/>
                            </a:lnTo>
                            <a:lnTo>
                              <a:pt x="46" y="172"/>
                            </a:lnTo>
                            <a:lnTo>
                              <a:pt x="57" y="172"/>
                            </a:lnTo>
                            <a:lnTo>
                              <a:pt x="69" y="172"/>
                            </a:lnTo>
                            <a:lnTo>
                              <a:pt x="69" y="161"/>
                            </a:lnTo>
                            <a:lnTo>
                              <a:pt x="80" y="161"/>
                            </a:lnTo>
                            <a:lnTo>
                              <a:pt x="80" y="149"/>
                            </a:lnTo>
                            <a:lnTo>
                              <a:pt x="92" y="149"/>
                            </a:lnTo>
                            <a:lnTo>
                              <a:pt x="103" y="149"/>
                            </a:lnTo>
                            <a:lnTo>
                              <a:pt x="115" y="138"/>
                            </a:lnTo>
                            <a:lnTo>
                              <a:pt x="126" y="138"/>
                            </a:lnTo>
                            <a:lnTo>
                              <a:pt x="138" y="138"/>
                            </a:lnTo>
                            <a:lnTo>
                              <a:pt x="149" y="138"/>
                            </a:lnTo>
                            <a:lnTo>
                              <a:pt x="161" y="138"/>
                            </a:lnTo>
                            <a:lnTo>
                              <a:pt x="172" y="138"/>
                            </a:lnTo>
                            <a:lnTo>
                              <a:pt x="172" y="126"/>
                            </a:lnTo>
                            <a:lnTo>
                              <a:pt x="184" y="115"/>
                            </a:lnTo>
                            <a:lnTo>
                              <a:pt x="195" y="115"/>
                            </a:lnTo>
                            <a:lnTo>
                              <a:pt x="195" y="103"/>
                            </a:lnTo>
                            <a:lnTo>
                              <a:pt x="207" y="103"/>
                            </a:lnTo>
                            <a:lnTo>
                              <a:pt x="207" y="92"/>
                            </a:lnTo>
                            <a:lnTo>
                              <a:pt x="230" y="80"/>
                            </a:lnTo>
                            <a:lnTo>
                              <a:pt x="230" y="92"/>
                            </a:lnTo>
                            <a:lnTo>
                              <a:pt x="218" y="92"/>
                            </a:lnTo>
                            <a:lnTo>
                              <a:pt x="230" y="92"/>
                            </a:lnTo>
                            <a:lnTo>
                              <a:pt x="241" y="103"/>
                            </a:lnTo>
                            <a:lnTo>
                              <a:pt x="253" y="92"/>
                            </a:lnTo>
                            <a:lnTo>
                              <a:pt x="253" y="80"/>
                            </a:lnTo>
                            <a:lnTo>
                              <a:pt x="264" y="69"/>
                            </a:lnTo>
                            <a:lnTo>
                              <a:pt x="276" y="69"/>
                            </a:lnTo>
                            <a:lnTo>
                              <a:pt x="287" y="69"/>
                            </a:lnTo>
                            <a:lnTo>
                              <a:pt x="299" y="57"/>
                            </a:lnTo>
                            <a:lnTo>
                              <a:pt x="310" y="57"/>
                            </a:lnTo>
                            <a:lnTo>
                              <a:pt x="322" y="46"/>
                            </a:lnTo>
                            <a:lnTo>
                              <a:pt x="333" y="46"/>
                            </a:lnTo>
                            <a:lnTo>
                              <a:pt x="333" y="34"/>
                            </a:lnTo>
                            <a:lnTo>
                              <a:pt x="356" y="23"/>
                            </a:lnTo>
                            <a:lnTo>
                              <a:pt x="356" y="11"/>
                            </a:lnTo>
                            <a:lnTo>
                              <a:pt x="368" y="11"/>
                            </a:lnTo>
                            <a:lnTo>
                              <a:pt x="379" y="0"/>
                            </a:lnTo>
                            <a:lnTo>
                              <a:pt x="368" y="0"/>
                            </a:lnTo>
                            <a:lnTo>
                              <a:pt x="345" y="0"/>
                            </a:lnTo>
                            <a:lnTo>
                              <a:pt x="333" y="0"/>
                            </a:lnTo>
                            <a:lnTo>
                              <a:pt x="322" y="11"/>
                            </a:lnTo>
                            <a:lnTo>
                              <a:pt x="310" y="11"/>
                            </a:lnTo>
                            <a:lnTo>
                              <a:pt x="287" y="11"/>
                            </a:lnTo>
                            <a:lnTo>
                              <a:pt x="264" y="23"/>
                            </a:lnTo>
                            <a:lnTo>
                              <a:pt x="253" y="23"/>
                            </a:lnTo>
                            <a:lnTo>
                              <a:pt x="241" y="34"/>
                            </a:lnTo>
                            <a:lnTo>
                              <a:pt x="230" y="34"/>
                            </a:lnTo>
                            <a:lnTo>
                              <a:pt x="207" y="34"/>
                            </a:lnTo>
                            <a:lnTo>
                              <a:pt x="195" y="46"/>
                            </a:lnTo>
                            <a:lnTo>
                              <a:pt x="184" y="46"/>
                            </a:lnTo>
                            <a:lnTo>
                              <a:pt x="184" y="57"/>
                            </a:lnTo>
                            <a:lnTo>
                              <a:pt x="172" y="57"/>
                            </a:lnTo>
                            <a:lnTo>
                              <a:pt x="161" y="69"/>
                            </a:lnTo>
                            <a:lnTo>
                              <a:pt x="149" y="80"/>
                            </a:lnTo>
                            <a:lnTo>
                              <a:pt x="138" y="80"/>
                            </a:lnTo>
                            <a:lnTo>
                              <a:pt x="115" y="92"/>
                            </a:lnTo>
                            <a:lnTo>
                              <a:pt x="103" y="103"/>
                            </a:lnTo>
                            <a:lnTo>
                              <a:pt x="92" y="115"/>
                            </a:lnTo>
                            <a:lnTo>
                              <a:pt x="80" y="126"/>
                            </a:lnTo>
                            <a:lnTo>
                              <a:pt x="57" y="138"/>
                            </a:lnTo>
                            <a:lnTo>
                              <a:pt x="57" y="149"/>
                            </a:lnTo>
                            <a:lnTo>
                              <a:pt x="46" y="149"/>
                            </a:lnTo>
                            <a:lnTo>
                              <a:pt x="34" y="161"/>
                            </a:lnTo>
                            <a:lnTo>
                              <a:pt x="23" y="161"/>
                            </a:lnTo>
                            <a:lnTo>
                              <a:pt x="0" y="195"/>
                            </a:lnTo>
                          </a:path>
                        </a:pathLst>
                      </a:custGeom>
                      <a:solidFill>
                        <a:srgbClr val="EAEAEA"/>
                      </a:solidFill>
                      <a:ln w="3175" cap="rnd" cmpd="sng">
                        <a:solidFill>
                          <a:srgbClr val="DDDDDD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algn="l" rtl="0" eaLnBrk="0" fontAlgn="t" latinLnBrk="1" hangingPunct="0">
                          <a:spcBef>
                            <a:spcPct val="50000"/>
                          </a:spcBef>
                          <a:spcAft>
                            <a:spcPct val="0"/>
                          </a:spcAft>
                        </a:pPr>
                        <a:endParaRPr lang="ko-KR" altLang="en-US" sz="1000" kern="120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19" name="Freeform 205"/>
                    <p:cNvSpPr>
                      <a:spLocks/>
                    </p:cNvSpPr>
                    <p:nvPr/>
                  </p:nvSpPr>
                  <p:spPr bwMode="gray">
                    <a:xfrm>
                      <a:off x="2893" y="3016"/>
                      <a:ext cx="576" cy="185"/>
                    </a:xfrm>
                    <a:custGeom>
                      <a:avLst/>
                      <a:gdLst/>
                      <a:ahLst/>
                      <a:cxnLst>
                        <a:cxn ang="0">
                          <a:pos x="58" y="57"/>
                        </a:cxn>
                        <a:cxn ang="0">
                          <a:pos x="81" y="57"/>
                        </a:cxn>
                        <a:cxn ang="0">
                          <a:pos x="150" y="46"/>
                        </a:cxn>
                        <a:cxn ang="0">
                          <a:pos x="173" y="34"/>
                        </a:cxn>
                        <a:cxn ang="0">
                          <a:pos x="196" y="34"/>
                        </a:cxn>
                        <a:cxn ang="0">
                          <a:pos x="219" y="46"/>
                        </a:cxn>
                        <a:cxn ang="0">
                          <a:pos x="230" y="57"/>
                        </a:cxn>
                        <a:cxn ang="0">
                          <a:pos x="253" y="46"/>
                        </a:cxn>
                        <a:cxn ang="0">
                          <a:pos x="276" y="46"/>
                        </a:cxn>
                        <a:cxn ang="0">
                          <a:pos x="299" y="46"/>
                        </a:cxn>
                        <a:cxn ang="0">
                          <a:pos x="322" y="34"/>
                        </a:cxn>
                        <a:cxn ang="0">
                          <a:pos x="357" y="46"/>
                        </a:cxn>
                        <a:cxn ang="0">
                          <a:pos x="380" y="34"/>
                        </a:cxn>
                        <a:cxn ang="0">
                          <a:pos x="403" y="23"/>
                        </a:cxn>
                        <a:cxn ang="0">
                          <a:pos x="426" y="23"/>
                        </a:cxn>
                        <a:cxn ang="0">
                          <a:pos x="449" y="23"/>
                        </a:cxn>
                        <a:cxn ang="0">
                          <a:pos x="472" y="0"/>
                        </a:cxn>
                        <a:cxn ang="0">
                          <a:pos x="483" y="11"/>
                        </a:cxn>
                        <a:cxn ang="0">
                          <a:pos x="495" y="23"/>
                        </a:cxn>
                        <a:cxn ang="0">
                          <a:pos x="506" y="34"/>
                        </a:cxn>
                        <a:cxn ang="0">
                          <a:pos x="541" y="34"/>
                        </a:cxn>
                        <a:cxn ang="0">
                          <a:pos x="552" y="46"/>
                        </a:cxn>
                        <a:cxn ang="0">
                          <a:pos x="575" y="46"/>
                        </a:cxn>
                        <a:cxn ang="0">
                          <a:pos x="552" y="80"/>
                        </a:cxn>
                        <a:cxn ang="0">
                          <a:pos x="518" y="115"/>
                        </a:cxn>
                        <a:cxn ang="0">
                          <a:pos x="449" y="149"/>
                        </a:cxn>
                        <a:cxn ang="0">
                          <a:pos x="403" y="172"/>
                        </a:cxn>
                        <a:cxn ang="0">
                          <a:pos x="357" y="172"/>
                        </a:cxn>
                        <a:cxn ang="0">
                          <a:pos x="322" y="184"/>
                        </a:cxn>
                        <a:cxn ang="0">
                          <a:pos x="299" y="184"/>
                        </a:cxn>
                        <a:cxn ang="0">
                          <a:pos x="253" y="184"/>
                        </a:cxn>
                        <a:cxn ang="0">
                          <a:pos x="230" y="184"/>
                        </a:cxn>
                        <a:cxn ang="0">
                          <a:pos x="196" y="184"/>
                        </a:cxn>
                        <a:cxn ang="0">
                          <a:pos x="161" y="172"/>
                        </a:cxn>
                        <a:cxn ang="0">
                          <a:pos x="138" y="172"/>
                        </a:cxn>
                        <a:cxn ang="0">
                          <a:pos x="104" y="161"/>
                        </a:cxn>
                        <a:cxn ang="0">
                          <a:pos x="69" y="138"/>
                        </a:cxn>
                        <a:cxn ang="0">
                          <a:pos x="35" y="115"/>
                        </a:cxn>
                        <a:cxn ang="0">
                          <a:pos x="12" y="103"/>
                        </a:cxn>
                      </a:cxnLst>
                      <a:rect l="0" t="0" r="r" b="b"/>
                      <a:pathLst>
                        <a:path w="576" h="185">
                          <a:moveTo>
                            <a:pt x="0" y="80"/>
                          </a:moveTo>
                          <a:lnTo>
                            <a:pt x="58" y="57"/>
                          </a:lnTo>
                          <a:lnTo>
                            <a:pt x="69" y="57"/>
                          </a:lnTo>
                          <a:lnTo>
                            <a:pt x="81" y="57"/>
                          </a:lnTo>
                          <a:lnTo>
                            <a:pt x="138" y="57"/>
                          </a:lnTo>
                          <a:lnTo>
                            <a:pt x="150" y="46"/>
                          </a:lnTo>
                          <a:lnTo>
                            <a:pt x="173" y="46"/>
                          </a:lnTo>
                          <a:lnTo>
                            <a:pt x="173" y="34"/>
                          </a:lnTo>
                          <a:lnTo>
                            <a:pt x="184" y="34"/>
                          </a:lnTo>
                          <a:lnTo>
                            <a:pt x="196" y="34"/>
                          </a:lnTo>
                          <a:lnTo>
                            <a:pt x="207" y="34"/>
                          </a:lnTo>
                          <a:lnTo>
                            <a:pt x="219" y="46"/>
                          </a:lnTo>
                          <a:lnTo>
                            <a:pt x="230" y="46"/>
                          </a:lnTo>
                          <a:lnTo>
                            <a:pt x="230" y="57"/>
                          </a:lnTo>
                          <a:lnTo>
                            <a:pt x="242" y="57"/>
                          </a:lnTo>
                          <a:lnTo>
                            <a:pt x="253" y="46"/>
                          </a:lnTo>
                          <a:lnTo>
                            <a:pt x="265" y="46"/>
                          </a:lnTo>
                          <a:lnTo>
                            <a:pt x="276" y="46"/>
                          </a:lnTo>
                          <a:lnTo>
                            <a:pt x="288" y="46"/>
                          </a:lnTo>
                          <a:lnTo>
                            <a:pt x="299" y="46"/>
                          </a:lnTo>
                          <a:lnTo>
                            <a:pt x="311" y="34"/>
                          </a:lnTo>
                          <a:lnTo>
                            <a:pt x="322" y="34"/>
                          </a:lnTo>
                          <a:lnTo>
                            <a:pt x="334" y="46"/>
                          </a:lnTo>
                          <a:lnTo>
                            <a:pt x="357" y="46"/>
                          </a:lnTo>
                          <a:lnTo>
                            <a:pt x="368" y="46"/>
                          </a:lnTo>
                          <a:lnTo>
                            <a:pt x="380" y="34"/>
                          </a:lnTo>
                          <a:lnTo>
                            <a:pt x="391" y="34"/>
                          </a:lnTo>
                          <a:lnTo>
                            <a:pt x="403" y="23"/>
                          </a:lnTo>
                          <a:lnTo>
                            <a:pt x="414" y="23"/>
                          </a:lnTo>
                          <a:lnTo>
                            <a:pt x="426" y="23"/>
                          </a:lnTo>
                          <a:lnTo>
                            <a:pt x="437" y="23"/>
                          </a:lnTo>
                          <a:lnTo>
                            <a:pt x="449" y="23"/>
                          </a:lnTo>
                          <a:lnTo>
                            <a:pt x="460" y="11"/>
                          </a:lnTo>
                          <a:lnTo>
                            <a:pt x="472" y="0"/>
                          </a:lnTo>
                          <a:lnTo>
                            <a:pt x="472" y="11"/>
                          </a:lnTo>
                          <a:lnTo>
                            <a:pt x="483" y="11"/>
                          </a:lnTo>
                          <a:lnTo>
                            <a:pt x="483" y="23"/>
                          </a:lnTo>
                          <a:lnTo>
                            <a:pt x="495" y="23"/>
                          </a:lnTo>
                          <a:lnTo>
                            <a:pt x="506" y="23"/>
                          </a:lnTo>
                          <a:lnTo>
                            <a:pt x="506" y="34"/>
                          </a:lnTo>
                          <a:lnTo>
                            <a:pt x="529" y="34"/>
                          </a:lnTo>
                          <a:lnTo>
                            <a:pt x="541" y="34"/>
                          </a:lnTo>
                          <a:lnTo>
                            <a:pt x="552" y="34"/>
                          </a:lnTo>
                          <a:lnTo>
                            <a:pt x="552" y="46"/>
                          </a:lnTo>
                          <a:lnTo>
                            <a:pt x="564" y="46"/>
                          </a:lnTo>
                          <a:lnTo>
                            <a:pt x="575" y="46"/>
                          </a:lnTo>
                          <a:lnTo>
                            <a:pt x="575" y="57"/>
                          </a:lnTo>
                          <a:lnTo>
                            <a:pt x="552" y="80"/>
                          </a:lnTo>
                          <a:lnTo>
                            <a:pt x="541" y="92"/>
                          </a:lnTo>
                          <a:lnTo>
                            <a:pt x="518" y="115"/>
                          </a:lnTo>
                          <a:lnTo>
                            <a:pt x="483" y="138"/>
                          </a:lnTo>
                          <a:lnTo>
                            <a:pt x="449" y="149"/>
                          </a:lnTo>
                          <a:lnTo>
                            <a:pt x="414" y="161"/>
                          </a:lnTo>
                          <a:lnTo>
                            <a:pt x="403" y="172"/>
                          </a:lnTo>
                          <a:lnTo>
                            <a:pt x="380" y="172"/>
                          </a:lnTo>
                          <a:lnTo>
                            <a:pt x="357" y="172"/>
                          </a:lnTo>
                          <a:lnTo>
                            <a:pt x="345" y="172"/>
                          </a:lnTo>
                          <a:lnTo>
                            <a:pt x="322" y="184"/>
                          </a:lnTo>
                          <a:lnTo>
                            <a:pt x="311" y="184"/>
                          </a:lnTo>
                          <a:lnTo>
                            <a:pt x="299" y="184"/>
                          </a:lnTo>
                          <a:lnTo>
                            <a:pt x="276" y="184"/>
                          </a:lnTo>
                          <a:lnTo>
                            <a:pt x="253" y="184"/>
                          </a:lnTo>
                          <a:lnTo>
                            <a:pt x="242" y="184"/>
                          </a:lnTo>
                          <a:lnTo>
                            <a:pt x="230" y="184"/>
                          </a:lnTo>
                          <a:lnTo>
                            <a:pt x="207" y="184"/>
                          </a:lnTo>
                          <a:lnTo>
                            <a:pt x="196" y="184"/>
                          </a:lnTo>
                          <a:lnTo>
                            <a:pt x="173" y="184"/>
                          </a:lnTo>
                          <a:lnTo>
                            <a:pt x="161" y="172"/>
                          </a:lnTo>
                          <a:lnTo>
                            <a:pt x="150" y="172"/>
                          </a:lnTo>
                          <a:lnTo>
                            <a:pt x="138" y="172"/>
                          </a:lnTo>
                          <a:lnTo>
                            <a:pt x="127" y="172"/>
                          </a:lnTo>
                          <a:lnTo>
                            <a:pt x="104" y="161"/>
                          </a:lnTo>
                          <a:lnTo>
                            <a:pt x="92" y="149"/>
                          </a:lnTo>
                          <a:lnTo>
                            <a:pt x="69" y="138"/>
                          </a:lnTo>
                          <a:lnTo>
                            <a:pt x="58" y="126"/>
                          </a:lnTo>
                          <a:lnTo>
                            <a:pt x="35" y="115"/>
                          </a:lnTo>
                          <a:lnTo>
                            <a:pt x="23" y="103"/>
                          </a:lnTo>
                          <a:lnTo>
                            <a:pt x="12" y="103"/>
                          </a:lnTo>
                          <a:lnTo>
                            <a:pt x="0" y="80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20" name="Freeform 206"/>
                    <p:cNvSpPr>
                      <a:spLocks/>
                    </p:cNvSpPr>
                    <p:nvPr/>
                  </p:nvSpPr>
                  <p:spPr bwMode="gray">
                    <a:xfrm>
                      <a:off x="3399" y="2315"/>
                      <a:ext cx="116" cy="196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69"/>
                        </a:cxn>
                        <a:cxn ang="0">
                          <a:pos x="23" y="103"/>
                        </a:cxn>
                        <a:cxn ang="0">
                          <a:pos x="12" y="126"/>
                        </a:cxn>
                        <a:cxn ang="0">
                          <a:pos x="0" y="149"/>
                        </a:cxn>
                        <a:cxn ang="0">
                          <a:pos x="0" y="172"/>
                        </a:cxn>
                        <a:cxn ang="0">
                          <a:pos x="12" y="184"/>
                        </a:cxn>
                        <a:cxn ang="0">
                          <a:pos x="23" y="195"/>
                        </a:cxn>
                        <a:cxn ang="0">
                          <a:pos x="35" y="195"/>
                        </a:cxn>
                        <a:cxn ang="0">
                          <a:pos x="46" y="195"/>
                        </a:cxn>
                        <a:cxn ang="0">
                          <a:pos x="46" y="184"/>
                        </a:cxn>
                        <a:cxn ang="0">
                          <a:pos x="46" y="161"/>
                        </a:cxn>
                        <a:cxn ang="0">
                          <a:pos x="69" y="149"/>
                        </a:cxn>
                        <a:cxn ang="0">
                          <a:pos x="69" y="115"/>
                        </a:cxn>
                        <a:cxn ang="0">
                          <a:pos x="69" y="103"/>
                        </a:cxn>
                        <a:cxn ang="0">
                          <a:pos x="81" y="103"/>
                        </a:cxn>
                        <a:cxn ang="0">
                          <a:pos x="81" y="80"/>
                        </a:cxn>
                        <a:cxn ang="0">
                          <a:pos x="92" y="69"/>
                        </a:cxn>
                        <a:cxn ang="0">
                          <a:pos x="92" y="57"/>
                        </a:cxn>
                        <a:cxn ang="0">
                          <a:pos x="104" y="57"/>
                        </a:cxn>
                        <a:cxn ang="0">
                          <a:pos x="104" y="46"/>
                        </a:cxn>
                        <a:cxn ang="0">
                          <a:pos x="115" y="46"/>
                        </a:cxn>
                        <a:cxn ang="0">
                          <a:pos x="115" y="23"/>
                        </a:cxn>
                        <a:cxn ang="0">
                          <a:pos x="115" y="11"/>
                        </a:cxn>
                        <a:cxn ang="0">
                          <a:pos x="104" y="11"/>
                        </a:cxn>
                        <a:cxn ang="0">
                          <a:pos x="104" y="0"/>
                        </a:cxn>
                        <a:cxn ang="0">
                          <a:pos x="92" y="11"/>
                        </a:cxn>
                        <a:cxn ang="0">
                          <a:pos x="81" y="23"/>
                        </a:cxn>
                        <a:cxn ang="0">
                          <a:pos x="69" y="34"/>
                        </a:cxn>
                        <a:cxn ang="0">
                          <a:pos x="69" y="46"/>
                        </a:cxn>
                        <a:cxn ang="0">
                          <a:pos x="58" y="46"/>
                        </a:cxn>
                        <a:cxn ang="0">
                          <a:pos x="46" y="57"/>
                        </a:cxn>
                        <a:cxn ang="0">
                          <a:pos x="23" y="69"/>
                        </a:cxn>
                      </a:cxnLst>
                      <a:rect l="0" t="0" r="r" b="b"/>
                      <a:pathLst>
                        <a:path w="116" h="196">
                          <a:moveTo>
                            <a:pt x="23" y="69"/>
                          </a:moveTo>
                          <a:lnTo>
                            <a:pt x="23" y="103"/>
                          </a:lnTo>
                          <a:lnTo>
                            <a:pt x="12" y="126"/>
                          </a:lnTo>
                          <a:lnTo>
                            <a:pt x="0" y="149"/>
                          </a:lnTo>
                          <a:lnTo>
                            <a:pt x="0" y="172"/>
                          </a:lnTo>
                          <a:lnTo>
                            <a:pt x="12" y="184"/>
                          </a:lnTo>
                          <a:lnTo>
                            <a:pt x="23" y="195"/>
                          </a:lnTo>
                          <a:lnTo>
                            <a:pt x="35" y="195"/>
                          </a:lnTo>
                          <a:lnTo>
                            <a:pt x="46" y="195"/>
                          </a:lnTo>
                          <a:lnTo>
                            <a:pt x="46" y="184"/>
                          </a:lnTo>
                          <a:lnTo>
                            <a:pt x="46" y="161"/>
                          </a:lnTo>
                          <a:lnTo>
                            <a:pt x="69" y="149"/>
                          </a:lnTo>
                          <a:lnTo>
                            <a:pt x="69" y="115"/>
                          </a:lnTo>
                          <a:lnTo>
                            <a:pt x="69" y="103"/>
                          </a:lnTo>
                          <a:lnTo>
                            <a:pt x="81" y="103"/>
                          </a:lnTo>
                          <a:lnTo>
                            <a:pt x="81" y="80"/>
                          </a:lnTo>
                          <a:lnTo>
                            <a:pt x="92" y="69"/>
                          </a:lnTo>
                          <a:lnTo>
                            <a:pt x="92" y="57"/>
                          </a:lnTo>
                          <a:lnTo>
                            <a:pt x="104" y="57"/>
                          </a:lnTo>
                          <a:lnTo>
                            <a:pt x="104" y="46"/>
                          </a:lnTo>
                          <a:lnTo>
                            <a:pt x="115" y="46"/>
                          </a:lnTo>
                          <a:lnTo>
                            <a:pt x="115" y="23"/>
                          </a:lnTo>
                          <a:lnTo>
                            <a:pt x="115" y="11"/>
                          </a:lnTo>
                          <a:lnTo>
                            <a:pt x="104" y="11"/>
                          </a:lnTo>
                          <a:lnTo>
                            <a:pt x="104" y="0"/>
                          </a:lnTo>
                          <a:lnTo>
                            <a:pt x="92" y="11"/>
                          </a:lnTo>
                          <a:lnTo>
                            <a:pt x="81" y="23"/>
                          </a:lnTo>
                          <a:lnTo>
                            <a:pt x="69" y="34"/>
                          </a:lnTo>
                          <a:lnTo>
                            <a:pt x="69" y="46"/>
                          </a:lnTo>
                          <a:lnTo>
                            <a:pt x="58" y="46"/>
                          </a:lnTo>
                          <a:lnTo>
                            <a:pt x="46" y="57"/>
                          </a:lnTo>
                          <a:lnTo>
                            <a:pt x="23" y="69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121" name="Freeform 207"/>
                    <p:cNvSpPr>
                      <a:spLocks/>
                    </p:cNvSpPr>
                    <p:nvPr/>
                  </p:nvSpPr>
                  <p:spPr bwMode="gray">
                    <a:xfrm>
                      <a:off x="2847" y="1200"/>
                      <a:ext cx="1576" cy="932"/>
                    </a:xfrm>
                    <a:custGeom>
                      <a:avLst/>
                      <a:gdLst/>
                      <a:ahLst/>
                      <a:cxnLst>
                        <a:cxn ang="0">
                          <a:pos x="81" y="391"/>
                        </a:cxn>
                        <a:cxn ang="0">
                          <a:pos x="81" y="322"/>
                        </a:cxn>
                        <a:cxn ang="0">
                          <a:pos x="138" y="299"/>
                        </a:cxn>
                        <a:cxn ang="0">
                          <a:pos x="219" y="265"/>
                        </a:cxn>
                        <a:cxn ang="0">
                          <a:pos x="230" y="219"/>
                        </a:cxn>
                        <a:cxn ang="0">
                          <a:pos x="311" y="196"/>
                        </a:cxn>
                        <a:cxn ang="0">
                          <a:pos x="368" y="138"/>
                        </a:cxn>
                        <a:cxn ang="0">
                          <a:pos x="345" y="115"/>
                        </a:cxn>
                        <a:cxn ang="0">
                          <a:pos x="334" y="92"/>
                        </a:cxn>
                        <a:cxn ang="0">
                          <a:pos x="288" y="150"/>
                        </a:cxn>
                        <a:cxn ang="0">
                          <a:pos x="276" y="219"/>
                        </a:cxn>
                        <a:cxn ang="0">
                          <a:pos x="230" y="184"/>
                        </a:cxn>
                        <a:cxn ang="0">
                          <a:pos x="207" y="196"/>
                        </a:cxn>
                        <a:cxn ang="0">
                          <a:pos x="161" y="161"/>
                        </a:cxn>
                        <a:cxn ang="0">
                          <a:pos x="184" y="138"/>
                        </a:cxn>
                        <a:cxn ang="0">
                          <a:pos x="219" y="115"/>
                        </a:cxn>
                        <a:cxn ang="0">
                          <a:pos x="288" y="58"/>
                        </a:cxn>
                        <a:cxn ang="0">
                          <a:pos x="357" y="23"/>
                        </a:cxn>
                        <a:cxn ang="0">
                          <a:pos x="414" y="35"/>
                        </a:cxn>
                        <a:cxn ang="0">
                          <a:pos x="426" y="92"/>
                        </a:cxn>
                        <a:cxn ang="0">
                          <a:pos x="460" y="150"/>
                        </a:cxn>
                        <a:cxn ang="0">
                          <a:pos x="506" y="115"/>
                        </a:cxn>
                        <a:cxn ang="0">
                          <a:pos x="633" y="104"/>
                        </a:cxn>
                        <a:cxn ang="0">
                          <a:pos x="771" y="12"/>
                        </a:cxn>
                        <a:cxn ang="0">
                          <a:pos x="989" y="69"/>
                        </a:cxn>
                        <a:cxn ang="0">
                          <a:pos x="1207" y="92"/>
                        </a:cxn>
                        <a:cxn ang="0">
                          <a:pos x="1564" y="161"/>
                        </a:cxn>
                        <a:cxn ang="0">
                          <a:pos x="1495" y="184"/>
                        </a:cxn>
                        <a:cxn ang="0">
                          <a:pos x="1506" y="276"/>
                        </a:cxn>
                        <a:cxn ang="0">
                          <a:pos x="1414" y="184"/>
                        </a:cxn>
                        <a:cxn ang="0">
                          <a:pos x="1311" y="219"/>
                        </a:cxn>
                        <a:cxn ang="0">
                          <a:pos x="1449" y="345"/>
                        </a:cxn>
                        <a:cxn ang="0">
                          <a:pos x="1391" y="414"/>
                        </a:cxn>
                        <a:cxn ang="0">
                          <a:pos x="1437" y="540"/>
                        </a:cxn>
                        <a:cxn ang="0">
                          <a:pos x="1426" y="678"/>
                        </a:cxn>
                        <a:cxn ang="0">
                          <a:pos x="1426" y="759"/>
                        </a:cxn>
                        <a:cxn ang="0">
                          <a:pos x="1368" y="805"/>
                        </a:cxn>
                        <a:cxn ang="0">
                          <a:pos x="1334" y="862"/>
                        </a:cxn>
                        <a:cxn ang="0">
                          <a:pos x="1334" y="908"/>
                        </a:cxn>
                        <a:cxn ang="0">
                          <a:pos x="1299" y="782"/>
                        </a:cxn>
                        <a:cxn ang="0">
                          <a:pos x="1184" y="667"/>
                        </a:cxn>
                        <a:cxn ang="0">
                          <a:pos x="1069" y="770"/>
                        </a:cxn>
                        <a:cxn ang="0">
                          <a:pos x="989" y="770"/>
                        </a:cxn>
                        <a:cxn ang="0">
                          <a:pos x="839" y="632"/>
                        </a:cxn>
                        <a:cxn ang="0">
                          <a:pos x="610" y="540"/>
                        </a:cxn>
                        <a:cxn ang="0">
                          <a:pos x="736" y="632"/>
                        </a:cxn>
                        <a:cxn ang="0">
                          <a:pos x="621" y="793"/>
                        </a:cxn>
                        <a:cxn ang="0">
                          <a:pos x="564" y="736"/>
                        </a:cxn>
                        <a:cxn ang="0">
                          <a:pos x="495" y="632"/>
                        </a:cxn>
                        <a:cxn ang="0">
                          <a:pos x="472" y="540"/>
                        </a:cxn>
                        <a:cxn ang="0">
                          <a:pos x="391" y="483"/>
                        </a:cxn>
                        <a:cxn ang="0">
                          <a:pos x="357" y="437"/>
                        </a:cxn>
                        <a:cxn ang="0">
                          <a:pos x="345" y="471"/>
                        </a:cxn>
                        <a:cxn ang="0">
                          <a:pos x="311" y="426"/>
                        </a:cxn>
                        <a:cxn ang="0">
                          <a:pos x="253" y="380"/>
                        </a:cxn>
                        <a:cxn ang="0">
                          <a:pos x="299" y="437"/>
                        </a:cxn>
                        <a:cxn ang="0">
                          <a:pos x="276" y="460"/>
                        </a:cxn>
                        <a:cxn ang="0">
                          <a:pos x="219" y="403"/>
                        </a:cxn>
                        <a:cxn ang="0">
                          <a:pos x="150" y="391"/>
                        </a:cxn>
                        <a:cxn ang="0">
                          <a:pos x="115" y="437"/>
                        </a:cxn>
                        <a:cxn ang="0">
                          <a:pos x="92" y="483"/>
                        </a:cxn>
                        <a:cxn ang="0">
                          <a:pos x="12" y="483"/>
                        </a:cxn>
                      </a:cxnLst>
                      <a:rect l="0" t="0" r="r" b="b"/>
                      <a:pathLst>
                        <a:path w="1576" h="932">
                          <a:moveTo>
                            <a:pt x="0" y="414"/>
                          </a:moveTo>
                          <a:lnTo>
                            <a:pt x="12" y="403"/>
                          </a:lnTo>
                          <a:lnTo>
                            <a:pt x="23" y="391"/>
                          </a:lnTo>
                          <a:lnTo>
                            <a:pt x="46" y="391"/>
                          </a:lnTo>
                          <a:lnTo>
                            <a:pt x="58" y="391"/>
                          </a:lnTo>
                          <a:lnTo>
                            <a:pt x="81" y="391"/>
                          </a:lnTo>
                          <a:lnTo>
                            <a:pt x="92" y="391"/>
                          </a:lnTo>
                          <a:lnTo>
                            <a:pt x="92" y="368"/>
                          </a:lnTo>
                          <a:lnTo>
                            <a:pt x="104" y="357"/>
                          </a:lnTo>
                          <a:lnTo>
                            <a:pt x="81" y="345"/>
                          </a:lnTo>
                          <a:lnTo>
                            <a:pt x="81" y="334"/>
                          </a:lnTo>
                          <a:lnTo>
                            <a:pt x="81" y="322"/>
                          </a:lnTo>
                          <a:lnTo>
                            <a:pt x="92" y="322"/>
                          </a:lnTo>
                          <a:lnTo>
                            <a:pt x="104" y="322"/>
                          </a:lnTo>
                          <a:lnTo>
                            <a:pt x="115" y="311"/>
                          </a:lnTo>
                          <a:lnTo>
                            <a:pt x="127" y="311"/>
                          </a:lnTo>
                          <a:lnTo>
                            <a:pt x="138" y="311"/>
                          </a:lnTo>
                          <a:lnTo>
                            <a:pt x="138" y="299"/>
                          </a:lnTo>
                          <a:lnTo>
                            <a:pt x="150" y="299"/>
                          </a:lnTo>
                          <a:lnTo>
                            <a:pt x="161" y="288"/>
                          </a:lnTo>
                          <a:lnTo>
                            <a:pt x="173" y="276"/>
                          </a:lnTo>
                          <a:lnTo>
                            <a:pt x="196" y="265"/>
                          </a:lnTo>
                          <a:lnTo>
                            <a:pt x="207" y="265"/>
                          </a:lnTo>
                          <a:lnTo>
                            <a:pt x="219" y="265"/>
                          </a:lnTo>
                          <a:lnTo>
                            <a:pt x="219" y="253"/>
                          </a:lnTo>
                          <a:lnTo>
                            <a:pt x="207" y="242"/>
                          </a:lnTo>
                          <a:lnTo>
                            <a:pt x="207" y="219"/>
                          </a:lnTo>
                          <a:lnTo>
                            <a:pt x="230" y="219"/>
                          </a:lnTo>
                          <a:lnTo>
                            <a:pt x="230" y="207"/>
                          </a:lnTo>
                          <a:lnTo>
                            <a:pt x="230" y="219"/>
                          </a:lnTo>
                          <a:lnTo>
                            <a:pt x="242" y="230"/>
                          </a:lnTo>
                          <a:lnTo>
                            <a:pt x="253" y="242"/>
                          </a:lnTo>
                          <a:lnTo>
                            <a:pt x="265" y="242"/>
                          </a:lnTo>
                          <a:lnTo>
                            <a:pt x="288" y="219"/>
                          </a:lnTo>
                          <a:lnTo>
                            <a:pt x="299" y="207"/>
                          </a:lnTo>
                          <a:lnTo>
                            <a:pt x="311" y="196"/>
                          </a:lnTo>
                          <a:lnTo>
                            <a:pt x="322" y="184"/>
                          </a:lnTo>
                          <a:lnTo>
                            <a:pt x="334" y="184"/>
                          </a:lnTo>
                          <a:lnTo>
                            <a:pt x="334" y="173"/>
                          </a:lnTo>
                          <a:lnTo>
                            <a:pt x="345" y="173"/>
                          </a:lnTo>
                          <a:lnTo>
                            <a:pt x="368" y="196"/>
                          </a:lnTo>
                          <a:lnTo>
                            <a:pt x="368" y="138"/>
                          </a:lnTo>
                          <a:lnTo>
                            <a:pt x="345" y="161"/>
                          </a:lnTo>
                          <a:lnTo>
                            <a:pt x="334" y="161"/>
                          </a:lnTo>
                          <a:lnTo>
                            <a:pt x="322" y="150"/>
                          </a:lnTo>
                          <a:lnTo>
                            <a:pt x="322" y="138"/>
                          </a:lnTo>
                          <a:lnTo>
                            <a:pt x="334" y="127"/>
                          </a:lnTo>
                          <a:lnTo>
                            <a:pt x="345" y="115"/>
                          </a:lnTo>
                          <a:lnTo>
                            <a:pt x="357" y="115"/>
                          </a:lnTo>
                          <a:lnTo>
                            <a:pt x="357" y="104"/>
                          </a:lnTo>
                          <a:lnTo>
                            <a:pt x="368" y="104"/>
                          </a:lnTo>
                          <a:lnTo>
                            <a:pt x="357" y="92"/>
                          </a:lnTo>
                          <a:lnTo>
                            <a:pt x="345" y="92"/>
                          </a:lnTo>
                          <a:lnTo>
                            <a:pt x="334" y="92"/>
                          </a:lnTo>
                          <a:lnTo>
                            <a:pt x="334" y="104"/>
                          </a:lnTo>
                          <a:lnTo>
                            <a:pt x="322" y="104"/>
                          </a:lnTo>
                          <a:lnTo>
                            <a:pt x="311" y="127"/>
                          </a:lnTo>
                          <a:lnTo>
                            <a:pt x="299" y="127"/>
                          </a:lnTo>
                          <a:lnTo>
                            <a:pt x="288" y="138"/>
                          </a:lnTo>
                          <a:lnTo>
                            <a:pt x="288" y="150"/>
                          </a:lnTo>
                          <a:lnTo>
                            <a:pt x="299" y="161"/>
                          </a:lnTo>
                          <a:lnTo>
                            <a:pt x="299" y="173"/>
                          </a:lnTo>
                          <a:lnTo>
                            <a:pt x="288" y="184"/>
                          </a:lnTo>
                          <a:lnTo>
                            <a:pt x="276" y="196"/>
                          </a:lnTo>
                          <a:lnTo>
                            <a:pt x="276" y="207"/>
                          </a:lnTo>
                          <a:lnTo>
                            <a:pt x="276" y="219"/>
                          </a:lnTo>
                          <a:lnTo>
                            <a:pt x="265" y="219"/>
                          </a:lnTo>
                          <a:lnTo>
                            <a:pt x="253" y="219"/>
                          </a:lnTo>
                          <a:lnTo>
                            <a:pt x="242" y="219"/>
                          </a:lnTo>
                          <a:lnTo>
                            <a:pt x="242" y="207"/>
                          </a:lnTo>
                          <a:lnTo>
                            <a:pt x="230" y="196"/>
                          </a:lnTo>
                          <a:lnTo>
                            <a:pt x="230" y="184"/>
                          </a:lnTo>
                          <a:lnTo>
                            <a:pt x="230" y="173"/>
                          </a:lnTo>
                          <a:lnTo>
                            <a:pt x="230" y="184"/>
                          </a:lnTo>
                          <a:lnTo>
                            <a:pt x="219" y="184"/>
                          </a:lnTo>
                          <a:lnTo>
                            <a:pt x="219" y="173"/>
                          </a:lnTo>
                          <a:lnTo>
                            <a:pt x="207" y="184"/>
                          </a:lnTo>
                          <a:lnTo>
                            <a:pt x="207" y="196"/>
                          </a:lnTo>
                          <a:lnTo>
                            <a:pt x="196" y="196"/>
                          </a:lnTo>
                          <a:lnTo>
                            <a:pt x="184" y="196"/>
                          </a:lnTo>
                          <a:lnTo>
                            <a:pt x="173" y="196"/>
                          </a:lnTo>
                          <a:lnTo>
                            <a:pt x="161" y="184"/>
                          </a:lnTo>
                          <a:lnTo>
                            <a:pt x="173" y="173"/>
                          </a:lnTo>
                          <a:lnTo>
                            <a:pt x="161" y="161"/>
                          </a:lnTo>
                          <a:lnTo>
                            <a:pt x="173" y="161"/>
                          </a:lnTo>
                          <a:lnTo>
                            <a:pt x="196" y="161"/>
                          </a:lnTo>
                          <a:lnTo>
                            <a:pt x="184" y="150"/>
                          </a:lnTo>
                          <a:lnTo>
                            <a:pt x="173" y="150"/>
                          </a:lnTo>
                          <a:lnTo>
                            <a:pt x="173" y="138"/>
                          </a:lnTo>
                          <a:lnTo>
                            <a:pt x="184" y="138"/>
                          </a:lnTo>
                          <a:lnTo>
                            <a:pt x="196" y="127"/>
                          </a:lnTo>
                          <a:lnTo>
                            <a:pt x="207" y="127"/>
                          </a:lnTo>
                          <a:lnTo>
                            <a:pt x="219" y="127"/>
                          </a:lnTo>
                          <a:lnTo>
                            <a:pt x="230" y="127"/>
                          </a:lnTo>
                          <a:lnTo>
                            <a:pt x="219" y="127"/>
                          </a:lnTo>
                          <a:lnTo>
                            <a:pt x="219" y="115"/>
                          </a:lnTo>
                          <a:lnTo>
                            <a:pt x="242" y="92"/>
                          </a:lnTo>
                          <a:lnTo>
                            <a:pt x="253" y="92"/>
                          </a:lnTo>
                          <a:lnTo>
                            <a:pt x="253" y="81"/>
                          </a:lnTo>
                          <a:lnTo>
                            <a:pt x="265" y="69"/>
                          </a:lnTo>
                          <a:lnTo>
                            <a:pt x="276" y="58"/>
                          </a:lnTo>
                          <a:lnTo>
                            <a:pt x="288" y="58"/>
                          </a:lnTo>
                          <a:lnTo>
                            <a:pt x="276" y="46"/>
                          </a:lnTo>
                          <a:lnTo>
                            <a:pt x="299" y="35"/>
                          </a:lnTo>
                          <a:lnTo>
                            <a:pt x="311" y="35"/>
                          </a:lnTo>
                          <a:lnTo>
                            <a:pt x="322" y="23"/>
                          </a:lnTo>
                          <a:lnTo>
                            <a:pt x="368" y="0"/>
                          </a:lnTo>
                          <a:lnTo>
                            <a:pt x="357" y="23"/>
                          </a:lnTo>
                          <a:lnTo>
                            <a:pt x="368" y="12"/>
                          </a:lnTo>
                          <a:lnTo>
                            <a:pt x="380" y="12"/>
                          </a:lnTo>
                          <a:lnTo>
                            <a:pt x="403" y="12"/>
                          </a:lnTo>
                          <a:lnTo>
                            <a:pt x="426" y="12"/>
                          </a:lnTo>
                          <a:lnTo>
                            <a:pt x="403" y="23"/>
                          </a:lnTo>
                          <a:lnTo>
                            <a:pt x="414" y="35"/>
                          </a:lnTo>
                          <a:lnTo>
                            <a:pt x="437" y="23"/>
                          </a:lnTo>
                          <a:lnTo>
                            <a:pt x="483" y="46"/>
                          </a:lnTo>
                          <a:lnTo>
                            <a:pt x="472" y="58"/>
                          </a:lnTo>
                          <a:lnTo>
                            <a:pt x="460" y="69"/>
                          </a:lnTo>
                          <a:lnTo>
                            <a:pt x="437" y="81"/>
                          </a:lnTo>
                          <a:lnTo>
                            <a:pt x="426" y="92"/>
                          </a:lnTo>
                          <a:lnTo>
                            <a:pt x="426" y="104"/>
                          </a:lnTo>
                          <a:lnTo>
                            <a:pt x="437" y="104"/>
                          </a:lnTo>
                          <a:lnTo>
                            <a:pt x="437" y="115"/>
                          </a:lnTo>
                          <a:lnTo>
                            <a:pt x="449" y="127"/>
                          </a:lnTo>
                          <a:lnTo>
                            <a:pt x="460" y="138"/>
                          </a:lnTo>
                          <a:lnTo>
                            <a:pt x="460" y="150"/>
                          </a:lnTo>
                          <a:lnTo>
                            <a:pt x="472" y="150"/>
                          </a:lnTo>
                          <a:lnTo>
                            <a:pt x="483" y="150"/>
                          </a:lnTo>
                          <a:lnTo>
                            <a:pt x="483" y="138"/>
                          </a:lnTo>
                          <a:lnTo>
                            <a:pt x="495" y="138"/>
                          </a:lnTo>
                          <a:lnTo>
                            <a:pt x="506" y="127"/>
                          </a:lnTo>
                          <a:lnTo>
                            <a:pt x="506" y="115"/>
                          </a:lnTo>
                          <a:lnTo>
                            <a:pt x="529" y="104"/>
                          </a:lnTo>
                          <a:lnTo>
                            <a:pt x="541" y="104"/>
                          </a:lnTo>
                          <a:lnTo>
                            <a:pt x="564" y="92"/>
                          </a:lnTo>
                          <a:lnTo>
                            <a:pt x="575" y="104"/>
                          </a:lnTo>
                          <a:lnTo>
                            <a:pt x="598" y="104"/>
                          </a:lnTo>
                          <a:lnTo>
                            <a:pt x="633" y="104"/>
                          </a:lnTo>
                          <a:lnTo>
                            <a:pt x="644" y="69"/>
                          </a:lnTo>
                          <a:lnTo>
                            <a:pt x="667" y="69"/>
                          </a:lnTo>
                          <a:lnTo>
                            <a:pt x="679" y="92"/>
                          </a:lnTo>
                          <a:lnTo>
                            <a:pt x="679" y="69"/>
                          </a:lnTo>
                          <a:lnTo>
                            <a:pt x="748" y="12"/>
                          </a:lnTo>
                          <a:lnTo>
                            <a:pt x="771" y="12"/>
                          </a:lnTo>
                          <a:lnTo>
                            <a:pt x="794" y="23"/>
                          </a:lnTo>
                          <a:lnTo>
                            <a:pt x="828" y="23"/>
                          </a:lnTo>
                          <a:lnTo>
                            <a:pt x="862" y="46"/>
                          </a:lnTo>
                          <a:lnTo>
                            <a:pt x="908" y="58"/>
                          </a:lnTo>
                          <a:lnTo>
                            <a:pt x="943" y="46"/>
                          </a:lnTo>
                          <a:lnTo>
                            <a:pt x="989" y="69"/>
                          </a:lnTo>
                          <a:lnTo>
                            <a:pt x="1023" y="69"/>
                          </a:lnTo>
                          <a:lnTo>
                            <a:pt x="1046" y="58"/>
                          </a:lnTo>
                          <a:lnTo>
                            <a:pt x="1081" y="58"/>
                          </a:lnTo>
                          <a:lnTo>
                            <a:pt x="1104" y="69"/>
                          </a:lnTo>
                          <a:lnTo>
                            <a:pt x="1161" y="69"/>
                          </a:lnTo>
                          <a:lnTo>
                            <a:pt x="1207" y="92"/>
                          </a:lnTo>
                          <a:lnTo>
                            <a:pt x="1288" y="81"/>
                          </a:lnTo>
                          <a:lnTo>
                            <a:pt x="1426" y="92"/>
                          </a:lnTo>
                          <a:lnTo>
                            <a:pt x="1483" y="115"/>
                          </a:lnTo>
                          <a:lnTo>
                            <a:pt x="1541" y="138"/>
                          </a:lnTo>
                          <a:lnTo>
                            <a:pt x="1575" y="150"/>
                          </a:lnTo>
                          <a:lnTo>
                            <a:pt x="1564" y="161"/>
                          </a:lnTo>
                          <a:lnTo>
                            <a:pt x="1541" y="150"/>
                          </a:lnTo>
                          <a:lnTo>
                            <a:pt x="1483" y="138"/>
                          </a:lnTo>
                          <a:lnTo>
                            <a:pt x="1495" y="150"/>
                          </a:lnTo>
                          <a:lnTo>
                            <a:pt x="1529" y="161"/>
                          </a:lnTo>
                          <a:lnTo>
                            <a:pt x="1518" y="173"/>
                          </a:lnTo>
                          <a:lnTo>
                            <a:pt x="1495" y="184"/>
                          </a:lnTo>
                          <a:lnTo>
                            <a:pt x="1483" y="207"/>
                          </a:lnTo>
                          <a:lnTo>
                            <a:pt x="1518" y="219"/>
                          </a:lnTo>
                          <a:lnTo>
                            <a:pt x="1541" y="242"/>
                          </a:lnTo>
                          <a:lnTo>
                            <a:pt x="1552" y="276"/>
                          </a:lnTo>
                          <a:lnTo>
                            <a:pt x="1541" y="276"/>
                          </a:lnTo>
                          <a:lnTo>
                            <a:pt x="1506" y="276"/>
                          </a:lnTo>
                          <a:lnTo>
                            <a:pt x="1472" y="253"/>
                          </a:lnTo>
                          <a:lnTo>
                            <a:pt x="1449" y="230"/>
                          </a:lnTo>
                          <a:lnTo>
                            <a:pt x="1449" y="219"/>
                          </a:lnTo>
                          <a:lnTo>
                            <a:pt x="1437" y="196"/>
                          </a:lnTo>
                          <a:lnTo>
                            <a:pt x="1426" y="184"/>
                          </a:lnTo>
                          <a:lnTo>
                            <a:pt x="1414" y="184"/>
                          </a:lnTo>
                          <a:lnTo>
                            <a:pt x="1403" y="184"/>
                          </a:lnTo>
                          <a:lnTo>
                            <a:pt x="1414" y="207"/>
                          </a:lnTo>
                          <a:lnTo>
                            <a:pt x="1380" y="207"/>
                          </a:lnTo>
                          <a:lnTo>
                            <a:pt x="1357" y="196"/>
                          </a:lnTo>
                          <a:lnTo>
                            <a:pt x="1334" y="207"/>
                          </a:lnTo>
                          <a:lnTo>
                            <a:pt x="1311" y="219"/>
                          </a:lnTo>
                          <a:lnTo>
                            <a:pt x="1311" y="230"/>
                          </a:lnTo>
                          <a:lnTo>
                            <a:pt x="1311" y="242"/>
                          </a:lnTo>
                          <a:lnTo>
                            <a:pt x="1357" y="242"/>
                          </a:lnTo>
                          <a:lnTo>
                            <a:pt x="1380" y="265"/>
                          </a:lnTo>
                          <a:lnTo>
                            <a:pt x="1426" y="311"/>
                          </a:lnTo>
                          <a:lnTo>
                            <a:pt x="1449" y="345"/>
                          </a:lnTo>
                          <a:lnTo>
                            <a:pt x="1449" y="380"/>
                          </a:lnTo>
                          <a:lnTo>
                            <a:pt x="1449" y="403"/>
                          </a:lnTo>
                          <a:lnTo>
                            <a:pt x="1437" y="403"/>
                          </a:lnTo>
                          <a:lnTo>
                            <a:pt x="1426" y="391"/>
                          </a:lnTo>
                          <a:lnTo>
                            <a:pt x="1403" y="403"/>
                          </a:lnTo>
                          <a:lnTo>
                            <a:pt x="1391" y="414"/>
                          </a:lnTo>
                          <a:lnTo>
                            <a:pt x="1380" y="437"/>
                          </a:lnTo>
                          <a:lnTo>
                            <a:pt x="1403" y="460"/>
                          </a:lnTo>
                          <a:lnTo>
                            <a:pt x="1391" y="483"/>
                          </a:lnTo>
                          <a:lnTo>
                            <a:pt x="1391" y="506"/>
                          </a:lnTo>
                          <a:lnTo>
                            <a:pt x="1414" y="529"/>
                          </a:lnTo>
                          <a:lnTo>
                            <a:pt x="1437" y="540"/>
                          </a:lnTo>
                          <a:lnTo>
                            <a:pt x="1472" y="563"/>
                          </a:lnTo>
                          <a:lnTo>
                            <a:pt x="1495" y="586"/>
                          </a:lnTo>
                          <a:lnTo>
                            <a:pt x="1495" y="632"/>
                          </a:lnTo>
                          <a:lnTo>
                            <a:pt x="1483" y="655"/>
                          </a:lnTo>
                          <a:lnTo>
                            <a:pt x="1460" y="667"/>
                          </a:lnTo>
                          <a:lnTo>
                            <a:pt x="1426" y="678"/>
                          </a:lnTo>
                          <a:lnTo>
                            <a:pt x="1403" y="690"/>
                          </a:lnTo>
                          <a:lnTo>
                            <a:pt x="1391" y="678"/>
                          </a:lnTo>
                          <a:lnTo>
                            <a:pt x="1380" y="690"/>
                          </a:lnTo>
                          <a:lnTo>
                            <a:pt x="1380" y="724"/>
                          </a:lnTo>
                          <a:lnTo>
                            <a:pt x="1391" y="736"/>
                          </a:lnTo>
                          <a:lnTo>
                            <a:pt x="1426" y="759"/>
                          </a:lnTo>
                          <a:lnTo>
                            <a:pt x="1437" y="782"/>
                          </a:lnTo>
                          <a:lnTo>
                            <a:pt x="1449" y="793"/>
                          </a:lnTo>
                          <a:lnTo>
                            <a:pt x="1437" y="816"/>
                          </a:lnTo>
                          <a:lnTo>
                            <a:pt x="1426" y="839"/>
                          </a:lnTo>
                          <a:lnTo>
                            <a:pt x="1403" y="839"/>
                          </a:lnTo>
                          <a:lnTo>
                            <a:pt x="1368" y="805"/>
                          </a:lnTo>
                          <a:lnTo>
                            <a:pt x="1345" y="793"/>
                          </a:lnTo>
                          <a:lnTo>
                            <a:pt x="1334" y="793"/>
                          </a:lnTo>
                          <a:lnTo>
                            <a:pt x="1322" y="805"/>
                          </a:lnTo>
                          <a:lnTo>
                            <a:pt x="1322" y="828"/>
                          </a:lnTo>
                          <a:lnTo>
                            <a:pt x="1334" y="839"/>
                          </a:lnTo>
                          <a:lnTo>
                            <a:pt x="1334" y="862"/>
                          </a:lnTo>
                          <a:lnTo>
                            <a:pt x="1357" y="874"/>
                          </a:lnTo>
                          <a:lnTo>
                            <a:pt x="1357" y="885"/>
                          </a:lnTo>
                          <a:lnTo>
                            <a:pt x="1357" y="908"/>
                          </a:lnTo>
                          <a:lnTo>
                            <a:pt x="1357" y="931"/>
                          </a:lnTo>
                          <a:lnTo>
                            <a:pt x="1345" y="920"/>
                          </a:lnTo>
                          <a:lnTo>
                            <a:pt x="1334" y="908"/>
                          </a:lnTo>
                          <a:lnTo>
                            <a:pt x="1334" y="885"/>
                          </a:lnTo>
                          <a:lnTo>
                            <a:pt x="1322" y="874"/>
                          </a:lnTo>
                          <a:lnTo>
                            <a:pt x="1322" y="851"/>
                          </a:lnTo>
                          <a:lnTo>
                            <a:pt x="1311" y="839"/>
                          </a:lnTo>
                          <a:lnTo>
                            <a:pt x="1311" y="805"/>
                          </a:lnTo>
                          <a:lnTo>
                            <a:pt x="1299" y="782"/>
                          </a:lnTo>
                          <a:lnTo>
                            <a:pt x="1288" y="759"/>
                          </a:lnTo>
                          <a:lnTo>
                            <a:pt x="1253" y="747"/>
                          </a:lnTo>
                          <a:lnTo>
                            <a:pt x="1230" y="736"/>
                          </a:lnTo>
                          <a:lnTo>
                            <a:pt x="1219" y="713"/>
                          </a:lnTo>
                          <a:lnTo>
                            <a:pt x="1207" y="701"/>
                          </a:lnTo>
                          <a:lnTo>
                            <a:pt x="1184" y="667"/>
                          </a:lnTo>
                          <a:lnTo>
                            <a:pt x="1161" y="667"/>
                          </a:lnTo>
                          <a:lnTo>
                            <a:pt x="1127" y="690"/>
                          </a:lnTo>
                          <a:lnTo>
                            <a:pt x="1115" y="701"/>
                          </a:lnTo>
                          <a:lnTo>
                            <a:pt x="1092" y="724"/>
                          </a:lnTo>
                          <a:lnTo>
                            <a:pt x="1069" y="759"/>
                          </a:lnTo>
                          <a:lnTo>
                            <a:pt x="1069" y="770"/>
                          </a:lnTo>
                          <a:lnTo>
                            <a:pt x="1069" y="805"/>
                          </a:lnTo>
                          <a:lnTo>
                            <a:pt x="1069" y="828"/>
                          </a:lnTo>
                          <a:lnTo>
                            <a:pt x="1046" y="851"/>
                          </a:lnTo>
                          <a:lnTo>
                            <a:pt x="1035" y="862"/>
                          </a:lnTo>
                          <a:lnTo>
                            <a:pt x="1012" y="805"/>
                          </a:lnTo>
                          <a:lnTo>
                            <a:pt x="989" y="770"/>
                          </a:lnTo>
                          <a:lnTo>
                            <a:pt x="943" y="713"/>
                          </a:lnTo>
                          <a:lnTo>
                            <a:pt x="943" y="690"/>
                          </a:lnTo>
                          <a:lnTo>
                            <a:pt x="931" y="678"/>
                          </a:lnTo>
                          <a:lnTo>
                            <a:pt x="920" y="690"/>
                          </a:lnTo>
                          <a:lnTo>
                            <a:pt x="885" y="655"/>
                          </a:lnTo>
                          <a:lnTo>
                            <a:pt x="839" y="632"/>
                          </a:lnTo>
                          <a:lnTo>
                            <a:pt x="805" y="632"/>
                          </a:lnTo>
                          <a:lnTo>
                            <a:pt x="759" y="632"/>
                          </a:lnTo>
                          <a:lnTo>
                            <a:pt x="736" y="609"/>
                          </a:lnTo>
                          <a:lnTo>
                            <a:pt x="713" y="621"/>
                          </a:lnTo>
                          <a:lnTo>
                            <a:pt x="679" y="609"/>
                          </a:lnTo>
                          <a:lnTo>
                            <a:pt x="610" y="540"/>
                          </a:lnTo>
                          <a:lnTo>
                            <a:pt x="610" y="563"/>
                          </a:lnTo>
                          <a:lnTo>
                            <a:pt x="633" y="609"/>
                          </a:lnTo>
                          <a:lnTo>
                            <a:pt x="656" y="632"/>
                          </a:lnTo>
                          <a:lnTo>
                            <a:pt x="679" y="644"/>
                          </a:lnTo>
                          <a:lnTo>
                            <a:pt x="713" y="632"/>
                          </a:lnTo>
                          <a:lnTo>
                            <a:pt x="736" y="632"/>
                          </a:lnTo>
                          <a:lnTo>
                            <a:pt x="759" y="655"/>
                          </a:lnTo>
                          <a:lnTo>
                            <a:pt x="782" y="678"/>
                          </a:lnTo>
                          <a:lnTo>
                            <a:pt x="782" y="690"/>
                          </a:lnTo>
                          <a:lnTo>
                            <a:pt x="725" y="747"/>
                          </a:lnTo>
                          <a:lnTo>
                            <a:pt x="690" y="759"/>
                          </a:lnTo>
                          <a:lnTo>
                            <a:pt x="621" y="793"/>
                          </a:lnTo>
                          <a:lnTo>
                            <a:pt x="598" y="793"/>
                          </a:lnTo>
                          <a:lnTo>
                            <a:pt x="587" y="793"/>
                          </a:lnTo>
                          <a:lnTo>
                            <a:pt x="587" y="782"/>
                          </a:lnTo>
                          <a:lnTo>
                            <a:pt x="575" y="759"/>
                          </a:lnTo>
                          <a:lnTo>
                            <a:pt x="575" y="747"/>
                          </a:lnTo>
                          <a:lnTo>
                            <a:pt x="564" y="736"/>
                          </a:lnTo>
                          <a:lnTo>
                            <a:pt x="552" y="724"/>
                          </a:lnTo>
                          <a:lnTo>
                            <a:pt x="541" y="701"/>
                          </a:lnTo>
                          <a:lnTo>
                            <a:pt x="529" y="690"/>
                          </a:lnTo>
                          <a:lnTo>
                            <a:pt x="518" y="678"/>
                          </a:lnTo>
                          <a:lnTo>
                            <a:pt x="506" y="644"/>
                          </a:lnTo>
                          <a:lnTo>
                            <a:pt x="495" y="632"/>
                          </a:lnTo>
                          <a:lnTo>
                            <a:pt x="483" y="621"/>
                          </a:lnTo>
                          <a:lnTo>
                            <a:pt x="460" y="598"/>
                          </a:lnTo>
                          <a:lnTo>
                            <a:pt x="460" y="586"/>
                          </a:lnTo>
                          <a:lnTo>
                            <a:pt x="449" y="575"/>
                          </a:lnTo>
                          <a:lnTo>
                            <a:pt x="437" y="552"/>
                          </a:lnTo>
                          <a:lnTo>
                            <a:pt x="472" y="540"/>
                          </a:lnTo>
                          <a:lnTo>
                            <a:pt x="483" y="506"/>
                          </a:lnTo>
                          <a:lnTo>
                            <a:pt x="449" y="494"/>
                          </a:lnTo>
                          <a:lnTo>
                            <a:pt x="414" y="494"/>
                          </a:lnTo>
                          <a:lnTo>
                            <a:pt x="403" y="494"/>
                          </a:lnTo>
                          <a:lnTo>
                            <a:pt x="391" y="494"/>
                          </a:lnTo>
                          <a:lnTo>
                            <a:pt x="391" y="483"/>
                          </a:lnTo>
                          <a:lnTo>
                            <a:pt x="380" y="483"/>
                          </a:lnTo>
                          <a:lnTo>
                            <a:pt x="380" y="471"/>
                          </a:lnTo>
                          <a:lnTo>
                            <a:pt x="380" y="460"/>
                          </a:lnTo>
                          <a:lnTo>
                            <a:pt x="368" y="448"/>
                          </a:lnTo>
                          <a:lnTo>
                            <a:pt x="368" y="437"/>
                          </a:lnTo>
                          <a:lnTo>
                            <a:pt x="357" y="437"/>
                          </a:lnTo>
                          <a:lnTo>
                            <a:pt x="357" y="426"/>
                          </a:lnTo>
                          <a:lnTo>
                            <a:pt x="345" y="426"/>
                          </a:lnTo>
                          <a:lnTo>
                            <a:pt x="345" y="437"/>
                          </a:lnTo>
                          <a:lnTo>
                            <a:pt x="345" y="448"/>
                          </a:lnTo>
                          <a:lnTo>
                            <a:pt x="345" y="460"/>
                          </a:lnTo>
                          <a:lnTo>
                            <a:pt x="345" y="471"/>
                          </a:lnTo>
                          <a:lnTo>
                            <a:pt x="334" y="471"/>
                          </a:lnTo>
                          <a:lnTo>
                            <a:pt x="322" y="483"/>
                          </a:lnTo>
                          <a:lnTo>
                            <a:pt x="322" y="471"/>
                          </a:lnTo>
                          <a:lnTo>
                            <a:pt x="311" y="460"/>
                          </a:lnTo>
                          <a:lnTo>
                            <a:pt x="311" y="448"/>
                          </a:lnTo>
                          <a:lnTo>
                            <a:pt x="311" y="426"/>
                          </a:lnTo>
                          <a:lnTo>
                            <a:pt x="299" y="414"/>
                          </a:lnTo>
                          <a:lnTo>
                            <a:pt x="288" y="403"/>
                          </a:lnTo>
                          <a:lnTo>
                            <a:pt x="276" y="403"/>
                          </a:lnTo>
                          <a:lnTo>
                            <a:pt x="276" y="391"/>
                          </a:lnTo>
                          <a:lnTo>
                            <a:pt x="265" y="380"/>
                          </a:lnTo>
                          <a:lnTo>
                            <a:pt x="253" y="380"/>
                          </a:lnTo>
                          <a:lnTo>
                            <a:pt x="242" y="380"/>
                          </a:lnTo>
                          <a:lnTo>
                            <a:pt x="242" y="391"/>
                          </a:lnTo>
                          <a:lnTo>
                            <a:pt x="253" y="403"/>
                          </a:lnTo>
                          <a:lnTo>
                            <a:pt x="276" y="426"/>
                          </a:lnTo>
                          <a:lnTo>
                            <a:pt x="288" y="426"/>
                          </a:lnTo>
                          <a:lnTo>
                            <a:pt x="299" y="437"/>
                          </a:lnTo>
                          <a:lnTo>
                            <a:pt x="288" y="448"/>
                          </a:lnTo>
                          <a:lnTo>
                            <a:pt x="288" y="437"/>
                          </a:lnTo>
                          <a:lnTo>
                            <a:pt x="276" y="460"/>
                          </a:lnTo>
                          <a:lnTo>
                            <a:pt x="276" y="471"/>
                          </a:lnTo>
                          <a:lnTo>
                            <a:pt x="265" y="471"/>
                          </a:lnTo>
                          <a:lnTo>
                            <a:pt x="276" y="460"/>
                          </a:lnTo>
                          <a:lnTo>
                            <a:pt x="276" y="448"/>
                          </a:lnTo>
                          <a:lnTo>
                            <a:pt x="265" y="448"/>
                          </a:lnTo>
                          <a:lnTo>
                            <a:pt x="253" y="437"/>
                          </a:lnTo>
                          <a:lnTo>
                            <a:pt x="242" y="426"/>
                          </a:lnTo>
                          <a:lnTo>
                            <a:pt x="230" y="414"/>
                          </a:lnTo>
                          <a:lnTo>
                            <a:pt x="219" y="403"/>
                          </a:lnTo>
                          <a:lnTo>
                            <a:pt x="219" y="391"/>
                          </a:lnTo>
                          <a:lnTo>
                            <a:pt x="207" y="391"/>
                          </a:lnTo>
                          <a:lnTo>
                            <a:pt x="196" y="391"/>
                          </a:lnTo>
                          <a:lnTo>
                            <a:pt x="184" y="391"/>
                          </a:lnTo>
                          <a:lnTo>
                            <a:pt x="173" y="391"/>
                          </a:lnTo>
                          <a:lnTo>
                            <a:pt x="150" y="391"/>
                          </a:lnTo>
                          <a:lnTo>
                            <a:pt x="138" y="391"/>
                          </a:lnTo>
                          <a:lnTo>
                            <a:pt x="138" y="403"/>
                          </a:lnTo>
                          <a:lnTo>
                            <a:pt x="138" y="414"/>
                          </a:lnTo>
                          <a:lnTo>
                            <a:pt x="127" y="426"/>
                          </a:lnTo>
                          <a:lnTo>
                            <a:pt x="115" y="426"/>
                          </a:lnTo>
                          <a:lnTo>
                            <a:pt x="115" y="437"/>
                          </a:lnTo>
                          <a:lnTo>
                            <a:pt x="115" y="448"/>
                          </a:lnTo>
                          <a:lnTo>
                            <a:pt x="115" y="460"/>
                          </a:lnTo>
                          <a:lnTo>
                            <a:pt x="115" y="471"/>
                          </a:lnTo>
                          <a:lnTo>
                            <a:pt x="104" y="483"/>
                          </a:lnTo>
                          <a:lnTo>
                            <a:pt x="104" y="471"/>
                          </a:lnTo>
                          <a:lnTo>
                            <a:pt x="92" y="483"/>
                          </a:lnTo>
                          <a:lnTo>
                            <a:pt x="81" y="483"/>
                          </a:lnTo>
                          <a:lnTo>
                            <a:pt x="69" y="494"/>
                          </a:lnTo>
                          <a:lnTo>
                            <a:pt x="58" y="494"/>
                          </a:lnTo>
                          <a:lnTo>
                            <a:pt x="46" y="494"/>
                          </a:lnTo>
                          <a:lnTo>
                            <a:pt x="23" y="494"/>
                          </a:lnTo>
                          <a:lnTo>
                            <a:pt x="12" y="483"/>
                          </a:lnTo>
                          <a:lnTo>
                            <a:pt x="12" y="471"/>
                          </a:lnTo>
                          <a:lnTo>
                            <a:pt x="12" y="460"/>
                          </a:lnTo>
                          <a:lnTo>
                            <a:pt x="12" y="448"/>
                          </a:lnTo>
                          <a:lnTo>
                            <a:pt x="12" y="437"/>
                          </a:lnTo>
                          <a:lnTo>
                            <a:pt x="0" y="414"/>
                          </a:lnTo>
                        </a:path>
                      </a:pathLst>
                    </a:custGeom>
                    <a:solidFill>
                      <a:srgbClr val="EAEAEA"/>
                    </a:solidFill>
                    <a:ln w="3175" cap="rnd" cmpd="sng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algn="l" rtl="0" eaLnBrk="0" fontAlgn="t" latinLnBrk="1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</a:pPr>
                      <a:endParaRPr lang="ko-KR" altLang="en-US" sz="1000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105" name="Group 208"/>
                <p:cNvGrpSpPr>
                  <a:grpSpLocks/>
                </p:cNvGrpSpPr>
                <p:nvPr/>
              </p:nvGrpSpPr>
              <p:grpSpPr bwMode="auto">
                <a:xfrm>
                  <a:off x="674" y="1177"/>
                  <a:ext cx="1714" cy="2035"/>
                  <a:chOff x="674" y="1177"/>
                  <a:chExt cx="1714" cy="2035"/>
                </a:xfrm>
              </p:grpSpPr>
              <p:sp>
                <p:nvSpPr>
                  <p:cNvPr id="106" name="Freeform 209"/>
                  <p:cNvSpPr>
                    <a:spLocks/>
                  </p:cNvSpPr>
                  <p:nvPr/>
                </p:nvSpPr>
                <p:spPr bwMode="gray">
                  <a:xfrm>
                    <a:off x="674" y="3073"/>
                    <a:ext cx="438" cy="139"/>
                  </a:xfrm>
                  <a:custGeom>
                    <a:avLst/>
                    <a:gdLst/>
                    <a:ahLst/>
                    <a:cxnLst>
                      <a:cxn ang="0">
                        <a:pos x="92" y="46"/>
                      </a:cxn>
                      <a:cxn ang="0">
                        <a:pos x="115" y="46"/>
                      </a:cxn>
                      <a:cxn ang="0">
                        <a:pos x="138" y="46"/>
                      </a:cxn>
                      <a:cxn ang="0">
                        <a:pos x="161" y="35"/>
                      </a:cxn>
                      <a:cxn ang="0">
                        <a:pos x="184" y="46"/>
                      </a:cxn>
                      <a:cxn ang="0">
                        <a:pos x="219" y="23"/>
                      </a:cxn>
                      <a:cxn ang="0">
                        <a:pos x="242" y="23"/>
                      </a:cxn>
                      <a:cxn ang="0">
                        <a:pos x="276" y="23"/>
                      </a:cxn>
                      <a:cxn ang="0">
                        <a:pos x="311" y="23"/>
                      </a:cxn>
                      <a:cxn ang="0">
                        <a:pos x="345" y="35"/>
                      </a:cxn>
                      <a:cxn ang="0">
                        <a:pos x="380" y="12"/>
                      </a:cxn>
                      <a:cxn ang="0">
                        <a:pos x="414" y="0"/>
                      </a:cxn>
                      <a:cxn ang="0">
                        <a:pos x="426" y="12"/>
                      </a:cxn>
                      <a:cxn ang="0">
                        <a:pos x="403" y="23"/>
                      </a:cxn>
                      <a:cxn ang="0">
                        <a:pos x="391" y="46"/>
                      </a:cxn>
                      <a:cxn ang="0">
                        <a:pos x="368" y="58"/>
                      </a:cxn>
                      <a:cxn ang="0">
                        <a:pos x="345" y="69"/>
                      </a:cxn>
                      <a:cxn ang="0">
                        <a:pos x="322" y="69"/>
                      </a:cxn>
                      <a:cxn ang="0">
                        <a:pos x="288" y="81"/>
                      </a:cxn>
                      <a:cxn ang="0">
                        <a:pos x="265" y="92"/>
                      </a:cxn>
                      <a:cxn ang="0">
                        <a:pos x="242" y="104"/>
                      </a:cxn>
                      <a:cxn ang="0">
                        <a:pos x="207" y="115"/>
                      </a:cxn>
                      <a:cxn ang="0">
                        <a:pos x="184" y="127"/>
                      </a:cxn>
                      <a:cxn ang="0">
                        <a:pos x="150" y="127"/>
                      </a:cxn>
                      <a:cxn ang="0">
                        <a:pos x="115" y="138"/>
                      </a:cxn>
                      <a:cxn ang="0">
                        <a:pos x="92" y="127"/>
                      </a:cxn>
                      <a:cxn ang="0">
                        <a:pos x="58" y="127"/>
                      </a:cxn>
                      <a:cxn ang="0">
                        <a:pos x="35" y="115"/>
                      </a:cxn>
                      <a:cxn ang="0">
                        <a:pos x="0" y="92"/>
                      </a:cxn>
                      <a:cxn ang="0">
                        <a:pos x="46" y="81"/>
                      </a:cxn>
                      <a:cxn ang="0">
                        <a:pos x="69" y="92"/>
                      </a:cxn>
                      <a:cxn ang="0">
                        <a:pos x="92" y="104"/>
                      </a:cxn>
                      <a:cxn ang="0">
                        <a:pos x="104" y="81"/>
                      </a:cxn>
                      <a:cxn ang="0">
                        <a:pos x="92" y="69"/>
                      </a:cxn>
                    </a:cxnLst>
                    <a:rect l="0" t="0" r="r" b="b"/>
                    <a:pathLst>
                      <a:path w="438" h="139">
                        <a:moveTo>
                          <a:pt x="92" y="69"/>
                        </a:moveTo>
                        <a:lnTo>
                          <a:pt x="92" y="46"/>
                        </a:lnTo>
                        <a:lnTo>
                          <a:pt x="104" y="46"/>
                        </a:lnTo>
                        <a:lnTo>
                          <a:pt x="115" y="46"/>
                        </a:lnTo>
                        <a:lnTo>
                          <a:pt x="127" y="58"/>
                        </a:lnTo>
                        <a:lnTo>
                          <a:pt x="138" y="46"/>
                        </a:lnTo>
                        <a:lnTo>
                          <a:pt x="138" y="35"/>
                        </a:lnTo>
                        <a:lnTo>
                          <a:pt x="161" y="35"/>
                        </a:lnTo>
                        <a:lnTo>
                          <a:pt x="173" y="35"/>
                        </a:lnTo>
                        <a:lnTo>
                          <a:pt x="184" y="46"/>
                        </a:lnTo>
                        <a:lnTo>
                          <a:pt x="196" y="35"/>
                        </a:lnTo>
                        <a:lnTo>
                          <a:pt x="219" y="23"/>
                        </a:lnTo>
                        <a:lnTo>
                          <a:pt x="230" y="23"/>
                        </a:lnTo>
                        <a:lnTo>
                          <a:pt x="242" y="23"/>
                        </a:lnTo>
                        <a:lnTo>
                          <a:pt x="265" y="23"/>
                        </a:lnTo>
                        <a:lnTo>
                          <a:pt x="276" y="23"/>
                        </a:lnTo>
                        <a:lnTo>
                          <a:pt x="288" y="23"/>
                        </a:lnTo>
                        <a:lnTo>
                          <a:pt x="311" y="23"/>
                        </a:lnTo>
                        <a:lnTo>
                          <a:pt x="322" y="23"/>
                        </a:lnTo>
                        <a:lnTo>
                          <a:pt x="345" y="35"/>
                        </a:lnTo>
                        <a:lnTo>
                          <a:pt x="368" y="23"/>
                        </a:lnTo>
                        <a:lnTo>
                          <a:pt x="380" y="12"/>
                        </a:lnTo>
                        <a:lnTo>
                          <a:pt x="391" y="12"/>
                        </a:lnTo>
                        <a:lnTo>
                          <a:pt x="414" y="0"/>
                        </a:lnTo>
                        <a:lnTo>
                          <a:pt x="437" y="0"/>
                        </a:lnTo>
                        <a:lnTo>
                          <a:pt x="426" y="12"/>
                        </a:lnTo>
                        <a:lnTo>
                          <a:pt x="414" y="12"/>
                        </a:lnTo>
                        <a:lnTo>
                          <a:pt x="403" y="23"/>
                        </a:lnTo>
                        <a:lnTo>
                          <a:pt x="391" y="35"/>
                        </a:lnTo>
                        <a:lnTo>
                          <a:pt x="391" y="46"/>
                        </a:lnTo>
                        <a:lnTo>
                          <a:pt x="380" y="46"/>
                        </a:lnTo>
                        <a:lnTo>
                          <a:pt x="368" y="58"/>
                        </a:lnTo>
                        <a:lnTo>
                          <a:pt x="357" y="58"/>
                        </a:lnTo>
                        <a:lnTo>
                          <a:pt x="345" y="69"/>
                        </a:lnTo>
                        <a:lnTo>
                          <a:pt x="334" y="69"/>
                        </a:lnTo>
                        <a:lnTo>
                          <a:pt x="322" y="69"/>
                        </a:lnTo>
                        <a:lnTo>
                          <a:pt x="311" y="81"/>
                        </a:lnTo>
                        <a:lnTo>
                          <a:pt x="288" y="81"/>
                        </a:lnTo>
                        <a:lnTo>
                          <a:pt x="276" y="92"/>
                        </a:lnTo>
                        <a:lnTo>
                          <a:pt x="265" y="92"/>
                        </a:lnTo>
                        <a:lnTo>
                          <a:pt x="253" y="104"/>
                        </a:lnTo>
                        <a:lnTo>
                          <a:pt x="242" y="104"/>
                        </a:lnTo>
                        <a:lnTo>
                          <a:pt x="219" y="115"/>
                        </a:lnTo>
                        <a:lnTo>
                          <a:pt x="207" y="115"/>
                        </a:lnTo>
                        <a:lnTo>
                          <a:pt x="196" y="115"/>
                        </a:lnTo>
                        <a:lnTo>
                          <a:pt x="184" y="127"/>
                        </a:lnTo>
                        <a:lnTo>
                          <a:pt x="161" y="127"/>
                        </a:lnTo>
                        <a:lnTo>
                          <a:pt x="150" y="127"/>
                        </a:lnTo>
                        <a:lnTo>
                          <a:pt x="138" y="127"/>
                        </a:lnTo>
                        <a:lnTo>
                          <a:pt x="115" y="138"/>
                        </a:lnTo>
                        <a:lnTo>
                          <a:pt x="104" y="138"/>
                        </a:lnTo>
                        <a:lnTo>
                          <a:pt x="92" y="127"/>
                        </a:lnTo>
                        <a:lnTo>
                          <a:pt x="69" y="138"/>
                        </a:lnTo>
                        <a:lnTo>
                          <a:pt x="58" y="127"/>
                        </a:lnTo>
                        <a:lnTo>
                          <a:pt x="46" y="115"/>
                        </a:lnTo>
                        <a:lnTo>
                          <a:pt x="35" y="115"/>
                        </a:lnTo>
                        <a:lnTo>
                          <a:pt x="12" y="104"/>
                        </a:lnTo>
                        <a:lnTo>
                          <a:pt x="0" y="92"/>
                        </a:lnTo>
                        <a:lnTo>
                          <a:pt x="46" y="92"/>
                        </a:lnTo>
                        <a:lnTo>
                          <a:pt x="46" y="81"/>
                        </a:lnTo>
                        <a:lnTo>
                          <a:pt x="58" y="81"/>
                        </a:lnTo>
                        <a:lnTo>
                          <a:pt x="69" y="92"/>
                        </a:lnTo>
                        <a:lnTo>
                          <a:pt x="81" y="92"/>
                        </a:lnTo>
                        <a:lnTo>
                          <a:pt x="92" y="104"/>
                        </a:lnTo>
                        <a:lnTo>
                          <a:pt x="104" y="92"/>
                        </a:lnTo>
                        <a:lnTo>
                          <a:pt x="104" y="81"/>
                        </a:lnTo>
                        <a:lnTo>
                          <a:pt x="104" y="69"/>
                        </a:lnTo>
                        <a:lnTo>
                          <a:pt x="92" y="69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07" name="Freeform 210"/>
                  <p:cNvSpPr>
                    <a:spLocks/>
                  </p:cNvSpPr>
                  <p:nvPr/>
                </p:nvSpPr>
                <p:spPr bwMode="gray">
                  <a:xfrm>
                    <a:off x="1859" y="2981"/>
                    <a:ext cx="437" cy="231"/>
                  </a:xfrm>
                  <a:custGeom>
                    <a:avLst/>
                    <a:gdLst/>
                    <a:ahLst/>
                    <a:cxnLst>
                      <a:cxn ang="0">
                        <a:pos x="218" y="35"/>
                      </a:cxn>
                      <a:cxn ang="0">
                        <a:pos x="195" y="46"/>
                      </a:cxn>
                      <a:cxn ang="0">
                        <a:pos x="206" y="69"/>
                      </a:cxn>
                      <a:cxn ang="0">
                        <a:pos x="229" y="104"/>
                      </a:cxn>
                      <a:cxn ang="0">
                        <a:pos x="218" y="138"/>
                      </a:cxn>
                      <a:cxn ang="0">
                        <a:pos x="184" y="161"/>
                      </a:cxn>
                      <a:cxn ang="0">
                        <a:pos x="161" y="161"/>
                      </a:cxn>
                      <a:cxn ang="0">
                        <a:pos x="138" y="161"/>
                      </a:cxn>
                      <a:cxn ang="0">
                        <a:pos x="149" y="184"/>
                      </a:cxn>
                      <a:cxn ang="0">
                        <a:pos x="172" y="196"/>
                      </a:cxn>
                      <a:cxn ang="0">
                        <a:pos x="275" y="196"/>
                      </a:cxn>
                      <a:cxn ang="0">
                        <a:pos x="321" y="173"/>
                      </a:cxn>
                      <a:cxn ang="0">
                        <a:pos x="356" y="161"/>
                      </a:cxn>
                      <a:cxn ang="0">
                        <a:pos x="379" y="138"/>
                      </a:cxn>
                      <a:cxn ang="0">
                        <a:pos x="436" y="115"/>
                      </a:cxn>
                      <a:cxn ang="0">
                        <a:pos x="425" y="150"/>
                      </a:cxn>
                      <a:cxn ang="0">
                        <a:pos x="413" y="173"/>
                      </a:cxn>
                      <a:cxn ang="0">
                        <a:pos x="390" y="184"/>
                      </a:cxn>
                      <a:cxn ang="0">
                        <a:pos x="356" y="207"/>
                      </a:cxn>
                      <a:cxn ang="0">
                        <a:pos x="321" y="219"/>
                      </a:cxn>
                      <a:cxn ang="0">
                        <a:pos x="275" y="230"/>
                      </a:cxn>
                      <a:cxn ang="0">
                        <a:pos x="218" y="230"/>
                      </a:cxn>
                      <a:cxn ang="0">
                        <a:pos x="172" y="230"/>
                      </a:cxn>
                      <a:cxn ang="0">
                        <a:pos x="138" y="219"/>
                      </a:cxn>
                      <a:cxn ang="0">
                        <a:pos x="103" y="207"/>
                      </a:cxn>
                      <a:cxn ang="0">
                        <a:pos x="80" y="196"/>
                      </a:cxn>
                      <a:cxn ang="0">
                        <a:pos x="57" y="184"/>
                      </a:cxn>
                      <a:cxn ang="0">
                        <a:pos x="34" y="173"/>
                      </a:cxn>
                      <a:cxn ang="0">
                        <a:pos x="11" y="150"/>
                      </a:cxn>
                      <a:cxn ang="0">
                        <a:pos x="23" y="127"/>
                      </a:cxn>
                      <a:cxn ang="0">
                        <a:pos x="46" y="127"/>
                      </a:cxn>
                      <a:cxn ang="0">
                        <a:pos x="69" y="127"/>
                      </a:cxn>
                      <a:cxn ang="0">
                        <a:pos x="103" y="127"/>
                      </a:cxn>
                      <a:cxn ang="0">
                        <a:pos x="126" y="127"/>
                      </a:cxn>
                      <a:cxn ang="0">
                        <a:pos x="161" y="115"/>
                      </a:cxn>
                      <a:cxn ang="0">
                        <a:pos x="172" y="115"/>
                      </a:cxn>
                      <a:cxn ang="0">
                        <a:pos x="161" y="104"/>
                      </a:cxn>
                      <a:cxn ang="0">
                        <a:pos x="172" y="92"/>
                      </a:cxn>
                      <a:cxn ang="0">
                        <a:pos x="184" y="69"/>
                      </a:cxn>
                      <a:cxn ang="0">
                        <a:pos x="172" y="58"/>
                      </a:cxn>
                      <a:cxn ang="0">
                        <a:pos x="184" y="35"/>
                      </a:cxn>
                      <a:cxn ang="0">
                        <a:pos x="195" y="23"/>
                      </a:cxn>
                      <a:cxn ang="0">
                        <a:pos x="206" y="0"/>
                      </a:cxn>
                      <a:cxn ang="0">
                        <a:pos x="229" y="0"/>
                      </a:cxn>
                      <a:cxn ang="0">
                        <a:pos x="241" y="12"/>
                      </a:cxn>
                    </a:cxnLst>
                    <a:rect l="0" t="0" r="r" b="b"/>
                    <a:pathLst>
                      <a:path w="437" h="231">
                        <a:moveTo>
                          <a:pt x="241" y="12"/>
                        </a:moveTo>
                        <a:lnTo>
                          <a:pt x="218" y="35"/>
                        </a:lnTo>
                        <a:lnTo>
                          <a:pt x="206" y="46"/>
                        </a:lnTo>
                        <a:lnTo>
                          <a:pt x="195" y="46"/>
                        </a:lnTo>
                        <a:lnTo>
                          <a:pt x="195" y="58"/>
                        </a:lnTo>
                        <a:lnTo>
                          <a:pt x="206" y="69"/>
                        </a:lnTo>
                        <a:lnTo>
                          <a:pt x="206" y="81"/>
                        </a:lnTo>
                        <a:lnTo>
                          <a:pt x="229" y="104"/>
                        </a:lnTo>
                        <a:lnTo>
                          <a:pt x="229" y="115"/>
                        </a:lnTo>
                        <a:lnTo>
                          <a:pt x="218" y="138"/>
                        </a:lnTo>
                        <a:lnTo>
                          <a:pt x="195" y="161"/>
                        </a:lnTo>
                        <a:lnTo>
                          <a:pt x="184" y="161"/>
                        </a:lnTo>
                        <a:lnTo>
                          <a:pt x="172" y="173"/>
                        </a:lnTo>
                        <a:lnTo>
                          <a:pt x="161" y="161"/>
                        </a:lnTo>
                        <a:lnTo>
                          <a:pt x="149" y="161"/>
                        </a:lnTo>
                        <a:lnTo>
                          <a:pt x="138" y="161"/>
                        </a:lnTo>
                        <a:lnTo>
                          <a:pt x="138" y="173"/>
                        </a:lnTo>
                        <a:lnTo>
                          <a:pt x="149" y="184"/>
                        </a:lnTo>
                        <a:lnTo>
                          <a:pt x="161" y="184"/>
                        </a:lnTo>
                        <a:lnTo>
                          <a:pt x="172" y="196"/>
                        </a:lnTo>
                        <a:lnTo>
                          <a:pt x="218" y="196"/>
                        </a:lnTo>
                        <a:lnTo>
                          <a:pt x="275" y="196"/>
                        </a:lnTo>
                        <a:lnTo>
                          <a:pt x="310" y="184"/>
                        </a:lnTo>
                        <a:lnTo>
                          <a:pt x="321" y="173"/>
                        </a:lnTo>
                        <a:lnTo>
                          <a:pt x="344" y="161"/>
                        </a:lnTo>
                        <a:lnTo>
                          <a:pt x="356" y="161"/>
                        </a:lnTo>
                        <a:lnTo>
                          <a:pt x="367" y="150"/>
                        </a:lnTo>
                        <a:lnTo>
                          <a:pt x="379" y="138"/>
                        </a:lnTo>
                        <a:lnTo>
                          <a:pt x="402" y="138"/>
                        </a:lnTo>
                        <a:lnTo>
                          <a:pt x="436" y="115"/>
                        </a:lnTo>
                        <a:lnTo>
                          <a:pt x="436" y="138"/>
                        </a:lnTo>
                        <a:lnTo>
                          <a:pt x="425" y="150"/>
                        </a:lnTo>
                        <a:lnTo>
                          <a:pt x="425" y="161"/>
                        </a:lnTo>
                        <a:lnTo>
                          <a:pt x="413" y="173"/>
                        </a:lnTo>
                        <a:lnTo>
                          <a:pt x="402" y="173"/>
                        </a:lnTo>
                        <a:lnTo>
                          <a:pt x="390" y="184"/>
                        </a:lnTo>
                        <a:lnTo>
                          <a:pt x="379" y="196"/>
                        </a:lnTo>
                        <a:lnTo>
                          <a:pt x="356" y="207"/>
                        </a:lnTo>
                        <a:lnTo>
                          <a:pt x="333" y="219"/>
                        </a:lnTo>
                        <a:lnTo>
                          <a:pt x="321" y="219"/>
                        </a:lnTo>
                        <a:lnTo>
                          <a:pt x="298" y="230"/>
                        </a:lnTo>
                        <a:lnTo>
                          <a:pt x="275" y="230"/>
                        </a:lnTo>
                        <a:lnTo>
                          <a:pt x="252" y="230"/>
                        </a:lnTo>
                        <a:lnTo>
                          <a:pt x="218" y="230"/>
                        </a:lnTo>
                        <a:lnTo>
                          <a:pt x="195" y="230"/>
                        </a:lnTo>
                        <a:lnTo>
                          <a:pt x="172" y="230"/>
                        </a:lnTo>
                        <a:lnTo>
                          <a:pt x="149" y="230"/>
                        </a:lnTo>
                        <a:lnTo>
                          <a:pt x="138" y="219"/>
                        </a:lnTo>
                        <a:lnTo>
                          <a:pt x="115" y="207"/>
                        </a:lnTo>
                        <a:lnTo>
                          <a:pt x="103" y="207"/>
                        </a:lnTo>
                        <a:lnTo>
                          <a:pt x="92" y="196"/>
                        </a:lnTo>
                        <a:lnTo>
                          <a:pt x="80" y="196"/>
                        </a:lnTo>
                        <a:lnTo>
                          <a:pt x="69" y="196"/>
                        </a:lnTo>
                        <a:lnTo>
                          <a:pt x="57" y="184"/>
                        </a:lnTo>
                        <a:lnTo>
                          <a:pt x="46" y="173"/>
                        </a:lnTo>
                        <a:lnTo>
                          <a:pt x="34" y="173"/>
                        </a:lnTo>
                        <a:lnTo>
                          <a:pt x="23" y="161"/>
                        </a:lnTo>
                        <a:lnTo>
                          <a:pt x="11" y="150"/>
                        </a:lnTo>
                        <a:lnTo>
                          <a:pt x="0" y="150"/>
                        </a:lnTo>
                        <a:lnTo>
                          <a:pt x="23" y="127"/>
                        </a:lnTo>
                        <a:lnTo>
                          <a:pt x="34" y="127"/>
                        </a:lnTo>
                        <a:lnTo>
                          <a:pt x="46" y="127"/>
                        </a:lnTo>
                        <a:lnTo>
                          <a:pt x="57" y="127"/>
                        </a:lnTo>
                        <a:lnTo>
                          <a:pt x="69" y="127"/>
                        </a:lnTo>
                        <a:lnTo>
                          <a:pt x="92" y="127"/>
                        </a:lnTo>
                        <a:lnTo>
                          <a:pt x="103" y="127"/>
                        </a:lnTo>
                        <a:lnTo>
                          <a:pt x="115" y="127"/>
                        </a:lnTo>
                        <a:lnTo>
                          <a:pt x="126" y="127"/>
                        </a:lnTo>
                        <a:lnTo>
                          <a:pt x="149" y="127"/>
                        </a:lnTo>
                        <a:lnTo>
                          <a:pt x="161" y="115"/>
                        </a:lnTo>
                        <a:lnTo>
                          <a:pt x="172" y="127"/>
                        </a:lnTo>
                        <a:lnTo>
                          <a:pt x="172" y="115"/>
                        </a:lnTo>
                        <a:lnTo>
                          <a:pt x="172" y="104"/>
                        </a:lnTo>
                        <a:lnTo>
                          <a:pt x="161" y="104"/>
                        </a:lnTo>
                        <a:lnTo>
                          <a:pt x="161" y="92"/>
                        </a:lnTo>
                        <a:lnTo>
                          <a:pt x="172" y="92"/>
                        </a:lnTo>
                        <a:lnTo>
                          <a:pt x="172" y="81"/>
                        </a:lnTo>
                        <a:lnTo>
                          <a:pt x="184" y="69"/>
                        </a:lnTo>
                        <a:lnTo>
                          <a:pt x="172" y="69"/>
                        </a:lnTo>
                        <a:lnTo>
                          <a:pt x="172" y="58"/>
                        </a:lnTo>
                        <a:lnTo>
                          <a:pt x="172" y="46"/>
                        </a:lnTo>
                        <a:lnTo>
                          <a:pt x="184" y="35"/>
                        </a:lnTo>
                        <a:lnTo>
                          <a:pt x="184" y="23"/>
                        </a:lnTo>
                        <a:lnTo>
                          <a:pt x="195" y="23"/>
                        </a:lnTo>
                        <a:lnTo>
                          <a:pt x="206" y="12"/>
                        </a:lnTo>
                        <a:lnTo>
                          <a:pt x="206" y="0"/>
                        </a:lnTo>
                        <a:lnTo>
                          <a:pt x="218" y="0"/>
                        </a:lnTo>
                        <a:lnTo>
                          <a:pt x="229" y="0"/>
                        </a:lnTo>
                        <a:lnTo>
                          <a:pt x="241" y="0"/>
                        </a:lnTo>
                        <a:lnTo>
                          <a:pt x="241" y="12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08" name="Freeform 211"/>
                  <p:cNvSpPr>
                    <a:spLocks/>
                  </p:cNvSpPr>
                  <p:nvPr/>
                </p:nvSpPr>
                <p:spPr bwMode="gray">
                  <a:xfrm>
                    <a:off x="1008" y="1258"/>
                    <a:ext cx="932" cy="805"/>
                  </a:xfrm>
                  <a:custGeom>
                    <a:avLst/>
                    <a:gdLst/>
                    <a:ahLst/>
                    <a:cxnLst>
                      <a:cxn ang="0">
                        <a:pos x="80" y="149"/>
                      </a:cxn>
                      <a:cxn ang="0">
                        <a:pos x="57" y="103"/>
                      </a:cxn>
                      <a:cxn ang="0">
                        <a:pos x="138" y="69"/>
                      </a:cxn>
                      <a:cxn ang="0">
                        <a:pos x="172" y="34"/>
                      </a:cxn>
                      <a:cxn ang="0">
                        <a:pos x="230" y="34"/>
                      </a:cxn>
                      <a:cxn ang="0">
                        <a:pos x="402" y="34"/>
                      </a:cxn>
                      <a:cxn ang="0">
                        <a:pos x="494" y="46"/>
                      </a:cxn>
                      <a:cxn ang="0">
                        <a:pos x="460" y="46"/>
                      </a:cxn>
                      <a:cxn ang="0">
                        <a:pos x="437" y="0"/>
                      </a:cxn>
                      <a:cxn ang="0">
                        <a:pos x="483" y="0"/>
                      </a:cxn>
                      <a:cxn ang="0">
                        <a:pos x="517" y="23"/>
                      </a:cxn>
                      <a:cxn ang="0">
                        <a:pos x="575" y="57"/>
                      </a:cxn>
                      <a:cxn ang="0">
                        <a:pos x="598" y="23"/>
                      </a:cxn>
                      <a:cxn ang="0">
                        <a:pos x="678" y="46"/>
                      </a:cxn>
                      <a:cxn ang="0">
                        <a:pos x="644" y="80"/>
                      </a:cxn>
                      <a:cxn ang="0">
                        <a:pos x="598" y="126"/>
                      </a:cxn>
                      <a:cxn ang="0">
                        <a:pos x="655" y="184"/>
                      </a:cxn>
                      <a:cxn ang="0">
                        <a:pos x="690" y="230"/>
                      </a:cxn>
                      <a:cxn ang="0">
                        <a:pos x="724" y="218"/>
                      </a:cxn>
                      <a:cxn ang="0">
                        <a:pos x="701" y="138"/>
                      </a:cxn>
                      <a:cxn ang="0">
                        <a:pos x="736" y="115"/>
                      </a:cxn>
                      <a:cxn ang="0">
                        <a:pos x="805" y="126"/>
                      </a:cxn>
                      <a:cxn ang="0">
                        <a:pos x="862" y="172"/>
                      </a:cxn>
                      <a:cxn ang="0">
                        <a:pos x="931" y="218"/>
                      </a:cxn>
                      <a:cxn ang="0">
                        <a:pos x="897" y="230"/>
                      </a:cxn>
                      <a:cxn ang="0">
                        <a:pos x="839" y="241"/>
                      </a:cxn>
                      <a:cxn ang="0">
                        <a:pos x="862" y="264"/>
                      </a:cxn>
                      <a:cxn ang="0">
                        <a:pos x="897" y="310"/>
                      </a:cxn>
                      <a:cxn ang="0">
                        <a:pos x="874" y="333"/>
                      </a:cxn>
                      <a:cxn ang="0">
                        <a:pos x="862" y="333"/>
                      </a:cxn>
                      <a:cxn ang="0">
                        <a:pos x="828" y="379"/>
                      </a:cxn>
                      <a:cxn ang="0">
                        <a:pos x="816" y="413"/>
                      </a:cxn>
                      <a:cxn ang="0">
                        <a:pos x="759" y="494"/>
                      </a:cxn>
                      <a:cxn ang="0">
                        <a:pos x="782" y="586"/>
                      </a:cxn>
                      <a:cxn ang="0">
                        <a:pos x="759" y="551"/>
                      </a:cxn>
                      <a:cxn ang="0">
                        <a:pos x="713" y="517"/>
                      </a:cxn>
                      <a:cxn ang="0">
                        <a:pos x="644" y="517"/>
                      </a:cxn>
                      <a:cxn ang="0">
                        <a:pos x="598" y="517"/>
                      </a:cxn>
                      <a:cxn ang="0">
                        <a:pos x="575" y="563"/>
                      </a:cxn>
                      <a:cxn ang="0">
                        <a:pos x="598" y="666"/>
                      </a:cxn>
                      <a:cxn ang="0">
                        <a:pos x="655" y="632"/>
                      </a:cxn>
                      <a:cxn ang="0">
                        <a:pos x="690" y="655"/>
                      </a:cxn>
                      <a:cxn ang="0">
                        <a:pos x="713" y="689"/>
                      </a:cxn>
                      <a:cxn ang="0">
                        <a:pos x="736" y="735"/>
                      </a:cxn>
                      <a:cxn ang="0">
                        <a:pos x="782" y="781"/>
                      </a:cxn>
                      <a:cxn ang="0">
                        <a:pos x="851" y="770"/>
                      </a:cxn>
                      <a:cxn ang="0">
                        <a:pos x="782" y="804"/>
                      </a:cxn>
                      <a:cxn ang="0">
                        <a:pos x="724" y="770"/>
                      </a:cxn>
                      <a:cxn ang="0">
                        <a:pos x="667" y="724"/>
                      </a:cxn>
                      <a:cxn ang="0">
                        <a:pos x="621" y="689"/>
                      </a:cxn>
                      <a:cxn ang="0">
                        <a:pos x="552" y="689"/>
                      </a:cxn>
                      <a:cxn ang="0">
                        <a:pos x="460" y="597"/>
                      </a:cxn>
                      <a:cxn ang="0">
                        <a:pos x="368" y="528"/>
                      </a:cxn>
                      <a:cxn ang="0">
                        <a:pos x="402" y="586"/>
                      </a:cxn>
                      <a:cxn ang="0">
                        <a:pos x="356" y="517"/>
                      </a:cxn>
                      <a:cxn ang="0">
                        <a:pos x="299" y="368"/>
                      </a:cxn>
                      <a:cxn ang="0">
                        <a:pos x="322" y="287"/>
                      </a:cxn>
                      <a:cxn ang="0">
                        <a:pos x="287" y="207"/>
                      </a:cxn>
                      <a:cxn ang="0">
                        <a:pos x="276" y="161"/>
                      </a:cxn>
                      <a:cxn ang="0">
                        <a:pos x="207" y="138"/>
                      </a:cxn>
                      <a:cxn ang="0">
                        <a:pos x="172" y="126"/>
                      </a:cxn>
                      <a:cxn ang="0">
                        <a:pos x="69" y="184"/>
                      </a:cxn>
                    </a:cxnLst>
                    <a:rect l="0" t="0" r="r" b="b"/>
                    <a:pathLst>
                      <a:path w="932" h="805">
                        <a:moveTo>
                          <a:pt x="0" y="207"/>
                        </a:moveTo>
                        <a:lnTo>
                          <a:pt x="46" y="184"/>
                        </a:lnTo>
                        <a:lnTo>
                          <a:pt x="69" y="172"/>
                        </a:lnTo>
                        <a:lnTo>
                          <a:pt x="80" y="149"/>
                        </a:lnTo>
                        <a:lnTo>
                          <a:pt x="57" y="138"/>
                        </a:lnTo>
                        <a:lnTo>
                          <a:pt x="57" y="115"/>
                        </a:lnTo>
                        <a:lnTo>
                          <a:pt x="69" y="115"/>
                        </a:lnTo>
                        <a:lnTo>
                          <a:pt x="57" y="103"/>
                        </a:lnTo>
                        <a:lnTo>
                          <a:pt x="92" y="103"/>
                        </a:lnTo>
                        <a:lnTo>
                          <a:pt x="103" y="92"/>
                        </a:lnTo>
                        <a:lnTo>
                          <a:pt x="103" y="69"/>
                        </a:lnTo>
                        <a:lnTo>
                          <a:pt x="138" y="69"/>
                        </a:lnTo>
                        <a:lnTo>
                          <a:pt x="138" y="57"/>
                        </a:lnTo>
                        <a:lnTo>
                          <a:pt x="115" y="46"/>
                        </a:lnTo>
                        <a:lnTo>
                          <a:pt x="126" y="34"/>
                        </a:lnTo>
                        <a:lnTo>
                          <a:pt x="172" y="34"/>
                        </a:lnTo>
                        <a:lnTo>
                          <a:pt x="184" y="23"/>
                        </a:lnTo>
                        <a:lnTo>
                          <a:pt x="195" y="23"/>
                        </a:lnTo>
                        <a:lnTo>
                          <a:pt x="207" y="11"/>
                        </a:lnTo>
                        <a:lnTo>
                          <a:pt x="230" y="34"/>
                        </a:lnTo>
                        <a:lnTo>
                          <a:pt x="287" y="34"/>
                        </a:lnTo>
                        <a:lnTo>
                          <a:pt x="310" y="46"/>
                        </a:lnTo>
                        <a:lnTo>
                          <a:pt x="391" y="46"/>
                        </a:lnTo>
                        <a:lnTo>
                          <a:pt x="402" y="34"/>
                        </a:lnTo>
                        <a:lnTo>
                          <a:pt x="437" y="46"/>
                        </a:lnTo>
                        <a:lnTo>
                          <a:pt x="471" y="57"/>
                        </a:lnTo>
                        <a:lnTo>
                          <a:pt x="483" y="57"/>
                        </a:lnTo>
                        <a:lnTo>
                          <a:pt x="494" y="46"/>
                        </a:lnTo>
                        <a:lnTo>
                          <a:pt x="517" y="57"/>
                        </a:lnTo>
                        <a:lnTo>
                          <a:pt x="506" y="46"/>
                        </a:lnTo>
                        <a:lnTo>
                          <a:pt x="483" y="46"/>
                        </a:lnTo>
                        <a:lnTo>
                          <a:pt x="460" y="46"/>
                        </a:lnTo>
                        <a:lnTo>
                          <a:pt x="448" y="34"/>
                        </a:lnTo>
                        <a:lnTo>
                          <a:pt x="437" y="23"/>
                        </a:lnTo>
                        <a:lnTo>
                          <a:pt x="437" y="11"/>
                        </a:lnTo>
                        <a:lnTo>
                          <a:pt x="437" y="0"/>
                        </a:lnTo>
                        <a:lnTo>
                          <a:pt x="448" y="0"/>
                        </a:lnTo>
                        <a:lnTo>
                          <a:pt x="460" y="11"/>
                        </a:lnTo>
                        <a:lnTo>
                          <a:pt x="471" y="0"/>
                        </a:lnTo>
                        <a:lnTo>
                          <a:pt x="483" y="0"/>
                        </a:lnTo>
                        <a:lnTo>
                          <a:pt x="494" y="11"/>
                        </a:lnTo>
                        <a:lnTo>
                          <a:pt x="506" y="0"/>
                        </a:lnTo>
                        <a:lnTo>
                          <a:pt x="517" y="11"/>
                        </a:lnTo>
                        <a:lnTo>
                          <a:pt x="517" y="23"/>
                        </a:lnTo>
                        <a:lnTo>
                          <a:pt x="540" y="34"/>
                        </a:lnTo>
                        <a:lnTo>
                          <a:pt x="529" y="34"/>
                        </a:lnTo>
                        <a:lnTo>
                          <a:pt x="529" y="46"/>
                        </a:lnTo>
                        <a:lnTo>
                          <a:pt x="575" y="57"/>
                        </a:lnTo>
                        <a:lnTo>
                          <a:pt x="575" y="34"/>
                        </a:lnTo>
                        <a:lnTo>
                          <a:pt x="552" y="34"/>
                        </a:lnTo>
                        <a:lnTo>
                          <a:pt x="563" y="11"/>
                        </a:lnTo>
                        <a:lnTo>
                          <a:pt x="598" y="23"/>
                        </a:lnTo>
                        <a:lnTo>
                          <a:pt x="598" y="34"/>
                        </a:lnTo>
                        <a:lnTo>
                          <a:pt x="632" y="34"/>
                        </a:lnTo>
                        <a:lnTo>
                          <a:pt x="655" y="57"/>
                        </a:lnTo>
                        <a:lnTo>
                          <a:pt x="678" y="46"/>
                        </a:lnTo>
                        <a:lnTo>
                          <a:pt x="690" y="57"/>
                        </a:lnTo>
                        <a:lnTo>
                          <a:pt x="678" y="80"/>
                        </a:lnTo>
                        <a:lnTo>
                          <a:pt x="655" y="69"/>
                        </a:lnTo>
                        <a:lnTo>
                          <a:pt x="644" y="80"/>
                        </a:lnTo>
                        <a:lnTo>
                          <a:pt x="621" y="92"/>
                        </a:lnTo>
                        <a:lnTo>
                          <a:pt x="632" y="103"/>
                        </a:lnTo>
                        <a:lnTo>
                          <a:pt x="609" y="103"/>
                        </a:lnTo>
                        <a:lnTo>
                          <a:pt x="598" y="126"/>
                        </a:lnTo>
                        <a:lnTo>
                          <a:pt x="586" y="138"/>
                        </a:lnTo>
                        <a:lnTo>
                          <a:pt x="609" y="161"/>
                        </a:lnTo>
                        <a:lnTo>
                          <a:pt x="621" y="184"/>
                        </a:lnTo>
                        <a:lnTo>
                          <a:pt x="655" y="184"/>
                        </a:lnTo>
                        <a:lnTo>
                          <a:pt x="678" y="184"/>
                        </a:lnTo>
                        <a:lnTo>
                          <a:pt x="690" y="195"/>
                        </a:lnTo>
                        <a:lnTo>
                          <a:pt x="678" y="207"/>
                        </a:lnTo>
                        <a:lnTo>
                          <a:pt x="690" y="230"/>
                        </a:lnTo>
                        <a:lnTo>
                          <a:pt x="701" y="241"/>
                        </a:lnTo>
                        <a:lnTo>
                          <a:pt x="713" y="253"/>
                        </a:lnTo>
                        <a:lnTo>
                          <a:pt x="736" y="241"/>
                        </a:lnTo>
                        <a:lnTo>
                          <a:pt x="724" y="218"/>
                        </a:lnTo>
                        <a:lnTo>
                          <a:pt x="713" y="207"/>
                        </a:lnTo>
                        <a:lnTo>
                          <a:pt x="736" y="184"/>
                        </a:lnTo>
                        <a:lnTo>
                          <a:pt x="713" y="161"/>
                        </a:lnTo>
                        <a:lnTo>
                          <a:pt x="701" y="138"/>
                        </a:lnTo>
                        <a:lnTo>
                          <a:pt x="713" y="126"/>
                        </a:lnTo>
                        <a:lnTo>
                          <a:pt x="713" y="115"/>
                        </a:lnTo>
                        <a:lnTo>
                          <a:pt x="713" y="103"/>
                        </a:lnTo>
                        <a:lnTo>
                          <a:pt x="736" y="115"/>
                        </a:lnTo>
                        <a:lnTo>
                          <a:pt x="770" y="149"/>
                        </a:lnTo>
                        <a:lnTo>
                          <a:pt x="805" y="161"/>
                        </a:lnTo>
                        <a:lnTo>
                          <a:pt x="805" y="149"/>
                        </a:lnTo>
                        <a:lnTo>
                          <a:pt x="805" y="126"/>
                        </a:lnTo>
                        <a:lnTo>
                          <a:pt x="816" y="126"/>
                        </a:lnTo>
                        <a:lnTo>
                          <a:pt x="839" y="149"/>
                        </a:lnTo>
                        <a:lnTo>
                          <a:pt x="839" y="161"/>
                        </a:lnTo>
                        <a:lnTo>
                          <a:pt x="862" y="172"/>
                        </a:lnTo>
                        <a:lnTo>
                          <a:pt x="885" y="184"/>
                        </a:lnTo>
                        <a:lnTo>
                          <a:pt x="897" y="207"/>
                        </a:lnTo>
                        <a:lnTo>
                          <a:pt x="920" y="218"/>
                        </a:lnTo>
                        <a:lnTo>
                          <a:pt x="931" y="218"/>
                        </a:lnTo>
                        <a:lnTo>
                          <a:pt x="931" y="230"/>
                        </a:lnTo>
                        <a:lnTo>
                          <a:pt x="920" y="241"/>
                        </a:lnTo>
                        <a:lnTo>
                          <a:pt x="908" y="230"/>
                        </a:lnTo>
                        <a:lnTo>
                          <a:pt x="897" y="230"/>
                        </a:lnTo>
                        <a:lnTo>
                          <a:pt x="897" y="253"/>
                        </a:lnTo>
                        <a:lnTo>
                          <a:pt x="885" y="253"/>
                        </a:lnTo>
                        <a:lnTo>
                          <a:pt x="862" y="241"/>
                        </a:lnTo>
                        <a:lnTo>
                          <a:pt x="839" y="241"/>
                        </a:lnTo>
                        <a:lnTo>
                          <a:pt x="828" y="264"/>
                        </a:lnTo>
                        <a:lnTo>
                          <a:pt x="839" y="276"/>
                        </a:lnTo>
                        <a:lnTo>
                          <a:pt x="851" y="276"/>
                        </a:lnTo>
                        <a:lnTo>
                          <a:pt x="862" y="264"/>
                        </a:lnTo>
                        <a:lnTo>
                          <a:pt x="874" y="276"/>
                        </a:lnTo>
                        <a:lnTo>
                          <a:pt x="862" y="287"/>
                        </a:lnTo>
                        <a:lnTo>
                          <a:pt x="874" y="310"/>
                        </a:lnTo>
                        <a:lnTo>
                          <a:pt x="897" y="310"/>
                        </a:lnTo>
                        <a:lnTo>
                          <a:pt x="897" y="322"/>
                        </a:lnTo>
                        <a:lnTo>
                          <a:pt x="885" y="322"/>
                        </a:lnTo>
                        <a:lnTo>
                          <a:pt x="862" y="368"/>
                        </a:lnTo>
                        <a:lnTo>
                          <a:pt x="874" y="333"/>
                        </a:lnTo>
                        <a:lnTo>
                          <a:pt x="874" y="322"/>
                        </a:lnTo>
                        <a:lnTo>
                          <a:pt x="862" y="310"/>
                        </a:lnTo>
                        <a:lnTo>
                          <a:pt x="851" y="322"/>
                        </a:lnTo>
                        <a:lnTo>
                          <a:pt x="862" y="333"/>
                        </a:lnTo>
                        <a:lnTo>
                          <a:pt x="851" y="333"/>
                        </a:lnTo>
                        <a:lnTo>
                          <a:pt x="839" y="345"/>
                        </a:lnTo>
                        <a:lnTo>
                          <a:pt x="839" y="368"/>
                        </a:lnTo>
                        <a:lnTo>
                          <a:pt x="828" y="379"/>
                        </a:lnTo>
                        <a:lnTo>
                          <a:pt x="805" y="379"/>
                        </a:lnTo>
                        <a:lnTo>
                          <a:pt x="816" y="390"/>
                        </a:lnTo>
                        <a:lnTo>
                          <a:pt x="805" y="402"/>
                        </a:lnTo>
                        <a:lnTo>
                          <a:pt x="816" y="413"/>
                        </a:lnTo>
                        <a:lnTo>
                          <a:pt x="805" y="436"/>
                        </a:lnTo>
                        <a:lnTo>
                          <a:pt x="805" y="459"/>
                        </a:lnTo>
                        <a:lnTo>
                          <a:pt x="782" y="471"/>
                        </a:lnTo>
                        <a:lnTo>
                          <a:pt x="759" y="494"/>
                        </a:lnTo>
                        <a:lnTo>
                          <a:pt x="759" y="517"/>
                        </a:lnTo>
                        <a:lnTo>
                          <a:pt x="770" y="540"/>
                        </a:lnTo>
                        <a:lnTo>
                          <a:pt x="770" y="563"/>
                        </a:lnTo>
                        <a:lnTo>
                          <a:pt x="782" y="586"/>
                        </a:lnTo>
                        <a:lnTo>
                          <a:pt x="770" y="586"/>
                        </a:lnTo>
                        <a:lnTo>
                          <a:pt x="759" y="586"/>
                        </a:lnTo>
                        <a:lnTo>
                          <a:pt x="759" y="574"/>
                        </a:lnTo>
                        <a:lnTo>
                          <a:pt x="759" y="551"/>
                        </a:lnTo>
                        <a:lnTo>
                          <a:pt x="747" y="540"/>
                        </a:lnTo>
                        <a:lnTo>
                          <a:pt x="736" y="528"/>
                        </a:lnTo>
                        <a:lnTo>
                          <a:pt x="724" y="528"/>
                        </a:lnTo>
                        <a:lnTo>
                          <a:pt x="713" y="517"/>
                        </a:lnTo>
                        <a:lnTo>
                          <a:pt x="701" y="517"/>
                        </a:lnTo>
                        <a:lnTo>
                          <a:pt x="690" y="517"/>
                        </a:lnTo>
                        <a:lnTo>
                          <a:pt x="678" y="517"/>
                        </a:lnTo>
                        <a:lnTo>
                          <a:pt x="644" y="517"/>
                        </a:lnTo>
                        <a:lnTo>
                          <a:pt x="667" y="540"/>
                        </a:lnTo>
                        <a:lnTo>
                          <a:pt x="644" y="528"/>
                        </a:lnTo>
                        <a:lnTo>
                          <a:pt x="621" y="517"/>
                        </a:lnTo>
                        <a:lnTo>
                          <a:pt x="598" y="517"/>
                        </a:lnTo>
                        <a:lnTo>
                          <a:pt x="598" y="540"/>
                        </a:lnTo>
                        <a:lnTo>
                          <a:pt x="575" y="540"/>
                        </a:lnTo>
                        <a:lnTo>
                          <a:pt x="563" y="563"/>
                        </a:lnTo>
                        <a:lnTo>
                          <a:pt x="575" y="563"/>
                        </a:lnTo>
                        <a:lnTo>
                          <a:pt x="563" y="597"/>
                        </a:lnTo>
                        <a:lnTo>
                          <a:pt x="575" y="632"/>
                        </a:lnTo>
                        <a:lnTo>
                          <a:pt x="586" y="643"/>
                        </a:lnTo>
                        <a:lnTo>
                          <a:pt x="598" y="666"/>
                        </a:lnTo>
                        <a:lnTo>
                          <a:pt x="644" y="666"/>
                        </a:lnTo>
                        <a:lnTo>
                          <a:pt x="655" y="666"/>
                        </a:lnTo>
                        <a:lnTo>
                          <a:pt x="655" y="643"/>
                        </a:lnTo>
                        <a:lnTo>
                          <a:pt x="655" y="632"/>
                        </a:lnTo>
                        <a:lnTo>
                          <a:pt x="678" y="632"/>
                        </a:lnTo>
                        <a:lnTo>
                          <a:pt x="701" y="620"/>
                        </a:lnTo>
                        <a:lnTo>
                          <a:pt x="701" y="632"/>
                        </a:lnTo>
                        <a:lnTo>
                          <a:pt x="690" y="655"/>
                        </a:lnTo>
                        <a:lnTo>
                          <a:pt x="678" y="666"/>
                        </a:lnTo>
                        <a:lnTo>
                          <a:pt x="678" y="689"/>
                        </a:lnTo>
                        <a:lnTo>
                          <a:pt x="690" y="701"/>
                        </a:lnTo>
                        <a:lnTo>
                          <a:pt x="713" y="689"/>
                        </a:lnTo>
                        <a:lnTo>
                          <a:pt x="724" y="701"/>
                        </a:lnTo>
                        <a:lnTo>
                          <a:pt x="736" y="701"/>
                        </a:lnTo>
                        <a:lnTo>
                          <a:pt x="747" y="712"/>
                        </a:lnTo>
                        <a:lnTo>
                          <a:pt x="736" y="735"/>
                        </a:lnTo>
                        <a:lnTo>
                          <a:pt x="747" y="747"/>
                        </a:lnTo>
                        <a:lnTo>
                          <a:pt x="747" y="770"/>
                        </a:lnTo>
                        <a:lnTo>
                          <a:pt x="759" y="781"/>
                        </a:lnTo>
                        <a:lnTo>
                          <a:pt x="782" y="781"/>
                        </a:lnTo>
                        <a:lnTo>
                          <a:pt x="793" y="781"/>
                        </a:lnTo>
                        <a:lnTo>
                          <a:pt x="816" y="781"/>
                        </a:lnTo>
                        <a:lnTo>
                          <a:pt x="839" y="781"/>
                        </a:lnTo>
                        <a:lnTo>
                          <a:pt x="851" y="770"/>
                        </a:lnTo>
                        <a:lnTo>
                          <a:pt x="828" y="793"/>
                        </a:lnTo>
                        <a:lnTo>
                          <a:pt x="816" y="793"/>
                        </a:lnTo>
                        <a:lnTo>
                          <a:pt x="805" y="793"/>
                        </a:lnTo>
                        <a:lnTo>
                          <a:pt x="782" y="804"/>
                        </a:lnTo>
                        <a:lnTo>
                          <a:pt x="759" y="793"/>
                        </a:lnTo>
                        <a:lnTo>
                          <a:pt x="736" y="781"/>
                        </a:lnTo>
                        <a:lnTo>
                          <a:pt x="724" y="781"/>
                        </a:lnTo>
                        <a:lnTo>
                          <a:pt x="724" y="770"/>
                        </a:lnTo>
                        <a:lnTo>
                          <a:pt x="724" y="758"/>
                        </a:lnTo>
                        <a:lnTo>
                          <a:pt x="713" y="747"/>
                        </a:lnTo>
                        <a:lnTo>
                          <a:pt x="678" y="735"/>
                        </a:lnTo>
                        <a:lnTo>
                          <a:pt x="667" y="724"/>
                        </a:lnTo>
                        <a:lnTo>
                          <a:pt x="655" y="724"/>
                        </a:lnTo>
                        <a:lnTo>
                          <a:pt x="644" y="724"/>
                        </a:lnTo>
                        <a:lnTo>
                          <a:pt x="632" y="712"/>
                        </a:lnTo>
                        <a:lnTo>
                          <a:pt x="621" y="689"/>
                        </a:lnTo>
                        <a:lnTo>
                          <a:pt x="598" y="689"/>
                        </a:lnTo>
                        <a:lnTo>
                          <a:pt x="586" y="701"/>
                        </a:lnTo>
                        <a:lnTo>
                          <a:pt x="575" y="689"/>
                        </a:lnTo>
                        <a:lnTo>
                          <a:pt x="552" y="689"/>
                        </a:lnTo>
                        <a:lnTo>
                          <a:pt x="529" y="689"/>
                        </a:lnTo>
                        <a:lnTo>
                          <a:pt x="471" y="655"/>
                        </a:lnTo>
                        <a:lnTo>
                          <a:pt x="460" y="620"/>
                        </a:lnTo>
                        <a:lnTo>
                          <a:pt x="460" y="597"/>
                        </a:lnTo>
                        <a:lnTo>
                          <a:pt x="448" y="586"/>
                        </a:lnTo>
                        <a:lnTo>
                          <a:pt x="437" y="574"/>
                        </a:lnTo>
                        <a:lnTo>
                          <a:pt x="368" y="505"/>
                        </a:lnTo>
                        <a:lnTo>
                          <a:pt x="368" y="528"/>
                        </a:lnTo>
                        <a:lnTo>
                          <a:pt x="414" y="574"/>
                        </a:lnTo>
                        <a:lnTo>
                          <a:pt x="425" y="609"/>
                        </a:lnTo>
                        <a:lnTo>
                          <a:pt x="402" y="609"/>
                        </a:lnTo>
                        <a:lnTo>
                          <a:pt x="402" y="586"/>
                        </a:lnTo>
                        <a:lnTo>
                          <a:pt x="368" y="563"/>
                        </a:lnTo>
                        <a:lnTo>
                          <a:pt x="391" y="563"/>
                        </a:lnTo>
                        <a:lnTo>
                          <a:pt x="345" y="528"/>
                        </a:lnTo>
                        <a:lnTo>
                          <a:pt x="356" y="517"/>
                        </a:lnTo>
                        <a:lnTo>
                          <a:pt x="345" y="494"/>
                        </a:lnTo>
                        <a:lnTo>
                          <a:pt x="299" y="425"/>
                        </a:lnTo>
                        <a:lnTo>
                          <a:pt x="287" y="390"/>
                        </a:lnTo>
                        <a:lnTo>
                          <a:pt x="299" y="368"/>
                        </a:lnTo>
                        <a:lnTo>
                          <a:pt x="310" y="333"/>
                        </a:lnTo>
                        <a:lnTo>
                          <a:pt x="310" y="310"/>
                        </a:lnTo>
                        <a:lnTo>
                          <a:pt x="299" y="287"/>
                        </a:lnTo>
                        <a:lnTo>
                          <a:pt x="322" y="287"/>
                        </a:lnTo>
                        <a:lnTo>
                          <a:pt x="287" y="253"/>
                        </a:lnTo>
                        <a:lnTo>
                          <a:pt x="299" y="241"/>
                        </a:lnTo>
                        <a:lnTo>
                          <a:pt x="276" y="218"/>
                        </a:lnTo>
                        <a:lnTo>
                          <a:pt x="287" y="207"/>
                        </a:lnTo>
                        <a:lnTo>
                          <a:pt x="276" y="195"/>
                        </a:lnTo>
                        <a:lnTo>
                          <a:pt x="276" y="184"/>
                        </a:lnTo>
                        <a:lnTo>
                          <a:pt x="264" y="172"/>
                        </a:lnTo>
                        <a:lnTo>
                          <a:pt x="276" y="161"/>
                        </a:lnTo>
                        <a:lnTo>
                          <a:pt x="264" y="149"/>
                        </a:lnTo>
                        <a:lnTo>
                          <a:pt x="241" y="161"/>
                        </a:lnTo>
                        <a:lnTo>
                          <a:pt x="230" y="138"/>
                        </a:lnTo>
                        <a:lnTo>
                          <a:pt x="207" y="138"/>
                        </a:lnTo>
                        <a:lnTo>
                          <a:pt x="184" y="138"/>
                        </a:lnTo>
                        <a:lnTo>
                          <a:pt x="161" y="161"/>
                        </a:lnTo>
                        <a:lnTo>
                          <a:pt x="149" y="149"/>
                        </a:lnTo>
                        <a:lnTo>
                          <a:pt x="172" y="126"/>
                        </a:lnTo>
                        <a:lnTo>
                          <a:pt x="149" y="126"/>
                        </a:lnTo>
                        <a:lnTo>
                          <a:pt x="126" y="161"/>
                        </a:lnTo>
                        <a:lnTo>
                          <a:pt x="92" y="184"/>
                        </a:lnTo>
                        <a:lnTo>
                          <a:pt x="69" y="184"/>
                        </a:lnTo>
                        <a:lnTo>
                          <a:pt x="23" y="207"/>
                        </a:lnTo>
                        <a:lnTo>
                          <a:pt x="0" y="207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09" name="Freeform 212"/>
                  <p:cNvSpPr>
                    <a:spLocks/>
                  </p:cNvSpPr>
                  <p:nvPr/>
                </p:nvSpPr>
                <p:spPr bwMode="gray">
                  <a:xfrm>
                    <a:off x="1675" y="1177"/>
                    <a:ext cx="323" cy="220"/>
                  </a:xfrm>
                  <a:custGeom>
                    <a:avLst/>
                    <a:gdLst/>
                    <a:ahLst/>
                    <a:cxnLst>
                      <a:cxn ang="0">
                        <a:pos x="0" y="46"/>
                      </a:cxn>
                      <a:cxn ang="0">
                        <a:pos x="11" y="35"/>
                      </a:cxn>
                      <a:cxn ang="0">
                        <a:pos x="11" y="23"/>
                      </a:cxn>
                      <a:cxn ang="0">
                        <a:pos x="23" y="0"/>
                      </a:cxn>
                      <a:cxn ang="0">
                        <a:pos x="80" y="12"/>
                      </a:cxn>
                      <a:cxn ang="0">
                        <a:pos x="184" y="35"/>
                      </a:cxn>
                      <a:cxn ang="0">
                        <a:pos x="218" y="46"/>
                      </a:cxn>
                      <a:cxn ang="0">
                        <a:pos x="264" y="58"/>
                      </a:cxn>
                      <a:cxn ang="0">
                        <a:pos x="299" y="92"/>
                      </a:cxn>
                      <a:cxn ang="0">
                        <a:pos x="322" y="104"/>
                      </a:cxn>
                      <a:cxn ang="0">
                        <a:pos x="310" y="115"/>
                      </a:cxn>
                      <a:cxn ang="0">
                        <a:pos x="310" y="127"/>
                      </a:cxn>
                      <a:cxn ang="0">
                        <a:pos x="299" y="127"/>
                      </a:cxn>
                      <a:cxn ang="0">
                        <a:pos x="287" y="138"/>
                      </a:cxn>
                      <a:cxn ang="0">
                        <a:pos x="299" y="150"/>
                      </a:cxn>
                      <a:cxn ang="0">
                        <a:pos x="299" y="161"/>
                      </a:cxn>
                      <a:cxn ang="0">
                        <a:pos x="287" y="173"/>
                      </a:cxn>
                      <a:cxn ang="0">
                        <a:pos x="287" y="184"/>
                      </a:cxn>
                      <a:cxn ang="0">
                        <a:pos x="310" y="196"/>
                      </a:cxn>
                      <a:cxn ang="0">
                        <a:pos x="310" y="207"/>
                      </a:cxn>
                      <a:cxn ang="0">
                        <a:pos x="310" y="219"/>
                      </a:cxn>
                      <a:cxn ang="0">
                        <a:pos x="287" y="219"/>
                      </a:cxn>
                      <a:cxn ang="0">
                        <a:pos x="276" y="207"/>
                      </a:cxn>
                      <a:cxn ang="0">
                        <a:pos x="264" y="196"/>
                      </a:cxn>
                      <a:cxn ang="0">
                        <a:pos x="253" y="196"/>
                      </a:cxn>
                      <a:cxn ang="0">
                        <a:pos x="253" y="184"/>
                      </a:cxn>
                      <a:cxn ang="0">
                        <a:pos x="241" y="173"/>
                      </a:cxn>
                      <a:cxn ang="0">
                        <a:pos x="230" y="161"/>
                      </a:cxn>
                      <a:cxn ang="0">
                        <a:pos x="218" y="161"/>
                      </a:cxn>
                      <a:cxn ang="0">
                        <a:pos x="195" y="150"/>
                      </a:cxn>
                      <a:cxn ang="0">
                        <a:pos x="172" y="138"/>
                      </a:cxn>
                      <a:cxn ang="0">
                        <a:pos x="161" y="127"/>
                      </a:cxn>
                      <a:cxn ang="0">
                        <a:pos x="161" y="115"/>
                      </a:cxn>
                      <a:cxn ang="0">
                        <a:pos x="172" y="104"/>
                      </a:cxn>
                      <a:cxn ang="0">
                        <a:pos x="161" y="104"/>
                      </a:cxn>
                      <a:cxn ang="0">
                        <a:pos x="149" y="92"/>
                      </a:cxn>
                      <a:cxn ang="0">
                        <a:pos x="138" y="92"/>
                      </a:cxn>
                      <a:cxn ang="0">
                        <a:pos x="126" y="92"/>
                      </a:cxn>
                      <a:cxn ang="0">
                        <a:pos x="126" y="81"/>
                      </a:cxn>
                      <a:cxn ang="0">
                        <a:pos x="115" y="81"/>
                      </a:cxn>
                      <a:cxn ang="0">
                        <a:pos x="103" y="58"/>
                      </a:cxn>
                      <a:cxn ang="0">
                        <a:pos x="92" y="58"/>
                      </a:cxn>
                      <a:cxn ang="0">
                        <a:pos x="80" y="58"/>
                      </a:cxn>
                      <a:cxn ang="0">
                        <a:pos x="46" y="58"/>
                      </a:cxn>
                      <a:cxn ang="0">
                        <a:pos x="23" y="58"/>
                      </a:cxn>
                      <a:cxn ang="0">
                        <a:pos x="0" y="46"/>
                      </a:cxn>
                    </a:cxnLst>
                    <a:rect l="0" t="0" r="r" b="b"/>
                    <a:pathLst>
                      <a:path w="323" h="220">
                        <a:moveTo>
                          <a:pt x="0" y="46"/>
                        </a:moveTo>
                        <a:lnTo>
                          <a:pt x="11" y="35"/>
                        </a:lnTo>
                        <a:lnTo>
                          <a:pt x="11" y="23"/>
                        </a:lnTo>
                        <a:lnTo>
                          <a:pt x="23" y="0"/>
                        </a:lnTo>
                        <a:lnTo>
                          <a:pt x="80" y="12"/>
                        </a:lnTo>
                        <a:lnTo>
                          <a:pt x="184" y="35"/>
                        </a:lnTo>
                        <a:lnTo>
                          <a:pt x="218" y="46"/>
                        </a:lnTo>
                        <a:lnTo>
                          <a:pt x="264" y="58"/>
                        </a:lnTo>
                        <a:lnTo>
                          <a:pt x="299" y="92"/>
                        </a:lnTo>
                        <a:lnTo>
                          <a:pt x="322" y="104"/>
                        </a:lnTo>
                        <a:lnTo>
                          <a:pt x="310" y="115"/>
                        </a:lnTo>
                        <a:lnTo>
                          <a:pt x="310" y="127"/>
                        </a:lnTo>
                        <a:lnTo>
                          <a:pt x="299" y="127"/>
                        </a:lnTo>
                        <a:lnTo>
                          <a:pt x="287" y="138"/>
                        </a:lnTo>
                        <a:lnTo>
                          <a:pt x="299" y="150"/>
                        </a:lnTo>
                        <a:lnTo>
                          <a:pt x="299" y="161"/>
                        </a:lnTo>
                        <a:lnTo>
                          <a:pt x="287" y="173"/>
                        </a:lnTo>
                        <a:lnTo>
                          <a:pt x="287" y="184"/>
                        </a:lnTo>
                        <a:lnTo>
                          <a:pt x="310" y="196"/>
                        </a:lnTo>
                        <a:lnTo>
                          <a:pt x="310" y="207"/>
                        </a:lnTo>
                        <a:lnTo>
                          <a:pt x="310" y="219"/>
                        </a:lnTo>
                        <a:lnTo>
                          <a:pt x="287" y="219"/>
                        </a:lnTo>
                        <a:lnTo>
                          <a:pt x="276" y="207"/>
                        </a:lnTo>
                        <a:lnTo>
                          <a:pt x="264" y="196"/>
                        </a:lnTo>
                        <a:lnTo>
                          <a:pt x="253" y="196"/>
                        </a:lnTo>
                        <a:lnTo>
                          <a:pt x="253" y="184"/>
                        </a:lnTo>
                        <a:lnTo>
                          <a:pt x="241" y="173"/>
                        </a:lnTo>
                        <a:lnTo>
                          <a:pt x="230" y="161"/>
                        </a:lnTo>
                        <a:lnTo>
                          <a:pt x="218" y="161"/>
                        </a:lnTo>
                        <a:lnTo>
                          <a:pt x="195" y="150"/>
                        </a:lnTo>
                        <a:lnTo>
                          <a:pt x="172" y="138"/>
                        </a:lnTo>
                        <a:lnTo>
                          <a:pt x="161" y="127"/>
                        </a:lnTo>
                        <a:lnTo>
                          <a:pt x="161" y="115"/>
                        </a:lnTo>
                        <a:lnTo>
                          <a:pt x="172" y="104"/>
                        </a:lnTo>
                        <a:lnTo>
                          <a:pt x="161" y="104"/>
                        </a:lnTo>
                        <a:lnTo>
                          <a:pt x="149" y="92"/>
                        </a:lnTo>
                        <a:lnTo>
                          <a:pt x="138" y="92"/>
                        </a:lnTo>
                        <a:lnTo>
                          <a:pt x="126" y="92"/>
                        </a:lnTo>
                        <a:lnTo>
                          <a:pt x="126" y="81"/>
                        </a:lnTo>
                        <a:lnTo>
                          <a:pt x="115" y="81"/>
                        </a:lnTo>
                        <a:lnTo>
                          <a:pt x="103" y="58"/>
                        </a:lnTo>
                        <a:lnTo>
                          <a:pt x="92" y="58"/>
                        </a:lnTo>
                        <a:lnTo>
                          <a:pt x="80" y="58"/>
                        </a:lnTo>
                        <a:lnTo>
                          <a:pt x="46" y="58"/>
                        </a:lnTo>
                        <a:lnTo>
                          <a:pt x="23" y="58"/>
                        </a:lnTo>
                        <a:lnTo>
                          <a:pt x="0" y="46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10" name="Freeform 213"/>
                  <p:cNvSpPr>
                    <a:spLocks/>
                  </p:cNvSpPr>
                  <p:nvPr/>
                </p:nvSpPr>
                <p:spPr bwMode="gray">
                  <a:xfrm>
                    <a:off x="1617" y="1258"/>
                    <a:ext cx="197" cy="10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11"/>
                      </a:cxn>
                      <a:cxn ang="0">
                        <a:pos x="12" y="23"/>
                      </a:cxn>
                      <a:cxn ang="0">
                        <a:pos x="23" y="23"/>
                      </a:cxn>
                      <a:cxn ang="0">
                        <a:pos x="23" y="34"/>
                      </a:cxn>
                      <a:cxn ang="0">
                        <a:pos x="35" y="34"/>
                      </a:cxn>
                      <a:cxn ang="0">
                        <a:pos x="35" y="23"/>
                      </a:cxn>
                      <a:cxn ang="0">
                        <a:pos x="58" y="23"/>
                      </a:cxn>
                      <a:cxn ang="0">
                        <a:pos x="58" y="34"/>
                      </a:cxn>
                      <a:cxn ang="0">
                        <a:pos x="69" y="34"/>
                      </a:cxn>
                      <a:cxn ang="0">
                        <a:pos x="81" y="34"/>
                      </a:cxn>
                      <a:cxn ang="0">
                        <a:pos x="92" y="34"/>
                      </a:cxn>
                      <a:cxn ang="0">
                        <a:pos x="104" y="46"/>
                      </a:cxn>
                      <a:cxn ang="0">
                        <a:pos x="104" y="57"/>
                      </a:cxn>
                      <a:cxn ang="0">
                        <a:pos x="104" y="69"/>
                      </a:cxn>
                      <a:cxn ang="0">
                        <a:pos x="92" y="80"/>
                      </a:cxn>
                      <a:cxn ang="0">
                        <a:pos x="92" y="92"/>
                      </a:cxn>
                      <a:cxn ang="0">
                        <a:pos x="104" y="92"/>
                      </a:cxn>
                      <a:cxn ang="0">
                        <a:pos x="115" y="80"/>
                      </a:cxn>
                      <a:cxn ang="0">
                        <a:pos x="127" y="80"/>
                      </a:cxn>
                      <a:cxn ang="0">
                        <a:pos x="150" y="92"/>
                      </a:cxn>
                      <a:cxn ang="0">
                        <a:pos x="150" y="103"/>
                      </a:cxn>
                      <a:cxn ang="0">
                        <a:pos x="161" y="103"/>
                      </a:cxn>
                      <a:cxn ang="0">
                        <a:pos x="173" y="103"/>
                      </a:cxn>
                      <a:cxn ang="0">
                        <a:pos x="184" y="103"/>
                      </a:cxn>
                      <a:cxn ang="0">
                        <a:pos x="173" y="103"/>
                      </a:cxn>
                      <a:cxn ang="0">
                        <a:pos x="173" y="92"/>
                      </a:cxn>
                      <a:cxn ang="0">
                        <a:pos x="184" y="103"/>
                      </a:cxn>
                      <a:cxn ang="0">
                        <a:pos x="196" y="103"/>
                      </a:cxn>
                      <a:cxn ang="0">
                        <a:pos x="196" y="92"/>
                      </a:cxn>
                      <a:cxn ang="0">
                        <a:pos x="184" y="92"/>
                      </a:cxn>
                      <a:cxn ang="0">
                        <a:pos x="173" y="80"/>
                      </a:cxn>
                      <a:cxn ang="0">
                        <a:pos x="184" y="80"/>
                      </a:cxn>
                      <a:cxn ang="0">
                        <a:pos x="196" y="80"/>
                      </a:cxn>
                      <a:cxn ang="0">
                        <a:pos x="184" y="69"/>
                      </a:cxn>
                      <a:cxn ang="0">
                        <a:pos x="173" y="69"/>
                      </a:cxn>
                      <a:cxn ang="0">
                        <a:pos x="161" y="57"/>
                      </a:cxn>
                      <a:cxn ang="0">
                        <a:pos x="150" y="57"/>
                      </a:cxn>
                      <a:cxn ang="0">
                        <a:pos x="138" y="46"/>
                      </a:cxn>
                      <a:cxn ang="0">
                        <a:pos x="127" y="34"/>
                      </a:cxn>
                      <a:cxn ang="0">
                        <a:pos x="115" y="23"/>
                      </a:cxn>
                      <a:cxn ang="0">
                        <a:pos x="104" y="23"/>
                      </a:cxn>
                      <a:cxn ang="0">
                        <a:pos x="104" y="11"/>
                      </a:cxn>
                      <a:cxn ang="0">
                        <a:pos x="92" y="11"/>
                      </a:cxn>
                      <a:cxn ang="0">
                        <a:pos x="69" y="0"/>
                      </a:cxn>
                      <a:cxn ang="0">
                        <a:pos x="69" y="11"/>
                      </a:cxn>
                      <a:cxn ang="0">
                        <a:pos x="46" y="0"/>
                      </a:cxn>
                      <a:cxn ang="0">
                        <a:pos x="35" y="0"/>
                      </a:cxn>
                      <a:cxn ang="0">
                        <a:pos x="23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7" h="104">
                        <a:moveTo>
                          <a:pt x="0" y="0"/>
                        </a:moveTo>
                        <a:lnTo>
                          <a:pt x="0" y="11"/>
                        </a:lnTo>
                        <a:lnTo>
                          <a:pt x="12" y="23"/>
                        </a:lnTo>
                        <a:lnTo>
                          <a:pt x="23" y="23"/>
                        </a:lnTo>
                        <a:lnTo>
                          <a:pt x="23" y="34"/>
                        </a:lnTo>
                        <a:lnTo>
                          <a:pt x="35" y="34"/>
                        </a:lnTo>
                        <a:lnTo>
                          <a:pt x="35" y="23"/>
                        </a:lnTo>
                        <a:lnTo>
                          <a:pt x="58" y="23"/>
                        </a:lnTo>
                        <a:lnTo>
                          <a:pt x="58" y="34"/>
                        </a:lnTo>
                        <a:lnTo>
                          <a:pt x="69" y="34"/>
                        </a:lnTo>
                        <a:lnTo>
                          <a:pt x="81" y="34"/>
                        </a:lnTo>
                        <a:lnTo>
                          <a:pt x="92" y="34"/>
                        </a:lnTo>
                        <a:lnTo>
                          <a:pt x="104" y="46"/>
                        </a:lnTo>
                        <a:lnTo>
                          <a:pt x="104" y="57"/>
                        </a:lnTo>
                        <a:lnTo>
                          <a:pt x="104" y="69"/>
                        </a:lnTo>
                        <a:lnTo>
                          <a:pt x="92" y="80"/>
                        </a:lnTo>
                        <a:lnTo>
                          <a:pt x="92" y="92"/>
                        </a:lnTo>
                        <a:lnTo>
                          <a:pt x="104" y="92"/>
                        </a:lnTo>
                        <a:lnTo>
                          <a:pt x="115" y="80"/>
                        </a:lnTo>
                        <a:lnTo>
                          <a:pt x="127" y="80"/>
                        </a:lnTo>
                        <a:lnTo>
                          <a:pt x="150" y="92"/>
                        </a:lnTo>
                        <a:lnTo>
                          <a:pt x="150" y="103"/>
                        </a:lnTo>
                        <a:lnTo>
                          <a:pt x="161" y="103"/>
                        </a:lnTo>
                        <a:lnTo>
                          <a:pt x="173" y="103"/>
                        </a:lnTo>
                        <a:lnTo>
                          <a:pt x="184" y="103"/>
                        </a:lnTo>
                        <a:lnTo>
                          <a:pt x="173" y="103"/>
                        </a:lnTo>
                        <a:lnTo>
                          <a:pt x="173" y="92"/>
                        </a:lnTo>
                        <a:lnTo>
                          <a:pt x="184" y="103"/>
                        </a:lnTo>
                        <a:lnTo>
                          <a:pt x="196" y="103"/>
                        </a:lnTo>
                        <a:lnTo>
                          <a:pt x="196" y="92"/>
                        </a:lnTo>
                        <a:lnTo>
                          <a:pt x="184" y="92"/>
                        </a:lnTo>
                        <a:lnTo>
                          <a:pt x="173" y="80"/>
                        </a:lnTo>
                        <a:lnTo>
                          <a:pt x="184" y="80"/>
                        </a:lnTo>
                        <a:lnTo>
                          <a:pt x="196" y="80"/>
                        </a:lnTo>
                        <a:lnTo>
                          <a:pt x="184" y="69"/>
                        </a:lnTo>
                        <a:lnTo>
                          <a:pt x="173" y="69"/>
                        </a:lnTo>
                        <a:lnTo>
                          <a:pt x="161" y="57"/>
                        </a:lnTo>
                        <a:lnTo>
                          <a:pt x="150" y="57"/>
                        </a:lnTo>
                        <a:lnTo>
                          <a:pt x="138" y="46"/>
                        </a:lnTo>
                        <a:lnTo>
                          <a:pt x="127" y="34"/>
                        </a:lnTo>
                        <a:lnTo>
                          <a:pt x="115" y="23"/>
                        </a:lnTo>
                        <a:lnTo>
                          <a:pt x="104" y="23"/>
                        </a:lnTo>
                        <a:lnTo>
                          <a:pt x="104" y="11"/>
                        </a:lnTo>
                        <a:lnTo>
                          <a:pt x="92" y="11"/>
                        </a:lnTo>
                        <a:lnTo>
                          <a:pt x="69" y="0"/>
                        </a:lnTo>
                        <a:lnTo>
                          <a:pt x="69" y="11"/>
                        </a:lnTo>
                        <a:lnTo>
                          <a:pt x="46" y="0"/>
                        </a:lnTo>
                        <a:lnTo>
                          <a:pt x="35" y="0"/>
                        </a:lnTo>
                        <a:lnTo>
                          <a:pt x="23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11" name="Freeform 214"/>
                  <p:cNvSpPr>
                    <a:spLocks/>
                  </p:cNvSpPr>
                  <p:nvPr/>
                </p:nvSpPr>
                <p:spPr bwMode="gray">
                  <a:xfrm>
                    <a:off x="1732" y="1855"/>
                    <a:ext cx="139" cy="59"/>
                  </a:xfrm>
                  <a:custGeom>
                    <a:avLst/>
                    <a:gdLst/>
                    <a:ahLst/>
                    <a:cxnLst>
                      <a:cxn ang="0">
                        <a:pos x="0" y="35"/>
                      </a:cxn>
                      <a:cxn ang="0">
                        <a:pos x="12" y="12"/>
                      </a:cxn>
                      <a:cxn ang="0">
                        <a:pos x="23" y="12"/>
                      </a:cxn>
                      <a:cxn ang="0">
                        <a:pos x="35" y="12"/>
                      </a:cxn>
                      <a:cxn ang="0">
                        <a:pos x="46" y="0"/>
                      </a:cxn>
                      <a:cxn ang="0">
                        <a:pos x="58" y="12"/>
                      </a:cxn>
                      <a:cxn ang="0">
                        <a:pos x="58" y="23"/>
                      </a:cxn>
                      <a:cxn ang="0">
                        <a:pos x="69" y="12"/>
                      </a:cxn>
                      <a:cxn ang="0">
                        <a:pos x="81" y="23"/>
                      </a:cxn>
                      <a:cxn ang="0">
                        <a:pos x="92" y="23"/>
                      </a:cxn>
                      <a:cxn ang="0">
                        <a:pos x="104" y="35"/>
                      </a:cxn>
                      <a:cxn ang="0">
                        <a:pos x="115" y="35"/>
                      </a:cxn>
                      <a:cxn ang="0">
                        <a:pos x="127" y="46"/>
                      </a:cxn>
                      <a:cxn ang="0">
                        <a:pos x="138" y="46"/>
                      </a:cxn>
                      <a:cxn ang="0">
                        <a:pos x="138" y="58"/>
                      </a:cxn>
                      <a:cxn ang="0">
                        <a:pos x="138" y="46"/>
                      </a:cxn>
                      <a:cxn ang="0">
                        <a:pos x="127" y="46"/>
                      </a:cxn>
                      <a:cxn ang="0">
                        <a:pos x="115" y="46"/>
                      </a:cxn>
                      <a:cxn ang="0">
                        <a:pos x="115" y="58"/>
                      </a:cxn>
                      <a:cxn ang="0">
                        <a:pos x="104" y="58"/>
                      </a:cxn>
                      <a:cxn ang="0">
                        <a:pos x="92" y="58"/>
                      </a:cxn>
                      <a:cxn ang="0">
                        <a:pos x="92" y="46"/>
                      </a:cxn>
                      <a:cxn ang="0">
                        <a:pos x="81" y="35"/>
                      </a:cxn>
                      <a:cxn ang="0">
                        <a:pos x="58" y="35"/>
                      </a:cxn>
                      <a:cxn ang="0">
                        <a:pos x="58" y="23"/>
                      </a:cxn>
                      <a:cxn ang="0">
                        <a:pos x="58" y="35"/>
                      </a:cxn>
                      <a:cxn ang="0">
                        <a:pos x="46" y="23"/>
                      </a:cxn>
                      <a:cxn ang="0">
                        <a:pos x="35" y="12"/>
                      </a:cxn>
                      <a:cxn ang="0">
                        <a:pos x="23" y="12"/>
                      </a:cxn>
                      <a:cxn ang="0">
                        <a:pos x="23" y="23"/>
                      </a:cxn>
                      <a:cxn ang="0">
                        <a:pos x="12" y="23"/>
                      </a:cxn>
                      <a:cxn ang="0">
                        <a:pos x="0" y="35"/>
                      </a:cxn>
                    </a:cxnLst>
                    <a:rect l="0" t="0" r="r" b="b"/>
                    <a:pathLst>
                      <a:path w="139" h="59">
                        <a:moveTo>
                          <a:pt x="0" y="35"/>
                        </a:moveTo>
                        <a:lnTo>
                          <a:pt x="12" y="12"/>
                        </a:lnTo>
                        <a:lnTo>
                          <a:pt x="23" y="12"/>
                        </a:lnTo>
                        <a:lnTo>
                          <a:pt x="35" y="12"/>
                        </a:lnTo>
                        <a:lnTo>
                          <a:pt x="46" y="0"/>
                        </a:lnTo>
                        <a:lnTo>
                          <a:pt x="58" y="12"/>
                        </a:lnTo>
                        <a:lnTo>
                          <a:pt x="58" y="23"/>
                        </a:lnTo>
                        <a:lnTo>
                          <a:pt x="69" y="12"/>
                        </a:lnTo>
                        <a:lnTo>
                          <a:pt x="81" y="23"/>
                        </a:lnTo>
                        <a:lnTo>
                          <a:pt x="92" y="23"/>
                        </a:lnTo>
                        <a:lnTo>
                          <a:pt x="104" y="35"/>
                        </a:lnTo>
                        <a:lnTo>
                          <a:pt x="115" y="35"/>
                        </a:lnTo>
                        <a:lnTo>
                          <a:pt x="127" y="46"/>
                        </a:lnTo>
                        <a:lnTo>
                          <a:pt x="138" y="46"/>
                        </a:lnTo>
                        <a:lnTo>
                          <a:pt x="138" y="58"/>
                        </a:lnTo>
                        <a:lnTo>
                          <a:pt x="138" y="46"/>
                        </a:lnTo>
                        <a:lnTo>
                          <a:pt x="127" y="46"/>
                        </a:lnTo>
                        <a:lnTo>
                          <a:pt x="115" y="46"/>
                        </a:lnTo>
                        <a:lnTo>
                          <a:pt x="115" y="58"/>
                        </a:lnTo>
                        <a:lnTo>
                          <a:pt x="104" y="58"/>
                        </a:lnTo>
                        <a:lnTo>
                          <a:pt x="92" y="58"/>
                        </a:lnTo>
                        <a:lnTo>
                          <a:pt x="92" y="46"/>
                        </a:lnTo>
                        <a:lnTo>
                          <a:pt x="81" y="35"/>
                        </a:lnTo>
                        <a:lnTo>
                          <a:pt x="58" y="35"/>
                        </a:lnTo>
                        <a:lnTo>
                          <a:pt x="58" y="23"/>
                        </a:lnTo>
                        <a:lnTo>
                          <a:pt x="58" y="35"/>
                        </a:lnTo>
                        <a:lnTo>
                          <a:pt x="46" y="23"/>
                        </a:lnTo>
                        <a:lnTo>
                          <a:pt x="35" y="12"/>
                        </a:lnTo>
                        <a:lnTo>
                          <a:pt x="23" y="12"/>
                        </a:lnTo>
                        <a:lnTo>
                          <a:pt x="23" y="23"/>
                        </a:lnTo>
                        <a:lnTo>
                          <a:pt x="12" y="23"/>
                        </a:lnTo>
                        <a:lnTo>
                          <a:pt x="0" y="35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12" name="Freeform 215"/>
                  <p:cNvSpPr>
                    <a:spLocks/>
                  </p:cNvSpPr>
                  <p:nvPr/>
                </p:nvSpPr>
                <p:spPr bwMode="gray">
                  <a:xfrm>
                    <a:off x="1859" y="1890"/>
                    <a:ext cx="93" cy="47"/>
                  </a:xfrm>
                  <a:custGeom>
                    <a:avLst/>
                    <a:gdLst/>
                    <a:ahLst/>
                    <a:cxnLst>
                      <a:cxn ang="0">
                        <a:pos x="0" y="34"/>
                      </a:cxn>
                      <a:cxn ang="0">
                        <a:pos x="11" y="34"/>
                      </a:cxn>
                      <a:cxn ang="0">
                        <a:pos x="23" y="34"/>
                      </a:cxn>
                      <a:cxn ang="0">
                        <a:pos x="34" y="46"/>
                      </a:cxn>
                      <a:cxn ang="0">
                        <a:pos x="46" y="46"/>
                      </a:cxn>
                      <a:cxn ang="0">
                        <a:pos x="57" y="34"/>
                      </a:cxn>
                      <a:cxn ang="0">
                        <a:pos x="46" y="34"/>
                      </a:cxn>
                      <a:cxn ang="0">
                        <a:pos x="57" y="34"/>
                      </a:cxn>
                      <a:cxn ang="0">
                        <a:pos x="69" y="34"/>
                      </a:cxn>
                      <a:cxn ang="0">
                        <a:pos x="80" y="34"/>
                      </a:cxn>
                      <a:cxn ang="0">
                        <a:pos x="92" y="23"/>
                      </a:cxn>
                      <a:cxn ang="0">
                        <a:pos x="80" y="23"/>
                      </a:cxn>
                      <a:cxn ang="0">
                        <a:pos x="80" y="11"/>
                      </a:cxn>
                      <a:cxn ang="0">
                        <a:pos x="69" y="11"/>
                      </a:cxn>
                      <a:cxn ang="0">
                        <a:pos x="57" y="11"/>
                      </a:cxn>
                      <a:cxn ang="0">
                        <a:pos x="34" y="11"/>
                      </a:cxn>
                      <a:cxn ang="0">
                        <a:pos x="34" y="0"/>
                      </a:cxn>
                      <a:cxn ang="0">
                        <a:pos x="23" y="11"/>
                      </a:cxn>
                      <a:cxn ang="0">
                        <a:pos x="23" y="23"/>
                      </a:cxn>
                      <a:cxn ang="0">
                        <a:pos x="11" y="23"/>
                      </a:cxn>
                      <a:cxn ang="0">
                        <a:pos x="0" y="34"/>
                      </a:cxn>
                    </a:cxnLst>
                    <a:rect l="0" t="0" r="r" b="b"/>
                    <a:pathLst>
                      <a:path w="93" h="47">
                        <a:moveTo>
                          <a:pt x="0" y="34"/>
                        </a:moveTo>
                        <a:lnTo>
                          <a:pt x="11" y="34"/>
                        </a:lnTo>
                        <a:lnTo>
                          <a:pt x="23" y="34"/>
                        </a:lnTo>
                        <a:lnTo>
                          <a:pt x="34" y="46"/>
                        </a:lnTo>
                        <a:lnTo>
                          <a:pt x="46" y="46"/>
                        </a:lnTo>
                        <a:lnTo>
                          <a:pt x="57" y="34"/>
                        </a:lnTo>
                        <a:lnTo>
                          <a:pt x="46" y="34"/>
                        </a:lnTo>
                        <a:lnTo>
                          <a:pt x="57" y="34"/>
                        </a:lnTo>
                        <a:lnTo>
                          <a:pt x="69" y="34"/>
                        </a:lnTo>
                        <a:lnTo>
                          <a:pt x="80" y="34"/>
                        </a:lnTo>
                        <a:lnTo>
                          <a:pt x="92" y="23"/>
                        </a:lnTo>
                        <a:lnTo>
                          <a:pt x="80" y="23"/>
                        </a:lnTo>
                        <a:lnTo>
                          <a:pt x="80" y="11"/>
                        </a:lnTo>
                        <a:lnTo>
                          <a:pt x="69" y="11"/>
                        </a:lnTo>
                        <a:lnTo>
                          <a:pt x="57" y="11"/>
                        </a:lnTo>
                        <a:lnTo>
                          <a:pt x="34" y="11"/>
                        </a:lnTo>
                        <a:lnTo>
                          <a:pt x="34" y="0"/>
                        </a:lnTo>
                        <a:lnTo>
                          <a:pt x="23" y="11"/>
                        </a:lnTo>
                        <a:lnTo>
                          <a:pt x="23" y="23"/>
                        </a:lnTo>
                        <a:lnTo>
                          <a:pt x="11" y="23"/>
                        </a:lnTo>
                        <a:lnTo>
                          <a:pt x="0" y="34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13" name="Freeform 216"/>
                  <p:cNvSpPr>
                    <a:spLocks/>
                  </p:cNvSpPr>
                  <p:nvPr/>
                </p:nvSpPr>
                <p:spPr bwMode="gray">
                  <a:xfrm>
                    <a:off x="1801" y="2016"/>
                    <a:ext cx="587" cy="874"/>
                  </a:xfrm>
                  <a:custGeom>
                    <a:avLst/>
                    <a:gdLst/>
                    <a:ahLst/>
                    <a:cxnLst>
                      <a:cxn ang="0">
                        <a:pos x="69" y="12"/>
                      </a:cxn>
                      <a:cxn ang="0">
                        <a:pos x="104" y="0"/>
                      </a:cxn>
                      <a:cxn ang="0">
                        <a:pos x="92" y="35"/>
                      </a:cxn>
                      <a:cxn ang="0">
                        <a:pos x="104" y="35"/>
                      </a:cxn>
                      <a:cxn ang="0">
                        <a:pos x="127" y="23"/>
                      </a:cxn>
                      <a:cxn ang="0">
                        <a:pos x="173" y="35"/>
                      </a:cxn>
                      <a:cxn ang="0">
                        <a:pos x="264" y="69"/>
                      </a:cxn>
                      <a:cxn ang="0">
                        <a:pos x="287" y="69"/>
                      </a:cxn>
                      <a:cxn ang="0">
                        <a:pos x="333" y="81"/>
                      </a:cxn>
                      <a:cxn ang="0">
                        <a:pos x="402" y="150"/>
                      </a:cxn>
                      <a:cxn ang="0">
                        <a:pos x="483" y="184"/>
                      </a:cxn>
                      <a:cxn ang="0">
                        <a:pos x="586" y="241"/>
                      </a:cxn>
                      <a:cxn ang="0">
                        <a:pos x="552" y="299"/>
                      </a:cxn>
                      <a:cxn ang="0">
                        <a:pos x="529" y="345"/>
                      </a:cxn>
                      <a:cxn ang="0">
                        <a:pos x="517" y="391"/>
                      </a:cxn>
                      <a:cxn ang="0">
                        <a:pos x="506" y="425"/>
                      </a:cxn>
                      <a:cxn ang="0">
                        <a:pos x="460" y="460"/>
                      </a:cxn>
                      <a:cxn ang="0">
                        <a:pos x="402" y="494"/>
                      </a:cxn>
                      <a:cxn ang="0">
                        <a:pos x="391" y="540"/>
                      </a:cxn>
                      <a:cxn ang="0">
                        <a:pos x="356" y="563"/>
                      </a:cxn>
                      <a:cxn ang="0">
                        <a:pos x="333" y="609"/>
                      </a:cxn>
                      <a:cxn ang="0">
                        <a:pos x="299" y="609"/>
                      </a:cxn>
                      <a:cxn ang="0">
                        <a:pos x="310" y="644"/>
                      </a:cxn>
                      <a:cxn ang="0">
                        <a:pos x="264" y="655"/>
                      </a:cxn>
                      <a:cxn ang="0">
                        <a:pos x="242" y="689"/>
                      </a:cxn>
                      <a:cxn ang="0">
                        <a:pos x="230" y="701"/>
                      </a:cxn>
                      <a:cxn ang="0">
                        <a:pos x="207" y="735"/>
                      </a:cxn>
                      <a:cxn ang="0">
                        <a:pos x="207" y="758"/>
                      </a:cxn>
                      <a:cxn ang="0">
                        <a:pos x="207" y="781"/>
                      </a:cxn>
                      <a:cxn ang="0">
                        <a:pos x="184" y="816"/>
                      </a:cxn>
                      <a:cxn ang="0">
                        <a:pos x="219" y="862"/>
                      </a:cxn>
                      <a:cxn ang="0">
                        <a:pos x="184" y="862"/>
                      </a:cxn>
                      <a:cxn ang="0">
                        <a:pos x="138" y="816"/>
                      </a:cxn>
                      <a:cxn ang="0">
                        <a:pos x="138" y="701"/>
                      </a:cxn>
                      <a:cxn ang="0">
                        <a:pos x="115" y="644"/>
                      </a:cxn>
                      <a:cxn ang="0">
                        <a:pos x="127" y="586"/>
                      </a:cxn>
                      <a:cxn ang="0">
                        <a:pos x="138" y="552"/>
                      </a:cxn>
                      <a:cxn ang="0">
                        <a:pos x="138" y="483"/>
                      </a:cxn>
                      <a:cxn ang="0">
                        <a:pos x="150" y="414"/>
                      </a:cxn>
                      <a:cxn ang="0">
                        <a:pos x="115" y="368"/>
                      </a:cxn>
                      <a:cxn ang="0">
                        <a:pos x="58" y="345"/>
                      </a:cxn>
                      <a:cxn ang="0">
                        <a:pos x="35" y="287"/>
                      </a:cxn>
                      <a:cxn ang="0">
                        <a:pos x="23" y="253"/>
                      </a:cxn>
                      <a:cxn ang="0">
                        <a:pos x="12" y="230"/>
                      </a:cxn>
                      <a:cxn ang="0">
                        <a:pos x="0" y="184"/>
                      </a:cxn>
                      <a:cxn ang="0">
                        <a:pos x="23" y="92"/>
                      </a:cxn>
                      <a:cxn ang="0">
                        <a:pos x="46" y="35"/>
                      </a:cxn>
                    </a:cxnLst>
                    <a:rect l="0" t="0" r="r" b="b"/>
                    <a:pathLst>
                      <a:path w="587" h="874">
                        <a:moveTo>
                          <a:pt x="46" y="35"/>
                        </a:moveTo>
                        <a:lnTo>
                          <a:pt x="46" y="35"/>
                        </a:lnTo>
                        <a:lnTo>
                          <a:pt x="69" y="12"/>
                        </a:lnTo>
                        <a:lnTo>
                          <a:pt x="81" y="12"/>
                        </a:lnTo>
                        <a:lnTo>
                          <a:pt x="92" y="0"/>
                        </a:lnTo>
                        <a:lnTo>
                          <a:pt x="104" y="0"/>
                        </a:lnTo>
                        <a:lnTo>
                          <a:pt x="104" y="12"/>
                        </a:lnTo>
                        <a:lnTo>
                          <a:pt x="92" y="12"/>
                        </a:lnTo>
                        <a:lnTo>
                          <a:pt x="92" y="35"/>
                        </a:lnTo>
                        <a:lnTo>
                          <a:pt x="92" y="46"/>
                        </a:lnTo>
                        <a:lnTo>
                          <a:pt x="104" y="46"/>
                        </a:lnTo>
                        <a:lnTo>
                          <a:pt x="104" y="35"/>
                        </a:lnTo>
                        <a:lnTo>
                          <a:pt x="115" y="12"/>
                        </a:lnTo>
                        <a:lnTo>
                          <a:pt x="115" y="23"/>
                        </a:lnTo>
                        <a:lnTo>
                          <a:pt x="127" y="23"/>
                        </a:lnTo>
                        <a:lnTo>
                          <a:pt x="138" y="23"/>
                        </a:lnTo>
                        <a:lnTo>
                          <a:pt x="150" y="35"/>
                        </a:lnTo>
                        <a:lnTo>
                          <a:pt x="173" y="35"/>
                        </a:lnTo>
                        <a:lnTo>
                          <a:pt x="219" y="35"/>
                        </a:lnTo>
                        <a:lnTo>
                          <a:pt x="230" y="58"/>
                        </a:lnTo>
                        <a:lnTo>
                          <a:pt x="264" y="69"/>
                        </a:lnTo>
                        <a:lnTo>
                          <a:pt x="264" y="81"/>
                        </a:lnTo>
                        <a:lnTo>
                          <a:pt x="276" y="69"/>
                        </a:lnTo>
                        <a:lnTo>
                          <a:pt x="287" y="69"/>
                        </a:lnTo>
                        <a:lnTo>
                          <a:pt x="299" y="81"/>
                        </a:lnTo>
                        <a:lnTo>
                          <a:pt x="322" y="81"/>
                        </a:lnTo>
                        <a:lnTo>
                          <a:pt x="333" y="81"/>
                        </a:lnTo>
                        <a:lnTo>
                          <a:pt x="356" y="104"/>
                        </a:lnTo>
                        <a:lnTo>
                          <a:pt x="391" y="127"/>
                        </a:lnTo>
                        <a:lnTo>
                          <a:pt x="402" y="150"/>
                        </a:lnTo>
                        <a:lnTo>
                          <a:pt x="391" y="172"/>
                        </a:lnTo>
                        <a:lnTo>
                          <a:pt x="425" y="172"/>
                        </a:lnTo>
                        <a:lnTo>
                          <a:pt x="483" y="184"/>
                        </a:lnTo>
                        <a:lnTo>
                          <a:pt x="540" y="195"/>
                        </a:lnTo>
                        <a:lnTo>
                          <a:pt x="575" y="218"/>
                        </a:lnTo>
                        <a:lnTo>
                          <a:pt x="586" y="241"/>
                        </a:lnTo>
                        <a:lnTo>
                          <a:pt x="586" y="264"/>
                        </a:lnTo>
                        <a:lnTo>
                          <a:pt x="575" y="287"/>
                        </a:lnTo>
                        <a:lnTo>
                          <a:pt x="552" y="299"/>
                        </a:lnTo>
                        <a:lnTo>
                          <a:pt x="552" y="310"/>
                        </a:lnTo>
                        <a:lnTo>
                          <a:pt x="540" y="333"/>
                        </a:lnTo>
                        <a:lnTo>
                          <a:pt x="529" y="345"/>
                        </a:lnTo>
                        <a:lnTo>
                          <a:pt x="540" y="368"/>
                        </a:lnTo>
                        <a:lnTo>
                          <a:pt x="529" y="391"/>
                        </a:lnTo>
                        <a:lnTo>
                          <a:pt x="517" y="391"/>
                        </a:lnTo>
                        <a:lnTo>
                          <a:pt x="517" y="402"/>
                        </a:lnTo>
                        <a:lnTo>
                          <a:pt x="506" y="414"/>
                        </a:lnTo>
                        <a:lnTo>
                          <a:pt x="506" y="425"/>
                        </a:lnTo>
                        <a:lnTo>
                          <a:pt x="494" y="437"/>
                        </a:lnTo>
                        <a:lnTo>
                          <a:pt x="471" y="448"/>
                        </a:lnTo>
                        <a:lnTo>
                          <a:pt x="460" y="460"/>
                        </a:lnTo>
                        <a:lnTo>
                          <a:pt x="448" y="460"/>
                        </a:lnTo>
                        <a:lnTo>
                          <a:pt x="425" y="471"/>
                        </a:lnTo>
                        <a:lnTo>
                          <a:pt x="402" y="494"/>
                        </a:lnTo>
                        <a:lnTo>
                          <a:pt x="402" y="506"/>
                        </a:lnTo>
                        <a:lnTo>
                          <a:pt x="402" y="529"/>
                        </a:lnTo>
                        <a:lnTo>
                          <a:pt x="391" y="540"/>
                        </a:lnTo>
                        <a:lnTo>
                          <a:pt x="391" y="552"/>
                        </a:lnTo>
                        <a:lnTo>
                          <a:pt x="379" y="563"/>
                        </a:lnTo>
                        <a:lnTo>
                          <a:pt x="356" y="563"/>
                        </a:lnTo>
                        <a:lnTo>
                          <a:pt x="356" y="575"/>
                        </a:lnTo>
                        <a:lnTo>
                          <a:pt x="345" y="598"/>
                        </a:lnTo>
                        <a:lnTo>
                          <a:pt x="333" y="609"/>
                        </a:lnTo>
                        <a:lnTo>
                          <a:pt x="322" y="609"/>
                        </a:lnTo>
                        <a:lnTo>
                          <a:pt x="310" y="609"/>
                        </a:lnTo>
                        <a:lnTo>
                          <a:pt x="299" y="609"/>
                        </a:lnTo>
                        <a:lnTo>
                          <a:pt x="310" y="621"/>
                        </a:lnTo>
                        <a:lnTo>
                          <a:pt x="310" y="632"/>
                        </a:lnTo>
                        <a:lnTo>
                          <a:pt x="310" y="644"/>
                        </a:lnTo>
                        <a:lnTo>
                          <a:pt x="299" y="655"/>
                        </a:lnTo>
                        <a:lnTo>
                          <a:pt x="287" y="655"/>
                        </a:lnTo>
                        <a:lnTo>
                          <a:pt x="264" y="655"/>
                        </a:lnTo>
                        <a:lnTo>
                          <a:pt x="264" y="667"/>
                        </a:lnTo>
                        <a:lnTo>
                          <a:pt x="264" y="678"/>
                        </a:lnTo>
                        <a:lnTo>
                          <a:pt x="242" y="689"/>
                        </a:lnTo>
                        <a:lnTo>
                          <a:pt x="230" y="678"/>
                        </a:lnTo>
                        <a:lnTo>
                          <a:pt x="230" y="689"/>
                        </a:lnTo>
                        <a:lnTo>
                          <a:pt x="230" y="701"/>
                        </a:lnTo>
                        <a:lnTo>
                          <a:pt x="230" y="712"/>
                        </a:lnTo>
                        <a:lnTo>
                          <a:pt x="219" y="735"/>
                        </a:lnTo>
                        <a:lnTo>
                          <a:pt x="207" y="735"/>
                        </a:lnTo>
                        <a:lnTo>
                          <a:pt x="196" y="747"/>
                        </a:lnTo>
                        <a:lnTo>
                          <a:pt x="196" y="758"/>
                        </a:lnTo>
                        <a:lnTo>
                          <a:pt x="207" y="758"/>
                        </a:lnTo>
                        <a:lnTo>
                          <a:pt x="219" y="770"/>
                        </a:lnTo>
                        <a:lnTo>
                          <a:pt x="219" y="781"/>
                        </a:lnTo>
                        <a:lnTo>
                          <a:pt x="207" y="781"/>
                        </a:lnTo>
                        <a:lnTo>
                          <a:pt x="184" y="781"/>
                        </a:lnTo>
                        <a:lnTo>
                          <a:pt x="184" y="793"/>
                        </a:lnTo>
                        <a:lnTo>
                          <a:pt x="184" y="816"/>
                        </a:lnTo>
                        <a:lnTo>
                          <a:pt x="173" y="827"/>
                        </a:lnTo>
                        <a:lnTo>
                          <a:pt x="207" y="850"/>
                        </a:lnTo>
                        <a:lnTo>
                          <a:pt x="219" y="862"/>
                        </a:lnTo>
                        <a:lnTo>
                          <a:pt x="207" y="873"/>
                        </a:lnTo>
                        <a:lnTo>
                          <a:pt x="196" y="873"/>
                        </a:lnTo>
                        <a:lnTo>
                          <a:pt x="184" y="862"/>
                        </a:lnTo>
                        <a:lnTo>
                          <a:pt x="161" y="850"/>
                        </a:lnTo>
                        <a:lnTo>
                          <a:pt x="150" y="839"/>
                        </a:lnTo>
                        <a:lnTo>
                          <a:pt x="138" y="816"/>
                        </a:lnTo>
                        <a:lnTo>
                          <a:pt x="138" y="804"/>
                        </a:lnTo>
                        <a:lnTo>
                          <a:pt x="138" y="793"/>
                        </a:lnTo>
                        <a:lnTo>
                          <a:pt x="138" y="701"/>
                        </a:lnTo>
                        <a:lnTo>
                          <a:pt x="127" y="678"/>
                        </a:lnTo>
                        <a:lnTo>
                          <a:pt x="115" y="667"/>
                        </a:lnTo>
                        <a:lnTo>
                          <a:pt x="115" y="644"/>
                        </a:lnTo>
                        <a:lnTo>
                          <a:pt x="127" y="632"/>
                        </a:lnTo>
                        <a:lnTo>
                          <a:pt x="138" y="609"/>
                        </a:lnTo>
                        <a:lnTo>
                          <a:pt x="127" y="586"/>
                        </a:lnTo>
                        <a:lnTo>
                          <a:pt x="127" y="575"/>
                        </a:lnTo>
                        <a:lnTo>
                          <a:pt x="127" y="563"/>
                        </a:lnTo>
                        <a:lnTo>
                          <a:pt x="138" y="552"/>
                        </a:lnTo>
                        <a:lnTo>
                          <a:pt x="138" y="529"/>
                        </a:lnTo>
                        <a:lnTo>
                          <a:pt x="138" y="517"/>
                        </a:lnTo>
                        <a:lnTo>
                          <a:pt x="138" y="483"/>
                        </a:lnTo>
                        <a:lnTo>
                          <a:pt x="138" y="460"/>
                        </a:lnTo>
                        <a:lnTo>
                          <a:pt x="138" y="448"/>
                        </a:lnTo>
                        <a:lnTo>
                          <a:pt x="150" y="414"/>
                        </a:lnTo>
                        <a:lnTo>
                          <a:pt x="138" y="402"/>
                        </a:lnTo>
                        <a:lnTo>
                          <a:pt x="127" y="391"/>
                        </a:lnTo>
                        <a:lnTo>
                          <a:pt x="115" y="368"/>
                        </a:lnTo>
                        <a:lnTo>
                          <a:pt x="104" y="356"/>
                        </a:lnTo>
                        <a:lnTo>
                          <a:pt x="81" y="345"/>
                        </a:lnTo>
                        <a:lnTo>
                          <a:pt x="58" y="345"/>
                        </a:lnTo>
                        <a:lnTo>
                          <a:pt x="46" y="322"/>
                        </a:lnTo>
                        <a:lnTo>
                          <a:pt x="35" y="310"/>
                        </a:lnTo>
                        <a:lnTo>
                          <a:pt x="35" y="287"/>
                        </a:lnTo>
                        <a:lnTo>
                          <a:pt x="35" y="276"/>
                        </a:lnTo>
                        <a:lnTo>
                          <a:pt x="23" y="264"/>
                        </a:lnTo>
                        <a:lnTo>
                          <a:pt x="23" y="253"/>
                        </a:lnTo>
                        <a:lnTo>
                          <a:pt x="12" y="253"/>
                        </a:lnTo>
                        <a:lnTo>
                          <a:pt x="0" y="241"/>
                        </a:lnTo>
                        <a:lnTo>
                          <a:pt x="12" y="230"/>
                        </a:lnTo>
                        <a:lnTo>
                          <a:pt x="12" y="207"/>
                        </a:lnTo>
                        <a:lnTo>
                          <a:pt x="0" y="195"/>
                        </a:lnTo>
                        <a:lnTo>
                          <a:pt x="0" y="184"/>
                        </a:lnTo>
                        <a:lnTo>
                          <a:pt x="0" y="161"/>
                        </a:lnTo>
                        <a:lnTo>
                          <a:pt x="23" y="115"/>
                        </a:lnTo>
                        <a:lnTo>
                          <a:pt x="23" y="92"/>
                        </a:lnTo>
                        <a:lnTo>
                          <a:pt x="35" y="69"/>
                        </a:lnTo>
                        <a:lnTo>
                          <a:pt x="35" y="58"/>
                        </a:lnTo>
                        <a:lnTo>
                          <a:pt x="46" y="35"/>
                        </a:lnTo>
                      </a:path>
                    </a:pathLst>
                  </a:custGeom>
                  <a:solidFill>
                    <a:srgbClr val="EAEAEA"/>
                  </a:solidFill>
                  <a:ln w="3175" cap="rnd" cmpd="sng">
                    <a:solidFill>
                      <a:srgbClr val="DDDDD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l" rtl="0" eaLnBrk="0" fontAlgn="t" latinLnBrk="1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ko-KR" altLang="en-US" sz="1000" kern="120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9" name="Freeform 217"/>
            <p:cNvSpPr>
              <a:spLocks/>
            </p:cNvSpPr>
            <p:nvPr/>
          </p:nvSpPr>
          <p:spPr bwMode="gray">
            <a:xfrm>
              <a:off x="1651" y="1009"/>
              <a:ext cx="309" cy="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1" y="69"/>
                </a:cxn>
                <a:cxn ang="0">
                  <a:pos x="161" y="138"/>
                </a:cxn>
                <a:cxn ang="0">
                  <a:pos x="276" y="287"/>
                </a:cxn>
              </a:cxnLst>
              <a:rect l="0" t="0" r="r" b="b"/>
              <a:pathLst>
                <a:path w="277" h="288">
                  <a:moveTo>
                    <a:pt x="0" y="0"/>
                  </a:moveTo>
                  <a:lnTo>
                    <a:pt x="81" y="69"/>
                  </a:lnTo>
                  <a:lnTo>
                    <a:pt x="161" y="138"/>
                  </a:lnTo>
                  <a:lnTo>
                    <a:pt x="276" y="287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" name="Line 218"/>
            <p:cNvSpPr>
              <a:spLocks noChangeShapeType="1"/>
            </p:cNvSpPr>
            <p:nvPr/>
          </p:nvSpPr>
          <p:spPr bwMode="gray">
            <a:xfrm>
              <a:off x="2948" y="3255"/>
              <a:ext cx="529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" name="Freeform 219"/>
            <p:cNvSpPr>
              <a:spLocks/>
            </p:cNvSpPr>
            <p:nvPr/>
          </p:nvSpPr>
          <p:spPr bwMode="gray">
            <a:xfrm>
              <a:off x="1741" y="1035"/>
              <a:ext cx="321" cy="2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0" y="57"/>
                </a:cxn>
                <a:cxn ang="0">
                  <a:pos x="149" y="115"/>
                </a:cxn>
                <a:cxn ang="0">
                  <a:pos x="287" y="264"/>
                </a:cxn>
              </a:cxnLst>
              <a:rect l="0" t="0" r="r" b="b"/>
              <a:pathLst>
                <a:path w="288" h="265">
                  <a:moveTo>
                    <a:pt x="0" y="0"/>
                  </a:moveTo>
                  <a:lnTo>
                    <a:pt x="80" y="57"/>
                  </a:lnTo>
                  <a:lnTo>
                    <a:pt x="149" y="115"/>
                  </a:lnTo>
                  <a:lnTo>
                    <a:pt x="287" y="264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" name="Freeform 220"/>
            <p:cNvSpPr>
              <a:spLocks/>
            </p:cNvSpPr>
            <p:nvPr/>
          </p:nvSpPr>
          <p:spPr bwMode="gray">
            <a:xfrm>
              <a:off x="1895" y="1087"/>
              <a:ext cx="269" cy="2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0" y="57"/>
                </a:cxn>
                <a:cxn ang="0">
                  <a:pos x="160" y="126"/>
                </a:cxn>
                <a:cxn ang="0">
                  <a:pos x="241" y="207"/>
                </a:cxn>
              </a:cxnLst>
              <a:rect l="0" t="0" r="r" b="b"/>
              <a:pathLst>
                <a:path w="242" h="208">
                  <a:moveTo>
                    <a:pt x="0" y="0"/>
                  </a:moveTo>
                  <a:lnTo>
                    <a:pt x="80" y="57"/>
                  </a:lnTo>
                  <a:lnTo>
                    <a:pt x="160" y="126"/>
                  </a:lnTo>
                  <a:lnTo>
                    <a:pt x="241" y="207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" name="Freeform 221"/>
            <p:cNvSpPr>
              <a:spLocks/>
            </p:cNvSpPr>
            <p:nvPr/>
          </p:nvSpPr>
          <p:spPr bwMode="gray">
            <a:xfrm>
              <a:off x="4428" y="1125"/>
              <a:ext cx="513" cy="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81"/>
                </a:cxn>
                <a:cxn ang="0">
                  <a:pos x="299" y="173"/>
                </a:cxn>
                <a:cxn ang="0">
                  <a:pos x="460" y="276"/>
                </a:cxn>
              </a:cxnLst>
              <a:rect l="0" t="0" r="r" b="b"/>
              <a:pathLst>
                <a:path w="461" h="277">
                  <a:moveTo>
                    <a:pt x="0" y="0"/>
                  </a:moveTo>
                  <a:lnTo>
                    <a:pt x="149" y="81"/>
                  </a:lnTo>
                  <a:lnTo>
                    <a:pt x="299" y="173"/>
                  </a:lnTo>
                  <a:lnTo>
                    <a:pt x="460" y="276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" name="Line 222"/>
            <p:cNvSpPr>
              <a:spLocks noChangeShapeType="1"/>
            </p:cNvSpPr>
            <p:nvPr/>
          </p:nvSpPr>
          <p:spPr bwMode="gray">
            <a:xfrm>
              <a:off x="2654" y="1294"/>
              <a:ext cx="2231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" name="Line 223"/>
            <p:cNvSpPr>
              <a:spLocks noChangeShapeType="1"/>
            </p:cNvSpPr>
            <p:nvPr/>
          </p:nvSpPr>
          <p:spPr bwMode="gray">
            <a:xfrm>
              <a:off x="2654" y="1411"/>
              <a:ext cx="2410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" name="Line 224"/>
            <p:cNvSpPr>
              <a:spLocks noChangeShapeType="1"/>
            </p:cNvSpPr>
            <p:nvPr/>
          </p:nvSpPr>
          <p:spPr bwMode="gray">
            <a:xfrm>
              <a:off x="2538" y="1554"/>
              <a:ext cx="2551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" name="Freeform 225"/>
            <p:cNvSpPr>
              <a:spLocks/>
            </p:cNvSpPr>
            <p:nvPr/>
          </p:nvSpPr>
          <p:spPr bwMode="gray">
            <a:xfrm>
              <a:off x="2061" y="2021"/>
              <a:ext cx="244" cy="1339"/>
            </a:xfrm>
            <a:custGeom>
              <a:avLst/>
              <a:gdLst/>
              <a:ahLst/>
              <a:cxnLst>
                <a:cxn ang="0">
                  <a:pos x="218" y="0"/>
                </a:cxn>
                <a:cxn ang="0">
                  <a:pos x="218" y="115"/>
                </a:cxn>
                <a:cxn ang="0">
                  <a:pos x="218" y="241"/>
                </a:cxn>
                <a:cxn ang="0">
                  <a:pos x="195" y="368"/>
                </a:cxn>
                <a:cxn ang="0">
                  <a:pos x="172" y="517"/>
                </a:cxn>
                <a:cxn ang="0">
                  <a:pos x="149" y="644"/>
                </a:cxn>
                <a:cxn ang="0">
                  <a:pos x="115" y="781"/>
                </a:cxn>
                <a:cxn ang="0">
                  <a:pos x="92" y="896"/>
                </a:cxn>
                <a:cxn ang="0">
                  <a:pos x="69" y="1011"/>
                </a:cxn>
                <a:cxn ang="0">
                  <a:pos x="34" y="1092"/>
                </a:cxn>
                <a:cxn ang="0">
                  <a:pos x="0" y="1184"/>
                </a:cxn>
              </a:cxnLst>
              <a:rect l="0" t="0" r="r" b="b"/>
              <a:pathLst>
                <a:path w="219" h="1185">
                  <a:moveTo>
                    <a:pt x="218" y="0"/>
                  </a:moveTo>
                  <a:lnTo>
                    <a:pt x="218" y="115"/>
                  </a:lnTo>
                  <a:lnTo>
                    <a:pt x="218" y="241"/>
                  </a:lnTo>
                  <a:lnTo>
                    <a:pt x="195" y="368"/>
                  </a:lnTo>
                  <a:lnTo>
                    <a:pt x="172" y="517"/>
                  </a:lnTo>
                  <a:lnTo>
                    <a:pt x="149" y="644"/>
                  </a:lnTo>
                  <a:lnTo>
                    <a:pt x="115" y="781"/>
                  </a:lnTo>
                  <a:lnTo>
                    <a:pt x="92" y="896"/>
                  </a:lnTo>
                  <a:lnTo>
                    <a:pt x="69" y="1011"/>
                  </a:lnTo>
                  <a:lnTo>
                    <a:pt x="34" y="1092"/>
                  </a:lnTo>
                  <a:lnTo>
                    <a:pt x="0" y="1184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" name="Line 226"/>
            <p:cNvSpPr>
              <a:spLocks noChangeShapeType="1"/>
            </p:cNvSpPr>
            <p:nvPr/>
          </p:nvSpPr>
          <p:spPr bwMode="gray">
            <a:xfrm>
              <a:off x="2449" y="1709"/>
              <a:ext cx="2832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" name="Line 227"/>
            <p:cNvSpPr>
              <a:spLocks noChangeShapeType="1"/>
            </p:cNvSpPr>
            <p:nvPr/>
          </p:nvSpPr>
          <p:spPr bwMode="gray">
            <a:xfrm>
              <a:off x="2372" y="1865"/>
              <a:ext cx="3062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" name="Line 228"/>
            <p:cNvSpPr>
              <a:spLocks noChangeShapeType="1"/>
            </p:cNvSpPr>
            <p:nvPr/>
          </p:nvSpPr>
          <p:spPr bwMode="gray">
            <a:xfrm>
              <a:off x="196" y="2293"/>
              <a:ext cx="5354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" name="Freeform 229"/>
            <p:cNvSpPr>
              <a:spLocks/>
            </p:cNvSpPr>
            <p:nvPr/>
          </p:nvSpPr>
          <p:spPr bwMode="gray">
            <a:xfrm>
              <a:off x="499" y="1009"/>
              <a:ext cx="693" cy="2325"/>
            </a:xfrm>
            <a:custGeom>
              <a:avLst/>
              <a:gdLst/>
              <a:ahLst/>
              <a:cxnLst>
                <a:cxn ang="0">
                  <a:pos x="621" y="0"/>
                </a:cxn>
                <a:cxn ang="0">
                  <a:pos x="564" y="34"/>
                </a:cxn>
                <a:cxn ang="0">
                  <a:pos x="437" y="126"/>
                </a:cxn>
                <a:cxn ang="0">
                  <a:pos x="334" y="241"/>
                </a:cxn>
                <a:cxn ang="0">
                  <a:pos x="253" y="356"/>
                </a:cxn>
                <a:cxn ang="0">
                  <a:pos x="173" y="494"/>
                </a:cxn>
                <a:cxn ang="0">
                  <a:pos x="104" y="632"/>
                </a:cxn>
                <a:cxn ang="0">
                  <a:pos x="46" y="758"/>
                </a:cxn>
                <a:cxn ang="0">
                  <a:pos x="0" y="896"/>
                </a:cxn>
                <a:cxn ang="0">
                  <a:pos x="0" y="1011"/>
                </a:cxn>
                <a:cxn ang="0">
                  <a:pos x="0" y="1137"/>
                </a:cxn>
                <a:cxn ang="0">
                  <a:pos x="0" y="1264"/>
                </a:cxn>
                <a:cxn ang="0">
                  <a:pos x="0" y="1413"/>
                </a:cxn>
                <a:cxn ang="0">
                  <a:pos x="0" y="1551"/>
                </a:cxn>
                <a:cxn ang="0">
                  <a:pos x="0" y="1689"/>
                </a:cxn>
                <a:cxn ang="0">
                  <a:pos x="0" y="1976"/>
                </a:cxn>
                <a:cxn ang="0">
                  <a:pos x="0" y="2057"/>
                </a:cxn>
              </a:cxnLst>
              <a:rect l="0" t="0" r="r" b="b"/>
              <a:pathLst>
                <a:path w="622" h="2058">
                  <a:moveTo>
                    <a:pt x="621" y="0"/>
                  </a:moveTo>
                  <a:lnTo>
                    <a:pt x="564" y="34"/>
                  </a:lnTo>
                  <a:lnTo>
                    <a:pt x="437" y="126"/>
                  </a:lnTo>
                  <a:lnTo>
                    <a:pt x="334" y="241"/>
                  </a:lnTo>
                  <a:lnTo>
                    <a:pt x="253" y="356"/>
                  </a:lnTo>
                  <a:lnTo>
                    <a:pt x="173" y="494"/>
                  </a:lnTo>
                  <a:lnTo>
                    <a:pt x="104" y="632"/>
                  </a:lnTo>
                  <a:lnTo>
                    <a:pt x="46" y="758"/>
                  </a:lnTo>
                  <a:lnTo>
                    <a:pt x="0" y="896"/>
                  </a:lnTo>
                  <a:lnTo>
                    <a:pt x="0" y="1011"/>
                  </a:lnTo>
                  <a:lnTo>
                    <a:pt x="0" y="1137"/>
                  </a:lnTo>
                  <a:lnTo>
                    <a:pt x="0" y="1264"/>
                  </a:lnTo>
                  <a:lnTo>
                    <a:pt x="0" y="1413"/>
                  </a:lnTo>
                  <a:lnTo>
                    <a:pt x="0" y="1551"/>
                  </a:lnTo>
                  <a:lnTo>
                    <a:pt x="0" y="1689"/>
                  </a:lnTo>
                  <a:lnTo>
                    <a:pt x="0" y="1976"/>
                  </a:lnTo>
                  <a:lnTo>
                    <a:pt x="0" y="2057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" name="Freeform 230"/>
            <p:cNvSpPr>
              <a:spLocks/>
            </p:cNvSpPr>
            <p:nvPr/>
          </p:nvSpPr>
          <p:spPr bwMode="gray">
            <a:xfrm>
              <a:off x="513" y="1009"/>
              <a:ext cx="717" cy="2337"/>
            </a:xfrm>
            <a:custGeom>
              <a:avLst/>
              <a:gdLst/>
              <a:ahLst/>
              <a:cxnLst>
                <a:cxn ang="0">
                  <a:pos x="644" y="0"/>
                </a:cxn>
                <a:cxn ang="0">
                  <a:pos x="575" y="46"/>
                </a:cxn>
                <a:cxn ang="0">
                  <a:pos x="506" y="126"/>
                </a:cxn>
                <a:cxn ang="0">
                  <a:pos x="414" y="241"/>
                </a:cxn>
                <a:cxn ang="0">
                  <a:pos x="333" y="356"/>
                </a:cxn>
                <a:cxn ang="0">
                  <a:pos x="276" y="483"/>
                </a:cxn>
                <a:cxn ang="0">
                  <a:pos x="207" y="609"/>
                </a:cxn>
                <a:cxn ang="0">
                  <a:pos x="161" y="758"/>
                </a:cxn>
                <a:cxn ang="0">
                  <a:pos x="126" y="885"/>
                </a:cxn>
                <a:cxn ang="0">
                  <a:pos x="115" y="1011"/>
                </a:cxn>
                <a:cxn ang="0">
                  <a:pos x="103" y="1137"/>
                </a:cxn>
                <a:cxn ang="0">
                  <a:pos x="103" y="1264"/>
                </a:cxn>
                <a:cxn ang="0">
                  <a:pos x="103" y="1390"/>
                </a:cxn>
                <a:cxn ang="0">
                  <a:pos x="92" y="1528"/>
                </a:cxn>
                <a:cxn ang="0">
                  <a:pos x="69" y="1689"/>
                </a:cxn>
                <a:cxn ang="0">
                  <a:pos x="57" y="1792"/>
                </a:cxn>
                <a:cxn ang="0">
                  <a:pos x="46" y="1907"/>
                </a:cxn>
                <a:cxn ang="0">
                  <a:pos x="0" y="2068"/>
                </a:cxn>
              </a:cxnLst>
              <a:rect l="0" t="0" r="r" b="b"/>
              <a:pathLst>
                <a:path w="645" h="2069">
                  <a:moveTo>
                    <a:pt x="644" y="0"/>
                  </a:moveTo>
                  <a:lnTo>
                    <a:pt x="575" y="46"/>
                  </a:lnTo>
                  <a:lnTo>
                    <a:pt x="506" y="126"/>
                  </a:lnTo>
                  <a:lnTo>
                    <a:pt x="414" y="241"/>
                  </a:lnTo>
                  <a:lnTo>
                    <a:pt x="333" y="356"/>
                  </a:lnTo>
                  <a:lnTo>
                    <a:pt x="276" y="483"/>
                  </a:lnTo>
                  <a:lnTo>
                    <a:pt x="207" y="609"/>
                  </a:lnTo>
                  <a:lnTo>
                    <a:pt x="161" y="758"/>
                  </a:lnTo>
                  <a:lnTo>
                    <a:pt x="126" y="885"/>
                  </a:lnTo>
                  <a:lnTo>
                    <a:pt x="115" y="1011"/>
                  </a:lnTo>
                  <a:lnTo>
                    <a:pt x="103" y="1137"/>
                  </a:lnTo>
                  <a:lnTo>
                    <a:pt x="103" y="1264"/>
                  </a:lnTo>
                  <a:lnTo>
                    <a:pt x="103" y="1390"/>
                  </a:lnTo>
                  <a:lnTo>
                    <a:pt x="92" y="1528"/>
                  </a:lnTo>
                  <a:lnTo>
                    <a:pt x="69" y="1689"/>
                  </a:lnTo>
                  <a:lnTo>
                    <a:pt x="57" y="1792"/>
                  </a:lnTo>
                  <a:lnTo>
                    <a:pt x="46" y="1907"/>
                  </a:lnTo>
                  <a:lnTo>
                    <a:pt x="0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" name="Freeform 231"/>
            <p:cNvSpPr>
              <a:spLocks/>
            </p:cNvSpPr>
            <p:nvPr/>
          </p:nvSpPr>
          <p:spPr bwMode="gray">
            <a:xfrm>
              <a:off x="538" y="995"/>
              <a:ext cx="744" cy="2339"/>
            </a:xfrm>
            <a:custGeom>
              <a:avLst/>
              <a:gdLst/>
              <a:ahLst/>
              <a:cxnLst>
                <a:cxn ang="0">
                  <a:pos x="667" y="0"/>
                </a:cxn>
                <a:cxn ang="0">
                  <a:pos x="609" y="46"/>
                </a:cxn>
                <a:cxn ang="0">
                  <a:pos x="563" y="115"/>
                </a:cxn>
                <a:cxn ang="0">
                  <a:pos x="483" y="242"/>
                </a:cxn>
                <a:cxn ang="0">
                  <a:pos x="402" y="380"/>
                </a:cxn>
                <a:cxn ang="0">
                  <a:pos x="356" y="495"/>
                </a:cxn>
                <a:cxn ang="0">
                  <a:pos x="310" y="632"/>
                </a:cxn>
                <a:cxn ang="0">
                  <a:pos x="276" y="747"/>
                </a:cxn>
                <a:cxn ang="0">
                  <a:pos x="253" y="897"/>
                </a:cxn>
                <a:cxn ang="0">
                  <a:pos x="241" y="1023"/>
                </a:cxn>
                <a:cxn ang="0">
                  <a:pos x="230" y="1149"/>
                </a:cxn>
                <a:cxn ang="0">
                  <a:pos x="207" y="1287"/>
                </a:cxn>
                <a:cxn ang="0">
                  <a:pos x="184" y="1425"/>
                </a:cxn>
                <a:cxn ang="0">
                  <a:pos x="161" y="1552"/>
                </a:cxn>
                <a:cxn ang="0">
                  <a:pos x="138" y="1689"/>
                </a:cxn>
                <a:cxn ang="0">
                  <a:pos x="115" y="1804"/>
                </a:cxn>
                <a:cxn ang="0">
                  <a:pos x="92" y="1908"/>
                </a:cxn>
                <a:cxn ang="0">
                  <a:pos x="57" y="2000"/>
                </a:cxn>
                <a:cxn ang="0">
                  <a:pos x="0" y="2069"/>
                </a:cxn>
              </a:cxnLst>
              <a:rect l="0" t="0" r="r" b="b"/>
              <a:pathLst>
                <a:path w="668" h="2070">
                  <a:moveTo>
                    <a:pt x="667" y="0"/>
                  </a:moveTo>
                  <a:lnTo>
                    <a:pt x="609" y="46"/>
                  </a:lnTo>
                  <a:lnTo>
                    <a:pt x="563" y="115"/>
                  </a:lnTo>
                  <a:lnTo>
                    <a:pt x="483" y="242"/>
                  </a:lnTo>
                  <a:lnTo>
                    <a:pt x="402" y="380"/>
                  </a:lnTo>
                  <a:lnTo>
                    <a:pt x="356" y="495"/>
                  </a:lnTo>
                  <a:lnTo>
                    <a:pt x="310" y="632"/>
                  </a:lnTo>
                  <a:lnTo>
                    <a:pt x="276" y="747"/>
                  </a:lnTo>
                  <a:lnTo>
                    <a:pt x="253" y="897"/>
                  </a:lnTo>
                  <a:lnTo>
                    <a:pt x="241" y="1023"/>
                  </a:lnTo>
                  <a:lnTo>
                    <a:pt x="230" y="1149"/>
                  </a:lnTo>
                  <a:lnTo>
                    <a:pt x="207" y="1287"/>
                  </a:lnTo>
                  <a:lnTo>
                    <a:pt x="184" y="1425"/>
                  </a:lnTo>
                  <a:lnTo>
                    <a:pt x="161" y="1552"/>
                  </a:lnTo>
                  <a:lnTo>
                    <a:pt x="138" y="1689"/>
                  </a:lnTo>
                  <a:lnTo>
                    <a:pt x="115" y="1804"/>
                  </a:lnTo>
                  <a:lnTo>
                    <a:pt x="92" y="1908"/>
                  </a:lnTo>
                  <a:lnTo>
                    <a:pt x="57" y="2000"/>
                  </a:lnTo>
                  <a:lnTo>
                    <a:pt x="0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" name="Freeform 232"/>
            <p:cNvSpPr>
              <a:spLocks/>
            </p:cNvSpPr>
            <p:nvPr/>
          </p:nvSpPr>
          <p:spPr bwMode="gray">
            <a:xfrm>
              <a:off x="550" y="995"/>
              <a:ext cx="770" cy="2351"/>
            </a:xfrm>
            <a:custGeom>
              <a:avLst/>
              <a:gdLst/>
              <a:ahLst/>
              <a:cxnLst>
                <a:cxn ang="0">
                  <a:pos x="690" y="0"/>
                </a:cxn>
                <a:cxn ang="0">
                  <a:pos x="644" y="69"/>
                </a:cxn>
                <a:cxn ang="0">
                  <a:pos x="598" y="138"/>
                </a:cxn>
                <a:cxn ang="0">
                  <a:pos x="541" y="242"/>
                </a:cxn>
                <a:cxn ang="0">
                  <a:pos x="483" y="368"/>
                </a:cxn>
                <a:cxn ang="0">
                  <a:pos x="449" y="495"/>
                </a:cxn>
                <a:cxn ang="0">
                  <a:pos x="414" y="632"/>
                </a:cxn>
                <a:cxn ang="0">
                  <a:pos x="380" y="770"/>
                </a:cxn>
                <a:cxn ang="0">
                  <a:pos x="368" y="908"/>
                </a:cxn>
                <a:cxn ang="0">
                  <a:pos x="357" y="1023"/>
                </a:cxn>
                <a:cxn ang="0">
                  <a:pos x="345" y="1149"/>
                </a:cxn>
                <a:cxn ang="0">
                  <a:pos x="334" y="1287"/>
                </a:cxn>
                <a:cxn ang="0">
                  <a:pos x="299" y="1414"/>
                </a:cxn>
                <a:cxn ang="0">
                  <a:pos x="265" y="1552"/>
                </a:cxn>
                <a:cxn ang="0">
                  <a:pos x="230" y="1678"/>
                </a:cxn>
                <a:cxn ang="0">
                  <a:pos x="184" y="1804"/>
                </a:cxn>
                <a:cxn ang="0">
                  <a:pos x="138" y="1908"/>
                </a:cxn>
                <a:cxn ang="0">
                  <a:pos x="69" y="2000"/>
                </a:cxn>
                <a:cxn ang="0">
                  <a:pos x="0" y="2080"/>
                </a:cxn>
              </a:cxnLst>
              <a:rect l="0" t="0" r="r" b="b"/>
              <a:pathLst>
                <a:path w="691" h="2081">
                  <a:moveTo>
                    <a:pt x="690" y="0"/>
                  </a:moveTo>
                  <a:lnTo>
                    <a:pt x="644" y="69"/>
                  </a:lnTo>
                  <a:lnTo>
                    <a:pt x="598" y="138"/>
                  </a:lnTo>
                  <a:lnTo>
                    <a:pt x="541" y="242"/>
                  </a:lnTo>
                  <a:lnTo>
                    <a:pt x="483" y="368"/>
                  </a:lnTo>
                  <a:lnTo>
                    <a:pt x="449" y="495"/>
                  </a:lnTo>
                  <a:lnTo>
                    <a:pt x="414" y="632"/>
                  </a:lnTo>
                  <a:lnTo>
                    <a:pt x="380" y="770"/>
                  </a:lnTo>
                  <a:lnTo>
                    <a:pt x="368" y="908"/>
                  </a:lnTo>
                  <a:lnTo>
                    <a:pt x="357" y="1023"/>
                  </a:lnTo>
                  <a:lnTo>
                    <a:pt x="345" y="1149"/>
                  </a:lnTo>
                  <a:lnTo>
                    <a:pt x="334" y="1287"/>
                  </a:lnTo>
                  <a:lnTo>
                    <a:pt x="299" y="1414"/>
                  </a:lnTo>
                  <a:lnTo>
                    <a:pt x="265" y="1552"/>
                  </a:lnTo>
                  <a:lnTo>
                    <a:pt x="230" y="1678"/>
                  </a:lnTo>
                  <a:lnTo>
                    <a:pt x="184" y="1804"/>
                  </a:lnTo>
                  <a:lnTo>
                    <a:pt x="138" y="1908"/>
                  </a:lnTo>
                  <a:lnTo>
                    <a:pt x="69" y="2000"/>
                  </a:lnTo>
                  <a:lnTo>
                    <a:pt x="0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6" name="Freeform 233"/>
            <p:cNvSpPr>
              <a:spLocks/>
            </p:cNvSpPr>
            <p:nvPr/>
          </p:nvSpPr>
          <p:spPr bwMode="gray">
            <a:xfrm>
              <a:off x="589" y="995"/>
              <a:ext cx="769" cy="2351"/>
            </a:xfrm>
            <a:custGeom>
              <a:avLst/>
              <a:gdLst/>
              <a:ahLst/>
              <a:cxnLst>
                <a:cxn ang="0">
                  <a:pos x="690" y="0"/>
                </a:cxn>
                <a:cxn ang="0">
                  <a:pos x="644" y="58"/>
                </a:cxn>
                <a:cxn ang="0">
                  <a:pos x="609" y="150"/>
                </a:cxn>
                <a:cxn ang="0">
                  <a:pos x="575" y="265"/>
                </a:cxn>
                <a:cxn ang="0">
                  <a:pos x="552" y="368"/>
                </a:cxn>
                <a:cxn ang="0">
                  <a:pos x="517" y="495"/>
                </a:cxn>
                <a:cxn ang="0">
                  <a:pos x="494" y="632"/>
                </a:cxn>
                <a:cxn ang="0">
                  <a:pos x="471" y="770"/>
                </a:cxn>
                <a:cxn ang="0">
                  <a:pos x="471" y="897"/>
                </a:cxn>
                <a:cxn ang="0">
                  <a:pos x="460" y="1023"/>
                </a:cxn>
                <a:cxn ang="0">
                  <a:pos x="437" y="1149"/>
                </a:cxn>
                <a:cxn ang="0">
                  <a:pos x="402" y="1276"/>
                </a:cxn>
                <a:cxn ang="0">
                  <a:pos x="379" y="1402"/>
                </a:cxn>
                <a:cxn ang="0">
                  <a:pos x="333" y="1552"/>
                </a:cxn>
                <a:cxn ang="0">
                  <a:pos x="287" y="1689"/>
                </a:cxn>
                <a:cxn ang="0">
                  <a:pos x="218" y="1804"/>
                </a:cxn>
                <a:cxn ang="0">
                  <a:pos x="161" y="1908"/>
                </a:cxn>
                <a:cxn ang="0">
                  <a:pos x="80" y="2000"/>
                </a:cxn>
                <a:cxn ang="0">
                  <a:pos x="0" y="2080"/>
                </a:cxn>
              </a:cxnLst>
              <a:rect l="0" t="0" r="r" b="b"/>
              <a:pathLst>
                <a:path w="691" h="2081">
                  <a:moveTo>
                    <a:pt x="690" y="0"/>
                  </a:moveTo>
                  <a:lnTo>
                    <a:pt x="644" y="58"/>
                  </a:lnTo>
                  <a:lnTo>
                    <a:pt x="609" y="150"/>
                  </a:lnTo>
                  <a:lnTo>
                    <a:pt x="575" y="265"/>
                  </a:lnTo>
                  <a:lnTo>
                    <a:pt x="552" y="368"/>
                  </a:lnTo>
                  <a:lnTo>
                    <a:pt x="517" y="495"/>
                  </a:lnTo>
                  <a:lnTo>
                    <a:pt x="494" y="632"/>
                  </a:lnTo>
                  <a:lnTo>
                    <a:pt x="471" y="770"/>
                  </a:lnTo>
                  <a:lnTo>
                    <a:pt x="471" y="897"/>
                  </a:lnTo>
                  <a:lnTo>
                    <a:pt x="460" y="1023"/>
                  </a:lnTo>
                  <a:lnTo>
                    <a:pt x="437" y="1149"/>
                  </a:lnTo>
                  <a:lnTo>
                    <a:pt x="402" y="1276"/>
                  </a:lnTo>
                  <a:lnTo>
                    <a:pt x="379" y="1402"/>
                  </a:lnTo>
                  <a:lnTo>
                    <a:pt x="333" y="1552"/>
                  </a:lnTo>
                  <a:lnTo>
                    <a:pt x="287" y="1689"/>
                  </a:lnTo>
                  <a:lnTo>
                    <a:pt x="218" y="1804"/>
                  </a:lnTo>
                  <a:lnTo>
                    <a:pt x="161" y="1908"/>
                  </a:lnTo>
                  <a:lnTo>
                    <a:pt x="80" y="2000"/>
                  </a:lnTo>
                  <a:lnTo>
                    <a:pt x="0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7" name="Freeform 234"/>
            <p:cNvSpPr>
              <a:spLocks/>
            </p:cNvSpPr>
            <p:nvPr/>
          </p:nvSpPr>
          <p:spPr bwMode="gray">
            <a:xfrm>
              <a:off x="653" y="995"/>
              <a:ext cx="731" cy="2339"/>
            </a:xfrm>
            <a:custGeom>
              <a:avLst/>
              <a:gdLst/>
              <a:ahLst/>
              <a:cxnLst>
                <a:cxn ang="0">
                  <a:pos x="656" y="0"/>
                </a:cxn>
                <a:cxn ang="0">
                  <a:pos x="644" y="58"/>
                </a:cxn>
                <a:cxn ang="0">
                  <a:pos x="621" y="150"/>
                </a:cxn>
                <a:cxn ang="0">
                  <a:pos x="598" y="265"/>
                </a:cxn>
                <a:cxn ang="0">
                  <a:pos x="575" y="368"/>
                </a:cxn>
                <a:cxn ang="0">
                  <a:pos x="564" y="472"/>
                </a:cxn>
                <a:cxn ang="0">
                  <a:pos x="552" y="632"/>
                </a:cxn>
                <a:cxn ang="0">
                  <a:pos x="541" y="759"/>
                </a:cxn>
                <a:cxn ang="0">
                  <a:pos x="541" y="885"/>
                </a:cxn>
                <a:cxn ang="0">
                  <a:pos x="518" y="1023"/>
                </a:cxn>
                <a:cxn ang="0">
                  <a:pos x="506" y="1149"/>
                </a:cxn>
                <a:cxn ang="0">
                  <a:pos x="483" y="1287"/>
                </a:cxn>
                <a:cxn ang="0">
                  <a:pos x="437" y="1425"/>
                </a:cxn>
                <a:cxn ang="0">
                  <a:pos x="380" y="1563"/>
                </a:cxn>
                <a:cxn ang="0">
                  <a:pos x="311" y="1701"/>
                </a:cxn>
                <a:cxn ang="0">
                  <a:pos x="253" y="1816"/>
                </a:cxn>
                <a:cxn ang="0">
                  <a:pos x="161" y="1908"/>
                </a:cxn>
                <a:cxn ang="0">
                  <a:pos x="104" y="1977"/>
                </a:cxn>
                <a:cxn ang="0">
                  <a:pos x="0" y="2069"/>
                </a:cxn>
              </a:cxnLst>
              <a:rect l="0" t="0" r="r" b="b"/>
              <a:pathLst>
                <a:path w="657" h="2070">
                  <a:moveTo>
                    <a:pt x="656" y="0"/>
                  </a:moveTo>
                  <a:lnTo>
                    <a:pt x="644" y="58"/>
                  </a:lnTo>
                  <a:lnTo>
                    <a:pt x="621" y="150"/>
                  </a:lnTo>
                  <a:lnTo>
                    <a:pt x="598" y="265"/>
                  </a:lnTo>
                  <a:lnTo>
                    <a:pt x="575" y="368"/>
                  </a:lnTo>
                  <a:lnTo>
                    <a:pt x="564" y="472"/>
                  </a:lnTo>
                  <a:lnTo>
                    <a:pt x="552" y="632"/>
                  </a:lnTo>
                  <a:lnTo>
                    <a:pt x="541" y="759"/>
                  </a:lnTo>
                  <a:lnTo>
                    <a:pt x="541" y="885"/>
                  </a:lnTo>
                  <a:lnTo>
                    <a:pt x="518" y="1023"/>
                  </a:lnTo>
                  <a:lnTo>
                    <a:pt x="506" y="1149"/>
                  </a:lnTo>
                  <a:lnTo>
                    <a:pt x="483" y="1287"/>
                  </a:lnTo>
                  <a:lnTo>
                    <a:pt x="437" y="1425"/>
                  </a:lnTo>
                  <a:lnTo>
                    <a:pt x="380" y="1563"/>
                  </a:lnTo>
                  <a:lnTo>
                    <a:pt x="311" y="1701"/>
                  </a:lnTo>
                  <a:lnTo>
                    <a:pt x="253" y="1816"/>
                  </a:lnTo>
                  <a:lnTo>
                    <a:pt x="161" y="1908"/>
                  </a:lnTo>
                  <a:lnTo>
                    <a:pt x="104" y="1977"/>
                  </a:lnTo>
                  <a:lnTo>
                    <a:pt x="0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8" name="Line 235"/>
            <p:cNvSpPr>
              <a:spLocks noChangeShapeType="1"/>
            </p:cNvSpPr>
            <p:nvPr/>
          </p:nvSpPr>
          <p:spPr bwMode="gray">
            <a:xfrm flipV="1">
              <a:off x="1409" y="990"/>
              <a:ext cx="0" cy="1321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9" name="Line 236"/>
            <p:cNvSpPr>
              <a:spLocks noChangeShapeType="1"/>
            </p:cNvSpPr>
            <p:nvPr/>
          </p:nvSpPr>
          <p:spPr bwMode="gray">
            <a:xfrm>
              <a:off x="210" y="2009"/>
              <a:ext cx="5327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" name="Line 237"/>
            <p:cNvSpPr>
              <a:spLocks noChangeShapeType="1"/>
            </p:cNvSpPr>
            <p:nvPr/>
          </p:nvSpPr>
          <p:spPr bwMode="gray">
            <a:xfrm>
              <a:off x="196" y="2151"/>
              <a:ext cx="5366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" name="Line 238"/>
            <p:cNvSpPr>
              <a:spLocks noChangeShapeType="1"/>
            </p:cNvSpPr>
            <p:nvPr/>
          </p:nvSpPr>
          <p:spPr bwMode="gray">
            <a:xfrm>
              <a:off x="235" y="2449"/>
              <a:ext cx="1144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" name="Line 239"/>
            <p:cNvSpPr>
              <a:spLocks noChangeShapeType="1"/>
            </p:cNvSpPr>
            <p:nvPr/>
          </p:nvSpPr>
          <p:spPr bwMode="gray">
            <a:xfrm>
              <a:off x="1439" y="2449"/>
              <a:ext cx="1129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" name="Line 240"/>
            <p:cNvSpPr>
              <a:spLocks noChangeShapeType="1"/>
            </p:cNvSpPr>
            <p:nvPr/>
          </p:nvSpPr>
          <p:spPr bwMode="gray">
            <a:xfrm>
              <a:off x="580" y="1411"/>
              <a:ext cx="1437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" name="Line 241"/>
            <p:cNvSpPr>
              <a:spLocks noChangeShapeType="1"/>
            </p:cNvSpPr>
            <p:nvPr/>
          </p:nvSpPr>
          <p:spPr bwMode="gray">
            <a:xfrm>
              <a:off x="466" y="1554"/>
              <a:ext cx="1654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" name="Line 242"/>
            <p:cNvSpPr>
              <a:spLocks noChangeShapeType="1"/>
            </p:cNvSpPr>
            <p:nvPr/>
          </p:nvSpPr>
          <p:spPr bwMode="gray">
            <a:xfrm>
              <a:off x="350" y="1709"/>
              <a:ext cx="1834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" name="Line 243"/>
            <p:cNvSpPr>
              <a:spLocks noChangeShapeType="1"/>
            </p:cNvSpPr>
            <p:nvPr/>
          </p:nvSpPr>
          <p:spPr bwMode="gray">
            <a:xfrm>
              <a:off x="261" y="1865"/>
              <a:ext cx="2000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" name="Line 244"/>
            <p:cNvSpPr>
              <a:spLocks noChangeShapeType="1"/>
            </p:cNvSpPr>
            <p:nvPr/>
          </p:nvSpPr>
          <p:spPr bwMode="gray">
            <a:xfrm>
              <a:off x="235" y="2593"/>
              <a:ext cx="1079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" name="Line 245"/>
            <p:cNvSpPr>
              <a:spLocks noChangeShapeType="1"/>
            </p:cNvSpPr>
            <p:nvPr/>
          </p:nvSpPr>
          <p:spPr bwMode="gray">
            <a:xfrm>
              <a:off x="261" y="2761"/>
              <a:ext cx="976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" name="Line 246"/>
            <p:cNvSpPr>
              <a:spLocks noChangeShapeType="1"/>
            </p:cNvSpPr>
            <p:nvPr/>
          </p:nvSpPr>
          <p:spPr bwMode="gray">
            <a:xfrm>
              <a:off x="273" y="2903"/>
              <a:ext cx="875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" name="Line 247"/>
            <p:cNvSpPr>
              <a:spLocks noChangeShapeType="1"/>
            </p:cNvSpPr>
            <p:nvPr/>
          </p:nvSpPr>
          <p:spPr bwMode="gray">
            <a:xfrm>
              <a:off x="1476" y="2593"/>
              <a:ext cx="1067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" name="Line 248"/>
            <p:cNvSpPr>
              <a:spLocks noChangeShapeType="1"/>
            </p:cNvSpPr>
            <p:nvPr/>
          </p:nvSpPr>
          <p:spPr bwMode="gray">
            <a:xfrm>
              <a:off x="1515" y="2761"/>
              <a:ext cx="951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" name="Line 249"/>
            <p:cNvSpPr>
              <a:spLocks noChangeShapeType="1"/>
            </p:cNvSpPr>
            <p:nvPr/>
          </p:nvSpPr>
          <p:spPr bwMode="gray">
            <a:xfrm>
              <a:off x="1567" y="2903"/>
              <a:ext cx="848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" name="Line 250"/>
            <p:cNvSpPr>
              <a:spLocks noChangeShapeType="1"/>
            </p:cNvSpPr>
            <p:nvPr/>
          </p:nvSpPr>
          <p:spPr bwMode="gray">
            <a:xfrm>
              <a:off x="888" y="1151"/>
              <a:ext cx="1143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4" name="Line 251"/>
            <p:cNvSpPr>
              <a:spLocks noChangeShapeType="1"/>
            </p:cNvSpPr>
            <p:nvPr/>
          </p:nvSpPr>
          <p:spPr bwMode="gray">
            <a:xfrm>
              <a:off x="708" y="1294"/>
              <a:ext cx="1476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5" name="Line 252"/>
            <p:cNvSpPr>
              <a:spLocks noChangeShapeType="1"/>
            </p:cNvSpPr>
            <p:nvPr/>
          </p:nvSpPr>
          <p:spPr bwMode="gray">
            <a:xfrm>
              <a:off x="1041" y="1061"/>
              <a:ext cx="798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6" name="Freeform 253"/>
            <p:cNvSpPr>
              <a:spLocks/>
            </p:cNvSpPr>
            <p:nvPr/>
          </p:nvSpPr>
          <p:spPr bwMode="gray">
            <a:xfrm>
              <a:off x="4645" y="1190"/>
              <a:ext cx="424" cy="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3" y="103"/>
                </a:cxn>
                <a:cxn ang="0">
                  <a:pos x="380" y="230"/>
                </a:cxn>
              </a:cxnLst>
              <a:rect l="0" t="0" r="r" b="b"/>
              <a:pathLst>
                <a:path w="381" h="231">
                  <a:moveTo>
                    <a:pt x="0" y="0"/>
                  </a:moveTo>
                  <a:lnTo>
                    <a:pt x="173" y="103"/>
                  </a:lnTo>
                  <a:lnTo>
                    <a:pt x="380" y="23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7" name="Line 254"/>
            <p:cNvSpPr>
              <a:spLocks noChangeShapeType="1"/>
            </p:cNvSpPr>
            <p:nvPr/>
          </p:nvSpPr>
          <p:spPr bwMode="gray">
            <a:xfrm>
              <a:off x="2794" y="1151"/>
              <a:ext cx="1744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8" name="Freeform 255"/>
            <p:cNvSpPr>
              <a:spLocks/>
            </p:cNvSpPr>
            <p:nvPr/>
          </p:nvSpPr>
          <p:spPr bwMode="gray">
            <a:xfrm>
              <a:off x="2713" y="1035"/>
              <a:ext cx="296" cy="299"/>
            </a:xfrm>
            <a:custGeom>
              <a:avLst/>
              <a:gdLst/>
              <a:ahLst/>
              <a:cxnLst>
                <a:cxn ang="0">
                  <a:pos x="265" y="0"/>
                </a:cxn>
                <a:cxn ang="0">
                  <a:pos x="150" y="103"/>
                </a:cxn>
                <a:cxn ang="0">
                  <a:pos x="69" y="184"/>
                </a:cxn>
                <a:cxn ang="0">
                  <a:pos x="0" y="264"/>
                </a:cxn>
              </a:cxnLst>
              <a:rect l="0" t="0" r="r" b="b"/>
              <a:pathLst>
                <a:path w="266" h="265">
                  <a:moveTo>
                    <a:pt x="265" y="0"/>
                  </a:moveTo>
                  <a:lnTo>
                    <a:pt x="150" y="103"/>
                  </a:lnTo>
                  <a:lnTo>
                    <a:pt x="69" y="184"/>
                  </a:lnTo>
                  <a:lnTo>
                    <a:pt x="0" y="264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9" name="Freeform 256"/>
            <p:cNvSpPr>
              <a:spLocks/>
            </p:cNvSpPr>
            <p:nvPr/>
          </p:nvSpPr>
          <p:spPr bwMode="gray">
            <a:xfrm>
              <a:off x="4082" y="1035"/>
              <a:ext cx="1039" cy="22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92"/>
                </a:cxn>
                <a:cxn ang="0">
                  <a:pos x="242" y="161"/>
                </a:cxn>
                <a:cxn ang="0">
                  <a:pos x="311" y="218"/>
                </a:cxn>
                <a:cxn ang="0">
                  <a:pos x="426" y="310"/>
                </a:cxn>
                <a:cxn ang="0">
                  <a:pos x="587" y="460"/>
                </a:cxn>
                <a:cxn ang="0">
                  <a:pos x="736" y="597"/>
                </a:cxn>
                <a:cxn ang="0">
                  <a:pos x="851" y="735"/>
                </a:cxn>
                <a:cxn ang="0">
                  <a:pos x="920" y="862"/>
                </a:cxn>
                <a:cxn ang="0">
                  <a:pos x="920" y="977"/>
                </a:cxn>
                <a:cxn ang="0">
                  <a:pos x="932" y="1114"/>
                </a:cxn>
                <a:cxn ang="0">
                  <a:pos x="932" y="1241"/>
                </a:cxn>
                <a:cxn ang="0">
                  <a:pos x="920" y="1390"/>
                </a:cxn>
                <a:cxn ang="0">
                  <a:pos x="909" y="1517"/>
                </a:cxn>
                <a:cxn ang="0">
                  <a:pos x="897" y="1654"/>
                </a:cxn>
                <a:cxn ang="0">
                  <a:pos x="886" y="1758"/>
                </a:cxn>
                <a:cxn ang="0">
                  <a:pos x="874" y="1907"/>
                </a:cxn>
                <a:cxn ang="0">
                  <a:pos x="840" y="2022"/>
                </a:cxn>
              </a:cxnLst>
              <a:rect l="0" t="0" r="r" b="b"/>
              <a:pathLst>
                <a:path w="933" h="2023">
                  <a:moveTo>
                    <a:pt x="0" y="0"/>
                  </a:moveTo>
                  <a:lnTo>
                    <a:pt x="150" y="92"/>
                  </a:lnTo>
                  <a:lnTo>
                    <a:pt x="242" y="161"/>
                  </a:lnTo>
                  <a:lnTo>
                    <a:pt x="311" y="218"/>
                  </a:lnTo>
                  <a:lnTo>
                    <a:pt x="426" y="310"/>
                  </a:lnTo>
                  <a:lnTo>
                    <a:pt x="587" y="460"/>
                  </a:lnTo>
                  <a:lnTo>
                    <a:pt x="736" y="597"/>
                  </a:lnTo>
                  <a:lnTo>
                    <a:pt x="851" y="735"/>
                  </a:lnTo>
                  <a:lnTo>
                    <a:pt x="920" y="862"/>
                  </a:lnTo>
                  <a:lnTo>
                    <a:pt x="920" y="977"/>
                  </a:lnTo>
                  <a:lnTo>
                    <a:pt x="932" y="1114"/>
                  </a:lnTo>
                  <a:lnTo>
                    <a:pt x="932" y="1241"/>
                  </a:lnTo>
                  <a:lnTo>
                    <a:pt x="920" y="1390"/>
                  </a:lnTo>
                  <a:lnTo>
                    <a:pt x="909" y="1517"/>
                  </a:lnTo>
                  <a:lnTo>
                    <a:pt x="897" y="1654"/>
                  </a:lnTo>
                  <a:lnTo>
                    <a:pt x="886" y="1758"/>
                  </a:lnTo>
                  <a:lnTo>
                    <a:pt x="874" y="1907"/>
                  </a:lnTo>
                  <a:lnTo>
                    <a:pt x="840" y="2022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0" name="Freeform 257"/>
            <p:cNvSpPr>
              <a:spLocks/>
            </p:cNvSpPr>
            <p:nvPr/>
          </p:nvSpPr>
          <p:spPr bwMode="gray">
            <a:xfrm>
              <a:off x="4184" y="1047"/>
              <a:ext cx="1090" cy="22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8" y="81"/>
                </a:cxn>
                <a:cxn ang="0">
                  <a:pos x="230" y="161"/>
                </a:cxn>
                <a:cxn ang="0">
                  <a:pos x="322" y="230"/>
                </a:cxn>
                <a:cxn ang="0">
                  <a:pos x="437" y="322"/>
                </a:cxn>
                <a:cxn ang="0">
                  <a:pos x="587" y="449"/>
                </a:cxn>
                <a:cxn ang="0">
                  <a:pos x="748" y="575"/>
                </a:cxn>
                <a:cxn ang="0">
                  <a:pos x="886" y="713"/>
                </a:cxn>
                <a:cxn ang="0">
                  <a:pos x="955" y="862"/>
                </a:cxn>
                <a:cxn ang="0">
                  <a:pos x="966" y="989"/>
                </a:cxn>
                <a:cxn ang="0">
                  <a:pos x="978" y="1115"/>
                </a:cxn>
                <a:cxn ang="0">
                  <a:pos x="966" y="1241"/>
                </a:cxn>
                <a:cxn ang="0">
                  <a:pos x="943" y="1379"/>
                </a:cxn>
                <a:cxn ang="0">
                  <a:pos x="920" y="1506"/>
                </a:cxn>
                <a:cxn ang="0">
                  <a:pos x="897" y="1632"/>
                </a:cxn>
                <a:cxn ang="0">
                  <a:pos x="874" y="1770"/>
                </a:cxn>
                <a:cxn ang="0">
                  <a:pos x="840" y="1862"/>
                </a:cxn>
                <a:cxn ang="0">
                  <a:pos x="782" y="2011"/>
                </a:cxn>
              </a:cxnLst>
              <a:rect l="0" t="0" r="r" b="b"/>
              <a:pathLst>
                <a:path w="979" h="2012">
                  <a:moveTo>
                    <a:pt x="0" y="0"/>
                  </a:moveTo>
                  <a:lnTo>
                    <a:pt x="138" y="81"/>
                  </a:lnTo>
                  <a:lnTo>
                    <a:pt x="230" y="161"/>
                  </a:lnTo>
                  <a:lnTo>
                    <a:pt x="322" y="230"/>
                  </a:lnTo>
                  <a:lnTo>
                    <a:pt x="437" y="322"/>
                  </a:lnTo>
                  <a:lnTo>
                    <a:pt x="587" y="449"/>
                  </a:lnTo>
                  <a:lnTo>
                    <a:pt x="748" y="575"/>
                  </a:lnTo>
                  <a:lnTo>
                    <a:pt x="886" y="713"/>
                  </a:lnTo>
                  <a:lnTo>
                    <a:pt x="955" y="862"/>
                  </a:lnTo>
                  <a:lnTo>
                    <a:pt x="966" y="989"/>
                  </a:lnTo>
                  <a:lnTo>
                    <a:pt x="978" y="1115"/>
                  </a:lnTo>
                  <a:lnTo>
                    <a:pt x="966" y="1241"/>
                  </a:lnTo>
                  <a:lnTo>
                    <a:pt x="943" y="1379"/>
                  </a:lnTo>
                  <a:lnTo>
                    <a:pt x="920" y="1506"/>
                  </a:lnTo>
                  <a:lnTo>
                    <a:pt x="897" y="1632"/>
                  </a:lnTo>
                  <a:lnTo>
                    <a:pt x="874" y="1770"/>
                  </a:lnTo>
                  <a:lnTo>
                    <a:pt x="840" y="1862"/>
                  </a:lnTo>
                  <a:lnTo>
                    <a:pt x="782" y="2011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1" name="Freeform 258"/>
            <p:cNvSpPr>
              <a:spLocks/>
            </p:cNvSpPr>
            <p:nvPr/>
          </p:nvSpPr>
          <p:spPr bwMode="gray">
            <a:xfrm>
              <a:off x="4312" y="1087"/>
              <a:ext cx="1116" cy="22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" y="80"/>
                </a:cxn>
                <a:cxn ang="0">
                  <a:pos x="276" y="184"/>
                </a:cxn>
                <a:cxn ang="0">
                  <a:pos x="414" y="276"/>
                </a:cxn>
                <a:cxn ang="0">
                  <a:pos x="587" y="414"/>
                </a:cxn>
                <a:cxn ang="0">
                  <a:pos x="748" y="551"/>
                </a:cxn>
                <a:cxn ang="0">
                  <a:pos x="886" y="678"/>
                </a:cxn>
                <a:cxn ang="0">
                  <a:pos x="978" y="816"/>
                </a:cxn>
                <a:cxn ang="0">
                  <a:pos x="989" y="942"/>
                </a:cxn>
                <a:cxn ang="0">
                  <a:pos x="1001" y="1068"/>
                </a:cxn>
                <a:cxn ang="0">
                  <a:pos x="978" y="1195"/>
                </a:cxn>
                <a:cxn ang="0">
                  <a:pos x="943" y="1333"/>
                </a:cxn>
                <a:cxn ang="0">
                  <a:pos x="909" y="1471"/>
                </a:cxn>
                <a:cxn ang="0">
                  <a:pos x="874" y="1608"/>
                </a:cxn>
                <a:cxn ang="0">
                  <a:pos x="840" y="1735"/>
                </a:cxn>
                <a:cxn ang="0">
                  <a:pos x="782" y="1838"/>
                </a:cxn>
                <a:cxn ang="0">
                  <a:pos x="713" y="1953"/>
                </a:cxn>
              </a:cxnLst>
              <a:rect l="0" t="0" r="r" b="b"/>
              <a:pathLst>
                <a:path w="1002" h="1954">
                  <a:moveTo>
                    <a:pt x="0" y="0"/>
                  </a:moveTo>
                  <a:lnTo>
                    <a:pt x="127" y="80"/>
                  </a:lnTo>
                  <a:lnTo>
                    <a:pt x="276" y="184"/>
                  </a:lnTo>
                  <a:lnTo>
                    <a:pt x="414" y="276"/>
                  </a:lnTo>
                  <a:lnTo>
                    <a:pt x="587" y="414"/>
                  </a:lnTo>
                  <a:lnTo>
                    <a:pt x="748" y="551"/>
                  </a:lnTo>
                  <a:lnTo>
                    <a:pt x="886" y="678"/>
                  </a:lnTo>
                  <a:lnTo>
                    <a:pt x="978" y="816"/>
                  </a:lnTo>
                  <a:lnTo>
                    <a:pt x="989" y="942"/>
                  </a:lnTo>
                  <a:lnTo>
                    <a:pt x="1001" y="1068"/>
                  </a:lnTo>
                  <a:lnTo>
                    <a:pt x="978" y="1195"/>
                  </a:lnTo>
                  <a:lnTo>
                    <a:pt x="943" y="1333"/>
                  </a:lnTo>
                  <a:lnTo>
                    <a:pt x="909" y="1471"/>
                  </a:lnTo>
                  <a:lnTo>
                    <a:pt x="874" y="1608"/>
                  </a:lnTo>
                  <a:lnTo>
                    <a:pt x="840" y="1735"/>
                  </a:lnTo>
                  <a:lnTo>
                    <a:pt x="782" y="1838"/>
                  </a:lnTo>
                  <a:lnTo>
                    <a:pt x="713" y="1953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2" name="Freeform 259"/>
            <p:cNvSpPr>
              <a:spLocks/>
            </p:cNvSpPr>
            <p:nvPr/>
          </p:nvSpPr>
          <p:spPr bwMode="gray">
            <a:xfrm>
              <a:off x="3225" y="995"/>
              <a:ext cx="117" cy="2339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58"/>
                </a:cxn>
                <a:cxn ang="0">
                  <a:pos x="104" y="161"/>
                </a:cxn>
                <a:cxn ang="0">
                  <a:pos x="104" y="276"/>
                </a:cxn>
                <a:cxn ang="0">
                  <a:pos x="104" y="380"/>
                </a:cxn>
                <a:cxn ang="0">
                  <a:pos x="104" y="495"/>
                </a:cxn>
                <a:cxn ang="0">
                  <a:pos x="104" y="621"/>
                </a:cxn>
                <a:cxn ang="0">
                  <a:pos x="104" y="770"/>
                </a:cxn>
                <a:cxn ang="0">
                  <a:pos x="104" y="920"/>
                </a:cxn>
                <a:cxn ang="0">
                  <a:pos x="104" y="1023"/>
                </a:cxn>
                <a:cxn ang="0">
                  <a:pos x="104" y="1149"/>
                </a:cxn>
                <a:cxn ang="0">
                  <a:pos x="81" y="1276"/>
                </a:cxn>
                <a:cxn ang="0">
                  <a:pos x="81" y="1414"/>
                </a:cxn>
                <a:cxn ang="0">
                  <a:pos x="58" y="1563"/>
                </a:cxn>
                <a:cxn ang="0">
                  <a:pos x="46" y="1689"/>
                </a:cxn>
                <a:cxn ang="0">
                  <a:pos x="46" y="1816"/>
                </a:cxn>
                <a:cxn ang="0">
                  <a:pos x="23" y="1954"/>
                </a:cxn>
                <a:cxn ang="0">
                  <a:pos x="0" y="2069"/>
                </a:cxn>
              </a:cxnLst>
              <a:rect l="0" t="0" r="r" b="b"/>
              <a:pathLst>
                <a:path w="105" h="2070">
                  <a:moveTo>
                    <a:pt x="92" y="0"/>
                  </a:moveTo>
                  <a:lnTo>
                    <a:pt x="92" y="58"/>
                  </a:lnTo>
                  <a:lnTo>
                    <a:pt x="104" y="161"/>
                  </a:lnTo>
                  <a:lnTo>
                    <a:pt x="104" y="276"/>
                  </a:lnTo>
                  <a:lnTo>
                    <a:pt x="104" y="380"/>
                  </a:lnTo>
                  <a:lnTo>
                    <a:pt x="104" y="495"/>
                  </a:lnTo>
                  <a:lnTo>
                    <a:pt x="104" y="621"/>
                  </a:lnTo>
                  <a:lnTo>
                    <a:pt x="104" y="770"/>
                  </a:lnTo>
                  <a:lnTo>
                    <a:pt x="104" y="920"/>
                  </a:lnTo>
                  <a:lnTo>
                    <a:pt x="104" y="1023"/>
                  </a:lnTo>
                  <a:lnTo>
                    <a:pt x="104" y="1149"/>
                  </a:lnTo>
                  <a:lnTo>
                    <a:pt x="81" y="1276"/>
                  </a:lnTo>
                  <a:lnTo>
                    <a:pt x="81" y="1414"/>
                  </a:lnTo>
                  <a:lnTo>
                    <a:pt x="58" y="1563"/>
                  </a:lnTo>
                  <a:lnTo>
                    <a:pt x="46" y="1689"/>
                  </a:lnTo>
                  <a:lnTo>
                    <a:pt x="46" y="1816"/>
                  </a:lnTo>
                  <a:lnTo>
                    <a:pt x="23" y="1954"/>
                  </a:lnTo>
                  <a:lnTo>
                    <a:pt x="0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3" name="Freeform 260"/>
            <p:cNvSpPr>
              <a:spLocks/>
            </p:cNvSpPr>
            <p:nvPr/>
          </p:nvSpPr>
          <p:spPr bwMode="gray">
            <a:xfrm>
              <a:off x="3264" y="983"/>
              <a:ext cx="244" cy="235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03" y="57"/>
                </a:cxn>
                <a:cxn ang="0">
                  <a:pos x="126" y="149"/>
                </a:cxn>
                <a:cxn ang="0">
                  <a:pos x="149" y="264"/>
                </a:cxn>
                <a:cxn ang="0">
                  <a:pos x="161" y="368"/>
                </a:cxn>
                <a:cxn ang="0">
                  <a:pos x="184" y="494"/>
                </a:cxn>
                <a:cxn ang="0">
                  <a:pos x="195" y="632"/>
                </a:cxn>
                <a:cxn ang="0">
                  <a:pos x="218" y="781"/>
                </a:cxn>
                <a:cxn ang="0">
                  <a:pos x="218" y="908"/>
                </a:cxn>
                <a:cxn ang="0">
                  <a:pos x="218" y="1046"/>
                </a:cxn>
                <a:cxn ang="0">
                  <a:pos x="195" y="1172"/>
                </a:cxn>
                <a:cxn ang="0">
                  <a:pos x="184" y="1298"/>
                </a:cxn>
                <a:cxn ang="0">
                  <a:pos x="161" y="1436"/>
                </a:cxn>
                <a:cxn ang="0">
                  <a:pos x="138" y="1574"/>
                </a:cxn>
                <a:cxn ang="0">
                  <a:pos x="103" y="1700"/>
                </a:cxn>
                <a:cxn ang="0">
                  <a:pos x="80" y="1827"/>
                </a:cxn>
                <a:cxn ang="0">
                  <a:pos x="46" y="1953"/>
                </a:cxn>
                <a:cxn ang="0">
                  <a:pos x="0" y="2080"/>
                </a:cxn>
              </a:cxnLst>
              <a:rect l="0" t="0" r="r" b="b"/>
              <a:pathLst>
                <a:path w="219" h="2081">
                  <a:moveTo>
                    <a:pt x="80" y="0"/>
                  </a:moveTo>
                  <a:lnTo>
                    <a:pt x="103" y="57"/>
                  </a:lnTo>
                  <a:lnTo>
                    <a:pt x="126" y="149"/>
                  </a:lnTo>
                  <a:lnTo>
                    <a:pt x="149" y="264"/>
                  </a:lnTo>
                  <a:lnTo>
                    <a:pt x="161" y="368"/>
                  </a:lnTo>
                  <a:lnTo>
                    <a:pt x="184" y="494"/>
                  </a:lnTo>
                  <a:lnTo>
                    <a:pt x="195" y="632"/>
                  </a:lnTo>
                  <a:lnTo>
                    <a:pt x="218" y="781"/>
                  </a:lnTo>
                  <a:lnTo>
                    <a:pt x="218" y="908"/>
                  </a:lnTo>
                  <a:lnTo>
                    <a:pt x="218" y="1046"/>
                  </a:lnTo>
                  <a:lnTo>
                    <a:pt x="195" y="1172"/>
                  </a:lnTo>
                  <a:lnTo>
                    <a:pt x="184" y="1298"/>
                  </a:lnTo>
                  <a:lnTo>
                    <a:pt x="161" y="1436"/>
                  </a:lnTo>
                  <a:lnTo>
                    <a:pt x="138" y="1574"/>
                  </a:lnTo>
                  <a:lnTo>
                    <a:pt x="103" y="1700"/>
                  </a:lnTo>
                  <a:lnTo>
                    <a:pt x="80" y="1827"/>
                  </a:lnTo>
                  <a:lnTo>
                    <a:pt x="46" y="1953"/>
                  </a:lnTo>
                  <a:lnTo>
                    <a:pt x="0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4" name="Freeform 261"/>
            <p:cNvSpPr>
              <a:spLocks/>
            </p:cNvSpPr>
            <p:nvPr/>
          </p:nvSpPr>
          <p:spPr bwMode="gray">
            <a:xfrm>
              <a:off x="3302" y="983"/>
              <a:ext cx="334" cy="2351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104" y="69"/>
                </a:cxn>
                <a:cxn ang="0">
                  <a:pos x="150" y="149"/>
                </a:cxn>
                <a:cxn ang="0">
                  <a:pos x="196" y="264"/>
                </a:cxn>
                <a:cxn ang="0">
                  <a:pos x="230" y="391"/>
                </a:cxn>
                <a:cxn ang="0">
                  <a:pos x="253" y="506"/>
                </a:cxn>
                <a:cxn ang="0">
                  <a:pos x="276" y="632"/>
                </a:cxn>
                <a:cxn ang="0">
                  <a:pos x="288" y="781"/>
                </a:cxn>
                <a:cxn ang="0">
                  <a:pos x="299" y="908"/>
                </a:cxn>
                <a:cxn ang="0">
                  <a:pos x="299" y="1046"/>
                </a:cxn>
                <a:cxn ang="0">
                  <a:pos x="288" y="1172"/>
                </a:cxn>
                <a:cxn ang="0">
                  <a:pos x="265" y="1298"/>
                </a:cxn>
                <a:cxn ang="0">
                  <a:pos x="242" y="1425"/>
                </a:cxn>
                <a:cxn ang="0">
                  <a:pos x="207" y="1574"/>
                </a:cxn>
                <a:cxn ang="0">
                  <a:pos x="161" y="1712"/>
                </a:cxn>
                <a:cxn ang="0">
                  <a:pos x="127" y="1827"/>
                </a:cxn>
                <a:cxn ang="0">
                  <a:pos x="69" y="1953"/>
                </a:cxn>
                <a:cxn ang="0">
                  <a:pos x="0" y="2080"/>
                </a:cxn>
              </a:cxnLst>
              <a:rect l="0" t="0" r="r" b="b"/>
              <a:pathLst>
                <a:path w="300" h="2081">
                  <a:moveTo>
                    <a:pt x="69" y="0"/>
                  </a:moveTo>
                  <a:lnTo>
                    <a:pt x="104" y="69"/>
                  </a:lnTo>
                  <a:lnTo>
                    <a:pt x="150" y="149"/>
                  </a:lnTo>
                  <a:lnTo>
                    <a:pt x="196" y="264"/>
                  </a:lnTo>
                  <a:lnTo>
                    <a:pt x="230" y="391"/>
                  </a:lnTo>
                  <a:lnTo>
                    <a:pt x="253" y="506"/>
                  </a:lnTo>
                  <a:lnTo>
                    <a:pt x="276" y="632"/>
                  </a:lnTo>
                  <a:lnTo>
                    <a:pt x="288" y="781"/>
                  </a:lnTo>
                  <a:lnTo>
                    <a:pt x="299" y="908"/>
                  </a:lnTo>
                  <a:lnTo>
                    <a:pt x="299" y="1046"/>
                  </a:lnTo>
                  <a:lnTo>
                    <a:pt x="288" y="1172"/>
                  </a:lnTo>
                  <a:lnTo>
                    <a:pt x="265" y="1298"/>
                  </a:lnTo>
                  <a:lnTo>
                    <a:pt x="242" y="1425"/>
                  </a:lnTo>
                  <a:lnTo>
                    <a:pt x="207" y="1574"/>
                  </a:lnTo>
                  <a:lnTo>
                    <a:pt x="161" y="1712"/>
                  </a:lnTo>
                  <a:lnTo>
                    <a:pt x="127" y="1827"/>
                  </a:lnTo>
                  <a:lnTo>
                    <a:pt x="69" y="1953"/>
                  </a:lnTo>
                  <a:lnTo>
                    <a:pt x="0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5" name="Freeform 262"/>
            <p:cNvSpPr>
              <a:spLocks/>
            </p:cNvSpPr>
            <p:nvPr/>
          </p:nvSpPr>
          <p:spPr bwMode="gray">
            <a:xfrm>
              <a:off x="3379" y="969"/>
              <a:ext cx="410" cy="2339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81" y="69"/>
                </a:cxn>
                <a:cxn ang="0">
                  <a:pos x="138" y="173"/>
                </a:cxn>
                <a:cxn ang="0">
                  <a:pos x="196" y="253"/>
                </a:cxn>
                <a:cxn ang="0">
                  <a:pos x="242" y="357"/>
                </a:cxn>
                <a:cxn ang="0">
                  <a:pos x="288" y="483"/>
                </a:cxn>
                <a:cxn ang="0">
                  <a:pos x="322" y="632"/>
                </a:cxn>
                <a:cxn ang="0">
                  <a:pos x="345" y="793"/>
                </a:cxn>
                <a:cxn ang="0">
                  <a:pos x="368" y="920"/>
                </a:cxn>
                <a:cxn ang="0">
                  <a:pos x="368" y="1046"/>
                </a:cxn>
                <a:cxn ang="0">
                  <a:pos x="345" y="1184"/>
                </a:cxn>
                <a:cxn ang="0">
                  <a:pos x="322" y="1310"/>
                </a:cxn>
                <a:cxn ang="0">
                  <a:pos x="288" y="1448"/>
                </a:cxn>
                <a:cxn ang="0">
                  <a:pos x="242" y="1575"/>
                </a:cxn>
                <a:cxn ang="0">
                  <a:pos x="184" y="1712"/>
                </a:cxn>
                <a:cxn ang="0">
                  <a:pos x="127" y="1839"/>
                </a:cxn>
                <a:cxn ang="0">
                  <a:pos x="69" y="1942"/>
                </a:cxn>
                <a:cxn ang="0">
                  <a:pos x="0" y="2069"/>
                </a:cxn>
              </a:cxnLst>
              <a:rect l="0" t="0" r="r" b="b"/>
              <a:pathLst>
                <a:path w="369" h="2070">
                  <a:moveTo>
                    <a:pt x="23" y="0"/>
                  </a:moveTo>
                  <a:lnTo>
                    <a:pt x="81" y="69"/>
                  </a:lnTo>
                  <a:lnTo>
                    <a:pt x="138" y="173"/>
                  </a:lnTo>
                  <a:lnTo>
                    <a:pt x="196" y="253"/>
                  </a:lnTo>
                  <a:lnTo>
                    <a:pt x="242" y="357"/>
                  </a:lnTo>
                  <a:lnTo>
                    <a:pt x="288" y="483"/>
                  </a:lnTo>
                  <a:lnTo>
                    <a:pt x="322" y="632"/>
                  </a:lnTo>
                  <a:lnTo>
                    <a:pt x="345" y="793"/>
                  </a:lnTo>
                  <a:lnTo>
                    <a:pt x="368" y="920"/>
                  </a:lnTo>
                  <a:lnTo>
                    <a:pt x="368" y="1046"/>
                  </a:lnTo>
                  <a:lnTo>
                    <a:pt x="345" y="1184"/>
                  </a:lnTo>
                  <a:lnTo>
                    <a:pt x="322" y="1310"/>
                  </a:lnTo>
                  <a:lnTo>
                    <a:pt x="288" y="1448"/>
                  </a:lnTo>
                  <a:lnTo>
                    <a:pt x="242" y="1575"/>
                  </a:lnTo>
                  <a:lnTo>
                    <a:pt x="184" y="1712"/>
                  </a:lnTo>
                  <a:lnTo>
                    <a:pt x="127" y="1839"/>
                  </a:lnTo>
                  <a:lnTo>
                    <a:pt x="69" y="1942"/>
                  </a:lnTo>
                  <a:lnTo>
                    <a:pt x="0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6" name="Freeform 263"/>
            <p:cNvSpPr>
              <a:spLocks/>
            </p:cNvSpPr>
            <p:nvPr/>
          </p:nvSpPr>
          <p:spPr bwMode="gray">
            <a:xfrm>
              <a:off x="3430" y="969"/>
              <a:ext cx="500" cy="2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9" y="69"/>
                </a:cxn>
                <a:cxn ang="0">
                  <a:pos x="150" y="161"/>
                </a:cxn>
                <a:cxn ang="0">
                  <a:pos x="207" y="265"/>
                </a:cxn>
                <a:cxn ang="0">
                  <a:pos x="265" y="368"/>
                </a:cxn>
                <a:cxn ang="0">
                  <a:pos x="322" y="495"/>
                </a:cxn>
                <a:cxn ang="0">
                  <a:pos x="379" y="632"/>
                </a:cxn>
                <a:cxn ang="0">
                  <a:pos x="425" y="805"/>
                </a:cxn>
                <a:cxn ang="0">
                  <a:pos x="437" y="920"/>
                </a:cxn>
                <a:cxn ang="0">
                  <a:pos x="448" y="1046"/>
                </a:cxn>
                <a:cxn ang="0">
                  <a:pos x="425" y="1172"/>
                </a:cxn>
                <a:cxn ang="0">
                  <a:pos x="391" y="1310"/>
                </a:cxn>
                <a:cxn ang="0">
                  <a:pos x="345" y="1460"/>
                </a:cxn>
                <a:cxn ang="0">
                  <a:pos x="276" y="1597"/>
                </a:cxn>
                <a:cxn ang="0">
                  <a:pos x="219" y="1724"/>
                </a:cxn>
                <a:cxn ang="0">
                  <a:pos x="138" y="1850"/>
                </a:cxn>
                <a:cxn ang="0">
                  <a:pos x="69" y="1965"/>
                </a:cxn>
                <a:cxn ang="0">
                  <a:pos x="0" y="2046"/>
                </a:cxn>
              </a:cxnLst>
              <a:rect l="0" t="0" r="r" b="b"/>
              <a:pathLst>
                <a:path w="449" h="2047">
                  <a:moveTo>
                    <a:pt x="0" y="0"/>
                  </a:moveTo>
                  <a:lnTo>
                    <a:pt x="69" y="69"/>
                  </a:lnTo>
                  <a:lnTo>
                    <a:pt x="150" y="161"/>
                  </a:lnTo>
                  <a:lnTo>
                    <a:pt x="207" y="265"/>
                  </a:lnTo>
                  <a:lnTo>
                    <a:pt x="265" y="368"/>
                  </a:lnTo>
                  <a:lnTo>
                    <a:pt x="322" y="495"/>
                  </a:lnTo>
                  <a:lnTo>
                    <a:pt x="379" y="632"/>
                  </a:lnTo>
                  <a:lnTo>
                    <a:pt x="425" y="805"/>
                  </a:lnTo>
                  <a:lnTo>
                    <a:pt x="437" y="920"/>
                  </a:lnTo>
                  <a:lnTo>
                    <a:pt x="448" y="1046"/>
                  </a:lnTo>
                  <a:lnTo>
                    <a:pt x="425" y="1172"/>
                  </a:lnTo>
                  <a:lnTo>
                    <a:pt x="391" y="1310"/>
                  </a:lnTo>
                  <a:lnTo>
                    <a:pt x="345" y="1460"/>
                  </a:lnTo>
                  <a:lnTo>
                    <a:pt x="276" y="1597"/>
                  </a:lnTo>
                  <a:lnTo>
                    <a:pt x="219" y="1724"/>
                  </a:lnTo>
                  <a:lnTo>
                    <a:pt x="138" y="1850"/>
                  </a:lnTo>
                  <a:lnTo>
                    <a:pt x="69" y="1965"/>
                  </a:lnTo>
                  <a:lnTo>
                    <a:pt x="0" y="2046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7" name="Freeform 264"/>
            <p:cNvSpPr>
              <a:spLocks/>
            </p:cNvSpPr>
            <p:nvPr/>
          </p:nvSpPr>
          <p:spPr bwMode="gray">
            <a:xfrm>
              <a:off x="3469" y="969"/>
              <a:ext cx="602" cy="14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" y="92"/>
                </a:cxn>
                <a:cxn ang="0">
                  <a:pos x="184" y="184"/>
                </a:cxn>
                <a:cxn ang="0">
                  <a:pos x="276" y="276"/>
                </a:cxn>
                <a:cxn ang="0">
                  <a:pos x="356" y="380"/>
                </a:cxn>
                <a:cxn ang="0">
                  <a:pos x="425" y="506"/>
                </a:cxn>
                <a:cxn ang="0">
                  <a:pos x="482" y="632"/>
                </a:cxn>
                <a:cxn ang="0">
                  <a:pos x="528" y="805"/>
                </a:cxn>
                <a:cxn ang="0">
                  <a:pos x="540" y="931"/>
                </a:cxn>
                <a:cxn ang="0">
                  <a:pos x="540" y="1058"/>
                </a:cxn>
                <a:cxn ang="0">
                  <a:pos x="517" y="1241"/>
                </a:cxn>
              </a:cxnLst>
              <a:rect l="0" t="0" r="r" b="b"/>
              <a:pathLst>
                <a:path w="541" h="1242">
                  <a:moveTo>
                    <a:pt x="0" y="0"/>
                  </a:moveTo>
                  <a:lnTo>
                    <a:pt x="103" y="92"/>
                  </a:lnTo>
                  <a:lnTo>
                    <a:pt x="184" y="184"/>
                  </a:lnTo>
                  <a:lnTo>
                    <a:pt x="276" y="276"/>
                  </a:lnTo>
                  <a:lnTo>
                    <a:pt x="356" y="380"/>
                  </a:lnTo>
                  <a:lnTo>
                    <a:pt x="425" y="506"/>
                  </a:lnTo>
                  <a:lnTo>
                    <a:pt x="482" y="632"/>
                  </a:lnTo>
                  <a:lnTo>
                    <a:pt x="528" y="805"/>
                  </a:lnTo>
                  <a:lnTo>
                    <a:pt x="540" y="931"/>
                  </a:lnTo>
                  <a:lnTo>
                    <a:pt x="540" y="1058"/>
                  </a:lnTo>
                  <a:lnTo>
                    <a:pt x="517" y="1241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8" name="Freeform 265"/>
            <p:cNvSpPr>
              <a:spLocks/>
            </p:cNvSpPr>
            <p:nvPr/>
          </p:nvSpPr>
          <p:spPr bwMode="gray">
            <a:xfrm>
              <a:off x="3520" y="969"/>
              <a:ext cx="1242" cy="23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" y="69"/>
                </a:cxn>
                <a:cxn ang="0">
                  <a:pos x="195" y="150"/>
                </a:cxn>
                <a:cxn ang="0">
                  <a:pos x="321" y="276"/>
                </a:cxn>
                <a:cxn ang="0">
                  <a:pos x="413" y="391"/>
                </a:cxn>
                <a:cxn ang="0">
                  <a:pos x="494" y="518"/>
                </a:cxn>
                <a:cxn ang="0">
                  <a:pos x="551" y="655"/>
                </a:cxn>
                <a:cxn ang="0">
                  <a:pos x="597" y="793"/>
                </a:cxn>
                <a:cxn ang="0">
                  <a:pos x="620" y="931"/>
                </a:cxn>
                <a:cxn ang="0">
                  <a:pos x="632" y="1046"/>
                </a:cxn>
                <a:cxn ang="0">
                  <a:pos x="643" y="1172"/>
                </a:cxn>
                <a:cxn ang="0">
                  <a:pos x="666" y="1299"/>
                </a:cxn>
                <a:cxn ang="0">
                  <a:pos x="712" y="1448"/>
                </a:cxn>
                <a:cxn ang="0">
                  <a:pos x="781" y="1586"/>
                </a:cxn>
                <a:cxn ang="0">
                  <a:pos x="850" y="1712"/>
                </a:cxn>
                <a:cxn ang="0">
                  <a:pos x="919" y="1827"/>
                </a:cxn>
                <a:cxn ang="0">
                  <a:pos x="1011" y="1954"/>
                </a:cxn>
                <a:cxn ang="0">
                  <a:pos x="1115" y="2069"/>
                </a:cxn>
              </a:cxnLst>
              <a:rect l="0" t="0" r="r" b="b"/>
              <a:pathLst>
                <a:path w="1116" h="2070">
                  <a:moveTo>
                    <a:pt x="0" y="0"/>
                  </a:moveTo>
                  <a:lnTo>
                    <a:pt x="103" y="69"/>
                  </a:lnTo>
                  <a:lnTo>
                    <a:pt x="195" y="150"/>
                  </a:lnTo>
                  <a:lnTo>
                    <a:pt x="321" y="276"/>
                  </a:lnTo>
                  <a:lnTo>
                    <a:pt x="413" y="391"/>
                  </a:lnTo>
                  <a:lnTo>
                    <a:pt x="494" y="518"/>
                  </a:lnTo>
                  <a:lnTo>
                    <a:pt x="551" y="655"/>
                  </a:lnTo>
                  <a:lnTo>
                    <a:pt x="597" y="793"/>
                  </a:lnTo>
                  <a:lnTo>
                    <a:pt x="620" y="931"/>
                  </a:lnTo>
                  <a:lnTo>
                    <a:pt x="632" y="1046"/>
                  </a:lnTo>
                  <a:lnTo>
                    <a:pt x="643" y="1172"/>
                  </a:lnTo>
                  <a:lnTo>
                    <a:pt x="666" y="1299"/>
                  </a:lnTo>
                  <a:lnTo>
                    <a:pt x="712" y="1448"/>
                  </a:lnTo>
                  <a:lnTo>
                    <a:pt x="781" y="1586"/>
                  </a:lnTo>
                  <a:lnTo>
                    <a:pt x="850" y="1712"/>
                  </a:lnTo>
                  <a:lnTo>
                    <a:pt x="919" y="1827"/>
                  </a:lnTo>
                  <a:lnTo>
                    <a:pt x="1011" y="1954"/>
                  </a:lnTo>
                  <a:lnTo>
                    <a:pt x="1115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9" name="Freeform 266"/>
            <p:cNvSpPr>
              <a:spLocks/>
            </p:cNvSpPr>
            <p:nvPr/>
          </p:nvSpPr>
          <p:spPr bwMode="gray">
            <a:xfrm>
              <a:off x="3597" y="983"/>
              <a:ext cx="1242" cy="23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80"/>
                </a:cxn>
                <a:cxn ang="0">
                  <a:pos x="252" y="172"/>
                </a:cxn>
                <a:cxn ang="0">
                  <a:pos x="379" y="299"/>
                </a:cxn>
                <a:cxn ang="0">
                  <a:pos x="471" y="414"/>
                </a:cxn>
                <a:cxn ang="0">
                  <a:pos x="551" y="540"/>
                </a:cxn>
                <a:cxn ang="0">
                  <a:pos x="620" y="678"/>
                </a:cxn>
                <a:cxn ang="0">
                  <a:pos x="666" y="804"/>
                </a:cxn>
                <a:cxn ang="0">
                  <a:pos x="689" y="942"/>
                </a:cxn>
                <a:cxn ang="0">
                  <a:pos x="701" y="1057"/>
                </a:cxn>
                <a:cxn ang="0">
                  <a:pos x="701" y="1183"/>
                </a:cxn>
                <a:cxn ang="0">
                  <a:pos x="735" y="1321"/>
                </a:cxn>
                <a:cxn ang="0">
                  <a:pos x="781" y="1459"/>
                </a:cxn>
                <a:cxn ang="0">
                  <a:pos x="827" y="1574"/>
                </a:cxn>
                <a:cxn ang="0">
                  <a:pos x="873" y="1700"/>
                </a:cxn>
                <a:cxn ang="0">
                  <a:pos x="931" y="1815"/>
                </a:cxn>
                <a:cxn ang="0">
                  <a:pos x="1000" y="1930"/>
                </a:cxn>
                <a:cxn ang="0">
                  <a:pos x="1115" y="2068"/>
                </a:cxn>
              </a:cxnLst>
              <a:rect l="0" t="0" r="r" b="b"/>
              <a:pathLst>
                <a:path w="1116" h="2069">
                  <a:moveTo>
                    <a:pt x="0" y="0"/>
                  </a:moveTo>
                  <a:lnTo>
                    <a:pt x="149" y="80"/>
                  </a:lnTo>
                  <a:lnTo>
                    <a:pt x="252" y="172"/>
                  </a:lnTo>
                  <a:lnTo>
                    <a:pt x="379" y="299"/>
                  </a:lnTo>
                  <a:lnTo>
                    <a:pt x="471" y="414"/>
                  </a:lnTo>
                  <a:lnTo>
                    <a:pt x="551" y="540"/>
                  </a:lnTo>
                  <a:lnTo>
                    <a:pt x="620" y="678"/>
                  </a:lnTo>
                  <a:lnTo>
                    <a:pt x="666" y="804"/>
                  </a:lnTo>
                  <a:lnTo>
                    <a:pt x="689" y="942"/>
                  </a:lnTo>
                  <a:lnTo>
                    <a:pt x="701" y="1057"/>
                  </a:lnTo>
                  <a:lnTo>
                    <a:pt x="701" y="1183"/>
                  </a:lnTo>
                  <a:lnTo>
                    <a:pt x="735" y="1321"/>
                  </a:lnTo>
                  <a:lnTo>
                    <a:pt x="781" y="1459"/>
                  </a:lnTo>
                  <a:lnTo>
                    <a:pt x="827" y="1574"/>
                  </a:lnTo>
                  <a:lnTo>
                    <a:pt x="873" y="1700"/>
                  </a:lnTo>
                  <a:lnTo>
                    <a:pt x="931" y="1815"/>
                  </a:lnTo>
                  <a:lnTo>
                    <a:pt x="1000" y="1930"/>
                  </a:lnTo>
                  <a:lnTo>
                    <a:pt x="1115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0" name="Freeform 267"/>
            <p:cNvSpPr>
              <a:spLocks/>
            </p:cNvSpPr>
            <p:nvPr/>
          </p:nvSpPr>
          <p:spPr bwMode="gray">
            <a:xfrm>
              <a:off x="2086" y="1021"/>
              <a:ext cx="974" cy="2325"/>
            </a:xfrm>
            <a:custGeom>
              <a:avLst/>
              <a:gdLst/>
              <a:ahLst/>
              <a:cxnLst>
                <a:cxn ang="0">
                  <a:pos x="874" y="0"/>
                </a:cxn>
                <a:cxn ang="0">
                  <a:pos x="782" y="92"/>
                </a:cxn>
                <a:cxn ang="0">
                  <a:pos x="678" y="230"/>
                </a:cxn>
                <a:cxn ang="0">
                  <a:pos x="598" y="345"/>
                </a:cxn>
                <a:cxn ang="0">
                  <a:pos x="517" y="483"/>
                </a:cxn>
                <a:cxn ang="0">
                  <a:pos x="460" y="609"/>
                </a:cxn>
                <a:cxn ang="0">
                  <a:pos x="391" y="747"/>
                </a:cxn>
                <a:cxn ang="0">
                  <a:pos x="345" y="874"/>
                </a:cxn>
                <a:cxn ang="0">
                  <a:pos x="333" y="1000"/>
                </a:cxn>
                <a:cxn ang="0">
                  <a:pos x="310" y="1126"/>
                </a:cxn>
                <a:cxn ang="0">
                  <a:pos x="287" y="1264"/>
                </a:cxn>
                <a:cxn ang="0">
                  <a:pos x="253" y="1402"/>
                </a:cxn>
                <a:cxn ang="0">
                  <a:pos x="218" y="1540"/>
                </a:cxn>
                <a:cxn ang="0">
                  <a:pos x="184" y="1666"/>
                </a:cxn>
                <a:cxn ang="0">
                  <a:pos x="149" y="1793"/>
                </a:cxn>
                <a:cxn ang="0">
                  <a:pos x="103" y="1885"/>
                </a:cxn>
                <a:cxn ang="0">
                  <a:pos x="57" y="1965"/>
                </a:cxn>
                <a:cxn ang="0">
                  <a:pos x="0" y="2057"/>
                </a:cxn>
              </a:cxnLst>
              <a:rect l="0" t="0" r="r" b="b"/>
              <a:pathLst>
                <a:path w="875" h="2058">
                  <a:moveTo>
                    <a:pt x="874" y="0"/>
                  </a:moveTo>
                  <a:lnTo>
                    <a:pt x="782" y="92"/>
                  </a:lnTo>
                  <a:lnTo>
                    <a:pt x="678" y="230"/>
                  </a:lnTo>
                  <a:lnTo>
                    <a:pt x="598" y="345"/>
                  </a:lnTo>
                  <a:lnTo>
                    <a:pt x="517" y="483"/>
                  </a:lnTo>
                  <a:lnTo>
                    <a:pt x="460" y="609"/>
                  </a:lnTo>
                  <a:lnTo>
                    <a:pt x="391" y="747"/>
                  </a:lnTo>
                  <a:lnTo>
                    <a:pt x="345" y="874"/>
                  </a:lnTo>
                  <a:lnTo>
                    <a:pt x="333" y="1000"/>
                  </a:lnTo>
                  <a:lnTo>
                    <a:pt x="310" y="1126"/>
                  </a:lnTo>
                  <a:lnTo>
                    <a:pt x="287" y="1264"/>
                  </a:lnTo>
                  <a:lnTo>
                    <a:pt x="253" y="1402"/>
                  </a:lnTo>
                  <a:lnTo>
                    <a:pt x="218" y="1540"/>
                  </a:lnTo>
                  <a:lnTo>
                    <a:pt x="184" y="1666"/>
                  </a:lnTo>
                  <a:lnTo>
                    <a:pt x="149" y="1793"/>
                  </a:lnTo>
                  <a:lnTo>
                    <a:pt x="103" y="1885"/>
                  </a:lnTo>
                  <a:lnTo>
                    <a:pt x="57" y="1965"/>
                  </a:lnTo>
                  <a:lnTo>
                    <a:pt x="0" y="2057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1" name="Freeform 268"/>
            <p:cNvSpPr>
              <a:spLocks/>
            </p:cNvSpPr>
            <p:nvPr/>
          </p:nvSpPr>
          <p:spPr bwMode="gray">
            <a:xfrm>
              <a:off x="2598" y="983"/>
              <a:ext cx="551" cy="1351"/>
            </a:xfrm>
            <a:custGeom>
              <a:avLst/>
              <a:gdLst/>
              <a:ahLst/>
              <a:cxnLst>
                <a:cxn ang="0">
                  <a:pos x="494" y="0"/>
                </a:cxn>
                <a:cxn ang="0">
                  <a:pos x="368" y="161"/>
                </a:cxn>
                <a:cxn ang="0">
                  <a:pos x="287" y="276"/>
                </a:cxn>
                <a:cxn ang="0">
                  <a:pos x="230" y="379"/>
                </a:cxn>
                <a:cxn ang="0">
                  <a:pos x="161" y="506"/>
                </a:cxn>
                <a:cxn ang="0">
                  <a:pos x="103" y="655"/>
                </a:cxn>
                <a:cxn ang="0">
                  <a:pos x="46" y="781"/>
                </a:cxn>
                <a:cxn ang="0">
                  <a:pos x="11" y="919"/>
                </a:cxn>
                <a:cxn ang="0">
                  <a:pos x="0" y="1023"/>
                </a:cxn>
                <a:cxn ang="0">
                  <a:pos x="0" y="1195"/>
                </a:cxn>
              </a:cxnLst>
              <a:rect l="0" t="0" r="r" b="b"/>
              <a:pathLst>
                <a:path w="495" h="1196">
                  <a:moveTo>
                    <a:pt x="494" y="0"/>
                  </a:moveTo>
                  <a:lnTo>
                    <a:pt x="368" y="161"/>
                  </a:lnTo>
                  <a:lnTo>
                    <a:pt x="287" y="276"/>
                  </a:lnTo>
                  <a:lnTo>
                    <a:pt x="230" y="379"/>
                  </a:lnTo>
                  <a:lnTo>
                    <a:pt x="161" y="506"/>
                  </a:lnTo>
                  <a:lnTo>
                    <a:pt x="103" y="655"/>
                  </a:lnTo>
                  <a:lnTo>
                    <a:pt x="46" y="781"/>
                  </a:lnTo>
                  <a:lnTo>
                    <a:pt x="11" y="919"/>
                  </a:lnTo>
                  <a:lnTo>
                    <a:pt x="0" y="1023"/>
                  </a:lnTo>
                  <a:lnTo>
                    <a:pt x="0" y="1195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2" name="Freeform 269"/>
            <p:cNvSpPr>
              <a:spLocks/>
            </p:cNvSpPr>
            <p:nvPr/>
          </p:nvSpPr>
          <p:spPr bwMode="gray">
            <a:xfrm>
              <a:off x="2752" y="983"/>
              <a:ext cx="449" cy="2337"/>
            </a:xfrm>
            <a:custGeom>
              <a:avLst/>
              <a:gdLst/>
              <a:ahLst/>
              <a:cxnLst>
                <a:cxn ang="0">
                  <a:pos x="402" y="0"/>
                </a:cxn>
                <a:cxn ang="0">
                  <a:pos x="368" y="57"/>
                </a:cxn>
                <a:cxn ang="0">
                  <a:pos x="299" y="149"/>
                </a:cxn>
                <a:cxn ang="0">
                  <a:pos x="230" y="264"/>
                </a:cxn>
                <a:cxn ang="0">
                  <a:pos x="161" y="379"/>
                </a:cxn>
                <a:cxn ang="0">
                  <a:pos x="115" y="517"/>
                </a:cxn>
                <a:cxn ang="0">
                  <a:pos x="69" y="655"/>
                </a:cxn>
                <a:cxn ang="0">
                  <a:pos x="23" y="781"/>
                </a:cxn>
                <a:cxn ang="0">
                  <a:pos x="11" y="896"/>
                </a:cxn>
                <a:cxn ang="0">
                  <a:pos x="0" y="1034"/>
                </a:cxn>
                <a:cxn ang="0">
                  <a:pos x="0" y="1160"/>
                </a:cxn>
                <a:cxn ang="0">
                  <a:pos x="11" y="1287"/>
                </a:cxn>
                <a:cxn ang="0">
                  <a:pos x="46" y="1436"/>
                </a:cxn>
                <a:cxn ang="0">
                  <a:pos x="80" y="1563"/>
                </a:cxn>
                <a:cxn ang="0">
                  <a:pos x="115" y="1712"/>
                </a:cxn>
                <a:cxn ang="0">
                  <a:pos x="161" y="1827"/>
                </a:cxn>
                <a:cxn ang="0">
                  <a:pos x="207" y="1930"/>
                </a:cxn>
                <a:cxn ang="0">
                  <a:pos x="276" y="2068"/>
                </a:cxn>
              </a:cxnLst>
              <a:rect l="0" t="0" r="r" b="b"/>
              <a:pathLst>
                <a:path w="403" h="2069">
                  <a:moveTo>
                    <a:pt x="402" y="0"/>
                  </a:moveTo>
                  <a:lnTo>
                    <a:pt x="368" y="57"/>
                  </a:lnTo>
                  <a:lnTo>
                    <a:pt x="299" y="149"/>
                  </a:lnTo>
                  <a:lnTo>
                    <a:pt x="230" y="264"/>
                  </a:lnTo>
                  <a:lnTo>
                    <a:pt x="161" y="379"/>
                  </a:lnTo>
                  <a:lnTo>
                    <a:pt x="115" y="517"/>
                  </a:lnTo>
                  <a:lnTo>
                    <a:pt x="69" y="655"/>
                  </a:lnTo>
                  <a:lnTo>
                    <a:pt x="23" y="781"/>
                  </a:lnTo>
                  <a:lnTo>
                    <a:pt x="11" y="896"/>
                  </a:lnTo>
                  <a:lnTo>
                    <a:pt x="0" y="1034"/>
                  </a:lnTo>
                  <a:lnTo>
                    <a:pt x="0" y="1160"/>
                  </a:lnTo>
                  <a:lnTo>
                    <a:pt x="11" y="1287"/>
                  </a:lnTo>
                  <a:lnTo>
                    <a:pt x="46" y="1436"/>
                  </a:lnTo>
                  <a:lnTo>
                    <a:pt x="80" y="1563"/>
                  </a:lnTo>
                  <a:lnTo>
                    <a:pt x="115" y="1712"/>
                  </a:lnTo>
                  <a:lnTo>
                    <a:pt x="161" y="1827"/>
                  </a:lnTo>
                  <a:lnTo>
                    <a:pt x="207" y="1930"/>
                  </a:lnTo>
                  <a:lnTo>
                    <a:pt x="276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3" name="Freeform 270"/>
            <p:cNvSpPr>
              <a:spLocks/>
            </p:cNvSpPr>
            <p:nvPr/>
          </p:nvSpPr>
          <p:spPr bwMode="gray">
            <a:xfrm>
              <a:off x="2892" y="983"/>
              <a:ext cx="373" cy="2337"/>
            </a:xfrm>
            <a:custGeom>
              <a:avLst/>
              <a:gdLst/>
              <a:ahLst/>
              <a:cxnLst>
                <a:cxn ang="0">
                  <a:pos x="334" y="0"/>
                </a:cxn>
                <a:cxn ang="0">
                  <a:pos x="288" y="57"/>
                </a:cxn>
                <a:cxn ang="0">
                  <a:pos x="230" y="149"/>
                </a:cxn>
                <a:cxn ang="0">
                  <a:pos x="161" y="276"/>
                </a:cxn>
                <a:cxn ang="0">
                  <a:pos x="127" y="391"/>
                </a:cxn>
                <a:cxn ang="0">
                  <a:pos x="92" y="517"/>
                </a:cxn>
                <a:cxn ang="0">
                  <a:pos x="58" y="643"/>
                </a:cxn>
                <a:cxn ang="0">
                  <a:pos x="35" y="770"/>
                </a:cxn>
                <a:cxn ang="0">
                  <a:pos x="12" y="896"/>
                </a:cxn>
                <a:cxn ang="0">
                  <a:pos x="0" y="1034"/>
                </a:cxn>
                <a:cxn ang="0">
                  <a:pos x="0" y="1149"/>
                </a:cxn>
                <a:cxn ang="0">
                  <a:pos x="12" y="1298"/>
                </a:cxn>
                <a:cxn ang="0">
                  <a:pos x="35" y="1436"/>
                </a:cxn>
                <a:cxn ang="0">
                  <a:pos x="58" y="1563"/>
                </a:cxn>
                <a:cxn ang="0">
                  <a:pos x="81" y="1700"/>
                </a:cxn>
                <a:cxn ang="0">
                  <a:pos x="115" y="1815"/>
                </a:cxn>
                <a:cxn ang="0">
                  <a:pos x="138" y="1930"/>
                </a:cxn>
                <a:cxn ang="0">
                  <a:pos x="184" y="2068"/>
                </a:cxn>
              </a:cxnLst>
              <a:rect l="0" t="0" r="r" b="b"/>
              <a:pathLst>
                <a:path w="335" h="2069">
                  <a:moveTo>
                    <a:pt x="334" y="0"/>
                  </a:moveTo>
                  <a:lnTo>
                    <a:pt x="288" y="57"/>
                  </a:lnTo>
                  <a:lnTo>
                    <a:pt x="230" y="149"/>
                  </a:lnTo>
                  <a:lnTo>
                    <a:pt x="161" y="276"/>
                  </a:lnTo>
                  <a:lnTo>
                    <a:pt x="127" y="391"/>
                  </a:lnTo>
                  <a:lnTo>
                    <a:pt x="92" y="517"/>
                  </a:lnTo>
                  <a:lnTo>
                    <a:pt x="58" y="643"/>
                  </a:lnTo>
                  <a:lnTo>
                    <a:pt x="35" y="770"/>
                  </a:lnTo>
                  <a:lnTo>
                    <a:pt x="12" y="896"/>
                  </a:lnTo>
                  <a:lnTo>
                    <a:pt x="0" y="1034"/>
                  </a:lnTo>
                  <a:lnTo>
                    <a:pt x="0" y="1149"/>
                  </a:lnTo>
                  <a:lnTo>
                    <a:pt x="12" y="1298"/>
                  </a:lnTo>
                  <a:lnTo>
                    <a:pt x="35" y="1436"/>
                  </a:lnTo>
                  <a:lnTo>
                    <a:pt x="58" y="1563"/>
                  </a:lnTo>
                  <a:lnTo>
                    <a:pt x="81" y="1700"/>
                  </a:lnTo>
                  <a:lnTo>
                    <a:pt x="115" y="1815"/>
                  </a:lnTo>
                  <a:lnTo>
                    <a:pt x="138" y="1930"/>
                  </a:lnTo>
                  <a:lnTo>
                    <a:pt x="184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4" name="Freeform 271"/>
            <p:cNvSpPr>
              <a:spLocks/>
            </p:cNvSpPr>
            <p:nvPr/>
          </p:nvSpPr>
          <p:spPr bwMode="gray">
            <a:xfrm>
              <a:off x="3046" y="983"/>
              <a:ext cx="245" cy="2337"/>
            </a:xfrm>
            <a:custGeom>
              <a:avLst/>
              <a:gdLst/>
              <a:ahLst/>
              <a:cxnLst>
                <a:cxn ang="0">
                  <a:pos x="219" y="0"/>
                </a:cxn>
                <a:cxn ang="0">
                  <a:pos x="184" y="57"/>
                </a:cxn>
                <a:cxn ang="0">
                  <a:pos x="150" y="161"/>
                </a:cxn>
                <a:cxn ang="0">
                  <a:pos x="104" y="276"/>
                </a:cxn>
                <a:cxn ang="0">
                  <a:pos x="81" y="379"/>
                </a:cxn>
                <a:cxn ang="0">
                  <a:pos x="58" y="528"/>
                </a:cxn>
                <a:cxn ang="0">
                  <a:pos x="46" y="666"/>
                </a:cxn>
                <a:cxn ang="0">
                  <a:pos x="23" y="770"/>
                </a:cxn>
                <a:cxn ang="0">
                  <a:pos x="12" y="896"/>
                </a:cxn>
                <a:cxn ang="0">
                  <a:pos x="0" y="1034"/>
                </a:cxn>
                <a:cxn ang="0">
                  <a:pos x="0" y="1172"/>
                </a:cxn>
                <a:cxn ang="0">
                  <a:pos x="0" y="1287"/>
                </a:cxn>
                <a:cxn ang="0">
                  <a:pos x="12" y="1425"/>
                </a:cxn>
                <a:cxn ang="0">
                  <a:pos x="23" y="1563"/>
                </a:cxn>
                <a:cxn ang="0">
                  <a:pos x="35" y="1689"/>
                </a:cxn>
                <a:cxn ang="0">
                  <a:pos x="58" y="1827"/>
                </a:cxn>
                <a:cxn ang="0">
                  <a:pos x="69" y="1930"/>
                </a:cxn>
                <a:cxn ang="0">
                  <a:pos x="81" y="2068"/>
                </a:cxn>
              </a:cxnLst>
              <a:rect l="0" t="0" r="r" b="b"/>
              <a:pathLst>
                <a:path w="220" h="2069">
                  <a:moveTo>
                    <a:pt x="219" y="0"/>
                  </a:moveTo>
                  <a:lnTo>
                    <a:pt x="184" y="57"/>
                  </a:lnTo>
                  <a:lnTo>
                    <a:pt x="150" y="161"/>
                  </a:lnTo>
                  <a:lnTo>
                    <a:pt x="104" y="276"/>
                  </a:lnTo>
                  <a:lnTo>
                    <a:pt x="81" y="379"/>
                  </a:lnTo>
                  <a:lnTo>
                    <a:pt x="58" y="528"/>
                  </a:lnTo>
                  <a:lnTo>
                    <a:pt x="46" y="666"/>
                  </a:lnTo>
                  <a:lnTo>
                    <a:pt x="23" y="770"/>
                  </a:lnTo>
                  <a:lnTo>
                    <a:pt x="12" y="896"/>
                  </a:lnTo>
                  <a:lnTo>
                    <a:pt x="0" y="1034"/>
                  </a:lnTo>
                  <a:lnTo>
                    <a:pt x="0" y="1172"/>
                  </a:lnTo>
                  <a:lnTo>
                    <a:pt x="0" y="1287"/>
                  </a:lnTo>
                  <a:lnTo>
                    <a:pt x="12" y="1425"/>
                  </a:lnTo>
                  <a:lnTo>
                    <a:pt x="23" y="1563"/>
                  </a:lnTo>
                  <a:lnTo>
                    <a:pt x="35" y="1689"/>
                  </a:lnTo>
                  <a:lnTo>
                    <a:pt x="58" y="1827"/>
                  </a:lnTo>
                  <a:lnTo>
                    <a:pt x="69" y="1930"/>
                  </a:lnTo>
                  <a:lnTo>
                    <a:pt x="81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5" name="Freeform 272"/>
            <p:cNvSpPr>
              <a:spLocks/>
            </p:cNvSpPr>
            <p:nvPr/>
          </p:nvSpPr>
          <p:spPr bwMode="gray">
            <a:xfrm>
              <a:off x="3174" y="983"/>
              <a:ext cx="142" cy="2351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04" y="69"/>
                </a:cxn>
                <a:cxn ang="0">
                  <a:pos x="81" y="172"/>
                </a:cxn>
                <a:cxn ang="0">
                  <a:pos x="58" y="276"/>
                </a:cxn>
                <a:cxn ang="0">
                  <a:pos x="46" y="379"/>
                </a:cxn>
                <a:cxn ang="0">
                  <a:pos x="46" y="506"/>
                </a:cxn>
                <a:cxn ang="0">
                  <a:pos x="35" y="632"/>
                </a:cxn>
                <a:cxn ang="0">
                  <a:pos x="35" y="770"/>
                </a:cxn>
                <a:cxn ang="0">
                  <a:pos x="35" y="885"/>
                </a:cxn>
                <a:cxn ang="0">
                  <a:pos x="35" y="1023"/>
                </a:cxn>
                <a:cxn ang="0">
                  <a:pos x="23" y="1160"/>
                </a:cxn>
                <a:cxn ang="0">
                  <a:pos x="12" y="1298"/>
                </a:cxn>
                <a:cxn ang="0">
                  <a:pos x="12" y="1425"/>
                </a:cxn>
                <a:cxn ang="0">
                  <a:pos x="12" y="1563"/>
                </a:cxn>
                <a:cxn ang="0">
                  <a:pos x="12" y="1700"/>
                </a:cxn>
                <a:cxn ang="0">
                  <a:pos x="12" y="1815"/>
                </a:cxn>
                <a:cxn ang="0">
                  <a:pos x="12" y="1930"/>
                </a:cxn>
                <a:cxn ang="0">
                  <a:pos x="0" y="2080"/>
                </a:cxn>
              </a:cxnLst>
              <a:rect l="0" t="0" r="r" b="b"/>
              <a:pathLst>
                <a:path w="128" h="2081">
                  <a:moveTo>
                    <a:pt x="127" y="0"/>
                  </a:moveTo>
                  <a:lnTo>
                    <a:pt x="104" y="69"/>
                  </a:lnTo>
                  <a:lnTo>
                    <a:pt x="81" y="172"/>
                  </a:lnTo>
                  <a:lnTo>
                    <a:pt x="58" y="276"/>
                  </a:lnTo>
                  <a:lnTo>
                    <a:pt x="46" y="379"/>
                  </a:lnTo>
                  <a:lnTo>
                    <a:pt x="46" y="506"/>
                  </a:lnTo>
                  <a:lnTo>
                    <a:pt x="35" y="632"/>
                  </a:lnTo>
                  <a:lnTo>
                    <a:pt x="35" y="770"/>
                  </a:lnTo>
                  <a:lnTo>
                    <a:pt x="35" y="885"/>
                  </a:lnTo>
                  <a:lnTo>
                    <a:pt x="35" y="1023"/>
                  </a:lnTo>
                  <a:lnTo>
                    <a:pt x="23" y="1160"/>
                  </a:lnTo>
                  <a:lnTo>
                    <a:pt x="12" y="1298"/>
                  </a:lnTo>
                  <a:lnTo>
                    <a:pt x="12" y="1425"/>
                  </a:lnTo>
                  <a:lnTo>
                    <a:pt x="12" y="1563"/>
                  </a:lnTo>
                  <a:lnTo>
                    <a:pt x="12" y="1700"/>
                  </a:lnTo>
                  <a:lnTo>
                    <a:pt x="12" y="1815"/>
                  </a:lnTo>
                  <a:lnTo>
                    <a:pt x="12" y="1930"/>
                  </a:lnTo>
                  <a:lnTo>
                    <a:pt x="0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6" name="Line 273"/>
            <p:cNvSpPr>
              <a:spLocks noChangeShapeType="1"/>
            </p:cNvSpPr>
            <p:nvPr/>
          </p:nvSpPr>
          <p:spPr bwMode="gray">
            <a:xfrm>
              <a:off x="2808" y="3047"/>
              <a:ext cx="887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7" name="Line 274"/>
            <p:cNvSpPr>
              <a:spLocks noChangeShapeType="1"/>
            </p:cNvSpPr>
            <p:nvPr/>
          </p:nvSpPr>
          <p:spPr bwMode="gray">
            <a:xfrm>
              <a:off x="2884" y="3163"/>
              <a:ext cx="708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8" name="Freeform 275"/>
            <p:cNvSpPr>
              <a:spLocks/>
            </p:cNvSpPr>
            <p:nvPr/>
          </p:nvSpPr>
          <p:spPr bwMode="gray">
            <a:xfrm>
              <a:off x="1421" y="995"/>
              <a:ext cx="449" cy="2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" y="46"/>
                </a:cxn>
                <a:cxn ang="0">
                  <a:pos x="35" y="150"/>
                </a:cxn>
                <a:cxn ang="0">
                  <a:pos x="58" y="265"/>
                </a:cxn>
                <a:cxn ang="0">
                  <a:pos x="81" y="414"/>
                </a:cxn>
                <a:cxn ang="0">
                  <a:pos x="92" y="632"/>
                </a:cxn>
                <a:cxn ang="0">
                  <a:pos x="104" y="759"/>
                </a:cxn>
                <a:cxn ang="0">
                  <a:pos x="115" y="885"/>
                </a:cxn>
                <a:cxn ang="0">
                  <a:pos x="115" y="1012"/>
                </a:cxn>
                <a:cxn ang="0">
                  <a:pos x="127" y="1149"/>
                </a:cxn>
                <a:cxn ang="0">
                  <a:pos x="138" y="1276"/>
                </a:cxn>
                <a:cxn ang="0">
                  <a:pos x="161" y="1414"/>
                </a:cxn>
                <a:cxn ang="0">
                  <a:pos x="196" y="1552"/>
                </a:cxn>
                <a:cxn ang="0">
                  <a:pos x="230" y="1701"/>
                </a:cxn>
                <a:cxn ang="0">
                  <a:pos x="265" y="1804"/>
                </a:cxn>
                <a:cxn ang="0">
                  <a:pos x="322" y="1919"/>
                </a:cxn>
                <a:cxn ang="0">
                  <a:pos x="403" y="2057"/>
                </a:cxn>
              </a:cxnLst>
              <a:rect l="0" t="0" r="r" b="b"/>
              <a:pathLst>
                <a:path w="404" h="2058">
                  <a:moveTo>
                    <a:pt x="0" y="0"/>
                  </a:moveTo>
                  <a:lnTo>
                    <a:pt x="23" y="46"/>
                  </a:lnTo>
                  <a:lnTo>
                    <a:pt x="35" y="150"/>
                  </a:lnTo>
                  <a:lnTo>
                    <a:pt x="58" y="265"/>
                  </a:lnTo>
                  <a:lnTo>
                    <a:pt x="81" y="414"/>
                  </a:lnTo>
                  <a:lnTo>
                    <a:pt x="92" y="632"/>
                  </a:lnTo>
                  <a:lnTo>
                    <a:pt x="104" y="759"/>
                  </a:lnTo>
                  <a:lnTo>
                    <a:pt x="115" y="885"/>
                  </a:lnTo>
                  <a:lnTo>
                    <a:pt x="115" y="1012"/>
                  </a:lnTo>
                  <a:lnTo>
                    <a:pt x="127" y="1149"/>
                  </a:lnTo>
                  <a:lnTo>
                    <a:pt x="138" y="1276"/>
                  </a:lnTo>
                  <a:lnTo>
                    <a:pt x="161" y="1414"/>
                  </a:lnTo>
                  <a:lnTo>
                    <a:pt x="196" y="1552"/>
                  </a:lnTo>
                  <a:lnTo>
                    <a:pt x="230" y="1701"/>
                  </a:lnTo>
                  <a:lnTo>
                    <a:pt x="265" y="1804"/>
                  </a:lnTo>
                  <a:lnTo>
                    <a:pt x="322" y="1919"/>
                  </a:lnTo>
                  <a:lnTo>
                    <a:pt x="403" y="2057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9" name="Freeform 276"/>
            <p:cNvSpPr>
              <a:spLocks/>
            </p:cNvSpPr>
            <p:nvPr/>
          </p:nvSpPr>
          <p:spPr bwMode="gray">
            <a:xfrm>
              <a:off x="1446" y="995"/>
              <a:ext cx="488" cy="23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6" y="69"/>
                </a:cxn>
                <a:cxn ang="0">
                  <a:pos x="81" y="138"/>
                </a:cxn>
                <a:cxn ang="0">
                  <a:pos x="127" y="253"/>
                </a:cxn>
                <a:cxn ang="0">
                  <a:pos x="184" y="495"/>
                </a:cxn>
                <a:cxn ang="0">
                  <a:pos x="196" y="621"/>
                </a:cxn>
                <a:cxn ang="0">
                  <a:pos x="207" y="759"/>
                </a:cxn>
                <a:cxn ang="0">
                  <a:pos x="219" y="897"/>
                </a:cxn>
                <a:cxn ang="0">
                  <a:pos x="230" y="1023"/>
                </a:cxn>
                <a:cxn ang="0">
                  <a:pos x="230" y="1138"/>
                </a:cxn>
                <a:cxn ang="0">
                  <a:pos x="242" y="1276"/>
                </a:cxn>
                <a:cxn ang="0">
                  <a:pos x="265" y="1425"/>
                </a:cxn>
                <a:cxn ang="0">
                  <a:pos x="288" y="1563"/>
                </a:cxn>
                <a:cxn ang="0">
                  <a:pos x="299" y="1678"/>
                </a:cxn>
                <a:cxn ang="0">
                  <a:pos x="334" y="1816"/>
                </a:cxn>
                <a:cxn ang="0">
                  <a:pos x="368" y="1908"/>
                </a:cxn>
                <a:cxn ang="0">
                  <a:pos x="437" y="2080"/>
                </a:cxn>
              </a:cxnLst>
              <a:rect l="0" t="0" r="r" b="b"/>
              <a:pathLst>
                <a:path w="438" h="2081">
                  <a:moveTo>
                    <a:pt x="0" y="0"/>
                  </a:moveTo>
                  <a:lnTo>
                    <a:pt x="46" y="69"/>
                  </a:lnTo>
                  <a:lnTo>
                    <a:pt x="81" y="138"/>
                  </a:lnTo>
                  <a:lnTo>
                    <a:pt x="127" y="253"/>
                  </a:lnTo>
                  <a:lnTo>
                    <a:pt x="184" y="495"/>
                  </a:lnTo>
                  <a:lnTo>
                    <a:pt x="196" y="621"/>
                  </a:lnTo>
                  <a:lnTo>
                    <a:pt x="207" y="759"/>
                  </a:lnTo>
                  <a:lnTo>
                    <a:pt x="219" y="897"/>
                  </a:lnTo>
                  <a:lnTo>
                    <a:pt x="230" y="1023"/>
                  </a:lnTo>
                  <a:lnTo>
                    <a:pt x="230" y="1138"/>
                  </a:lnTo>
                  <a:lnTo>
                    <a:pt x="242" y="1276"/>
                  </a:lnTo>
                  <a:lnTo>
                    <a:pt x="265" y="1425"/>
                  </a:lnTo>
                  <a:lnTo>
                    <a:pt x="288" y="1563"/>
                  </a:lnTo>
                  <a:lnTo>
                    <a:pt x="299" y="1678"/>
                  </a:lnTo>
                  <a:lnTo>
                    <a:pt x="334" y="1816"/>
                  </a:lnTo>
                  <a:lnTo>
                    <a:pt x="368" y="1908"/>
                  </a:lnTo>
                  <a:lnTo>
                    <a:pt x="437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0" name="Freeform 277"/>
            <p:cNvSpPr>
              <a:spLocks/>
            </p:cNvSpPr>
            <p:nvPr/>
          </p:nvSpPr>
          <p:spPr bwMode="gray">
            <a:xfrm>
              <a:off x="1498" y="995"/>
              <a:ext cx="487" cy="23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8" y="81"/>
                </a:cxn>
                <a:cxn ang="0">
                  <a:pos x="104" y="173"/>
                </a:cxn>
                <a:cxn ang="0">
                  <a:pos x="161" y="276"/>
                </a:cxn>
                <a:cxn ang="0">
                  <a:pos x="196" y="368"/>
                </a:cxn>
                <a:cxn ang="0">
                  <a:pos x="230" y="483"/>
                </a:cxn>
                <a:cxn ang="0">
                  <a:pos x="265" y="655"/>
                </a:cxn>
                <a:cxn ang="0">
                  <a:pos x="288" y="782"/>
                </a:cxn>
                <a:cxn ang="0">
                  <a:pos x="311" y="874"/>
                </a:cxn>
                <a:cxn ang="0">
                  <a:pos x="334" y="1023"/>
                </a:cxn>
                <a:cxn ang="0">
                  <a:pos x="334" y="1149"/>
                </a:cxn>
                <a:cxn ang="0">
                  <a:pos x="322" y="1299"/>
                </a:cxn>
                <a:cxn ang="0">
                  <a:pos x="334" y="1425"/>
                </a:cxn>
                <a:cxn ang="0">
                  <a:pos x="334" y="1552"/>
                </a:cxn>
                <a:cxn ang="0">
                  <a:pos x="345" y="1689"/>
                </a:cxn>
                <a:cxn ang="0">
                  <a:pos x="357" y="1804"/>
                </a:cxn>
                <a:cxn ang="0">
                  <a:pos x="380" y="1908"/>
                </a:cxn>
                <a:cxn ang="0">
                  <a:pos x="403" y="2000"/>
                </a:cxn>
                <a:cxn ang="0">
                  <a:pos x="437" y="2069"/>
                </a:cxn>
              </a:cxnLst>
              <a:rect l="0" t="0" r="r" b="b"/>
              <a:pathLst>
                <a:path w="438" h="2070">
                  <a:moveTo>
                    <a:pt x="0" y="0"/>
                  </a:moveTo>
                  <a:lnTo>
                    <a:pt x="58" y="81"/>
                  </a:lnTo>
                  <a:lnTo>
                    <a:pt x="104" y="173"/>
                  </a:lnTo>
                  <a:lnTo>
                    <a:pt x="161" y="276"/>
                  </a:lnTo>
                  <a:lnTo>
                    <a:pt x="196" y="368"/>
                  </a:lnTo>
                  <a:lnTo>
                    <a:pt x="230" y="483"/>
                  </a:lnTo>
                  <a:lnTo>
                    <a:pt x="265" y="655"/>
                  </a:lnTo>
                  <a:lnTo>
                    <a:pt x="288" y="782"/>
                  </a:lnTo>
                  <a:lnTo>
                    <a:pt x="311" y="874"/>
                  </a:lnTo>
                  <a:lnTo>
                    <a:pt x="334" y="1023"/>
                  </a:lnTo>
                  <a:lnTo>
                    <a:pt x="334" y="1149"/>
                  </a:lnTo>
                  <a:lnTo>
                    <a:pt x="322" y="1299"/>
                  </a:lnTo>
                  <a:lnTo>
                    <a:pt x="334" y="1425"/>
                  </a:lnTo>
                  <a:lnTo>
                    <a:pt x="334" y="1552"/>
                  </a:lnTo>
                  <a:lnTo>
                    <a:pt x="345" y="1689"/>
                  </a:lnTo>
                  <a:lnTo>
                    <a:pt x="357" y="1804"/>
                  </a:lnTo>
                  <a:lnTo>
                    <a:pt x="380" y="1908"/>
                  </a:lnTo>
                  <a:lnTo>
                    <a:pt x="403" y="2000"/>
                  </a:lnTo>
                  <a:lnTo>
                    <a:pt x="437" y="2069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1" name="Freeform 278"/>
            <p:cNvSpPr>
              <a:spLocks/>
            </p:cNvSpPr>
            <p:nvPr/>
          </p:nvSpPr>
          <p:spPr bwMode="gray">
            <a:xfrm>
              <a:off x="1537" y="995"/>
              <a:ext cx="474" cy="23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7" y="69"/>
                </a:cxn>
                <a:cxn ang="0">
                  <a:pos x="115" y="138"/>
                </a:cxn>
                <a:cxn ang="0">
                  <a:pos x="195" y="253"/>
                </a:cxn>
                <a:cxn ang="0">
                  <a:pos x="241" y="368"/>
                </a:cxn>
                <a:cxn ang="0">
                  <a:pos x="299" y="495"/>
                </a:cxn>
                <a:cxn ang="0">
                  <a:pos x="345" y="632"/>
                </a:cxn>
                <a:cxn ang="0">
                  <a:pos x="379" y="770"/>
                </a:cxn>
                <a:cxn ang="0">
                  <a:pos x="402" y="897"/>
                </a:cxn>
                <a:cxn ang="0">
                  <a:pos x="413" y="1023"/>
                </a:cxn>
                <a:cxn ang="0">
                  <a:pos x="413" y="1138"/>
                </a:cxn>
                <a:cxn ang="0">
                  <a:pos x="413" y="1287"/>
                </a:cxn>
                <a:cxn ang="0">
                  <a:pos x="413" y="1414"/>
                </a:cxn>
                <a:cxn ang="0">
                  <a:pos x="402" y="1552"/>
                </a:cxn>
                <a:cxn ang="0">
                  <a:pos x="402" y="1689"/>
                </a:cxn>
                <a:cxn ang="0">
                  <a:pos x="402" y="1804"/>
                </a:cxn>
                <a:cxn ang="0">
                  <a:pos x="402" y="1908"/>
                </a:cxn>
                <a:cxn ang="0">
                  <a:pos x="413" y="1988"/>
                </a:cxn>
                <a:cxn ang="0">
                  <a:pos x="425" y="2080"/>
                </a:cxn>
              </a:cxnLst>
              <a:rect l="0" t="0" r="r" b="b"/>
              <a:pathLst>
                <a:path w="426" h="2081">
                  <a:moveTo>
                    <a:pt x="0" y="0"/>
                  </a:moveTo>
                  <a:lnTo>
                    <a:pt x="57" y="69"/>
                  </a:lnTo>
                  <a:lnTo>
                    <a:pt x="115" y="138"/>
                  </a:lnTo>
                  <a:lnTo>
                    <a:pt x="195" y="253"/>
                  </a:lnTo>
                  <a:lnTo>
                    <a:pt x="241" y="368"/>
                  </a:lnTo>
                  <a:lnTo>
                    <a:pt x="299" y="495"/>
                  </a:lnTo>
                  <a:lnTo>
                    <a:pt x="345" y="632"/>
                  </a:lnTo>
                  <a:lnTo>
                    <a:pt x="379" y="770"/>
                  </a:lnTo>
                  <a:lnTo>
                    <a:pt x="402" y="897"/>
                  </a:lnTo>
                  <a:lnTo>
                    <a:pt x="413" y="1023"/>
                  </a:lnTo>
                  <a:lnTo>
                    <a:pt x="413" y="1138"/>
                  </a:lnTo>
                  <a:lnTo>
                    <a:pt x="413" y="1287"/>
                  </a:lnTo>
                  <a:lnTo>
                    <a:pt x="413" y="1414"/>
                  </a:lnTo>
                  <a:lnTo>
                    <a:pt x="402" y="1552"/>
                  </a:lnTo>
                  <a:lnTo>
                    <a:pt x="402" y="1689"/>
                  </a:lnTo>
                  <a:lnTo>
                    <a:pt x="402" y="1804"/>
                  </a:lnTo>
                  <a:lnTo>
                    <a:pt x="402" y="1908"/>
                  </a:lnTo>
                  <a:lnTo>
                    <a:pt x="413" y="1988"/>
                  </a:lnTo>
                  <a:lnTo>
                    <a:pt x="425" y="2080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2" name="Freeform 279"/>
            <p:cNvSpPr>
              <a:spLocks/>
            </p:cNvSpPr>
            <p:nvPr/>
          </p:nvSpPr>
          <p:spPr bwMode="gray">
            <a:xfrm>
              <a:off x="1588" y="1009"/>
              <a:ext cx="563" cy="23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9" y="57"/>
                </a:cxn>
                <a:cxn ang="0">
                  <a:pos x="126" y="126"/>
                </a:cxn>
                <a:cxn ang="0">
                  <a:pos x="230" y="253"/>
                </a:cxn>
                <a:cxn ang="0">
                  <a:pos x="287" y="345"/>
                </a:cxn>
                <a:cxn ang="0">
                  <a:pos x="356" y="483"/>
                </a:cxn>
                <a:cxn ang="0">
                  <a:pos x="413" y="620"/>
                </a:cxn>
                <a:cxn ang="0">
                  <a:pos x="471" y="758"/>
                </a:cxn>
                <a:cxn ang="0">
                  <a:pos x="494" y="896"/>
                </a:cxn>
                <a:cxn ang="0">
                  <a:pos x="505" y="1011"/>
                </a:cxn>
                <a:cxn ang="0">
                  <a:pos x="505" y="1137"/>
                </a:cxn>
                <a:cxn ang="0">
                  <a:pos x="494" y="1252"/>
                </a:cxn>
                <a:cxn ang="0">
                  <a:pos x="482" y="1402"/>
                </a:cxn>
                <a:cxn ang="0">
                  <a:pos x="471" y="1528"/>
                </a:cxn>
                <a:cxn ang="0">
                  <a:pos x="448" y="1677"/>
                </a:cxn>
                <a:cxn ang="0">
                  <a:pos x="436" y="1804"/>
                </a:cxn>
                <a:cxn ang="0">
                  <a:pos x="425" y="1896"/>
                </a:cxn>
                <a:cxn ang="0">
                  <a:pos x="413" y="1988"/>
                </a:cxn>
                <a:cxn ang="0">
                  <a:pos x="402" y="2068"/>
                </a:cxn>
              </a:cxnLst>
              <a:rect l="0" t="0" r="r" b="b"/>
              <a:pathLst>
                <a:path w="506" h="2069">
                  <a:moveTo>
                    <a:pt x="0" y="0"/>
                  </a:moveTo>
                  <a:lnTo>
                    <a:pt x="69" y="57"/>
                  </a:lnTo>
                  <a:lnTo>
                    <a:pt x="126" y="126"/>
                  </a:lnTo>
                  <a:lnTo>
                    <a:pt x="230" y="253"/>
                  </a:lnTo>
                  <a:lnTo>
                    <a:pt x="287" y="345"/>
                  </a:lnTo>
                  <a:lnTo>
                    <a:pt x="356" y="483"/>
                  </a:lnTo>
                  <a:lnTo>
                    <a:pt x="413" y="620"/>
                  </a:lnTo>
                  <a:lnTo>
                    <a:pt x="471" y="758"/>
                  </a:lnTo>
                  <a:lnTo>
                    <a:pt x="494" y="896"/>
                  </a:lnTo>
                  <a:lnTo>
                    <a:pt x="505" y="1011"/>
                  </a:lnTo>
                  <a:lnTo>
                    <a:pt x="505" y="1137"/>
                  </a:lnTo>
                  <a:lnTo>
                    <a:pt x="494" y="1252"/>
                  </a:lnTo>
                  <a:lnTo>
                    <a:pt x="482" y="1402"/>
                  </a:lnTo>
                  <a:lnTo>
                    <a:pt x="471" y="1528"/>
                  </a:lnTo>
                  <a:lnTo>
                    <a:pt x="448" y="1677"/>
                  </a:lnTo>
                  <a:lnTo>
                    <a:pt x="436" y="1804"/>
                  </a:lnTo>
                  <a:lnTo>
                    <a:pt x="425" y="1896"/>
                  </a:lnTo>
                  <a:lnTo>
                    <a:pt x="413" y="1988"/>
                  </a:lnTo>
                  <a:lnTo>
                    <a:pt x="402" y="2068"/>
                  </a:lnTo>
                </a:path>
              </a:pathLst>
            </a:custGeom>
            <a:noFill/>
            <a:ln w="3175" cap="rnd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14" name="Group 280"/>
            <p:cNvGrpSpPr>
              <a:grpSpLocks/>
            </p:cNvGrpSpPr>
            <p:nvPr/>
          </p:nvGrpSpPr>
          <p:grpSpPr bwMode="auto">
            <a:xfrm>
              <a:off x="192" y="969"/>
              <a:ext cx="5376" cy="2391"/>
              <a:chOff x="444" y="1108"/>
              <a:chExt cx="4830" cy="2116"/>
            </a:xfrm>
          </p:grpSpPr>
          <p:sp>
            <p:nvSpPr>
              <p:cNvPr id="94" name="Freeform 281"/>
              <p:cNvSpPr>
                <a:spLocks/>
              </p:cNvSpPr>
              <p:nvPr/>
            </p:nvSpPr>
            <p:spPr bwMode="gray">
              <a:xfrm>
                <a:off x="444" y="1108"/>
                <a:ext cx="4830" cy="2116"/>
              </a:xfrm>
              <a:custGeom>
                <a:avLst/>
                <a:gdLst/>
                <a:ahLst/>
                <a:cxnLst>
                  <a:cxn ang="0">
                    <a:pos x="1644" y="161"/>
                  </a:cxn>
                  <a:cxn ang="0">
                    <a:pos x="1277" y="35"/>
                  </a:cxn>
                  <a:cxn ang="0">
                    <a:pos x="909" y="23"/>
                  </a:cxn>
                  <a:cxn ang="0">
                    <a:pos x="541" y="219"/>
                  </a:cxn>
                  <a:cxn ang="0">
                    <a:pos x="276" y="472"/>
                  </a:cxn>
                  <a:cxn ang="0">
                    <a:pos x="81" y="747"/>
                  </a:cxn>
                  <a:cxn ang="0">
                    <a:pos x="0" y="1012"/>
                  </a:cxn>
                  <a:cxn ang="0">
                    <a:pos x="23" y="1345"/>
                  </a:cxn>
                  <a:cxn ang="0">
                    <a:pos x="81" y="1724"/>
                  </a:cxn>
                  <a:cxn ang="0">
                    <a:pos x="184" y="2000"/>
                  </a:cxn>
                  <a:cxn ang="0">
                    <a:pos x="334" y="2103"/>
                  </a:cxn>
                  <a:cxn ang="0">
                    <a:pos x="610" y="2011"/>
                  </a:cxn>
                  <a:cxn ang="0">
                    <a:pos x="817" y="1793"/>
                  </a:cxn>
                  <a:cxn ang="0">
                    <a:pos x="1024" y="1425"/>
                  </a:cxn>
                  <a:cxn ang="0">
                    <a:pos x="1093" y="1172"/>
                  </a:cxn>
                  <a:cxn ang="0">
                    <a:pos x="1254" y="1781"/>
                  </a:cxn>
                  <a:cxn ang="0">
                    <a:pos x="1461" y="2057"/>
                  </a:cxn>
                  <a:cxn ang="0">
                    <a:pos x="1748" y="2092"/>
                  </a:cxn>
                  <a:cxn ang="0">
                    <a:pos x="1966" y="1827"/>
                  </a:cxn>
                  <a:cxn ang="0">
                    <a:pos x="2162" y="1207"/>
                  </a:cxn>
                  <a:cxn ang="0">
                    <a:pos x="2288" y="1724"/>
                  </a:cxn>
                  <a:cxn ang="0">
                    <a:pos x="2484" y="2034"/>
                  </a:cxn>
                  <a:cxn ang="0">
                    <a:pos x="2806" y="2092"/>
                  </a:cxn>
                  <a:cxn ang="0">
                    <a:pos x="3082" y="1919"/>
                  </a:cxn>
                  <a:cxn ang="0">
                    <a:pos x="3323" y="1575"/>
                  </a:cxn>
                  <a:cxn ang="0">
                    <a:pos x="3461" y="1241"/>
                  </a:cxn>
                  <a:cxn ang="0">
                    <a:pos x="3656" y="1643"/>
                  </a:cxn>
                  <a:cxn ang="0">
                    <a:pos x="3898" y="1954"/>
                  </a:cxn>
                  <a:cxn ang="0">
                    <a:pos x="4289" y="2103"/>
                  </a:cxn>
                  <a:cxn ang="0">
                    <a:pos x="4565" y="1896"/>
                  </a:cxn>
                  <a:cxn ang="0">
                    <a:pos x="4760" y="1471"/>
                  </a:cxn>
                  <a:cxn ang="0">
                    <a:pos x="4829" y="1046"/>
                  </a:cxn>
                  <a:cxn ang="0">
                    <a:pos x="4576" y="655"/>
                  </a:cxn>
                  <a:cxn ang="0">
                    <a:pos x="4404" y="426"/>
                  </a:cxn>
                  <a:cxn ang="0">
                    <a:pos x="3990" y="196"/>
                  </a:cxn>
                  <a:cxn ang="0">
                    <a:pos x="3449" y="46"/>
                  </a:cxn>
                  <a:cxn ang="0">
                    <a:pos x="2852" y="0"/>
                  </a:cxn>
                  <a:cxn ang="0">
                    <a:pos x="2426" y="104"/>
                  </a:cxn>
                  <a:cxn ang="0">
                    <a:pos x="2173" y="322"/>
                  </a:cxn>
                  <a:cxn ang="0">
                    <a:pos x="2139" y="460"/>
                  </a:cxn>
                  <a:cxn ang="0">
                    <a:pos x="1955" y="782"/>
                  </a:cxn>
                  <a:cxn ang="0">
                    <a:pos x="1805" y="667"/>
                  </a:cxn>
                  <a:cxn ang="0">
                    <a:pos x="1587" y="322"/>
                  </a:cxn>
                </a:cxnLst>
                <a:rect l="0" t="0" r="r" b="b"/>
                <a:pathLst>
                  <a:path w="4830" h="2116">
                    <a:moveTo>
                      <a:pt x="1828" y="322"/>
                    </a:moveTo>
                    <a:lnTo>
                      <a:pt x="1736" y="230"/>
                    </a:lnTo>
                    <a:lnTo>
                      <a:pt x="1644" y="161"/>
                    </a:lnTo>
                    <a:lnTo>
                      <a:pt x="1530" y="104"/>
                    </a:lnTo>
                    <a:lnTo>
                      <a:pt x="1392" y="58"/>
                    </a:lnTo>
                    <a:lnTo>
                      <a:pt x="1277" y="35"/>
                    </a:lnTo>
                    <a:lnTo>
                      <a:pt x="1139" y="23"/>
                    </a:lnTo>
                    <a:lnTo>
                      <a:pt x="1035" y="23"/>
                    </a:lnTo>
                    <a:lnTo>
                      <a:pt x="909" y="23"/>
                    </a:lnTo>
                    <a:lnTo>
                      <a:pt x="759" y="69"/>
                    </a:lnTo>
                    <a:lnTo>
                      <a:pt x="644" y="138"/>
                    </a:lnTo>
                    <a:lnTo>
                      <a:pt x="541" y="219"/>
                    </a:lnTo>
                    <a:lnTo>
                      <a:pt x="460" y="288"/>
                    </a:lnTo>
                    <a:lnTo>
                      <a:pt x="368" y="380"/>
                    </a:lnTo>
                    <a:lnTo>
                      <a:pt x="276" y="472"/>
                    </a:lnTo>
                    <a:lnTo>
                      <a:pt x="207" y="575"/>
                    </a:lnTo>
                    <a:lnTo>
                      <a:pt x="138" y="655"/>
                    </a:lnTo>
                    <a:lnTo>
                      <a:pt x="81" y="747"/>
                    </a:lnTo>
                    <a:lnTo>
                      <a:pt x="46" y="816"/>
                    </a:lnTo>
                    <a:lnTo>
                      <a:pt x="12" y="908"/>
                    </a:lnTo>
                    <a:lnTo>
                      <a:pt x="0" y="1012"/>
                    </a:lnTo>
                    <a:lnTo>
                      <a:pt x="0" y="1126"/>
                    </a:lnTo>
                    <a:lnTo>
                      <a:pt x="12" y="1241"/>
                    </a:lnTo>
                    <a:lnTo>
                      <a:pt x="23" y="1345"/>
                    </a:lnTo>
                    <a:lnTo>
                      <a:pt x="35" y="1460"/>
                    </a:lnTo>
                    <a:lnTo>
                      <a:pt x="58" y="1597"/>
                    </a:lnTo>
                    <a:lnTo>
                      <a:pt x="81" y="1724"/>
                    </a:lnTo>
                    <a:lnTo>
                      <a:pt x="115" y="1850"/>
                    </a:lnTo>
                    <a:lnTo>
                      <a:pt x="150" y="1942"/>
                    </a:lnTo>
                    <a:lnTo>
                      <a:pt x="184" y="2000"/>
                    </a:lnTo>
                    <a:lnTo>
                      <a:pt x="230" y="2057"/>
                    </a:lnTo>
                    <a:lnTo>
                      <a:pt x="288" y="2103"/>
                    </a:lnTo>
                    <a:lnTo>
                      <a:pt x="334" y="2103"/>
                    </a:lnTo>
                    <a:lnTo>
                      <a:pt x="414" y="2092"/>
                    </a:lnTo>
                    <a:lnTo>
                      <a:pt x="518" y="2057"/>
                    </a:lnTo>
                    <a:lnTo>
                      <a:pt x="610" y="2011"/>
                    </a:lnTo>
                    <a:lnTo>
                      <a:pt x="667" y="1965"/>
                    </a:lnTo>
                    <a:lnTo>
                      <a:pt x="748" y="1885"/>
                    </a:lnTo>
                    <a:lnTo>
                      <a:pt x="817" y="1793"/>
                    </a:lnTo>
                    <a:lnTo>
                      <a:pt x="886" y="1678"/>
                    </a:lnTo>
                    <a:lnTo>
                      <a:pt x="966" y="1540"/>
                    </a:lnTo>
                    <a:lnTo>
                      <a:pt x="1024" y="1425"/>
                    </a:lnTo>
                    <a:lnTo>
                      <a:pt x="1058" y="1322"/>
                    </a:lnTo>
                    <a:lnTo>
                      <a:pt x="1081" y="1241"/>
                    </a:lnTo>
                    <a:lnTo>
                      <a:pt x="1093" y="1172"/>
                    </a:lnTo>
                    <a:lnTo>
                      <a:pt x="1116" y="1356"/>
                    </a:lnTo>
                    <a:lnTo>
                      <a:pt x="1185" y="1552"/>
                    </a:lnTo>
                    <a:lnTo>
                      <a:pt x="1254" y="1781"/>
                    </a:lnTo>
                    <a:lnTo>
                      <a:pt x="1311" y="1885"/>
                    </a:lnTo>
                    <a:lnTo>
                      <a:pt x="1369" y="1977"/>
                    </a:lnTo>
                    <a:lnTo>
                      <a:pt x="1461" y="2057"/>
                    </a:lnTo>
                    <a:lnTo>
                      <a:pt x="1576" y="2103"/>
                    </a:lnTo>
                    <a:lnTo>
                      <a:pt x="1656" y="2115"/>
                    </a:lnTo>
                    <a:lnTo>
                      <a:pt x="1748" y="2092"/>
                    </a:lnTo>
                    <a:lnTo>
                      <a:pt x="1817" y="2046"/>
                    </a:lnTo>
                    <a:lnTo>
                      <a:pt x="1897" y="1954"/>
                    </a:lnTo>
                    <a:lnTo>
                      <a:pt x="1966" y="1827"/>
                    </a:lnTo>
                    <a:lnTo>
                      <a:pt x="2047" y="1620"/>
                    </a:lnTo>
                    <a:lnTo>
                      <a:pt x="2116" y="1414"/>
                    </a:lnTo>
                    <a:lnTo>
                      <a:pt x="2162" y="1207"/>
                    </a:lnTo>
                    <a:lnTo>
                      <a:pt x="2185" y="1391"/>
                    </a:lnTo>
                    <a:lnTo>
                      <a:pt x="2242" y="1575"/>
                    </a:lnTo>
                    <a:lnTo>
                      <a:pt x="2288" y="1724"/>
                    </a:lnTo>
                    <a:lnTo>
                      <a:pt x="2346" y="1839"/>
                    </a:lnTo>
                    <a:lnTo>
                      <a:pt x="2415" y="1942"/>
                    </a:lnTo>
                    <a:lnTo>
                      <a:pt x="2484" y="2034"/>
                    </a:lnTo>
                    <a:lnTo>
                      <a:pt x="2564" y="2080"/>
                    </a:lnTo>
                    <a:lnTo>
                      <a:pt x="2679" y="2103"/>
                    </a:lnTo>
                    <a:lnTo>
                      <a:pt x="2806" y="2092"/>
                    </a:lnTo>
                    <a:lnTo>
                      <a:pt x="2898" y="2057"/>
                    </a:lnTo>
                    <a:lnTo>
                      <a:pt x="2990" y="2000"/>
                    </a:lnTo>
                    <a:lnTo>
                      <a:pt x="3082" y="1919"/>
                    </a:lnTo>
                    <a:lnTo>
                      <a:pt x="3174" y="1804"/>
                    </a:lnTo>
                    <a:lnTo>
                      <a:pt x="3254" y="1689"/>
                    </a:lnTo>
                    <a:lnTo>
                      <a:pt x="3323" y="1575"/>
                    </a:lnTo>
                    <a:lnTo>
                      <a:pt x="3380" y="1471"/>
                    </a:lnTo>
                    <a:lnTo>
                      <a:pt x="3426" y="1368"/>
                    </a:lnTo>
                    <a:lnTo>
                      <a:pt x="3461" y="1241"/>
                    </a:lnTo>
                    <a:lnTo>
                      <a:pt x="3518" y="1368"/>
                    </a:lnTo>
                    <a:lnTo>
                      <a:pt x="3587" y="1517"/>
                    </a:lnTo>
                    <a:lnTo>
                      <a:pt x="3656" y="1643"/>
                    </a:lnTo>
                    <a:lnTo>
                      <a:pt x="3714" y="1747"/>
                    </a:lnTo>
                    <a:lnTo>
                      <a:pt x="3794" y="1850"/>
                    </a:lnTo>
                    <a:lnTo>
                      <a:pt x="3898" y="1954"/>
                    </a:lnTo>
                    <a:lnTo>
                      <a:pt x="4013" y="2034"/>
                    </a:lnTo>
                    <a:lnTo>
                      <a:pt x="4139" y="2080"/>
                    </a:lnTo>
                    <a:lnTo>
                      <a:pt x="4289" y="2103"/>
                    </a:lnTo>
                    <a:lnTo>
                      <a:pt x="4392" y="2069"/>
                    </a:lnTo>
                    <a:lnTo>
                      <a:pt x="4484" y="2011"/>
                    </a:lnTo>
                    <a:lnTo>
                      <a:pt x="4565" y="1896"/>
                    </a:lnTo>
                    <a:lnTo>
                      <a:pt x="4645" y="1770"/>
                    </a:lnTo>
                    <a:lnTo>
                      <a:pt x="4703" y="1632"/>
                    </a:lnTo>
                    <a:lnTo>
                      <a:pt x="4760" y="1471"/>
                    </a:lnTo>
                    <a:lnTo>
                      <a:pt x="4795" y="1322"/>
                    </a:lnTo>
                    <a:lnTo>
                      <a:pt x="4818" y="1195"/>
                    </a:lnTo>
                    <a:lnTo>
                      <a:pt x="4829" y="1046"/>
                    </a:lnTo>
                    <a:lnTo>
                      <a:pt x="4806" y="931"/>
                    </a:lnTo>
                    <a:lnTo>
                      <a:pt x="4714" y="782"/>
                    </a:lnTo>
                    <a:lnTo>
                      <a:pt x="4576" y="655"/>
                    </a:lnTo>
                    <a:lnTo>
                      <a:pt x="4392" y="518"/>
                    </a:lnTo>
                    <a:lnTo>
                      <a:pt x="4266" y="426"/>
                    </a:lnTo>
                    <a:lnTo>
                      <a:pt x="4404" y="426"/>
                    </a:lnTo>
                    <a:lnTo>
                      <a:pt x="4312" y="345"/>
                    </a:lnTo>
                    <a:lnTo>
                      <a:pt x="4174" y="265"/>
                    </a:lnTo>
                    <a:lnTo>
                      <a:pt x="3990" y="196"/>
                    </a:lnTo>
                    <a:lnTo>
                      <a:pt x="3806" y="127"/>
                    </a:lnTo>
                    <a:lnTo>
                      <a:pt x="3633" y="81"/>
                    </a:lnTo>
                    <a:lnTo>
                      <a:pt x="3449" y="46"/>
                    </a:lnTo>
                    <a:lnTo>
                      <a:pt x="3277" y="23"/>
                    </a:lnTo>
                    <a:lnTo>
                      <a:pt x="3047" y="0"/>
                    </a:lnTo>
                    <a:lnTo>
                      <a:pt x="2852" y="0"/>
                    </a:lnTo>
                    <a:lnTo>
                      <a:pt x="2668" y="12"/>
                    </a:lnTo>
                    <a:lnTo>
                      <a:pt x="2541" y="46"/>
                    </a:lnTo>
                    <a:lnTo>
                      <a:pt x="2426" y="104"/>
                    </a:lnTo>
                    <a:lnTo>
                      <a:pt x="2334" y="173"/>
                    </a:lnTo>
                    <a:lnTo>
                      <a:pt x="2231" y="253"/>
                    </a:lnTo>
                    <a:lnTo>
                      <a:pt x="2173" y="322"/>
                    </a:lnTo>
                    <a:lnTo>
                      <a:pt x="2265" y="322"/>
                    </a:lnTo>
                    <a:lnTo>
                      <a:pt x="2196" y="391"/>
                    </a:lnTo>
                    <a:lnTo>
                      <a:pt x="2139" y="460"/>
                    </a:lnTo>
                    <a:lnTo>
                      <a:pt x="2070" y="563"/>
                    </a:lnTo>
                    <a:lnTo>
                      <a:pt x="2012" y="667"/>
                    </a:lnTo>
                    <a:lnTo>
                      <a:pt x="1955" y="782"/>
                    </a:lnTo>
                    <a:lnTo>
                      <a:pt x="1909" y="943"/>
                    </a:lnTo>
                    <a:lnTo>
                      <a:pt x="1863" y="782"/>
                    </a:lnTo>
                    <a:lnTo>
                      <a:pt x="1805" y="667"/>
                    </a:lnTo>
                    <a:lnTo>
                      <a:pt x="1748" y="529"/>
                    </a:lnTo>
                    <a:lnTo>
                      <a:pt x="1679" y="426"/>
                    </a:lnTo>
                    <a:lnTo>
                      <a:pt x="1587" y="322"/>
                    </a:lnTo>
                    <a:lnTo>
                      <a:pt x="1828" y="322"/>
                    </a:lnTo>
                  </a:path>
                </a:pathLst>
              </a:custGeom>
              <a:noFill/>
              <a:ln w="3175" cap="rnd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5" name="Line 282"/>
              <p:cNvSpPr>
                <a:spLocks noChangeShapeType="1"/>
              </p:cNvSpPr>
              <p:nvPr/>
            </p:nvSpPr>
            <p:spPr bwMode="gray">
              <a:xfrm>
                <a:off x="655" y="3131"/>
                <a:ext cx="372" cy="0"/>
              </a:xfrm>
              <a:prstGeom prst="line">
                <a:avLst/>
              </a:prstGeom>
              <a:noFill/>
              <a:ln w="3175">
                <a:solidFill>
                  <a:srgbClr val="DDDDDD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grpSp>
            <p:nvGrpSpPr>
              <p:cNvPr id="115" name="Group 283"/>
              <p:cNvGrpSpPr>
                <a:grpSpLocks/>
              </p:cNvGrpSpPr>
              <p:nvPr/>
            </p:nvGrpSpPr>
            <p:grpSpPr bwMode="auto">
              <a:xfrm>
                <a:off x="552" y="2947"/>
                <a:ext cx="1843" cy="103"/>
                <a:chOff x="552" y="2947"/>
                <a:chExt cx="1843" cy="103"/>
              </a:xfrm>
            </p:grpSpPr>
            <p:sp>
              <p:nvSpPr>
                <p:cNvPr id="97" name="Line 284"/>
                <p:cNvSpPr>
                  <a:spLocks noChangeShapeType="1"/>
                </p:cNvSpPr>
                <p:nvPr/>
              </p:nvSpPr>
              <p:spPr bwMode="gray">
                <a:xfrm>
                  <a:off x="552" y="2947"/>
                  <a:ext cx="682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8" name="Line 285"/>
                <p:cNvSpPr>
                  <a:spLocks noChangeShapeType="1"/>
                </p:cNvSpPr>
                <p:nvPr/>
              </p:nvSpPr>
              <p:spPr bwMode="gray">
                <a:xfrm>
                  <a:off x="598" y="3050"/>
                  <a:ext cx="544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9" name="Line 286"/>
                <p:cNvSpPr>
                  <a:spLocks noChangeShapeType="1"/>
                </p:cNvSpPr>
                <p:nvPr/>
              </p:nvSpPr>
              <p:spPr bwMode="gray">
                <a:xfrm>
                  <a:off x="1725" y="2947"/>
                  <a:ext cx="670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100" name="Line 287"/>
                <p:cNvSpPr>
                  <a:spLocks noChangeShapeType="1"/>
                </p:cNvSpPr>
                <p:nvPr/>
              </p:nvSpPr>
              <p:spPr bwMode="gray">
                <a:xfrm>
                  <a:off x="1805" y="3050"/>
                  <a:ext cx="544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</p:grpSp>
        <p:sp>
          <p:nvSpPr>
            <p:cNvPr id="74" name="Line 288"/>
            <p:cNvSpPr>
              <a:spLocks noChangeShapeType="1"/>
            </p:cNvSpPr>
            <p:nvPr/>
          </p:nvSpPr>
          <p:spPr bwMode="gray">
            <a:xfrm>
              <a:off x="1784" y="3255"/>
              <a:ext cx="452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5" name="Line 289"/>
            <p:cNvSpPr>
              <a:spLocks noChangeShapeType="1"/>
            </p:cNvSpPr>
            <p:nvPr/>
          </p:nvSpPr>
          <p:spPr bwMode="gray">
            <a:xfrm>
              <a:off x="2628" y="2449"/>
              <a:ext cx="1386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6" name="Line 290"/>
            <p:cNvSpPr>
              <a:spLocks noChangeShapeType="1"/>
            </p:cNvSpPr>
            <p:nvPr/>
          </p:nvSpPr>
          <p:spPr bwMode="gray">
            <a:xfrm>
              <a:off x="2641" y="2593"/>
              <a:ext cx="1322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7" name="Line 291"/>
            <p:cNvSpPr>
              <a:spLocks noChangeShapeType="1"/>
            </p:cNvSpPr>
            <p:nvPr/>
          </p:nvSpPr>
          <p:spPr bwMode="gray">
            <a:xfrm>
              <a:off x="2705" y="2761"/>
              <a:ext cx="1181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8" name="Line 292"/>
            <p:cNvSpPr>
              <a:spLocks noChangeShapeType="1"/>
            </p:cNvSpPr>
            <p:nvPr/>
          </p:nvSpPr>
          <p:spPr bwMode="gray">
            <a:xfrm>
              <a:off x="2769" y="2917"/>
              <a:ext cx="1027" cy="0"/>
            </a:xfrm>
            <a:prstGeom prst="line">
              <a:avLst/>
            </a:prstGeom>
            <a:noFill/>
            <a:ln w="3175">
              <a:solidFill>
                <a:srgbClr val="DDDDDD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16" name="Group 293"/>
            <p:cNvGrpSpPr>
              <a:grpSpLocks/>
            </p:cNvGrpSpPr>
            <p:nvPr/>
          </p:nvGrpSpPr>
          <p:grpSpPr bwMode="auto">
            <a:xfrm>
              <a:off x="346" y="985"/>
              <a:ext cx="5192" cy="2365"/>
              <a:chOff x="582" y="1120"/>
              <a:chExt cx="4664" cy="2092"/>
            </a:xfrm>
          </p:grpSpPr>
          <p:sp>
            <p:nvSpPr>
              <p:cNvPr id="80" name="Freeform 294"/>
              <p:cNvSpPr>
                <a:spLocks/>
              </p:cNvSpPr>
              <p:nvPr/>
            </p:nvSpPr>
            <p:spPr bwMode="gray">
              <a:xfrm>
                <a:off x="582" y="1143"/>
                <a:ext cx="749" cy="2035"/>
              </a:xfrm>
              <a:custGeom>
                <a:avLst/>
                <a:gdLst/>
                <a:ahLst/>
                <a:cxnLst>
                  <a:cxn ang="0">
                    <a:pos x="748" y="0"/>
                  </a:cxn>
                  <a:cxn ang="0">
                    <a:pos x="656" y="46"/>
                  </a:cxn>
                  <a:cxn ang="0">
                    <a:pos x="518" y="138"/>
                  </a:cxn>
                  <a:cxn ang="0">
                    <a:pos x="403" y="230"/>
                  </a:cxn>
                  <a:cxn ang="0">
                    <a:pos x="311" y="345"/>
                  </a:cxn>
                  <a:cxn ang="0">
                    <a:pos x="230" y="471"/>
                  </a:cxn>
                  <a:cxn ang="0">
                    <a:pos x="138" y="620"/>
                  </a:cxn>
                  <a:cxn ang="0">
                    <a:pos x="69" y="747"/>
                  </a:cxn>
                  <a:cxn ang="0">
                    <a:pos x="12" y="873"/>
                  </a:cxn>
                  <a:cxn ang="0">
                    <a:pos x="0" y="1000"/>
                  </a:cxn>
                  <a:cxn ang="0">
                    <a:pos x="0" y="1126"/>
                  </a:cxn>
                  <a:cxn ang="0">
                    <a:pos x="12" y="1252"/>
                  </a:cxn>
                  <a:cxn ang="0">
                    <a:pos x="12" y="1402"/>
                  </a:cxn>
                  <a:cxn ang="0">
                    <a:pos x="35" y="1551"/>
                  </a:cxn>
                  <a:cxn ang="0">
                    <a:pos x="46" y="1677"/>
                  </a:cxn>
                  <a:cxn ang="0">
                    <a:pos x="58" y="1792"/>
                  </a:cxn>
                  <a:cxn ang="0">
                    <a:pos x="69" y="1896"/>
                  </a:cxn>
                  <a:cxn ang="0">
                    <a:pos x="115" y="2034"/>
                  </a:cxn>
                </a:cxnLst>
                <a:rect l="0" t="0" r="r" b="b"/>
                <a:pathLst>
                  <a:path w="749" h="2035">
                    <a:moveTo>
                      <a:pt x="748" y="0"/>
                    </a:moveTo>
                    <a:lnTo>
                      <a:pt x="656" y="46"/>
                    </a:lnTo>
                    <a:lnTo>
                      <a:pt x="518" y="138"/>
                    </a:lnTo>
                    <a:lnTo>
                      <a:pt x="403" y="230"/>
                    </a:lnTo>
                    <a:lnTo>
                      <a:pt x="311" y="345"/>
                    </a:lnTo>
                    <a:lnTo>
                      <a:pt x="230" y="471"/>
                    </a:lnTo>
                    <a:lnTo>
                      <a:pt x="138" y="620"/>
                    </a:lnTo>
                    <a:lnTo>
                      <a:pt x="69" y="747"/>
                    </a:lnTo>
                    <a:lnTo>
                      <a:pt x="12" y="873"/>
                    </a:lnTo>
                    <a:lnTo>
                      <a:pt x="0" y="1000"/>
                    </a:lnTo>
                    <a:lnTo>
                      <a:pt x="0" y="1126"/>
                    </a:lnTo>
                    <a:lnTo>
                      <a:pt x="12" y="1252"/>
                    </a:lnTo>
                    <a:lnTo>
                      <a:pt x="12" y="1402"/>
                    </a:lnTo>
                    <a:lnTo>
                      <a:pt x="35" y="1551"/>
                    </a:lnTo>
                    <a:lnTo>
                      <a:pt x="46" y="1677"/>
                    </a:lnTo>
                    <a:lnTo>
                      <a:pt x="58" y="1792"/>
                    </a:lnTo>
                    <a:lnTo>
                      <a:pt x="69" y="1896"/>
                    </a:lnTo>
                    <a:lnTo>
                      <a:pt x="115" y="2034"/>
                    </a:lnTo>
                  </a:path>
                </a:pathLst>
              </a:custGeom>
              <a:noFill/>
              <a:ln w="3175" cap="rnd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1" name="Freeform 295"/>
              <p:cNvSpPr>
                <a:spLocks/>
              </p:cNvSpPr>
              <p:nvPr/>
            </p:nvSpPr>
            <p:spPr bwMode="gray">
              <a:xfrm>
                <a:off x="3732" y="1131"/>
                <a:ext cx="1013" cy="20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3" y="92"/>
                  </a:cxn>
                  <a:cxn ang="0">
                    <a:pos x="276" y="173"/>
                  </a:cxn>
                  <a:cxn ang="0">
                    <a:pos x="380" y="253"/>
                  </a:cxn>
                  <a:cxn ang="0">
                    <a:pos x="472" y="357"/>
                  </a:cxn>
                  <a:cxn ang="0">
                    <a:pos x="587" y="483"/>
                  </a:cxn>
                  <a:cxn ang="0">
                    <a:pos x="713" y="632"/>
                  </a:cxn>
                  <a:cxn ang="0">
                    <a:pos x="805" y="770"/>
                  </a:cxn>
                  <a:cxn ang="0">
                    <a:pos x="863" y="897"/>
                  </a:cxn>
                  <a:cxn ang="0">
                    <a:pos x="874" y="1023"/>
                  </a:cxn>
                  <a:cxn ang="0">
                    <a:pos x="863" y="1149"/>
                  </a:cxn>
                  <a:cxn ang="0">
                    <a:pos x="874" y="1287"/>
                  </a:cxn>
                  <a:cxn ang="0">
                    <a:pos x="886" y="1425"/>
                  </a:cxn>
                  <a:cxn ang="0">
                    <a:pos x="897" y="1552"/>
                  </a:cxn>
                  <a:cxn ang="0">
                    <a:pos x="920" y="1701"/>
                  </a:cxn>
                  <a:cxn ang="0">
                    <a:pos x="932" y="1827"/>
                  </a:cxn>
                  <a:cxn ang="0">
                    <a:pos x="966" y="1954"/>
                  </a:cxn>
                  <a:cxn ang="0">
                    <a:pos x="1012" y="2069"/>
                  </a:cxn>
                </a:cxnLst>
                <a:rect l="0" t="0" r="r" b="b"/>
                <a:pathLst>
                  <a:path w="1013" h="2070">
                    <a:moveTo>
                      <a:pt x="0" y="0"/>
                    </a:moveTo>
                    <a:lnTo>
                      <a:pt x="173" y="92"/>
                    </a:lnTo>
                    <a:lnTo>
                      <a:pt x="276" y="173"/>
                    </a:lnTo>
                    <a:lnTo>
                      <a:pt x="380" y="253"/>
                    </a:lnTo>
                    <a:lnTo>
                      <a:pt x="472" y="357"/>
                    </a:lnTo>
                    <a:lnTo>
                      <a:pt x="587" y="483"/>
                    </a:lnTo>
                    <a:lnTo>
                      <a:pt x="713" y="632"/>
                    </a:lnTo>
                    <a:lnTo>
                      <a:pt x="805" y="770"/>
                    </a:lnTo>
                    <a:lnTo>
                      <a:pt x="863" y="897"/>
                    </a:lnTo>
                    <a:lnTo>
                      <a:pt x="874" y="1023"/>
                    </a:lnTo>
                    <a:lnTo>
                      <a:pt x="863" y="1149"/>
                    </a:lnTo>
                    <a:lnTo>
                      <a:pt x="874" y="1287"/>
                    </a:lnTo>
                    <a:lnTo>
                      <a:pt x="886" y="1425"/>
                    </a:lnTo>
                    <a:lnTo>
                      <a:pt x="897" y="1552"/>
                    </a:lnTo>
                    <a:lnTo>
                      <a:pt x="920" y="1701"/>
                    </a:lnTo>
                    <a:lnTo>
                      <a:pt x="932" y="1827"/>
                    </a:lnTo>
                    <a:lnTo>
                      <a:pt x="966" y="1954"/>
                    </a:lnTo>
                    <a:lnTo>
                      <a:pt x="1012" y="2069"/>
                    </a:lnTo>
                  </a:path>
                </a:pathLst>
              </a:custGeom>
              <a:noFill/>
              <a:ln w="3175" cap="rnd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2" name="Line 296"/>
              <p:cNvSpPr>
                <a:spLocks noChangeShapeType="1"/>
              </p:cNvSpPr>
              <p:nvPr/>
            </p:nvSpPr>
            <p:spPr bwMode="gray">
              <a:xfrm>
                <a:off x="2909" y="1189"/>
                <a:ext cx="1049" cy="0"/>
              </a:xfrm>
              <a:prstGeom prst="line">
                <a:avLst/>
              </a:prstGeom>
              <a:noFill/>
              <a:ln w="3175">
                <a:solidFill>
                  <a:srgbClr val="DDDDDD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rtl="0" eaLnBrk="0" fontAlgn="t" latinLnBrk="1" hangingPunct="0">
                  <a:spcBef>
                    <a:spcPct val="50000"/>
                  </a:spcBef>
                  <a:spcAft>
                    <a:spcPct val="0"/>
                  </a:spcAft>
                </a:pPr>
                <a:endParaRPr lang="ko-KR" altLang="en-US" sz="1000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grpSp>
            <p:nvGrpSpPr>
              <p:cNvPr id="118" name="Group 297"/>
              <p:cNvGrpSpPr>
                <a:grpSpLocks/>
              </p:cNvGrpSpPr>
              <p:nvPr/>
            </p:nvGrpSpPr>
            <p:grpSpPr bwMode="auto">
              <a:xfrm>
                <a:off x="3583" y="1120"/>
                <a:ext cx="1663" cy="2092"/>
                <a:chOff x="3583" y="1120"/>
                <a:chExt cx="1663" cy="2092"/>
              </a:xfrm>
            </p:grpSpPr>
            <p:sp>
              <p:nvSpPr>
                <p:cNvPr id="84" name="Freeform 298"/>
                <p:cNvSpPr>
                  <a:spLocks/>
                </p:cNvSpPr>
                <p:nvPr/>
              </p:nvSpPr>
              <p:spPr bwMode="gray">
                <a:xfrm>
                  <a:off x="3583" y="1120"/>
                  <a:ext cx="1128" cy="209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38" y="92"/>
                    </a:cxn>
                    <a:cxn ang="0">
                      <a:pos x="264" y="184"/>
                    </a:cxn>
                    <a:cxn ang="0">
                      <a:pos x="356" y="264"/>
                    </a:cxn>
                    <a:cxn ang="0">
                      <a:pos x="460" y="379"/>
                    </a:cxn>
                    <a:cxn ang="0">
                      <a:pos x="552" y="506"/>
                    </a:cxn>
                    <a:cxn ang="0">
                      <a:pos x="644" y="632"/>
                    </a:cxn>
                    <a:cxn ang="0">
                      <a:pos x="701" y="770"/>
                    </a:cxn>
                    <a:cxn ang="0">
                      <a:pos x="736" y="908"/>
                    </a:cxn>
                    <a:cxn ang="0">
                      <a:pos x="747" y="1023"/>
                    </a:cxn>
                    <a:cxn ang="0">
                      <a:pos x="759" y="1160"/>
                    </a:cxn>
                    <a:cxn ang="0">
                      <a:pos x="782" y="1298"/>
                    </a:cxn>
                    <a:cxn ang="0">
                      <a:pos x="805" y="1425"/>
                    </a:cxn>
                    <a:cxn ang="0">
                      <a:pos x="839" y="1563"/>
                    </a:cxn>
                    <a:cxn ang="0">
                      <a:pos x="874" y="1712"/>
                    </a:cxn>
                    <a:cxn ang="0">
                      <a:pos x="931" y="1827"/>
                    </a:cxn>
                    <a:cxn ang="0">
                      <a:pos x="1012" y="1953"/>
                    </a:cxn>
                    <a:cxn ang="0">
                      <a:pos x="1127" y="2091"/>
                    </a:cxn>
                  </a:cxnLst>
                  <a:rect l="0" t="0" r="r" b="b"/>
                  <a:pathLst>
                    <a:path w="1128" h="2092">
                      <a:moveTo>
                        <a:pt x="0" y="0"/>
                      </a:moveTo>
                      <a:lnTo>
                        <a:pt x="138" y="92"/>
                      </a:lnTo>
                      <a:lnTo>
                        <a:pt x="264" y="184"/>
                      </a:lnTo>
                      <a:lnTo>
                        <a:pt x="356" y="264"/>
                      </a:lnTo>
                      <a:lnTo>
                        <a:pt x="460" y="379"/>
                      </a:lnTo>
                      <a:lnTo>
                        <a:pt x="552" y="506"/>
                      </a:lnTo>
                      <a:lnTo>
                        <a:pt x="644" y="632"/>
                      </a:lnTo>
                      <a:lnTo>
                        <a:pt x="701" y="770"/>
                      </a:lnTo>
                      <a:lnTo>
                        <a:pt x="736" y="908"/>
                      </a:lnTo>
                      <a:lnTo>
                        <a:pt x="747" y="1023"/>
                      </a:lnTo>
                      <a:lnTo>
                        <a:pt x="759" y="1160"/>
                      </a:lnTo>
                      <a:lnTo>
                        <a:pt x="782" y="1298"/>
                      </a:lnTo>
                      <a:lnTo>
                        <a:pt x="805" y="1425"/>
                      </a:lnTo>
                      <a:lnTo>
                        <a:pt x="839" y="1563"/>
                      </a:lnTo>
                      <a:lnTo>
                        <a:pt x="874" y="1712"/>
                      </a:lnTo>
                      <a:lnTo>
                        <a:pt x="931" y="1827"/>
                      </a:lnTo>
                      <a:lnTo>
                        <a:pt x="1012" y="1953"/>
                      </a:lnTo>
                      <a:lnTo>
                        <a:pt x="1127" y="2091"/>
                      </a:lnTo>
                    </a:path>
                  </a:pathLst>
                </a:custGeom>
                <a:noFill/>
                <a:ln w="3175" cap="rnd" cmpd="sng">
                  <a:solidFill>
                    <a:srgbClr val="DDDDD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85" name="Freeform 299"/>
                <p:cNvSpPr>
                  <a:spLocks/>
                </p:cNvSpPr>
                <p:nvPr/>
              </p:nvSpPr>
              <p:spPr bwMode="gray">
                <a:xfrm>
                  <a:off x="3664" y="1131"/>
                  <a:ext cx="1070" cy="208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0" y="92"/>
                    </a:cxn>
                    <a:cxn ang="0">
                      <a:pos x="287" y="184"/>
                    </a:cxn>
                    <a:cxn ang="0">
                      <a:pos x="379" y="265"/>
                    </a:cxn>
                    <a:cxn ang="0">
                      <a:pos x="459" y="368"/>
                    </a:cxn>
                    <a:cxn ang="0">
                      <a:pos x="551" y="483"/>
                    </a:cxn>
                    <a:cxn ang="0">
                      <a:pos x="666" y="632"/>
                    </a:cxn>
                    <a:cxn ang="0">
                      <a:pos x="747" y="770"/>
                    </a:cxn>
                    <a:cxn ang="0">
                      <a:pos x="793" y="908"/>
                    </a:cxn>
                    <a:cxn ang="0">
                      <a:pos x="804" y="1035"/>
                    </a:cxn>
                    <a:cxn ang="0">
                      <a:pos x="804" y="1149"/>
                    </a:cxn>
                    <a:cxn ang="0">
                      <a:pos x="816" y="1264"/>
                    </a:cxn>
                    <a:cxn ang="0">
                      <a:pos x="839" y="1402"/>
                    </a:cxn>
                    <a:cxn ang="0">
                      <a:pos x="862" y="1552"/>
                    </a:cxn>
                    <a:cxn ang="0">
                      <a:pos x="896" y="1689"/>
                    </a:cxn>
                    <a:cxn ang="0">
                      <a:pos x="919" y="1804"/>
                    </a:cxn>
                    <a:cxn ang="0">
                      <a:pos x="965" y="1919"/>
                    </a:cxn>
                    <a:cxn ang="0">
                      <a:pos x="1069" y="2080"/>
                    </a:cxn>
                  </a:cxnLst>
                  <a:rect l="0" t="0" r="r" b="b"/>
                  <a:pathLst>
                    <a:path w="1070" h="2081">
                      <a:moveTo>
                        <a:pt x="0" y="0"/>
                      </a:moveTo>
                      <a:lnTo>
                        <a:pt x="160" y="92"/>
                      </a:lnTo>
                      <a:lnTo>
                        <a:pt x="287" y="184"/>
                      </a:lnTo>
                      <a:lnTo>
                        <a:pt x="379" y="265"/>
                      </a:lnTo>
                      <a:lnTo>
                        <a:pt x="459" y="368"/>
                      </a:lnTo>
                      <a:lnTo>
                        <a:pt x="551" y="483"/>
                      </a:lnTo>
                      <a:lnTo>
                        <a:pt x="666" y="632"/>
                      </a:lnTo>
                      <a:lnTo>
                        <a:pt x="747" y="770"/>
                      </a:lnTo>
                      <a:lnTo>
                        <a:pt x="793" y="908"/>
                      </a:lnTo>
                      <a:lnTo>
                        <a:pt x="804" y="1035"/>
                      </a:lnTo>
                      <a:lnTo>
                        <a:pt x="804" y="1149"/>
                      </a:lnTo>
                      <a:lnTo>
                        <a:pt x="816" y="1264"/>
                      </a:lnTo>
                      <a:lnTo>
                        <a:pt x="839" y="1402"/>
                      </a:lnTo>
                      <a:lnTo>
                        <a:pt x="862" y="1552"/>
                      </a:lnTo>
                      <a:lnTo>
                        <a:pt x="896" y="1689"/>
                      </a:lnTo>
                      <a:lnTo>
                        <a:pt x="919" y="1804"/>
                      </a:lnTo>
                      <a:lnTo>
                        <a:pt x="965" y="1919"/>
                      </a:lnTo>
                      <a:lnTo>
                        <a:pt x="1069" y="2080"/>
                      </a:lnTo>
                    </a:path>
                  </a:pathLst>
                </a:custGeom>
                <a:noFill/>
                <a:ln w="3175" cap="rnd" cmpd="sng">
                  <a:solidFill>
                    <a:srgbClr val="DDDDD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86" name="Freeform 300"/>
                <p:cNvSpPr>
                  <a:spLocks/>
                </p:cNvSpPr>
                <p:nvPr/>
              </p:nvSpPr>
              <p:spPr bwMode="gray">
                <a:xfrm>
                  <a:off x="3824" y="1143"/>
                  <a:ext cx="933" cy="205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38" y="69"/>
                    </a:cxn>
                    <a:cxn ang="0">
                      <a:pos x="230" y="138"/>
                    </a:cxn>
                    <a:cxn ang="0">
                      <a:pos x="334" y="218"/>
                    </a:cxn>
                    <a:cxn ang="0">
                      <a:pos x="449" y="333"/>
                    </a:cxn>
                    <a:cxn ang="0">
                      <a:pos x="598" y="483"/>
                    </a:cxn>
                    <a:cxn ang="0">
                      <a:pos x="725" y="620"/>
                    </a:cxn>
                    <a:cxn ang="0">
                      <a:pos x="828" y="747"/>
                    </a:cxn>
                    <a:cxn ang="0">
                      <a:pos x="897" y="885"/>
                    </a:cxn>
                    <a:cxn ang="0">
                      <a:pos x="909" y="1011"/>
                    </a:cxn>
                    <a:cxn ang="0">
                      <a:pos x="920" y="1137"/>
                    </a:cxn>
                    <a:cxn ang="0">
                      <a:pos x="920" y="1264"/>
                    </a:cxn>
                    <a:cxn ang="0">
                      <a:pos x="920" y="1413"/>
                    </a:cxn>
                    <a:cxn ang="0">
                      <a:pos x="920" y="1540"/>
                    </a:cxn>
                    <a:cxn ang="0">
                      <a:pos x="909" y="1677"/>
                    </a:cxn>
                    <a:cxn ang="0">
                      <a:pos x="909" y="1804"/>
                    </a:cxn>
                    <a:cxn ang="0">
                      <a:pos x="920" y="1942"/>
                    </a:cxn>
                    <a:cxn ang="0">
                      <a:pos x="932" y="2057"/>
                    </a:cxn>
                  </a:cxnLst>
                  <a:rect l="0" t="0" r="r" b="b"/>
                  <a:pathLst>
                    <a:path w="933" h="2058">
                      <a:moveTo>
                        <a:pt x="0" y="0"/>
                      </a:moveTo>
                      <a:lnTo>
                        <a:pt x="138" y="69"/>
                      </a:lnTo>
                      <a:lnTo>
                        <a:pt x="230" y="138"/>
                      </a:lnTo>
                      <a:lnTo>
                        <a:pt x="334" y="218"/>
                      </a:lnTo>
                      <a:lnTo>
                        <a:pt x="449" y="333"/>
                      </a:lnTo>
                      <a:lnTo>
                        <a:pt x="598" y="483"/>
                      </a:lnTo>
                      <a:lnTo>
                        <a:pt x="725" y="620"/>
                      </a:lnTo>
                      <a:lnTo>
                        <a:pt x="828" y="747"/>
                      </a:lnTo>
                      <a:lnTo>
                        <a:pt x="897" y="885"/>
                      </a:lnTo>
                      <a:lnTo>
                        <a:pt x="909" y="1011"/>
                      </a:lnTo>
                      <a:lnTo>
                        <a:pt x="920" y="1137"/>
                      </a:lnTo>
                      <a:lnTo>
                        <a:pt x="920" y="1264"/>
                      </a:lnTo>
                      <a:lnTo>
                        <a:pt x="920" y="1413"/>
                      </a:lnTo>
                      <a:lnTo>
                        <a:pt x="920" y="1540"/>
                      </a:lnTo>
                      <a:lnTo>
                        <a:pt x="909" y="1677"/>
                      </a:lnTo>
                      <a:lnTo>
                        <a:pt x="909" y="1804"/>
                      </a:lnTo>
                      <a:lnTo>
                        <a:pt x="920" y="1942"/>
                      </a:lnTo>
                      <a:lnTo>
                        <a:pt x="932" y="2057"/>
                      </a:lnTo>
                    </a:path>
                  </a:pathLst>
                </a:custGeom>
                <a:noFill/>
                <a:ln w="3175" cap="rnd" cmpd="sng">
                  <a:solidFill>
                    <a:srgbClr val="DDDDD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87" name="Line 301"/>
                <p:cNvSpPr>
                  <a:spLocks noChangeShapeType="1"/>
                </p:cNvSpPr>
                <p:nvPr/>
              </p:nvSpPr>
              <p:spPr bwMode="gray">
                <a:xfrm>
                  <a:off x="3955" y="2418"/>
                  <a:ext cx="1291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88" name="Line 302"/>
                <p:cNvSpPr>
                  <a:spLocks noChangeShapeType="1"/>
                </p:cNvSpPr>
                <p:nvPr/>
              </p:nvSpPr>
              <p:spPr bwMode="gray">
                <a:xfrm>
                  <a:off x="4001" y="2545"/>
                  <a:ext cx="1199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89" name="Line 303"/>
                <p:cNvSpPr>
                  <a:spLocks noChangeShapeType="1"/>
                </p:cNvSpPr>
                <p:nvPr/>
              </p:nvSpPr>
              <p:spPr bwMode="gray">
                <a:xfrm>
                  <a:off x="4070" y="2694"/>
                  <a:ext cx="1073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0" name="Line 304"/>
                <p:cNvSpPr>
                  <a:spLocks noChangeShapeType="1"/>
                </p:cNvSpPr>
                <p:nvPr/>
              </p:nvSpPr>
              <p:spPr bwMode="gray">
                <a:xfrm>
                  <a:off x="4150" y="2820"/>
                  <a:ext cx="947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1" name="Line 305"/>
                <p:cNvSpPr>
                  <a:spLocks noChangeShapeType="1"/>
                </p:cNvSpPr>
                <p:nvPr/>
              </p:nvSpPr>
              <p:spPr bwMode="gray">
                <a:xfrm>
                  <a:off x="4242" y="2947"/>
                  <a:ext cx="797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2" name="Line 306"/>
                <p:cNvSpPr>
                  <a:spLocks noChangeShapeType="1"/>
                </p:cNvSpPr>
                <p:nvPr/>
              </p:nvSpPr>
              <p:spPr bwMode="gray">
                <a:xfrm>
                  <a:off x="4334" y="3050"/>
                  <a:ext cx="636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3" name="Line 307"/>
                <p:cNvSpPr>
                  <a:spLocks noChangeShapeType="1"/>
                </p:cNvSpPr>
                <p:nvPr/>
              </p:nvSpPr>
              <p:spPr bwMode="gray">
                <a:xfrm>
                  <a:off x="4461" y="3142"/>
                  <a:ext cx="440" cy="0"/>
                </a:xfrm>
                <a:prstGeom prst="line">
                  <a:avLst/>
                </a:prstGeom>
                <a:noFill/>
                <a:ln w="3175">
                  <a:solidFill>
                    <a:srgbClr val="DDDDDD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 rtl="0" eaLnBrk="0" fontAlgn="t" latinLnBrk="1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ko-KR" altLang="en-US" sz="1000" kern="120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</p:grpSp>
      </p:grpSp>
      <p:sp>
        <p:nvSpPr>
          <p:cNvPr id="148" name="Rectangle 311"/>
          <p:cNvSpPr>
            <a:spLocks noChangeArrowheads="1"/>
          </p:cNvSpPr>
          <p:nvPr/>
        </p:nvSpPr>
        <p:spPr bwMode="auto">
          <a:xfrm>
            <a:off x="548393" y="1785708"/>
            <a:ext cx="4529137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algn="ctr" defTabSz="762000" rtl="0" eaLnBrk="0" fontAlgn="base" latinLnBrk="1" hangingPunct="0">
              <a:spcBef>
                <a:spcPct val="55000"/>
              </a:spcBef>
              <a:spcAft>
                <a:spcPct val="0"/>
              </a:spcAft>
              <a:buClr>
                <a:srgbClr val="000099"/>
              </a:buClr>
            </a:pPr>
            <a:r>
              <a:rPr lang="ko-KR" altLang="en-US" sz="1400" b="1" i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en-US" altLang="ko-KR" sz="1400" b="1" i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KPMG is the global advisory firm whose aim is to turn knowledge into value for the benefit of its clients, its people and its communities”</a:t>
            </a:r>
          </a:p>
        </p:txBody>
      </p:sp>
      <p:sp>
        <p:nvSpPr>
          <p:cNvPr id="149" name="Text Box 312"/>
          <p:cNvSpPr txBox="1">
            <a:spLocks noChangeArrowheads="1"/>
          </p:cNvSpPr>
          <p:nvPr/>
        </p:nvSpPr>
        <p:spPr bwMode="auto">
          <a:xfrm>
            <a:off x="1296075" y="2444886"/>
            <a:ext cx="2859372" cy="549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 defTabSz="762000" rtl="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GB" altLang="ko-KR" sz="1200" b="1" kern="1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혼신의 노력을 다하여 최고 </a:t>
            </a:r>
            <a:r>
              <a:rPr lang="en-GB" altLang="ko-KR" sz="1200" b="1" kern="1200" dirty="0" err="1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준의</a:t>
            </a:r>
            <a:r>
              <a:rPr lang="en-GB" altLang="ko-KR" sz="1200" b="1" kern="1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GB" altLang="ko-KR" sz="1200" b="1" kern="1200" dirty="0" err="1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성을</a:t>
            </a:r>
            <a:r>
              <a:rPr lang="en-GB" altLang="ko-KR" sz="1200" b="1" kern="1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개발하는 지식집단 </a:t>
            </a:r>
            <a:endParaRPr lang="ko-KR" altLang="en-GB" sz="1200" b="1" kern="1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0" name="Text Box 313"/>
          <p:cNvSpPr txBox="1">
            <a:spLocks noChangeArrowheads="1"/>
          </p:cNvSpPr>
          <p:nvPr/>
        </p:nvSpPr>
        <p:spPr bwMode="auto">
          <a:xfrm>
            <a:off x="565713" y="5473775"/>
            <a:ext cx="2033587" cy="648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rIns="0" anchor="t"/>
          <a:lstStyle/>
          <a:p>
            <a:pPr algn="ctr" defTabSz="762000" rtl="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원활한 정보전달과 공유를</a:t>
            </a:r>
            <a:r>
              <a:rPr lang="en-US" altLang="ko-KR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lang="en-US" altLang="ko-KR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통하여 전문지식을 </a:t>
            </a:r>
            <a:r>
              <a:rPr lang="en-US" altLang="ko-KR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lang="en-US" altLang="ko-KR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지속적으로 확대</a:t>
            </a:r>
            <a:r>
              <a:rPr lang="en-GB" altLang="ko-KR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발</a:t>
            </a:r>
            <a:endParaRPr lang="en-GB" altLang="ko-KR" sz="1200" b="1" kern="1200" dirty="0">
              <a:solidFill>
                <a:srgbClr val="336699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1" name="Text Box 314"/>
          <p:cNvSpPr txBox="1">
            <a:spLocks noChangeArrowheads="1"/>
          </p:cNvSpPr>
          <p:nvPr/>
        </p:nvSpPr>
        <p:spPr bwMode="auto">
          <a:xfrm>
            <a:off x="2819389" y="5473775"/>
            <a:ext cx="2034000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anchor="t">
            <a:spAutoFit/>
          </a:bodyPr>
          <a:lstStyle/>
          <a:p>
            <a:pPr algn="ctr" defTabSz="762000" rtl="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</a:t>
            </a:r>
            <a:r>
              <a:rPr lang="ko-KR" altLang="en-US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의 </a:t>
            </a:r>
            <a:r>
              <a:rPr lang="ko-KR" altLang="en-GB" sz="1200" b="1" kern="1200" dirty="0">
                <a:solidFill>
                  <a:srgbClr val="3366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다양한 요구를 충족시킴으로써 최상의 고객가치 창출</a:t>
            </a:r>
            <a:endParaRPr lang="en-GB" altLang="ko-KR" sz="1200" b="1" kern="1200" dirty="0">
              <a:solidFill>
                <a:srgbClr val="336699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22" name="그룹 162"/>
          <p:cNvGrpSpPr/>
          <p:nvPr/>
        </p:nvGrpSpPr>
        <p:grpSpPr>
          <a:xfrm>
            <a:off x="1246893" y="3003878"/>
            <a:ext cx="2913062" cy="2444750"/>
            <a:chOff x="1246893" y="3003878"/>
            <a:chExt cx="2913062" cy="2444750"/>
          </a:xfrm>
        </p:grpSpPr>
        <p:sp>
          <p:nvSpPr>
            <p:cNvPr id="145" name="Oval 308"/>
            <p:cNvSpPr>
              <a:spLocks noChangeArrowheads="1"/>
            </p:cNvSpPr>
            <p:nvPr/>
          </p:nvSpPr>
          <p:spPr bwMode="auto">
            <a:xfrm>
              <a:off x="2540705" y="3865890"/>
              <a:ext cx="1612900" cy="1570038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6" name="Oval 309"/>
            <p:cNvSpPr>
              <a:spLocks noChangeArrowheads="1"/>
            </p:cNvSpPr>
            <p:nvPr/>
          </p:nvSpPr>
          <p:spPr bwMode="auto">
            <a:xfrm>
              <a:off x="1248480" y="3878590"/>
              <a:ext cx="1614488" cy="1570038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7" name="Oval 310"/>
            <p:cNvSpPr>
              <a:spLocks noChangeArrowheads="1"/>
            </p:cNvSpPr>
            <p:nvPr/>
          </p:nvSpPr>
          <p:spPr bwMode="auto">
            <a:xfrm>
              <a:off x="1888243" y="3003878"/>
              <a:ext cx="1614487" cy="1570037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_s1028"/>
            <p:cNvSpPr>
              <a:spLocks noChangeArrowheads="1" noTextEdit="1"/>
            </p:cNvSpPr>
            <p:nvPr>
              <p:custDataLst>
                <p:tags r:id="rId1"/>
              </p:custDataLst>
            </p:nvPr>
          </p:nvSpPr>
          <p:spPr bwMode="auto">
            <a:xfrm>
              <a:off x="1888243" y="3003878"/>
              <a:ext cx="1614487" cy="1570037"/>
            </a:xfrm>
            <a:prstGeom prst="ellipse">
              <a:avLst/>
            </a:prstGeom>
            <a:solidFill>
              <a:srgbClr val="0C2D83">
                <a:alpha val="50000"/>
              </a:srgbClr>
            </a:solidFill>
            <a:ln w="6350">
              <a:solidFill>
                <a:srgbClr val="0C2D83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_s1032"/>
            <p:cNvSpPr>
              <a:spLocks noChangeArrowheads="1" noTextEdit="1"/>
            </p:cNvSpPr>
            <p:nvPr>
              <p:custDataLst>
                <p:tags r:id="rId2"/>
              </p:custDataLst>
            </p:nvPr>
          </p:nvSpPr>
          <p:spPr bwMode="auto">
            <a:xfrm>
              <a:off x="2547055" y="3872240"/>
              <a:ext cx="1612900" cy="1570038"/>
            </a:xfrm>
            <a:prstGeom prst="ellipse">
              <a:avLst/>
            </a:prstGeom>
            <a:solidFill>
              <a:srgbClr val="CCD6E3">
                <a:alpha val="50000"/>
              </a:srgbClr>
            </a:solidFill>
            <a:ln w="6350">
              <a:solidFill>
                <a:srgbClr val="CCD6E3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_s1034"/>
            <p:cNvSpPr>
              <a:spLocks noChangeArrowheads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1246893" y="3873828"/>
              <a:ext cx="1612900" cy="1570037"/>
            </a:xfrm>
            <a:prstGeom prst="ellipse">
              <a:avLst/>
            </a:prstGeom>
            <a:solidFill>
              <a:srgbClr val="808000">
                <a:alpha val="50000"/>
              </a:srgbClr>
            </a:solidFill>
            <a:ln w="6350">
              <a:solidFill>
                <a:srgbClr val="F5B36A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l" rtl="0" eaLnBrk="0" fontAlgn="t" latinLnBrk="1" hangingPunct="0">
                <a:spcBef>
                  <a:spcPct val="50000"/>
                </a:spcBef>
                <a:spcAft>
                  <a:spcPct val="0"/>
                </a:spcAft>
              </a:pPr>
              <a:endParaRPr lang="ko-KR" altLang="en-US" sz="10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5" name="Text Box 318"/>
            <p:cNvSpPr txBox="1">
              <a:spLocks noChangeArrowheads="1"/>
            </p:cNvSpPr>
            <p:nvPr/>
          </p:nvSpPr>
          <p:spPr bwMode="auto">
            <a:xfrm>
              <a:off x="3048046" y="4543619"/>
              <a:ext cx="838691" cy="3385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285750" indent="-285750" algn="l" defTabSz="762000" rtl="0" eaLnBrk="0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rgbClr val="000099"/>
                </a:buClr>
              </a:pPr>
              <a:r>
                <a:rPr lang="en-GB" altLang="ko-KR" sz="16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Clients</a:t>
              </a:r>
            </a:p>
          </p:txBody>
        </p:sp>
        <p:sp>
          <p:nvSpPr>
            <p:cNvPr id="156" name="Text Box 319"/>
            <p:cNvSpPr txBox="1">
              <a:spLocks noChangeArrowheads="1"/>
            </p:cNvSpPr>
            <p:nvPr/>
          </p:nvSpPr>
          <p:spPr bwMode="auto">
            <a:xfrm>
              <a:off x="1381100" y="4543619"/>
              <a:ext cx="1269899" cy="3385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285750" indent="-285750" algn="l" defTabSz="762000" rtl="0" eaLnBrk="0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rgbClr val="000099"/>
                </a:buClr>
              </a:pPr>
              <a:r>
                <a:rPr lang="en-GB" altLang="ko-KR" sz="16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Knowledge</a:t>
              </a:r>
            </a:p>
          </p:txBody>
        </p:sp>
        <p:sp>
          <p:nvSpPr>
            <p:cNvPr id="157" name="Text Box 320"/>
            <p:cNvSpPr txBox="1">
              <a:spLocks noChangeArrowheads="1"/>
            </p:cNvSpPr>
            <p:nvPr/>
          </p:nvSpPr>
          <p:spPr bwMode="auto">
            <a:xfrm>
              <a:off x="2257028" y="3381577"/>
              <a:ext cx="839910" cy="3385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285750" indent="-285750" algn="l" defTabSz="762000" rtl="0" eaLnBrk="0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rgbClr val="000099"/>
                </a:buClr>
              </a:pPr>
              <a:r>
                <a:rPr lang="en-US" altLang="ko-KR" sz="1600" b="1" kern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People</a:t>
              </a:r>
            </a:p>
          </p:txBody>
        </p:sp>
        <p:pic>
          <p:nvPicPr>
            <p:cNvPr id="158" name="Picture 332" descr="KPMG_150_Blue"/>
            <p:cNvPicPr>
              <a:picLocks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949434" y="3843232"/>
              <a:ext cx="1492250" cy="665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9" name="Text Box 34"/>
          <p:cNvSpPr txBox="1">
            <a:spLocks noChangeArrowheads="1"/>
          </p:cNvSpPr>
          <p:nvPr/>
        </p:nvSpPr>
        <p:spPr bwMode="gray">
          <a:xfrm>
            <a:off x="5456114" y="1843880"/>
            <a:ext cx="4211794" cy="14634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9388" indent="-179388" algn="l" rtl="0" latinLnBrk="1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세계 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4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대 회계법인 및 종합 컨설팅 회사</a:t>
            </a: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1870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년 영국 런던 설립</a:t>
            </a: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2014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년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USD248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억 매출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(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컨설팅 부문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USD91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억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)</a:t>
            </a:r>
            <a:endParaRPr lang="ko-KR" altLang="en-US" sz="1100" b="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전세계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155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국에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162,000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여명 전문인력 및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/>
            </a:r>
            <a:b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</a:b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Global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네트워크 보유</a:t>
            </a:r>
            <a:endParaRPr lang="en-US" altLang="ko-KR" sz="1100" b="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컨설팅 부문은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105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국에 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44,000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여명의 컨설턴트 보유 </a:t>
            </a:r>
          </a:p>
        </p:txBody>
      </p:sp>
      <p:sp>
        <p:nvSpPr>
          <p:cNvPr id="160" name="Text Box 36"/>
          <p:cNvSpPr txBox="1">
            <a:spLocks noChangeArrowheads="1"/>
          </p:cNvSpPr>
          <p:nvPr/>
        </p:nvSpPr>
        <p:spPr bwMode="gray">
          <a:xfrm>
            <a:off x="5508874" y="3437922"/>
            <a:ext cx="3913936" cy="634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algn="l" rtl="0" latinLnBrk="1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금융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IT,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제조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통신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공공 등 전 산업에 걸쳐 다양한 컨설팅 경험 보유</a:t>
            </a:r>
          </a:p>
        </p:txBody>
      </p:sp>
      <p:sp>
        <p:nvSpPr>
          <p:cNvPr id="161" name="Text Box 38"/>
          <p:cNvSpPr txBox="1">
            <a:spLocks noChangeArrowheads="1"/>
          </p:cNvSpPr>
          <p:nvPr/>
        </p:nvSpPr>
        <p:spPr bwMode="gray">
          <a:xfrm>
            <a:off x="5456114" y="4357694"/>
            <a:ext cx="3888000" cy="1734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9388" indent="-179388" algn="l" rtl="0" latinLnBrk="1">
              <a:lnSpc>
                <a:spcPct val="1100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회계 및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재무자문 외에 전략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프로세스 개선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IT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컨설팅 등 </a:t>
            </a:r>
            <a:r>
              <a:rPr lang="en-US" altLang="ko-KR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Full Line-up </a:t>
            </a:r>
            <a:r>
              <a:rPr lang="ko-KR" altLang="en-US" sz="1600" b="1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보유  </a:t>
            </a: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경영전략 및 경영관리 컨설팅</a:t>
            </a:r>
            <a:endParaRPr lang="en-US" altLang="ko-KR" sz="1100" b="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상품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마케팅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영업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,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구매 등 기능 전략</a:t>
            </a:r>
            <a:endParaRPr lang="en-US" altLang="ko-KR" sz="1100" b="0" i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비즈니스 프로세스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(BPR, PI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등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)</a:t>
            </a: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IT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컨설팅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(ISP, EA, PMO, IT Governance, IT ROI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등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)</a:t>
            </a:r>
          </a:p>
          <a:p>
            <a:pPr marL="361950" lvl="1" indent="-180975" algn="l" rtl="0" latinLnBrk="1">
              <a:lnSpc>
                <a:spcPct val="110000"/>
              </a:lnSpc>
              <a:spcBef>
                <a:spcPct val="20000"/>
              </a:spcBef>
              <a:buFont typeface="Wingdings 3" pitchFamily="18" charset="2"/>
              <a:buChar char="}"/>
              <a:defRPr/>
            </a:pP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리스크 및 </a:t>
            </a:r>
            <a:r>
              <a:rPr lang="ko-KR" altLang="en-US" sz="1100" b="0" i="1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컴플라이언스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컨설팅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(SOX, AML, IFRS </a:t>
            </a:r>
            <a:r>
              <a:rPr lang="ko-KR" altLang="en-US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등</a:t>
            </a:r>
            <a:r>
              <a:rPr lang="en-US" altLang="ko-KR" sz="1100" b="0" i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)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3749606" y="1365679"/>
            <a:ext cx="25951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 fontAlgn="base" latinLnBrk="1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KPMG International </a:t>
            </a:r>
            <a:r>
              <a: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현황</a:t>
            </a:r>
            <a:endParaRPr lang="en-US" altLang="ko-KR" sz="1600" b="1" kern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5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춘근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Application Architecture 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5"/>
          <a:ext cx="9360926" cy="4793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6264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02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~ </a:t>
                      </a:r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을 위한 마스터 플랜 수립 컨설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어플리케이션 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 리드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0275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카드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1 ~ 2016.07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H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카드차세대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P</a:t>
                      </a:r>
                      <a:endParaRPr kumimoji="0" 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IT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총괄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0275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B</a:t>
                      </a:r>
                      <a:r>
                        <a:rPr lang="ko-KR" altLang="en-US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은행</a:t>
                      </a:r>
                      <a:endParaRPr 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8 ~ 2015.12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EB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은행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합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kumimoji="0" 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00" baseline="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아키텍처 설계</a:t>
                      </a:r>
                      <a:r>
                        <a:rPr lang="en-US" altLang="ko-KR" sz="1200" kern="10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1200" kern="10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시스템 용량산정</a:t>
                      </a:r>
                      <a:r>
                        <a:rPr lang="en-US" altLang="ko-KR" sz="1200" kern="10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1200" kern="10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솔루션 도입 및 </a:t>
                      </a:r>
                      <a:r>
                        <a:rPr lang="en-US" altLang="ko-KR" sz="1200" kern="10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POC</a:t>
                      </a:r>
                      <a:r>
                        <a:rPr lang="en-US" altLang="ko-KR" sz="1200" kern="100" baseline="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/BMT </a:t>
                      </a:r>
                      <a:r>
                        <a:rPr lang="ko-KR" altLang="en-US" sz="1200" kern="100" baseline="0" dirty="0">
                          <a:latin typeface="맑은 고딕" pitchFamily="50" charset="-127"/>
                          <a:ea typeface="맑은 고딕" panose="020B0503020000020004" pitchFamily="50" charset="-127"/>
                          <a:cs typeface="Arial"/>
                        </a:rPr>
                        <a:t>수행 지원</a:t>
                      </a:r>
                      <a:endParaRPr lang="en-US" altLang="ko-KR" sz="1200" kern="100" dirty="0">
                        <a:latin typeface="맑은 고딕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57008" marR="57008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8634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라이나생명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9 ~ 2015.07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Application Outsourcing 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사업</a:t>
                      </a:r>
                    </a:p>
                  </a:txBody>
                  <a:tcPr marL="36000" marR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품질관리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0776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흥국생명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3 ~ 2014.08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정보공동활용 체계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ISP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정보공용 아키텍처 방향성 수립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계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요건 관리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027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더케이</a:t>
                      </a: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 저축은행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8 ~ 2014.0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정보보안체계 고도화 사업</a:t>
                      </a:r>
                      <a:endParaRPr kumimoji="0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프로젝트 총괄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려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가람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저축은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5 ~ 2013.08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방향성 수립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요건 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코베아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 ~ 2013.05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방향성 수립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요건 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려신용정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6 ~ 2012.10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방향성 수립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요건 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더케이</a:t>
                      </a:r>
                      <a:endParaRPr kumimoji="0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저축은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4 ~ 2012.05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시스템 구축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 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어플리케이션 아키텍처 방향성 수립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요건 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792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춘근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Application Architecture 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37"/>
          <a:ext cx="9360926" cy="1566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2022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36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천공항공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7 ~ 2012.01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화통합관리체계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수립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 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점의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자원관리 개선 기회 및 과제 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36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림수산 </a:t>
                      </a:r>
                      <a:r>
                        <a:rPr kumimoji="0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식품부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8 ~ 2011.02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Architecture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도화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점의 어플리케이션 아키텍처 방향성 및 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83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통신산업 진흥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3 ~ 2010.07</a:t>
                      </a:r>
                      <a:endParaRPr kumimoji="0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반 </a:t>
                      </a: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 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</a:t>
                      </a:r>
                      <a:r>
                        <a:rPr kumimoji="0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점의 어플리케이션 아키텍처 방향성 및 설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955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정혜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Data Architecture 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정혜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 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여자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타와이드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6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 2016.09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 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DA, 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빅데이터 담당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1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2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ata Architect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0" name="Picture 2" descr="MoonSeoYoon"/>
          <p:cNvPicPr>
            <a:picLocks noChangeAspect="1" noChangeArrowheads="1"/>
          </p:cNvPicPr>
          <p:nvPr/>
        </p:nvPicPr>
        <p:blipFill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820" y="1802312"/>
            <a:ext cx="1262350" cy="1507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8494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정혜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Data Architecture (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65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9~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차세대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P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립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</a:p>
                  </a:txBody>
                  <a:tcPr marL="72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0~2013.06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빅데이터 솔루션 구축 프로젝트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빅데이터 모델링 표준 정립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LG CNS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내부 빅데이터 솔루션 구축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 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2~2012.10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차세대구축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 Team Leader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9~2011.02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, Data Gavernance/Conceptual Model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축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2~2010.07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차세대구축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탁원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3~2009.09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탁정보차세대구축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굿모닝신한증권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7~2009.01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굿모닝신한증권차세대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업은행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3~2008.07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업은행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생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1~2008.03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생명차세대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법부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05~2006.12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형사사법통합정보프로젝트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5773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정혜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Data Architecture (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1137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행정부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5.01~2006.04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행정정보공유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업무분석설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11~2004.12</a:t>
                      </a:r>
                      <a:endParaRPr kumimoji="0" lang="ko-KR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시교통카드</a:t>
                      </a:r>
                      <a:endParaRPr lang="ko-KR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업무분석설계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677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동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chnical/</a:t>
            </a:r>
            <a:r>
              <a:rPr lang="en-US" altLang="ko-KR" dirty="0" smtClean="0"/>
              <a:t>Security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e (1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동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 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/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/SA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홍익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99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속재료공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2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아키텍쳐 컨설팅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6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1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W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Architect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1" name="Picture 10"/>
          <p:cNvPicPr preferRelativeResize="0">
            <a:picLocks/>
          </p:cNvPicPr>
          <p:nvPr/>
        </p:nvPicPr>
        <p:blipFill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130" y="1837518"/>
            <a:ext cx="1188000" cy="14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025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동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65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B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민은행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8~</a:t>
                      </a:r>
                      <a:r>
                        <a:rPr kumimoji="0" lang="ko-KR" alt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st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전략 컨설팅 프로젝트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술검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안 </a:t>
                      </a:r>
                    </a:p>
                  </a:txBody>
                  <a:tcPr marL="72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DB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산업은행</a:t>
                      </a:r>
                      <a:endParaRPr lang="en-US" altLang="ko-KR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1 ~ 2016.04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DB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산업은행 요건정의 프로젝트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솔루션 검증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A, AA, SA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수립 지원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보생명</a:t>
                      </a:r>
                      <a:endParaRPr lang="en-US" altLang="ko-KR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8 ~ 2015.1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보생명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3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술검증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플랫폼 기술 검증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4 ~ 2015.07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리은행 차세대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A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수립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솔루션 선정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</a:t>
                      </a:r>
                      <a:endParaRPr lang="ko-KR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2 ~ 2015.03</a:t>
                      </a:r>
                      <a:endParaRPr kumimoji="0" 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이나생명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A ISP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A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수립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BK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업은행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2 ~ 2014.10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BK Post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프라 담당 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보디지털생명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2 ~ 2013.01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교보디지털생명 시스템 구축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W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L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금보험공사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0 ~ 2012.11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금보험공사 통하아웃소싱 최적화 진단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미들웨어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어플리케이션 아키텍처 진단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거래소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12 ~ 2012.07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거래소 스마트 경영정보 시스템 구축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레임워크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술지원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A, AA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설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3 ~ 2011.10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카드 신시스템 구축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W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L</a:t>
                      </a:r>
                      <a:endParaRPr lang="ko-KR" altLang="en-US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536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동철 이사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/3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29013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탁결제원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2 ~ 2011.02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탁결제원 차세대 프로젝트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W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설계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내외 인터페이스 개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카드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8 ~ 2009.12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카드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프로젝트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W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설계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IG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4 ~ 2008.07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IG Korea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영업 시스템 구축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W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키텍처 설계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내외 인터페이스 개발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6.02 ~ 2007.04</a:t>
                      </a:r>
                      <a:endParaRPr kumimoji="0" lang="ko-KR" altLang="ko-KR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 프레임워크 개발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금융 프레임워크 설계 및 개발</a:t>
                      </a:r>
                      <a:endParaRPr lang="en-US" altLang="ko-KR" sz="1100" kern="120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</a:t>
                      </a:r>
                      <a:endParaRPr lang="en-US" altLang="ko-KR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7 ~ 2006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카드 </a:t>
                      </a:r>
                      <a:r>
                        <a:rPr lang="en-US" altLang="ko-KR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RM </a:t>
                      </a: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운영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RM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개발 및 운영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0.06 ~ 2003.07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술대학원 전임 강사</a:t>
                      </a:r>
                      <a:endParaRPr lang="en-US" altLang="ko-KR" sz="1100" b="0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1" hangingPunct="1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Java, Oracle, PB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강의 및 과정 개발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63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화선 부장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284195" y="1444526"/>
            <a:ext cx="157264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b="1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사항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284195" y="3648386"/>
            <a:ext cx="1144865" cy="246221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>
            <a:defPPr>
              <a:defRPr lang="en-US"/>
            </a:defPPr>
            <a:lvl1pPr marL="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sz="160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력사항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27" name="Table 10"/>
          <p:cNvGraphicFramePr>
            <a:graphicFrameLocks noGrp="1"/>
          </p:cNvGraphicFramePr>
          <p:nvPr>
            <p:extLst/>
          </p:nvPr>
        </p:nvGraphicFramePr>
        <p:xfrm>
          <a:off x="283921" y="1715818"/>
          <a:ext cx="9348805" cy="1674024"/>
        </p:xfrm>
        <a:graphic>
          <a:graphicData uri="http://schemas.openxmlformats.org/drawingml/2006/table">
            <a:tbl>
              <a:tblPr firstRow="1" bandRow="1"/>
              <a:tblGrid>
                <a:gridCol w="1400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05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35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9004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화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 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 별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영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보호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 모델 수립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업체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본 프로젝트 역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/SA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eaLnBrk="1" latinLnBrk="0" hangingPunct="1">
                        <a:lnSpc>
                          <a:spcPct val="9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사항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학교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졸업년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공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국대학교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3.0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산통계학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00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8" name="Table 5"/>
          <p:cNvGraphicFramePr>
            <a:graphicFrameLocks noGrp="1"/>
          </p:cNvGraphicFramePr>
          <p:nvPr>
            <p:extLst/>
          </p:nvPr>
        </p:nvGraphicFramePr>
        <p:xfrm>
          <a:off x="272725" y="3946393"/>
          <a:ext cx="9360000" cy="1021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1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90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39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694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직처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 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cap="none" baseline="0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1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Y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2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재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보호 컨설팅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2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이쓰리시큐리티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2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~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10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보호 및 개인정보보호 컨설팅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0" name="_x192172288" descr="EMB00000cb43600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41" y="1848130"/>
            <a:ext cx="1341282" cy="1459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781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화선 부장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665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금융지주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6~2016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통제 이상징후 탐지시스템 구축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나리오 수립 및 데이터 검증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01~2016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정보 유출탐지시스템 고도화 구축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 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L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안로그 데이터 정의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보보안 빅데이터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상징후 탐지 체계 분석 및 탐지 시나리오 적용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교화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화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6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합 보안위협 관리시스템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나리오 수립 및 데이터 검증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캐피탈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.06~2015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5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정기 취약성 점검 및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MS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 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, ISMS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체계 수립 및 인증 획득 지원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금융분야 취약점 진단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수립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책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지침 개정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내부감사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쓰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오일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2~2015.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쓰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오일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MS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MS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증 획득 및 인증관리 시스템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L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 취약점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인정보 흐름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수립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드림라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드림라인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MS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후심사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SMS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증 사후심사 결함조치 지원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리바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현대리바트 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MS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증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SMS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증 사후심사 결함조치 지원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타이어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8~2014.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타이어 정보보안 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보보호 관리체계 수립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ISO27001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준 관리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물리 취약점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수립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책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지침 제개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천국제공항공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5~2014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천국제공항공사 기반시설 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요 정보통신기반시설 관리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물리 취약점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침해사고 모의훈련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수립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포츠토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포츠토토 투표권시스템 보안유지보수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산분석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1846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en-US" altLang="ko-KR" dirty="0"/>
              <a:t>–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ernational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2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글로벌 주요 </a:t>
            </a:r>
            <a:r>
              <a:rPr lang="ko-KR" altLang="en-US" dirty="0" err="1"/>
              <a:t>고객사들과의</a:t>
            </a:r>
            <a:r>
              <a:rPr lang="ko-KR" altLang="en-US" dirty="0"/>
              <a:t> </a:t>
            </a:r>
            <a:r>
              <a:rPr lang="en-US" altLang="ko-KR" dirty="0"/>
              <a:t>Long-term Partnership </a:t>
            </a:r>
            <a:r>
              <a:rPr lang="ko-KR" altLang="en-US" dirty="0"/>
              <a:t>관계를 유지하며</a:t>
            </a:r>
            <a:r>
              <a:rPr lang="en-US" altLang="ko-KR" dirty="0"/>
              <a:t> </a:t>
            </a:r>
            <a:r>
              <a:rPr lang="ko-KR" altLang="en-US" dirty="0" smtClean="0"/>
              <a:t>주요 </a:t>
            </a:r>
            <a:r>
              <a:rPr lang="ko-KR" altLang="en-US" dirty="0"/>
              <a:t>기업 </a:t>
            </a:r>
            <a:r>
              <a:rPr lang="en-US" altLang="ko-KR" dirty="0"/>
              <a:t>CEO</a:t>
            </a:r>
            <a:r>
              <a:rPr lang="ko-KR" altLang="en-US" dirty="0"/>
              <a:t>들로부터 높은 평가를 받고 있음</a:t>
            </a:r>
          </a:p>
        </p:txBody>
      </p:sp>
      <p:sp>
        <p:nvSpPr>
          <p:cNvPr id="174" name="Text Box 39"/>
          <p:cNvSpPr txBox="1">
            <a:spLocks noChangeArrowheads="1"/>
          </p:cNvSpPr>
          <p:nvPr/>
        </p:nvSpPr>
        <p:spPr bwMode="auto">
          <a:xfrm>
            <a:off x="6337738" y="2309559"/>
            <a:ext cx="3051175" cy="3855105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90488" indent="-90488">
              <a:lnSpc>
                <a:spcPct val="95000"/>
              </a:lnSpc>
              <a:buFont typeface="Wingdings" pitchFamily="2" charset="2"/>
              <a:buNone/>
            </a:pPr>
            <a:endParaRPr lang="ko-KR" altLang="en-US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5" name="AutoShape 40"/>
          <p:cNvSpPr>
            <a:spLocks noChangeArrowheads="1"/>
          </p:cNvSpPr>
          <p:nvPr/>
        </p:nvSpPr>
        <p:spPr bwMode="auto">
          <a:xfrm>
            <a:off x="6334563" y="2020585"/>
            <a:ext cx="3054350" cy="376301"/>
          </a:xfrm>
          <a:prstGeom prst="homePlat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54000" tIns="36000" rIns="54000" bIns="36000" numCol="1" rtlCol="0" anchor="ctr" anchorCtr="0" compatLnSpc="1">
            <a:prstTxWarp prst="textNoShape">
              <a:avLst/>
            </a:prstTxWarp>
          </a:bodyPr>
          <a:lstStyle/>
          <a:p>
            <a:pPr marL="174625" indent="-174625" eaLnBrk="0" hangingPunct="0">
              <a:buClr>
                <a:srgbClr val="365AA8"/>
              </a:buClr>
              <a:buSzPct val="50000"/>
            </a:pPr>
            <a:r>
              <a:rPr lang="en-US" altLang="ko-KR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KPMG</a:t>
            </a:r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에 대한 주요 고객사 </a:t>
            </a:r>
            <a:r>
              <a:rPr lang="en-US" altLang="ko-KR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CEO</a:t>
            </a:r>
            <a:r>
              <a:rPr lang="ko-KR" altLang="en-US" sz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들의 평가</a:t>
            </a:r>
            <a:endParaRPr lang="en-US" altLang="ko-KR" sz="12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Text Box 41"/>
          <p:cNvSpPr txBox="1">
            <a:spLocks noChangeArrowheads="1"/>
          </p:cNvSpPr>
          <p:nvPr/>
        </p:nvSpPr>
        <p:spPr bwMode="gray">
          <a:xfrm>
            <a:off x="6506807" y="2468554"/>
            <a:ext cx="2713037" cy="36015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“KPMG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는 훌륭한 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artner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로서 저희 회사의 성장과 함께 하고 있습니다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히 </a:t>
            </a:r>
            <a:r>
              <a:rPr kumimoji="0" lang="ko-KR" altLang="en-US" sz="1200" b="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증된 전문가들의 회사 전반에 걸친 종합적인 자문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은 회사의 발전에 큰 기여를 하고 있습니다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“</a:t>
            </a:r>
          </a:p>
          <a:p>
            <a:pPr algn="r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–Exxon Mobile CEO, </a:t>
            </a:r>
          </a:p>
          <a:p>
            <a:pPr algn="r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x Tillerson–</a:t>
            </a:r>
          </a:p>
          <a:p>
            <a:pPr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“KPMG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가장 큰 장점은 </a:t>
            </a:r>
            <a:r>
              <a:rPr kumimoji="0" lang="en-US" altLang="ko-KR" sz="1200" b="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Industry</a:t>
            </a:r>
            <a:r>
              <a:rPr kumimoji="0" lang="ko-KR" altLang="en-US" sz="1200" b="0" i="1" u="sng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 전문가들이 충분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하며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고객사들에게 언제든지 최상의 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Value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제공할 수 있는 역량을 보유하고 있다는 겁니다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. KPMG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주는 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Value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우리와 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간 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Long-term Partnership</a:t>
            </a:r>
            <a:r>
              <a:rPr kumimoji="0" lang="ko-KR" altLang="en-US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유지하고 있는 이유입니다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.”</a:t>
            </a:r>
          </a:p>
          <a:p>
            <a:pPr algn="r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–</a:t>
            </a: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itigroup CEO, </a:t>
            </a:r>
          </a:p>
          <a:p>
            <a:pPr algn="r">
              <a:spcBef>
                <a:spcPct val="20000"/>
              </a:spcBef>
              <a:spcAft>
                <a:spcPct val="20000"/>
              </a:spcAft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b="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ndy Weill–</a:t>
            </a:r>
          </a:p>
        </p:txBody>
      </p:sp>
      <p:sp>
        <p:nvSpPr>
          <p:cNvPr id="179" name="AutoShape 44"/>
          <p:cNvSpPr>
            <a:spLocks noChangeArrowheads="1"/>
          </p:cNvSpPr>
          <p:nvPr/>
        </p:nvSpPr>
        <p:spPr bwMode="auto">
          <a:xfrm rot="5400000" flipH="1">
            <a:off x="5111730" y="4076555"/>
            <a:ext cx="1883253" cy="321113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16000">
                <a:srgbClr val="B2B2B2">
                  <a:gamma/>
                  <a:tint val="0"/>
                  <a:invGamma/>
                </a:srgbClr>
              </a:gs>
              <a:gs pos="75000">
                <a:srgbClr val="B2B2B2"/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Text Box 25"/>
          <p:cNvSpPr txBox="1">
            <a:spLocks noChangeArrowheads="1"/>
          </p:cNvSpPr>
          <p:nvPr/>
        </p:nvSpPr>
        <p:spPr bwMode="auto">
          <a:xfrm>
            <a:off x="3985998" y="6091295"/>
            <a:ext cx="1922570" cy="2191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eaLnBrk="0" fontAlgn="t" hangingPunct="0"/>
            <a:r>
              <a:rPr kumimoji="0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ource: KPMG </a:t>
            </a:r>
            <a:r>
              <a:rPr kumimoji="0" lang="ko-KR" altLang="en-US" sz="10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자료</a:t>
            </a:r>
            <a:r>
              <a:rPr kumimoji="0" lang="en-US" altLang="ko-KR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2014</a:t>
            </a:r>
            <a:r>
              <a:rPr kumimoji="0" lang="ko-KR" altLang="en-US" sz="9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</a:t>
            </a:r>
            <a:endParaRPr kumimoji="0" lang="en-US" altLang="ko-KR" sz="9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Text Box 27"/>
          <p:cNvSpPr txBox="1">
            <a:spLocks noChangeArrowheads="1"/>
          </p:cNvSpPr>
          <p:nvPr/>
        </p:nvSpPr>
        <p:spPr bwMode="gray">
          <a:xfrm>
            <a:off x="1456511" y="1844824"/>
            <a:ext cx="3500438" cy="282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계 주요 기업 중 </a:t>
            </a:r>
            <a:r>
              <a:rPr kumimoji="0" lang="en-US" altLang="ko-KR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PMG</a:t>
            </a:r>
            <a:r>
              <a:rPr kumimoji="0" lang="ko-KR" altLang="en-US" sz="13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고객 비중 </a:t>
            </a:r>
          </a:p>
        </p:txBody>
      </p:sp>
      <p:sp>
        <p:nvSpPr>
          <p:cNvPr id="166" name="Line 28"/>
          <p:cNvSpPr>
            <a:spLocks noChangeShapeType="1"/>
          </p:cNvSpPr>
          <p:nvPr/>
        </p:nvSpPr>
        <p:spPr bwMode="auto">
          <a:xfrm>
            <a:off x="826323" y="2132855"/>
            <a:ext cx="4760814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7" name="Line 32"/>
          <p:cNvSpPr>
            <a:spLocks noChangeShapeType="1"/>
          </p:cNvSpPr>
          <p:nvPr/>
        </p:nvSpPr>
        <p:spPr bwMode="auto">
          <a:xfrm flipV="1">
            <a:off x="1776850" y="2528152"/>
            <a:ext cx="1536699" cy="750319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8" name="Line 33"/>
          <p:cNvSpPr>
            <a:spLocks noChangeShapeType="1"/>
          </p:cNvSpPr>
          <p:nvPr/>
        </p:nvSpPr>
        <p:spPr bwMode="auto">
          <a:xfrm>
            <a:off x="1776850" y="5261418"/>
            <a:ext cx="1470375" cy="838714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69" name="Picture 34" descr="제목 없음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638" y="2528156"/>
            <a:ext cx="2332038" cy="3485979"/>
          </a:xfrm>
          <a:prstGeom prst="rect">
            <a:avLst/>
          </a:prstGeom>
          <a:noFill/>
        </p:spPr>
      </p:pic>
      <p:sp>
        <p:nvSpPr>
          <p:cNvPr id="170" name="Rectangle 35"/>
          <p:cNvSpPr>
            <a:spLocks noChangeArrowheads="1"/>
          </p:cNvSpPr>
          <p:nvPr/>
        </p:nvSpPr>
        <p:spPr bwMode="auto">
          <a:xfrm>
            <a:off x="3313551" y="2695544"/>
            <a:ext cx="2519362" cy="239565"/>
          </a:xfrm>
          <a:prstGeom prst="rect">
            <a:avLst/>
          </a:prstGeom>
          <a:noFill/>
          <a:ln w="28575" algn="ctr">
            <a:solidFill>
              <a:srgbClr val="A5002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1" name="Rectangle 36"/>
          <p:cNvSpPr>
            <a:spLocks noChangeArrowheads="1"/>
          </p:cNvSpPr>
          <p:nvPr/>
        </p:nvSpPr>
        <p:spPr bwMode="auto">
          <a:xfrm>
            <a:off x="3313551" y="3125533"/>
            <a:ext cx="2519362" cy="707945"/>
          </a:xfrm>
          <a:prstGeom prst="rect">
            <a:avLst/>
          </a:prstGeom>
          <a:noFill/>
          <a:ln w="28575" algn="ctr">
            <a:solidFill>
              <a:srgbClr val="A5002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2" name="Rectangle 37"/>
          <p:cNvSpPr>
            <a:spLocks noChangeArrowheads="1"/>
          </p:cNvSpPr>
          <p:nvPr/>
        </p:nvSpPr>
        <p:spPr bwMode="auto">
          <a:xfrm>
            <a:off x="3313551" y="4002402"/>
            <a:ext cx="2519362" cy="2091587"/>
          </a:xfrm>
          <a:prstGeom prst="rect">
            <a:avLst/>
          </a:prstGeom>
          <a:noFill/>
          <a:ln w="28575" algn="ctr">
            <a:solidFill>
              <a:srgbClr val="A5002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3" name="Text Box 38"/>
          <p:cNvSpPr txBox="1">
            <a:spLocks noChangeArrowheads="1"/>
          </p:cNvSpPr>
          <p:nvPr/>
        </p:nvSpPr>
        <p:spPr bwMode="gray">
          <a:xfrm>
            <a:off x="731050" y="2681349"/>
            <a:ext cx="2019847" cy="2679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ct val="90000"/>
              <a:buFont typeface="Wingdings" pitchFamily="2" charset="2"/>
              <a:buNone/>
            </a:pPr>
            <a:r>
              <a:rPr kumimoji="0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00% = 500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기업</a:t>
            </a:r>
            <a:endParaRPr kumimoji="0" lang="ko-KR" altLang="en-US" sz="1200" baseline="30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7" name="Rectangle 42"/>
          <p:cNvSpPr>
            <a:spLocks noChangeArrowheads="1"/>
          </p:cNvSpPr>
          <p:nvPr/>
        </p:nvSpPr>
        <p:spPr bwMode="auto">
          <a:xfrm>
            <a:off x="4675626" y="2208736"/>
            <a:ext cx="265112" cy="165853"/>
          </a:xfrm>
          <a:prstGeom prst="rect">
            <a:avLst/>
          </a:prstGeom>
          <a:noFill/>
          <a:ln w="28575" algn="ctr">
            <a:solidFill>
              <a:srgbClr val="A5002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fontAlgn="t" hangingPunct="0">
              <a:spcBef>
                <a:spcPct val="50000"/>
              </a:spcBef>
            </a:pPr>
            <a:endParaRPr kumimoji="0" lang="ko-KR" altLang="en-US" sz="10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8" name="Text Box 43"/>
          <p:cNvSpPr txBox="1">
            <a:spLocks noChangeArrowheads="1"/>
          </p:cNvSpPr>
          <p:nvPr/>
        </p:nvSpPr>
        <p:spPr bwMode="auto">
          <a:xfrm>
            <a:off x="4977251" y="2178022"/>
            <a:ext cx="939800" cy="218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/>
          <a:p>
            <a:pPr eaLnBrk="0" fontAlgn="t" hangingPunct="0">
              <a:spcBef>
                <a:spcPct val="50000"/>
              </a:spcBef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PMG </a:t>
            </a:r>
            <a:r>
              <a:rPr kumimoji="0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사</a:t>
            </a:r>
          </a:p>
        </p:txBody>
      </p:sp>
      <p:graphicFrame>
        <p:nvGraphicFramePr>
          <p:cNvPr id="180" name="차트 179"/>
          <p:cNvGraphicFramePr>
            <a:graphicFrameLocks/>
          </p:cNvGraphicFramePr>
          <p:nvPr>
            <p:extLst/>
          </p:nvPr>
        </p:nvGraphicFramePr>
        <p:xfrm>
          <a:off x="284442" y="3206362"/>
          <a:ext cx="2883185" cy="2129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1" name="TextBox 180"/>
          <p:cNvSpPr txBox="1"/>
          <p:nvPr/>
        </p:nvSpPr>
        <p:spPr>
          <a:xfrm>
            <a:off x="1719077" y="3668989"/>
            <a:ext cx="826122" cy="4330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5725" indent="-85725"/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NON-KPMG</a:t>
            </a:r>
          </a:p>
          <a:p>
            <a:pPr marL="85725" indent="-85725"/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고객비중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  <a:p>
            <a:pPr marL="85725" indent="-85725"/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22.2%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1084066" y="4370133"/>
            <a:ext cx="720096" cy="4753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5725" indent="-85725"/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KPMG</a:t>
            </a:r>
          </a:p>
          <a:p>
            <a:pPr marL="85725" indent="-85725"/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고객비중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  <a:p>
            <a:pPr marL="85725" indent="-85725"/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77.8%</a:t>
            </a: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3655401" y="1411288"/>
            <a:ext cx="2595198" cy="288925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PMG International</a:t>
            </a:r>
            <a:r>
              <a:rPr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평판</a:t>
            </a:r>
            <a:endParaRPr lang="en-US" altLang="ko-KR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211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화선 부장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473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SNET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3~2014.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SNET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보호 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금융위 취약점 진단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인정보 영향평가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포츠토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4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스포츠토토 투표권시스템 보안유지보수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보보호 연간계획 수립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인정보보호 수준 점검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법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10~2013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법부 정보시스템 보안컨설팅 사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SMS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증 관리 취약점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작성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아산병원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6~2013.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울아산병원 정보보호 컨설팅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SO27001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증 전반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물리 취약점 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스터플랜 수립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책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지침 제개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~2013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 관리시스템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PMS)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융감독원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8~2012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인정보관리체계 수립 및 개인정보관리시스템 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02~2012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적 정보보안 관리 체계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Enterprise Security Plan)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패키지 고도화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핵융합발전소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8~2011.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핵융합발전소 전사적 정보보안 관리 체계</a:t>
                      </a: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Enterprise Security Plan)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2~2011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적 정보보안 관리 체계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Enterprise Security Plan)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패키지 글로벌 버전 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행정안전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7~2011.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행안부 개인정보보호 종합지원 체계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82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박화선 부장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en-US" altLang="ko-KR" dirty="0"/>
              <a:t>Technical/Security Architecture (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3921" y="1191121"/>
            <a:ext cx="2364029" cy="221599"/>
          </a:xfrm>
          <a:prstGeom prst="rect">
            <a:avLst/>
          </a:prstGeom>
          <a:noFill/>
        </p:spPr>
        <p:txBody>
          <a:bodyPr wrap="square" lIns="0" tIns="0" rIns="0" bIns="0" rtlCol="0" anchorCtr="0">
            <a:spAutoFit/>
          </a:bodyPr>
          <a:lstStyle/>
          <a:p>
            <a:pPr marL="285750" indent="-285750" latinLnBrk="0">
              <a:lnSpc>
                <a:spcPct val="90000"/>
              </a:lnSpc>
              <a:buClr>
                <a:srgbClr val="00338D"/>
              </a:buClr>
              <a:buSzPct val="100000"/>
              <a:buFont typeface="맑은 고딕" panose="020B0503020000020004" pitchFamily="50" charset="-127"/>
              <a:buChar char="▶"/>
            </a:pPr>
            <a:r>
              <a:rPr lang="ko-KR" altLang="en-US" kern="0" dirty="0">
                <a:solidFill>
                  <a:srgbClr val="00338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수행 경력사항</a:t>
            </a: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VII. </a:t>
            </a:r>
            <a:r>
              <a:rPr lang="ko-KR" altLang="en-US" sz="1400" kern="0" dirty="0">
                <a:solidFill>
                  <a:srgbClr val="FFFFFF"/>
                </a:solidFill>
              </a:rPr>
              <a:t>투입인력 </a:t>
            </a:r>
            <a:r>
              <a:rPr lang="en-US" altLang="ko-KR" sz="1400" kern="0" dirty="0">
                <a:solidFill>
                  <a:srgbClr val="FFFFFF"/>
                </a:solidFill>
              </a:rPr>
              <a:t>Profile</a:t>
            </a:r>
          </a:p>
        </p:txBody>
      </p:sp>
      <p:graphicFrame>
        <p:nvGraphicFramePr>
          <p:cNvPr id="9" name="Table 10"/>
          <p:cNvGraphicFramePr>
            <a:graphicFrameLocks noGrp="1"/>
          </p:cNvGraphicFramePr>
          <p:nvPr>
            <p:extLst/>
          </p:nvPr>
        </p:nvGraphicFramePr>
        <p:xfrm>
          <a:off x="272724" y="1475543"/>
          <a:ext cx="9360926" cy="3968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8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8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3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44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5157"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월</a:t>
                      </a:r>
                      <a:r>
                        <a:rPr lang="en-US" altLang="ko-KR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cap="none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명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auto" latinLnBrk="0" hangingPunct="1"/>
                      <a:r>
                        <a:rPr lang="ko-KR" altLang="en-US" sz="1200" b="1" cap="none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업무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6~2010.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적 정보보안 관리 체계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Enterprise Security Plan)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패키지 고도화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497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한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03~2010.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침해사고 조기대응 체계 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성생명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1~2010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적 정보보안 관리 체계 및 포탈 시스템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Security Plan of Samsung Life)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분석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Telecom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10~2008.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T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안취약점 진단관리 체계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7~2008.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위험관리 체계 구축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프로젝트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8.03~2008.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인정보영향평가 체계 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Telecom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10~2008.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정보영향평가 체계 고도화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410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은행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7.04~2007.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국은행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SM(IT Service Management) </a:t>
                      </a:r>
                      <a:r>
                        <a:rPr lang="ko-KR" altLang="en-US" sz="11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프로젝트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획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계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</a:t>
                      </a:r>
                    </a:p>
                  </a:txBody>
                  <a:tcPr marL="36000" marR="9525" marT="9525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095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hank You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06254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isclaimer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3177026" y="2683659"/>
            <a:ext cx="6455924" cy="161582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eaLnBrk="0" latinLnBrk="0" hangingPunct="0">
              <a:lnSpc>
                <a:spcPct val="150000"/>
              </a:lnSpc>
            </a:pP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 제안서는 업무수임절차의 결과에 따라 달라질 수 있습니다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 제안서는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en-US" altLang="ko-KR" sz="11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mjong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Accounting Corp.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의해 작성된 자료로서 제안서에 별도의 언급이 있는 경우를 제외하고는 계약으로서의 효력은 없으며 별도의 계약을 필요로 합니다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서에서 언급된 상품 및 서비스는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 International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한국 내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mber firm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 </a:t>
            </a:r>
            <a:r>
              <a:rPr lang="en-US" altLang="ko-KR" sz="1100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mjong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Accounting Corp.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제공합니다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KPMG International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 고객에게 상품 또는 서비스를 직접 제공하지 않으며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와 관련하여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PMG International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 각 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mber firm</a:t>
            </a:r>
            <a:r>
              <a:rPr lang="ko-KR" altLang="en-US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 서로 의무를 부과할 권한이 없습니다</a:t>
            </a:r>
            <a:r>
              <a:rPr lang="en-US" altLang="ko-KR" sz="11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2564904"/>
            <a:ext cx="2232248" cy="1031051"/>
          </a:xfrm>
          <a:prstGeom prst="rect">
            <a:avLst/>
          </a:prstGeom>
        </p:spPr>
      </p:pic>
      <p:cxnSp>
        <p:nvCxnSpPr>
          <p:cNvPr id="4" name="직선 연결선 3"/>
          <p:cNvCxnSpPr/>
          <p:nvPr/>
        </p:nvCxnSpPr>
        <p:spPr bwMode="auto">
          <a:xfrm>
            <a:off x="488504" y="2152181"/>
            <a:ext cx="892899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cxnSp>
        <p:nvCxnSpPr>
          <p:cNvPr id="8" name="직선 연결선 7"/>
          <p:cNvCxnSpPr/>
          <p:nvPr/>
        </p:nvCxnSpPr>
        <p:spPr bwMode="auto">
          <a:xfrm>
            <a:off x="488504" y="4798399"/>
            <a:ext cx="892899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1385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/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요 및 연혁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/>
              <a:t>삼정</a:t>
            </a:r>
            <a:r>
              <a:rPr lang="en-US" altLang="ko-KR" dirty="0"/>
              <a:t>KPMG</a:t>
            </a:r>
            <a:r>
              <a:rPr lang="ko-KR" altLang="en-US" dirty="0"/>
              <a:t>는 글로벌 </a:t>
            </a:r>
            <a:r>
              <a:rPr lang="en-US" altLang="ko-KR" dirty="0"/>
              <a:t>KPMG</a:t>
            </a:r>
            <a:r>
              <a:rPr lang="ko-KR" altLang="en-US" dirty="0"/>
              <a:t>의 한국 </a:t>
            </a:r>
            <a:r>
              <a:rPr lang="en-US" altLang="ko-KR" dirty="0"/>
              <a:t>Member Firm</a:t>
            </a:r>
            <a:r>
              <a:rPr lang="ko-KR" altLang="en-US" dirty="0"/>
              <a:t>으로서 </a:t>
            </a:r>
            <a:r>
              <a:rPr lang="en-US" altLang="ko-KR" dirty="0"/>
              <a:t>KPMG</a:t>
            </a:r>
            <a:r>
              <a:rPr lang="ko-KR" altLang="en-US" dirty="0"/>
              <a:t>의 </a:t>
            </a:r>
            <a:r>
              <a:rPr lang="ko-KR" altLang="en-US" dirty="0" smtClean="0"/>
              <a:t>지식 </a:t>
            </a:r>
            <a:r>
              <a:rPr lang="ko-KR" altLang="en-US" dirty="0"/>
              <a:t>네트워크를 활용하여 최상의 전문서비스를 제공하고 있음</a:t>
            </a:r>
            <a:endParaRPr lang="en-US" altLang="ko-KR" dirty="0"/>
          </a:p>
        </p:txBody>
      </p:sp>
      <p:sp>
        <p:nvSpPr>
          <p:cNvPr id="6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332540" y="1412720"/>
            <a:ext cx="4908492" cy="43338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177800" algn="ctr" rtl="0" eaLnBrk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defRPr/>
            </a:pPr>
            <a:r>
              <a:rPr lang="en-US" altLang="ko-KR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KPMG </a:t>
            </a:r>
            <a:r>
              <a:rPr lang="ko-KR" altLang="en-US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요</a:t>
            </a: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5317763" y="1412720"/>
            <a:ext cx="4230688" cy="43338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indent="-177800" algn="ctr" rtl="0" eaLnBrk="0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defRPr/>
            </a:pPr>
            <a:r>
              <a:rPr lang="en-US" altLang="ko-KR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KPMG </a:t>
            </a:r>
            <a:r>
              <a:rPr lang="ko-KR" altLang="en-US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주요 연혁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337304" y="1846108"/>
            <a:ext cx="4899148" cy="439128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4D4D4D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rtl="0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endParaRPr lang="ko-KR" altLang="en-US" sz="16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5317763" y="1846108"/>
            <a:ext cx="4230688" cy="439128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4D4D4D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lIns="72000" tIns="72000" rIns="72000" bIns="72000" anchor="ctr"/>
          <a:lstStyle/>
          <a:p>
            <a:pPr algn="ctr" rtl="0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endParaRPr lang="ko-KR" altLang="en-US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403090" y="1958060"/>
            <a:ext cx="324000" cy="3240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rtl="0" eaLnBrk="0" fontAlgn="base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defRPr/>
            </a:pPr>
            <a:r>
              <a:rPr lang="en-US" altLang="ko-KR" sz="12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</a:p>
        </p:txBody>
      </p:sp>
      <p:sp>
        <p:nvSpPr>
          <p:cNvPr id="21" name="Text Box 8"/>
          <p:cNvSpPr txBox="1">
            <a:spLocks noChangeArrowheads="1"/>
          </p:cNvSpPr>
          <p:nvPr/>
        </p:nvSpPr>
        <p:spPr bwMode="gray">
          <a:xfrm>
            <a:off x="741363" y="1907258"/>
            <a:ext cx="4259262" cy="12726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 Global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orea Member Firm</a:t>
            </a:r>
          </a:p>
          <a:p>
            <a:pPr marL="269875" lvl="1" indent="-179388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994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년 설립</a:t>
            </a:r>
          </a:p>
          <a:p>
            <a:pPr marL="269875" lvl="1" indent="-179388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012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년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,874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억 매출</a:t>
            </a:r>
          </a:p>
          <a:p>
            <a:pPr marL="269875" lvl="1" indent="-179388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전세계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9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국에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orean Office 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운영 </a:t>
            </a:r>
          </a:p>
          <a:p>
            <a:pPr marL="269875" lvl="1" indent="-179388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국내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,393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명 전문인력 보유</a:t>
            </a: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gray">
          <a:xfrm>
            <a:off x="403090" y="3503443"/>
            <a:ext cx="324000" cy="3240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rtl="0" eaLnBrk="0" fontAlgn="base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defRPr/>
            </a:pPr>
            <a:r>
              <a:rPr lang="en-US" altLang="ko-KR" sz="12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gray">
          <a:xfrm>
            <a:off x="765114" y="5429264"/>
            <a:ext cx="4570412" cy="5324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회계법인은 컨설팅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회계감사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재무자문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세무자문의 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4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 사업부문으로 구성되어 있음</a:t>
            </a:r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gray">
          <a:xfrm>
            <a:off x="403090" y="5509985"/>
            <a:ext cx="324000" cy="324000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rtl="0" eaLnBrk="0" fontAlgn="base">
              <a:spcBef>
                <a:spcPct val="20000"/>
              </a:spcBef>
              <a:spcAft>
                <a:spcPct val="0"/>
              </a:spcAft>
              <a:buClr>
                <a:srgbClr val="1D1F6F"/>
              </a:buClr>
              <a:defRPr/>
            </a:pPr>
            <a:r>
              <a:rPr lang="en-US" altLang="ko-KR" sz="12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</a:p>
        </p:txBody>
      </p:sp>
      <p:sp>
        <p:nvSpPr>
          <p:cNvPr id="25" name="Text Box 12"/>
          <p:cNvSpPr txBox="1">
            <a:spLocks noChangeArrowheads="1"/>
          </p:cNvSpPr>
          <p:nvPr/>
        </p:nvSpPr>
        <p:spPr bwMode="gray">
          <a:xfrm>
            <a:off x="741363" y="3444068"/>
            <a:ext cx="4494212" cy="1732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컨설팅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감사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세무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재무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경영진단 등 포괄적 경영자문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회계법인을 중심으로 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5</a:t>
            </a:r>
            <a:r>
              <a:rPr lang="ko-KR" altLang="en-US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 독립 법인으로 구성</a:t>
            </a:r>
            <a:r>
              <a:rPr lang="en-US" altLang="ko-KR" sz="13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 </a:t>
            </a:r>
          </a:p>
          <a:p>
            <a:pPr marL="273050" lvl="1" indent="-1905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ko-KR" altLang="en-US" sz="1200" b="0" kern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회계법인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회계감사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경영자문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IT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기반 종합컨설팅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273050" lvl="1" indent="-1905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 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경제연구원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주요 경제정책 및 동향 연구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273050" lvl="1" indent="-1905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 AAS Inc. (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펀드회계 및 사무관리 용역 등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273050" lvl="1" indent="-1905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 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금융보험계리 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보험계리 서비스 제공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273050" lvl="1" indent="-1905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41C43"/>
              </a:buClr>
              <a:buFont typeface="Wingdings" pitchFamily="2" charset="2"/>
              <a:buChar char="q"/>
            </a:pP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세정관세법인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(</a:t>
            </a:r>
            <a:r>
              <a:rPr lang="ko-KR" altLang="en-US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관세 및 무역에 관한 서비스 제공</a:t>
            </a:r>
            <a:r>
              <a:rPr lang="en-US" altLang="ko-KR" sz="1200" b="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26" name="Text Box 17"/>
          <p:cNvSpPr txBox="1">
            <a:spLocks noChangeArrowheads="1"/>
          </p:cNvSpPr>
          <p:nvPr/>
        </p:nvSpPr>
        <p:spPr bwMode="auto">
          <a:xfrm>
            <a:off x="5338072" y="1871432"/>
            <a:ext cx="4186960" cy="4350144"/>
          </a:xfrm>
          <a:prstGeom prst="roundRect">
            <a:avLst>
              <a:gd name="adj" fmla="val 2566"/>
            </a:avLst>
          </a:prstGeom>
          <a:noFill/>
          <a:ln w="12700"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000" tIns="44161" rIns="88322" bIns="44161" anchor="ctr"/>
          <a:lstStyle/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1994.03. 	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회계법인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설립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0.12.  	KPMG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와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Member Firm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계약 체결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4.10. 	The KPMG Way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실천 선포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04.12. 	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경제연구원 설립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5.09. 	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회 감사인 대회 감사대상 회계법인 부분 수상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6.02.   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EU Korea Desk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설립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6.09.   VISION 2010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선포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7.11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인적자원개발 우수기관 선정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07.03.   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Advisory Inc.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설립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08.04.   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금융보험계리법인 설립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0.04.   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컨설팅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Inc.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설립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1.10.   VISION 2015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선포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BeEx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1.10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한국감사협회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1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최우수전략혁신기업 선정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2.03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몽골 합작법인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KPMG Audit LLC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설립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2.05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아동복지공로 대통령표창 수상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2.06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회 감사인 대회 감사대상 회계법인 부분 수상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hangingPunct="0">
              <a:lnSpc>
                <a:spcPts val="1500"/>
              </a:lnSpc>
              <a:spcBef>
                <a:spcPts val="100"/>
              </a:spcBef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2.09.   Forbes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사회공헌대상 수상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(2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년 연속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defTabSz="636588" eaLnBrk="0" fontAlgn="base" hangingPunct="0">
              <a:lnSpc>
                <a:spcPts val="1500"/>
              </a:lnSpc>
              <a:spcBef>
                <a:spcPts val="100"/>
              </a:spcBef>
              <a:spcAft>
                <a:spcPct val="0"/>
              </a:spcAft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4.01.   M&amp;A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리그테이블 회계자문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년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연속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1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위 석권</a:t>
            </a:r>
          </a:p>
          <a:p>
            <a:pPr defTabSz="636588" eaLnBrk="0" fontAlgn="base" hangingPunct="0">
              <a:lnSpc>
                <a:spcPts val="1500"/>
              </a:lnSpc>
              <a:spcBef>
                <a:spcPts val="100"/>
              </a:spcBef>
              <a:spcAft>
                <a:spcPct val="0"/>
              </a:spcAft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4.04.   VISION 2020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선포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(The Best Firm in 2020)</a:t>
            </a:r>
          </a:p>
          <a:p>
            <a:pPr defTabSz="636588" eaLnBrk="0" fontAlgn="base" hangingPunct="0">
              <a:lnSpc>
                <a:spcPts val="1500"/>
              </a:lnSpc>
              <a:spcBef>
                <a:spcPts val="100"/>
              </a:spcBef>
              <a:spcAft>
                <a:spcPct val="0"/>
              </a:spcAft>
              <a:buFontTx/>
              <a:buChar char="•"/>
              <a:tabLst>
                <a:tab pos="863600" algn="l"/>
                <a:tab pos="1350963" algn="l"/>
              </a:tabLst>
            </a:pP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4.06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대한민국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‘Top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M&amp;A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세무 </a:t>
            </a:r>
            <a:r>
              <a:rPr lang="ko-KR" altLang="en-US" sz="1050" b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자문사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’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선정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636588" eaLnBrk="0" fontAlgn="base" hangingPunct="0">
              <a:lnSpc>
                <a:spcPts val="1500"/>
              </a:lnSpc>
              <a:spcBef>
                <a:spcPts val="100"/>
              </a:spcBef>
              <a:spcAft>
                <a:spcPct val="0"/>
              </a:spcAft>
              <a:buFontTx/>
              <a:buChar char="•"/>
              <a:tabLst>
                <a:tab pos="863600" algn="l"/>
                <a:tab pos="1350963" algn="l"/>
              </a:tabLst>
            </a:pP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   2015.07.  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상장회사협의회</a:t>
            </a:r>
            <a:r>
              <a:rPr lang="en-US" altLang="ko-KR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50" b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itchFamily="50" charset="-127"/>
                <a:ea typeface="맑은 고딕" pitchFamily="50" charset="-127"/>
              </a:rPr>
              <a:t>감사대상 공인회계사부문 수상</a:t>
            </a:r>
            <a:endParaRPr lang="en-US" altLang="ko-KR" sz="1050" b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75713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 </a:t>
            </a:r>
            <a:r>
              <a:rPr lang="en-US" altLang="ko-KR" dirty="0"/>
              <a:t>– </a:t>
            </a:r>
            <a:r>
              <a:rPr lang="ko-KR" altLang="en-US" dirty="0"/>
              <a:t>개요 및 연혁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삼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‘Clean Firm’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선언하여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투명 경영을 수행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있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동체에 공헌이라는 핵심가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Core Value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의거 적극적으로 사회공헌 및 후원 활동을 수행하고 있음 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16" name="Text Box 28"/>
          <p:cNvSpPr txBox="1">
            <a:spLocks noChangeArrowheads="1"/>
          </p:cNvSpPr>
          <p:nvPr/>
        </p:nvSpPr>
        <p:spPr bwMode="auto">
          <a:xfrm>
            <a:off x="5623916" y="2103273"/>
            <a:ext cx="1428596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ko-KR" altLang="en-US" sz="1000" b="1" baseline="0" dirty="0" err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라파엘의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 집 방문봉사</a:t>
            </a:r>
          </a:p>
        </p:txBody>
      </p:sp>
      <p:sp>
        <p:nvSpPr>
          <p:cNvPr id="17" name="Text Box 29"/>
          <p:cNvSpPr txBox="1">
            <a:spLocks noChangeArrowheads="1"/>
          </p:cNvSpPr>
          <p:nvPr/>
        </p:nvSpPr>
        <p:spPr bwMode="auto">
          <a:xfrm>
            <a:off x="7479332" y="2103273"/>
            <a:ext cx="194155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l">
              <a:lnSpc>
                <a:spcPct val="100000"/>
              </a:lnSpc>
              <a:buClrTx/>
              <a:buSzTx/>
              <a:buFontTx/>
              <a:buNone/>
            </a:pP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적십자사와 사회공헌협약 체결</a:t>
            </a:r>
          </a:p>
        </p:txBody>
      </p:sp>
      <p:sp>
        <p:nvSpPr>
          <p:cNvPr id="18" name="Text Box 30"/>
          <p:cNvSpPr txBox="1">
            <a:spLocks noChangeArrowheads="1"/>
          </p:cNvSpPr>
          <p:nvPr/>
        </p:nvSpPr>
        <p:spPr bwMode="auto">
          <a:xfrm>
            <a:off x="5261458" y="4197325"/>
            <a:ext cx="21918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‘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사랑의 밥상</a:t>
            </a: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’ 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봉사활동</a:t>
            </a:r>
          </a:p>
        </p:txBody>
      </p:sp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3113320" y="4197325"/>
            <a:ext cx="213712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SIFE </a:t>
            </a:r>
            <a:r>
              <a:rPr lang="ko-KR" altLang="en-US" sz="1000" b="1" baseline="0" dirty="0" err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멘토링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 등 </a:t>
            </a: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Social Consulting</a:t>
            </a:r>
          </a:p>
        </p:txBody>
      </p:sp>
      <p:sp>
        <p:nvSpPr>
          <p:cNvPr id="20" name="Text Box 32"/>
          <p:cNvSpPr txBox="1">
            <a:spLocks noChangeArrowheads="1"/>
          </p:cNvSpPr>
          <p:nvPr/>
        </p:nvSpPr>
        <p:spPr bwMode="auto">
          <a:xfrm>
            <a:off x="3275224" y="2026328"/>
            <a:ext cx="181331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지속적인 보육시설 후원으로</a:t>
            </a:r>
            <a:endParaRPr lang="en-US" altLang="ko-KR" sz="1000" b="1" baseline="0" dirty="0">
              <a:solidFill>
                <a:srgbClr val="003399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대통령 표창 수상 </a:t>
            </a:r>
          </a:p>
        </p:txBody>
      </p:sp>
      <p:sp>
        <p:nvSpPr>
          <p:cNvPr id="21" name="Text Box 40"/>
          <p:cNvSpPr txBox="1">
            <a:spLocks noChangeArrowheads="1"/>
          </p:cNvSpPr>
          <p:nvPr/>
        </p:nvSpPr>
        <p:spPr bwMode="auto">
          <a:xfrm>
            <a:off x="7553711" y="4197325"/>
            <a:ext cx="179279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just" rtl="0" fontAlgn="base" latinLnBrk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" pitchFamily="2" charset="2"/>
              <a:buChar char="l"/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 baseline="-250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‘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희망의 집 고치기</a:t>
            </a:r>
            <a:r>
              <a:rPr lang="en-US" altLang="ko-KR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’ </a:t>
            </a:r>
            <a:r>
              <a:rPr lang="ko-KR" altLang="en-US" sz="1000" b="1" baseline="0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</a:rPr>
              <a:t>봉사활동</a:t>
            </a:r>
          </a:p>
        </p:txBody>
      </p:sp>
      <p:pic>
        <p:nvPicPr>
          <p:cNvPr id="22" name="그림 21" descr="크기변환_적십자 사회공헌협약식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09713" y="2428462"/>
            <a:ext cx="1880794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그림 22" descr="크기변환_상록보육원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01097" y="2428462"/>
            <a:ext cx="1961570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" name="그림 23" descr="크기변환_사본 -라파엘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393266" y="2428462"/>
            <a:ext cx="1889897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그림 24" descr="크기변환_SIFE 멘토링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187738" y="4513936"/>
            <a:ext cx="1988288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그림 25" descr="크기변환_사랑의 밥상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342908" y="4513936"/>
            <a:ext cx="1990612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7" name="그림 26" descr="해비타트 집고치기 봉사1.JPG"/>
          <p:cNvPicPr preferRelativeResize="0"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465510" y="4513936"/>
            <a:ext cx="1969200" cy="131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" name="직사각형 33"/>
          <p:cNvSpPr/>
          <p:nvPr/>
        </p:nvSpPr>
        <p:spPr bwMode="auto">
          <a:xfrm>
            <a:off x="380968" y="1771644"/>
            <a:ext cx="2428892" cy="8001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26000">
                <a:schemeClr val="accent1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rIns="72000" anchor="ctr">
            <a:noAutofit/>
          </a:bodyPr>
          <a:lstStyle/>
          <a:p>
            <a:pPr algn="ctr" fontAlgn="base" latinLnBrk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1"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‘Clean Firm’</a:t>
            </a:r>
            <a:r>
              <a:rPr kumimoji="1"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선언과</a:t>
            </a:r>
            <a:endParaRPr kumimoji="1" lang="en-US" altLang="ko-KR" sz="1600" b="1" dirty="0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base" latinLnBrk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1"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투명 경영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331915" y="2770565"/>
            <a:ext cx="2565401" cy="260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latinLnBrk="0" hangingPunct="0">
              <a:lnSpc>
                <a:spcPts val="1800"/>
              </a:lnSpc>
              <a:spcAft>
                <a:spcPts val="0"/>
              </a:spcAft>
              <a:buClr>
                <a:srgbClr val="557BB3"/>
              </a:buClr>
              <a:buSzTx/>
              <a:buFontTx/>
              <a:buNone/>
            </a:pP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kumimoji="0" lang="ko-KR" altLang="en-US" sz="1200" i="1" baseline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삼정</a:t>
            </a: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KPMG</a:t>
            </a:r>
            <a:r>
              <a:rPr kumimoji="0" lang="ko-KR" altLang="en-US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는 ‘기업의 건강성은 경영의 투명성으로 결정된다’는 신념으로 경영성과는 투명하게 공개하고 공유하는 공정한 시스템을 도입</a:t>
            </a: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시행하고 있으며</a:t>
            </a: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고객 기업에도 시장과 해당 기업의 투자자 및 임직원을 위해 ‘</a:t>
            </a: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Clean Firm’</a:t>
            </a:r>
            <a:r>
              <a:rPr kumimoji="0" lang="ko-KR" altLang="en-US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의 약속을 지키며 투명경영을 통해 기업의 가치를 높이고 성공하는 기업으로 발전하도록 지원하고 있습니다</a:t>
            </a:r>
            <a:r>
              <a:rPr kumimoji="0" lang="en-US" altLang="ko-KR" sz="1200" i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.” </a:t>
            </a:r>
          </a:p>
        </p:txBody>
      </p:sp>
      <p:cxnSp>
        <p:nvCxnSpPr>
          <p:cNvPr id="37" name="직선 연결선 36"/>
          <p:cNvCxnSpPr/>
          <p:nvPr/>
        </p:nvCxnSpPr>
        <p:spPr bwMode="auto">
          <a:xfrm>
            <a:off x="3167050" y="1857364"/>
            <a:ext cx="607223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8" name="직사각형 37"/>
          <p:cNvSpPr/>
          <p:nvPr/>
        </p:nvSpPr>
        <p:spPr>
          <a:xfrm>
            <a:off x="4818812" y="1535732"/>
            <a:ext cx="27687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극적인 사회공헌 및 후원 활동</a:t>
            </a:r>
            <a:endParaRPr lang="ko-KR" alt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323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KPMG – </a:t>
            </a:r>
            <a:r>
              <a:rPr lang="ko-KR" altLang="en-US" dirty="0" smtClean="0"/>
              <a:t>조직 </a:t>
            </a:r>
            <a:r>
              <a:rPr lang="ko-KR" altLang="en-US" dirty="0"/>
              <a:t>및 </a:t>
            </a:r>
            <a:r>
              <a:rPr lang="ko-KR" altLang="en-US" dirty="0" smtClean="0"/>
              <a:t>인원구성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/>
              <a:t>삼정</a:t>
            </a:r>
            <a:r>
              <a:rPr lang="en-US" altLang="ko-KR" dirty="0"/>
              <a:t>KPMG </a:t>
            </a:r>
            <a:r>
              <a:rPr lang="ko-KR" altLang="en-US" dirty="0"/>
              <a:t>컨설팅 조직은 조직</a:t>
            </a:r>
            <a:r>
              <a:rPr lang="en-US" altLang="ko-KR" dirty="0"/>
              <a:t>/</a:t>
            </a:r>
            <a:r>
              <a:rPr lang="ko-KR" altLang="en-US" dirty="0"/>
              <a:t>전략 컨설팅</a:t>
            </a:r>
            <a:r>
              <a:rPr lang="en-US" altLang="ko-KR" dirty="0"/>
              <a:t>, </a:t>
            </a:r>
            <a:r>
              <a:rPr lang="ko-KR" altLang="en-US" dirty="0"/>
              <a:t>프로세스 혁신 컨설팅</a:t>
            </a:r>
            <a:r>
              <a:rPr lang="en-US" altLang="ko-KR" dirty="0"/>
              <a:t>, IT </a:t>
            </a:r>
            <a:r>
              <a:rPr lang="ko-KR" altLang="en-US" dirty="0"/>
              <a:t>컨설팅 부문으로 구분되며</a:t>
            </a:r>
            <a:r>
              <a:rPr lang="en-US" altLang="ko-KR" dirty="0"/>
              <a:t>, </a:t>
            </a:r>
            <a:r>
              <a:rPr lang="ko-KR" altLang="en-US" dirty="0"/>
              <a:t>컨설팅 부문 전체 인력은 </a:t>
            </a:r>
            <a:r>
              <a:rPr lang="en-US" altLang="ko-KR" dirty="0"/>
              <a:t>447</a:t>
            </a:r>
            <a:r>
              <a:rPr lang="ko-KR" altLang="en-US" dirty="0"/>
              <a:t>명이고</a:t>
            </a:r>
            <a:r>
              <a:rPr lang="en-US" altLang="ko-KR" dirty="0"/>
              <a:t> </a:t>
            </a:r>
            <a:r>
              <a:rPr lang="ko-KR" altLang="en-US" dirty="0"/>
              <a:t>이중 금융산업에 특화된 인력은 </a:t>
            </a:r>
            <a:r>
              <a:rPr lang="en-US" altLang="ko-KR" dirty="0"/>
              <a:t>149</a:t>
            </a:r>
            <a:r>
              <a:rPr lang="ko-KR" altLang="en-US" dirty="0"/>
              <a:t>명임</a:t>
            </a:r>
          </a:p>
        </p:txBody>
      </p:sp>
      <p:sp>
        <p:nvSpPr>
          <p:cNvPr id="46" name="Rectangle 60"/>
          <p:cNvSpPr>
            <a:spLocks noChangeArrowheads="1"/>
          </p:cNvSpPr>
          <p:nvPr/>
        </p:nvSpPr>
        <p:spPr bwMode="gray">
          <a:xfrm>
            <a:off x="408700" y="2284926"/>
            <a:ext cx="1907928" cy="413701"/>
          </a:xfrm>
          <a:prstGeom prst="rect">
            <a:avLst/>
          </a:prstGeom>
          <a:solidFill>
            <a:srgbClr val="000066"/>
          </a:solidFill>
          <a:ln w="12700" algn="ctr">
            <a:solidFill>
              <a:srgbClr val="33669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altLang="ko-KR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</a:t>
            </a:r>
            <a:r>
              <a:rPr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회계법인</a:t>
            </a:r>
            <a:endParaRPr lang="en-US" altLang="ko-KR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2" name="Rectangle 60"/>
          <p:cNvSpPr>
            <a:spLocks noChangeArrowheads="1"/>
          </p:cNvSpPr>
          <p:nvPr/>
        </p:nvSpPr>
        <p:spPr bwMode="gray">
          <a:xfrm>
            <a:off x="3749976" y="1401026"/>
            <a:ext cx="2448000" cy="41370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375889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ko-KR" altLang="en-US" sz="1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</a:t>
            </a:r>
            <a:r>
              <a:rPr lang="en-US" altLang="ko-KR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KPMG </a:t>
            </a:r>
            <a:r>
              <a:rPr lang="ko-KR" altLang="en-US" sz="1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그룹</a:t>
            </a:r>
            <a:endParaRPr lang="en-US" altLang="ko-KR" sz="1400" baseline="30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3" name="Rectangle 60"/>
          <p:cNvSpPr>
            <a:spLocks noChangeArrowheads="1"/>
          </p:cNvSpPr>
          <p:nvPr/>
        </p:nvSpPr>
        <p:spPr bwMode="gray">
          <a:xfrm>
            <a:off x="2524108" y="2284926"/>
            <a:ext cx="1611288" cy="41370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en-US" altLang="ko-KR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AS Inc</a:t>
            </a:r>
          </a:p>
        </p:txBody>
      </p:sp>
      <p:sp>
        <p:nvSpPr>
          <p:cNvPr id="64" name="Rectangle 60"/>
          <p:cNvSpPr>
            <a:spLocks noChangeArrowheads="1"/>
          </p:cNvSpPr>
          <p:nvPr/>
        </p:nvSpPr>
        <p:spPr bwMode="gray">
          <a:xfrm>
            <a:off x="4240237" y="2284926"/>
            <a:ext cx="1611288" cy="41370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ko-KR" altLang="en-US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경제연구원</a:t>
            </a:r>
            <a:endParaRPr lang="en-US" altLang="ko-KR" sz="1200" dirty="0">
              <a:solidFill>
                <a:srgbClr val="FFFFFF">
                  <a:lumMod val="50000"/>
                </a:srgb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5" name="Rectangle 60"/>
          <p:cNvSpPr>
            <a:spLocks noChangeArrowheads="1"/>
          </p:cNvSpPr>
          <p:nvPr/>
        </p:nvSpPr>
        <p:spPr bwMode="gray">
          <a:xfrm>
            <a:off x="5956367" y="2284926"/>
            <a:ext cx="1611288" cy="41370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ko-KR" altLang="en-US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금융보험계리</a:t>
            </a:r>
            <a:endParaRPr lang="en-US" altLang="ko-KR" sz="1200" dirty="0">
              <a:solidFill>
                <a:srgbClr val="FFFFFF">
                  <a:lumMod val="50000"/>
                </a:srgb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6" name="Rectangle 60"/>
          <p:cNvSpPr>
            <a:spLocks noChangeArrowheads="1"/>
          </p:cNvSpPr>
          <p:nvPr/>
        </p:nvSpPr>
        <p:spPr bwMode="gray">
          <a:xfrm>
            <a:off x="7672496" y="2284926"/>
            <a:ext cx="1611288" cy="41370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ko-KR" altLang="en-US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삼정투자자문</a:t>
            </a:r>
            <a:r>
              <a:rPr lang="en-US" altLang="ko-KR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200" dirty="0">
                <a:solidFill>
                  <a:srgbClr val="FFFFFF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관세</a:t>
            </a:r>
            <a:endParaRPr lang="en-US" altLang="ko-KR" sz="1200" dirty="0">
              <a:solidFill>
                <a:srgbClr val="FFFFFF">
                  <a:lumMod val="50000"/>
                </a:srgb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67" name="직선 연결선 66"/>
          <p:cNvCxnSpPr>
            <a:stCxn id="46" idx="2"/>
            <a:endCxn id="114" idx="0"/>
          </p:cNvCxnSpPr>
          <p:nvPr/>
        </p:nvCxnSpPr>
        <p:spPr bwMode="auto">
          <a:xfrm rot="16200000" flipH="1">
            <a:off x="2350799" y="1710491"/>
            <a:ext cx="306328" cy="228259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cxnSp>
      <p:cxnSp>
        <p:nvCxnSpPr>
          <p:cNvPr id="68" name="직선 연결선 67"/>
          <p:cNvCxnSpPr>
            <a:stCxn id="62" idx="2"/>
            <a:endCxn id="64" idx="0"/>
          </p:cNvCxnSpPr>
          <p:nvPr/>
        </p:nvCxnSpPr>
        <p:spPr bwMode="auto">
          <a:xfrm rot="16200000" flipH="1">
            <a:off x="4774829" y="2013873"/>
            <a:ext cx="470199" cy="7190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</p:cxnSp>
      <p:cxnSp>
        <p:nvCxnSpPr>
          <p:cNvPr id="69" name="꺾인 연결선 68"/>
          <p:cNvCxnSpPr>
            <a:stCxn id="62" idx="2"/>
            <a:endCxn id="63" idx="0"/>
          </p:cNvCxnSpPr>
          <p:nvPr/>
        </p:nvCxnSpPr>
        <p:spPr bwMode="auto">
          <a:xfrm rot="5400000">
            <a:off x="3916765" y="1227714"/>
            <a:ext cx="470199" cy="164422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</p:cxnSp>
      <p:cxnSp>
        <p:nvCxnSpPr>
          <p:cNvPr id="70" name="꺾인 연결선 69"/>
          <p:cNvCxnSpPr>
            <a:stCxn id="62" idx="2"/>
            <a:endCxn id="65" idx="0"/>
          </p:cNvCxnSpPr>
          <p:nvPr/>
        </p:nvCxnSpPr>
        <p:spPr bwMode="auto">
          <a:xfrm rot="16200000" flipH="1">
            <a:off x="5632894" y="1155808"/>
            <a:ext cx="470199" cy="178803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</p:cxnSp>
      <p:cxnSp>
        <p:nvCxnSpPr>
          <p:cNvPr id="71" name="꺾인 연결선 70"/>
          <p:cNvCxnSpPr>
            <a:stCxn id="62" idx="2"/>
            <a:endCxn id="66" idx="0"/>
          </p:cNvCxnSpPr>
          <p:nvPr/>
        </p:nvCxnSpPr>
        <p:spPr bwMode="auto">
          <a:xfrm rot="16200000" flipH="1">
            <a:off x="6490959" y="297744"/>
            <a:ext cx="470199" cy="350416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</p:cxnSp>
      <p:cxnSp>
        <p:nvCxnSpPr>
          <p:cNvPr id="72" name="꺾인 연결선 71"/>
          <p:cNvCxnSpPr>
            <a:stCxn id="62" idx="2"/>
            <a:endCxn id="46" idx="0"/>
          </p:cNvCxnSpPr>
          <p:nvPr/>
        </p:nvCxnSpPr>
        <p:spPr bwMode="auto">
          <a:xfrm rot="5400000">
            <a:off x="2933221" y="244170"/>
            <a:ext cx="470199" cy="361131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6267749" y="1499131"/>
            <a:ext cx="8461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 eaLnBrk="0" fontAlgn="t" hangingPunct="0"/>
            <a:r>
              <a:rPr lang="en-US" altLang="ko-KR" sz="12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2,393</a:t>
            </a:r>
            <a:r>
              <a:rPr lang="ko-KR" altLang="en-US" sz="12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478315" y="2072906"/>
            <a:ext cx="8461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 eaLnBrk="0" fontAlgn="t" hangingPunct="0"/>
            <a:r>
              <a:rPr lang="en-US" altLang="ko-KR" sz="1200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2,197</a:t>
            </a:r>
            <a:r>
              <a:rPr lang="ko-KR" altLang="en-US" sz="12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667116" y="2072906"/>
            <a:ext cx="4680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 eaLnBrk="0" fontAlgn="t" hangingPunct="0"/>
            <a:r>
              <a:rPr lang="en-US" altLang="ko-KR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126</a:t>
            </a:r>
            <a:r>
              <a:rPr lang="ko-KR" altLang="en-US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383525" y="2072906"/>
            <a:ext cx="4680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 eaLnBrk="0" fontAlgn="t" hangingPunct="0"/>
            <a:r>
              <a:rPr lang="en-US" altLang="ko-KR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20</a:t>
            </a:r>
            <a:r>
              <a:rPr lang="ko-KR" altLang="en-US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691760" y="2072906"/>
            <a:ext cx="8461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 eaLnBrk="0" fontAlgn="t" hangingPunct="0"/>
            <a:r>
              <a:rPr lang="en-US" altLang="ko-KR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19</a:t>
            </a:r>
            <a:r>
              <a:rPr lang="ko-KR" altLang="en-US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8452321" y="2072906"/>
            <a:ext cx="8461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 eaLnBrk="0" fontAlgn="t" hangingPunct="0"/>
            <a:r>
              <a:rPr lang="en-US" altLang="ko-KR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31</a:t>
            </a:r>
            <a:r>
              <a:rPr lang="ko-KR" altLang="en-US" sz="12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</a:p>
        </p:txBody>
      </p:sp>
      <p:sp>
        <p:nvSpPr>
          <p:cNvPr id="6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114" name="Rectangle 79"/>
          <p:cNvSpPr>
            <a:spLocks noChangeArrowheads="1"/>
          </p:cNvSpPr>
          <p:nvPr/>
        </p:nvSpPr>
        <p:spPr bwMode="gray">
          <a:xfrm>
            <a:off x="408700" y="3004955"/>
            <a:ext cx="6473126" cy="436330"/>
          </a:xfrm>
          <a:prstGeom prst="rect">
            <a:avLst/>
          </a:prstGeom>
          <a:solidFill>
            <a:srgbClr val="000066"/>
          </a:solidFill>
          <a:ln w="12700" algn="ctr">
            <a:solidFill>
              <a:srgbClr val="33669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rtl="0" eaLnBrk="0" fontAlgn="base" latinLnBrk="1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컨설팅 부문 </a:t>
            </a:r>
            <a:r>
              <a:rPr lang="en-US" altLang="ko-KR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447</a:t>
            </a:r>
            <a:r>
              <a:rPr lang="ko-KR" altLang="en-US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명</a:t>
            </a:r>
            <a:r>
              <a:rPr lang="en-US" altLang="ko-KR" sz="1400" b="1" kern="12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15" name="Rectangle 160"/>
          <p:cNvSpPr>
            <a:spLocks noChangeArrowheads="1"/>
          </p:cNvSpPr>
          <p:nvPr/>
        </p:nvSpPr>
        <p:spPr bwMode="auto">
          <a:xfrm>
            <a:off x="7096140" y="3004955"/>
            <a:ext cx="2214578" cy="435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33669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rtl="0" eaLnBrk="0" hangingPunct="0">
              <a:lnSpc>
                <a:spcPct val="90000"/>
              </a:lnSpc>
              <a:defRPr/>
            </a:pPr>
            <a:r>
              <a:rPr lang="ko-KR" altLang="en-US" sz="14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他 사업 부문</a:t>
            </a:r>
            <a:endParaRPr lang="en-US" altLang="ko-KR" sz="1400" dirty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4" name="그룹 40"/>
          <p:cNvGrpSpPr/>
          <p:nvPr/>
        </p:nvGrpSpPr>
        <p:grpSpPr>
          <a:xfrm>
            <a:off x="7177429" y="3682809"/>
            <a:ext cx="2052000" cy="2016224"/>
            <a:chOff x="7177103" y="3807336"/>
            <a:chExt cx="2052000" cy="2016224"/>
          </a:xfrm>
        </p:grpSpPr>
        <p:sp>
          <p:nvSpPr>
            <p:cNvPr id="116" name="직사각형 115"/>
            <p:cNvSpPr/>
            <p:nvPr/>
          </p:nvSpPr>
          <p:spPr bwMode="auto">
            <a:xfrm>
              <a:off x="7177103" y="3807336"/>
              <a:ext cx="2052000" cy="576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  <a:buClr>
                  <a:srgbClr val="C0C0C0"/>
                </a:buClr>
              </a:pP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Audit(</a:t>
              </a:r>
              <a:r>
                <a:rPr kumimoji="1" lang="ko-KR" altLang="en-US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회계감사</a:t>
              </a: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)</a:t>
              </a:r>
              <a:endParaRPr kumimoji="1" lang="ko-KR" altLang="en-US" sz="1200" kern="12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7" name="직사각형 116"/>
            <p:cNvSpPr/>
            <p:nvPr/>
          </p:nvSpPr>
          <p:spPr bwMode="auto">
            <a:xfrm>
              <a:off x="7177103" y="4527448"/>
              <a:ext cx="2052000" cy="576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  <a:buClr>
                  <a:srgbClr val="C0C0C0"/>
                </a:buClr>
              </a:pP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eal Advisory(</a:t>
              </a:r>
              <a:r>
                <a:rPr kumimoji="1" lang="ko-KR" altLang="en-US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재무자문</a:t>
              </a: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)</a:t>
              </a:r>
              <a:endParaRPr kumimoji="1" lang="ko-KR" altLang="en-US" sz="1200" kern="12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8" name="직사각형 117"/>
            <p:cNvSpPr/>
            <p:nvPr/>
          </p:nvSpPr>
          <p:spPr bwMode="auto">
            <a:xfrm>
              <a:off x="7177103" y="5247560"/>
              <a:ext cx="2052000" cy="576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rtl="0" fontAlgn="base">
                <a:spcBef>
                  <a:spcPct val="50000"/>
                </a:spcBef>
                <a:spcAft>
                  <a:spcPct val="0"/>
                </a:spcAft>
                <a:buClr>
                  <a:srgbClr val="C0C0C0"/>
                </a:buClr>
              </a:pP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Tax(</a:t>
              </a:r>
              <a:r>
                <a:rPr kumimoji="1" lang="ko-KR" altLang="en-US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세무자문</a:t>
              </a:r>
              <a:r>
                <a:rPr kumimoji="1" lang="en-US" altLang="ko-KR" sz="1200" kern="1200" dirty="0">
                  <a:solidFill>
                    <a:schemeClr val="bg1">
                      <a:lumMod val="50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)</a:t>
              </a:r>
              <a:endParaRPr kumimoji="1" lang="ko-KR" altLang="en-US" sz="1200" kern="12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19" name="Rectangle 160"/>
          <p:cNvSpPr>
            <a:spLocks noChangeArrowheads="1"/>
          </p:cNvSpPr>
          <p:nvPr/>
        </p:nvSpPr>
        <p:spPr bwMode="auto">
          <a:xfrm>
            <a:off x="7096140" y="3466921"/>
            <a:ext cx="2214578" cy="2448000"/>
          </a:xfrm>
          <a:prstGeom prst="rect">
            <a:avLst/>
          </a:prstGeom>
          <a:noFill/>
          <a:ln w="12700" algn="ctr">
            <a:solidFill>
              <a:srgbClr val="33669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 rtl="0" eaLnBrk="0" hangingPunct="0">
              <a:lnSpc>
                <a:spcPct val="90000"/>
              </a:lnSpc>
              <a:defRPr/>
            </a:pPr>
            <a:endParaRPr lang="en-US" altLang="ko-KR" sz="12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5" name="그룹 52"/>
          <p:cNvGrpSpPr/>
          <p:nvPr/>
        </p:nvGrpSpPr>
        <p:grpSpPr>
          <a:xfrm>
            <a:off x="408700" y="3466921"/>
            <a:ext cx="6473127" cy="2465620"/>
            <a:chOff x="408700" y="3485971"/>
            <a:chExt cx="6473127" cy="2465620"/>
          </a:xfrm>
        </p:grpSpPr>
        <p:sp>
          <p:nvSpPr>
            <p:cNvPr id="120" name="Rectangle 160"/>
            <p:cNvSpPr>
              <a:spLocks noChangeArrowheads="1"/>
            </p:cNvSpPr>
            <p:nvPr/>
          </p:nvSpPr>
          <p:spPr bwMode="auto">
            <a:xfrm>
              <a:off x="408700" y="3485971"/>
              <a:ext cx="2116991" cy="30480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72000" rIns="72000" anchor="ctr"/>
            <a:lstStyle/>
            <a:p>
              <a:pPr algn="ctr" rtl="0" eaLnBrk="0" hangingPunct="0">
                <a:lnSpc>
                  <a:spcPct val="90000"/>
                </a:lnSpc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조직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략 컨설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98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</a:p>
          </p:txBody>
        </p:sp>
        <p:sp>
          <p:nvSpPr>
            <p:cNvPr id="121" name="Rectangle 160"/>
            <p:cNvSpPr>
              <a:spLocks noChangeArrowheads="1"/>
            </p:cNvSpPr>
            <p:nvPr/>
          </p:nvSpPr>
          <p:spPr bwMode="auto">
            <a:xfrm>
              <a:off x="2586768" y="3485971"/>
              <a:ext cx="2116991" cy="30480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algn="ctr" rtl="0" eaLnBrk="0" hangingPunct="0">
                <a:lnSpc>
                  <a:spcPct val="90000"/>
                </a:lnSpc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프로세스 혁신 컨설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194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</a:p>
          </p:txBody>
        </p:sp>
        <p:sp>
          <p:nvSpPr>
            <p:cNvPr id="122" name="Rectangle 160"/>
            <p:cNvSpPr>
              <a:spLocks noChangeArrowheads="1"/>
            </p:cNvSpPr>
            <p:nvPr/>
          </p:nvSpPr>
          <p:spPr bwMode="auto">
            <a:xfrm>
              <a:off x="4764836" y="3485971"/>
              <a:ext cx="2116991" cy="30480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72000" rIns="72000" anchor="ctr"/>
            <a:lstStyle/>
            <a:p>
              <a:pPr algn="ctr" rtl="0" eaLnBrk="0" hangingPunct="0">
                <a:lnSpc>
                  <a:spcPct val="90000"/>
                </a:lnSpc>
                <a:defRPr/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IT 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컨설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155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명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)</a:t>
              </a:r>
            </a:p>
          </p:txBody>
        </p:sp>
        <p:sp>
          <p:nvSpPr>
            <p:cNvPr id="130" name="Rectangle 160"/>
            <p:cNvSpPr>
              <a:spLocks noChangeArrowheads="1"/>
            </p:cNvSpPr>
            <p:nvPr/>
          </p:nvSpPr>
          <p:spPr bwMode="auto">
            <a:xfrm>
              <a:off x="408700" y="3791591"/>
              <a:ext cx="2116991" cy="2160000"/>
            </a:xfrm>
            <a:prstGeom prst="rect">
              <a:avLst/>
            </a:prstGeom>
            <a:noFill/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0" rIns="0" anchor="t"/>
            <a:lstStyle/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Vision, Corporate Strategy </a:t>
              </a: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사업 추진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전략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신사업 모델 수립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비즈니스 포트폴리오 관리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265113" indent="-173038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인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조직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마케팅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영업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구매 전략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인수합병 후 통합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PMI)</a:t>
              </a: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Healthcare</a:t>
              </a:r>
            </a:p>
            <a:p>
              <a:pPr marL="265113" indent="-173038" algn="l" rtl="0" fontAlgn="t" latinLnBrk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기후변화 및 지속성장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</a:p>
            <a:p>
              <a:pPr marL="171450" indent="-171450" algn="ctr" rtl="0" latinLnBrk="0">
                <a:lnSpc>
                  <a:spcPct val="90000"/>
                </a:lnSpc>
                <a:buFont typeface="Wingdings" panose="05000000000000000000" pitchFamily="2" charset="2"/>
                <a:buChar char="§"/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31" name="Rectangle 160"/>
            <p:cNvSpPr>
              <a:spLocks noChangeArrowheads="1"/>
            </p:cNvSpPr>
            <p:nvPr/>
          </p:nvSpPr>
          <p:spPr bwMode="auto">
            <a:xfrm>
              <a:off x="2586768" y="3791591"/>
              <a:ext cx="2116991" cy="2160000"/>
            </a:xfrm>
            <a:prstGeom prst="rect">
              <a:avLst/>
            </a:prstGeom>
            <a:noFill/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marL="265113" lvl="0" indent="-173038" eaLnBrk="0" fontAlgn="t" hangingPunct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Management Consulting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경영진단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전사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BPR/PI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경영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수익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성과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)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마케팅 및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Data Analytics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자산부채종합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ALM)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경영정보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EIS)</a:t>
              </a:r>
            </a:p>
            <a:p>
              <a:pPr marL="265113" lvl="0" indent="-173038" eaLnBrk="0" fontAlgn="t" hangingPunct="0"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Risk Consulting</a:t>
              </a: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신용평가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,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리스크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컨설팅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92075" lvl="0" eaLnBrk="0" fontAlgn="t" hangingPunct="0">
                <a:spcBef>
                  <a:spcPts val="500"/>
                </a:spcBef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 -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내부통제 컨설팅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32" name="Rectangle 160"/>
            <p:cNvSpPr>
              <a:spLocks noChangeArrowheads="1"/>
            </p:cNvSpPr>
            <p:nvPr/>
          </p:nvSpPr>
          <p:spPr bwMode="auto">
            <a:xfrm>
              <a:off x="4764836" y="3791591"/>
              <a:ext cx="2116991" cy="2160000"/>
            </a:xfrm>
            <a:prstGeom prst="rect">
              <a:avLst/>
            </a:prstGeom>
            <a:noFill/>
            <a:ln w="12700" algn="ctr">
              <a:solidFill>
                <a:srgbClr val="336699"/>
              </a:solidFill>
              <a:miter lim="800000"/>
              <a:headEnd/>
              <a:tailEnd/>
            </a:ln>
            <a:effectLst/>
          </p:spPr>
          <p:txBody>
            <a:bodyPr lIns="72000" rIns="72000" anchor="t"/>
            <a:lstStyle/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Information Strategy Planning (ISP)</a:t>
              </a:r>
            </a:p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IT Governance</a:t>
              </a:r>
            </a:p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IT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프로젝트 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PMO)</a:t>
              </a:r>
            </a:p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IT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시스템 진단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  <a:p>
              <a:pPr marL="265113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IT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Cost Optimization</a:t>
              </a:r>
            </a:p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Mobile IT </a:t>
              </a:r>
              <a:b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</a:br>
              <a:r>
                <a:rPr lang="en-US" altLang="ko-KR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Smart Work/Cloud)</a:t>
              </a:r>
            </a:p>
            <a:p>
              <a:pPr marL="265113" lvl="0" indent="-173038" eaLnBrk="0" fontAlgn="t" hangingPunct="0">
                <a:spcBef>
                  <a:spcPts val="3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보안 및 고객 정보 보호</a:t>
              </a: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cxnSp>
        <p:nvCxnSpPr>
          <p:cNvPr id="38" name="직선 연결선 66"/>
          <p:cNvCxnSpPr>
            <a:stCxn id="46" idx="2"/>
            <a:endCxn id="115" idx="0"/>
          </p:cNvCxnSpPr>
          <p:nvPr/>
        </p:nvCxnSpPr>
        <p:spPr bwMode="auto">
          <a:xfrm rot="16200000" flipH="1">
            <a:off x="4629882" y="-568592"/>
            <a:ext cx="306328" cy="684076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cxnSp>
      <p:sp>
        <p:nvSpPr>
          <p:cNvPr id="51" name="TextBox 50"/>
          <p:cNvSpPr txBox="1"/>
          <p:nvPr/>
        </p:nvSpPr>
        <p:spPr bwMode="gray">
          <a:xfrm>
            <a:off x="794668" y="6011286"/>
            <a:ext cx="83166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“ </a:t>
            </a:r>
            <a:r>
              <a:rPr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컨설팅 부문은 총 </a:t>
            </a:r>
            <a:r>
              <a:rPr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447</a:t>
            </a:r>
            <a:r>
              <a:rPr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명이고</a:t>
            </a:r>
            <a:r>
              <a:rPr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이 중 금융산업 특화된 인력은 </a:t>
            </a:r>
            <a:r>
              <a:rPr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149</a:t>
            </a:r>
            <a:r>
              <a:rPr lang="ko-KR" altLang="en-US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명임 </a:t>
            </a:r>
            <a:r>
              <a:rPr lang="en-US" altLang="ko-KR" sz="1400" i="1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endParaRPr lang="ko-KR" altLang="en-US" sz="1400" i="1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922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개요</a:t>
            </a:r>
            <a:endParaRPr lang="ko-KR" altLang="en-US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>
                <a:cs typeface="Arial" pitchFamily="34" charset="0"/>
              </a:rPr>
              <a:t>컨설팅은 </a:t>
            </a:r>
            <a:r>
              <a:rPr lang="ko-KR" altLang="en-US" dirty="0">
                <a:cs typeface="Arial" pitchFamily="34" charset="0"/>
              </a:rPr>
              <a:t>국내 주요 기업들의 다양한 비즈니스 이슈 해결을 지원함</a:t>
            </a:r>
            <a:endParaRPr lang="ko-KR" altLang="en-US" dirty="0"/>
          </a:p>
        </p:txBody>
      </p:sp>
      <p:sp>
        <p:nvSpPr>
          <p:cNvPr id="1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163" name="Rectangle 8"/>
          <p:cNvSpPr>
            <a:spLocks noChangeArrowheads="1"/>
          </p:cNvSpPr>
          <p:nvPr/>
        </p:nvSpPr>
        <p:spPr bwMode="auto">
          <a:xfrm flipH="1">
            <a:off x="1014236" y="1530158"/>
            <a:ext cx="3938063" cy="3176788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wrap="square" lIns="95275" tIns="95275" rIns="95275" bIns="95275" anchor="t" anchorCtr="0">
            <a:noAutofit/>
          </a:bodyPr>
          <a:lstStyle/>
          <a:p>
            <a:pPr defTabSz="898968" fontAlgn="auto" latinLnBrk="0">
              <a:lnSpc>
                <a:spcPts val="2029"/>
              </a:lnSpc>
              <a:spcBef>
                <a:spcPts val="0"/>
              </a:spcBef>
              <a:spcAft>
                <a:spcPts val="1059"/>
              </a:spcAft>
              <a:buSzPct val="90000"/>
              <a:defRPr/>
            </a:pPr>
            <a:r>
              <a:rPr lang="en-US" altLang="ko-KR" sz="1588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PwC</a:t>
            </a:r>
            <a:r>
              <a:rPr lang="ko-KR" altLang="en-US" sz="1588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컨설팅</a:t>
            </a:r>
            <a:r>
              <a:rPr lang="ko-KR" altLang="en-US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은</a:t>
            </a:r>
            <a:r>
              <a:rPr lang="en-US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…</a:t>
            </a:r>
          </a:p>
          <a:p>
            <a:pPr marL="235283" indent="-235283" defTabSz="898968" fontAlgn="auto" latinLnBrk="0">
              <a:lnSpc>
                <a:spcPts val="2117"/>
              </a:lnSpc>
              <a:spcBef>
                <a:spcPts val="0"/>
              </a:spcBef>
              <a:spcAft>
                <a:spcPts val="1059"/>
              </a:spcAft>
              <a:buSzPct val="90000"/>
              <a:buFont typeface="Wingdings" pitchFamily="2" charset="2"/>
              <a:buChar char="l"/>
              <a:defRPr/>
            </a:pP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세계 최대의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 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전문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 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컨설팅 서비스 회사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 </a:t>
            </a:r>
            <a:r>
              <a:rPr lang="en-GB" altLang="ko-KR" sz="1588" i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PricewaterhouseCoopers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의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 </a:t>
            </a:r>
            <a:b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</a:b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Member Firm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입니다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.</a:t>
            </a:r>
          </a:p>
          <a:p>
            <a:pPr marL="235283" indent="-235283" defTabSz="898968" fontAlgn="auto" latinLnBrk="0">
              <a:lnSpc>
                <a:spcPts val="2117"/>
              </a:lnSpc>
              <a:spcBef>
                <a:spcPts val="0"/>
              </a:spcBef>
              <a:spcAft>
                <a:spcPts val="1059"/>
              </a:spcAft>
              <a:buSzPct val="90000"/>
              <a:buFont typeface="Wingdings" pitchFamily="2" charset="2"/>
              <a:buChar char="l"/>
              <a:defRPr/>
            </a:pP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고객기업과 장기적인 전략적 </a:t>
            </a:r>
            <a:r>
              <a:rPr lang="en-US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/>
            </a:r>
            <a:br>
              <a:rPr lang="en-US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</a:br>
            <a:r>
              <a:rPr lang="en-GB" altLang="ko-KR" sz="1588" b="0" i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Partnership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을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 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구축하고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, </a:t>
            </a:r>
            <a:r>
              <a:rPr lang="ko-KR" altLang="en-GB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이를 통해 가치와 위험을 공유하는 올바른 동반자의 관계를 형성하고 있습니다</a:t>
            </a:r>
            <a:r>
              <a:rPr lang="en-GB" altLang="ko-KR" sz="1588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.</a:t>
            </a:r>
          </a:p>
        </p:txBody>
      </p:sp>
      <p:graphicFrame>
        <p:nvGraphicFramePr>
          <p:cNvPr id="164" name="Group 16"/>
          <p:cNvGraphicFramePr>
            <a:graphicFrameLocks noGrp="1"/>
          </p:cNvGraphicFramePr>
          <p:nvPr>
            <p:extLst/>
          </p:nvPr>
        </p:nvGraphicFramePr>
        <p:xfrm>
          <a:off x="4788450" y="2320314"/>
          <a:ext cx="4127933" cy="4025706"/>
        </p:xfrm>
        <a:graphic>
          <a:graphicData uri="http://schemas.openxmlformats.org/drawingml/2006/table">
            <a:tbl>
              <a:tblPr/>
              <a:tblGrid>
                <a:gridCol w="865284"/>
                <a:gridCol w="3262649"/>
              </a:tblGrid>
              <a:tr h="46293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회사명</a:t>
                      </a: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GB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(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유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)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프라이스워터하우스쿠퍼스컨설팅 </a:t>
                      </a:r>
                      <a:endParaRPr kumimoji="1" lang="en-US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  <a:sym typeface="Arial"/>
                      </a:endParaRPr>
                    </a:p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PricewaterhouseCoopers Consulting Co., Ltd</a:t>
                      </a:r>
                      <a:endParaRPr kumimoji="1" lang="en-GB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277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설립연도</a:t>
                      </a:r>
                      <a:endParaRPr kumimoji="1" lang="en-GB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1986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년</a:t>
                      </a:r>
                      <a:endParaRPr kumimoji="1" lang="ko-KR" altLang="en-GB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2777"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대표자</a:t>
                      </a:r>
                      <a:endParaRPr kumimoji="1" lang="en-GB" altLang="ko-KR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이한목</a:t>
                      </a:r>
                      <a:endParaRPr kumimoji="1" lang="ko-KR" altLang="en-GB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277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주소</a:t>
                      </a:r>
                      <a:endParaRPr kumimoji="1" lang="ko-KR" alt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서울특별시 용산구 한강대로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 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92 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(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LS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용산타워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)</a:t>
                      </a:r>
                      <a:endParaRPr kumimoji="1" lang="en-GB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277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사업분야</a:t>
                      </a: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경영컨설팅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/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소프트웨어 개발</a:t>
                      </a:r>
                      <a:endParaRPr kumimoji="1" lang="en-GB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045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보유인력</a:t>
                      </a:r>
                      <a:endParaRPr kumimoji="1" lang="en-GB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총 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382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명 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(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2016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년 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9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월 기준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) </a:t>
                      </a: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277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신용등급</a:t>
                      </a:r>
                      <a:endParaRPr kumimoji="1" lang="en-GB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Optima"/>
                          <a:ea typeface="가는각진제목체"/>
                        </a:defRPr>
                      </a:lvl9pPr>
                    </a:lstStyle>
                    <a:p>
                      <a:pPr marL="0" marR="0" lvl="0" indent="0" algn="l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  <a:sym typeface="Arial"/>
                        </a:rPr>
                        <a:t>A0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 (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나이스디엔비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Arial"/>
                        </a:rPr>
                        <a:t>)</a:t>
                      </a:r>
                      <a:endParaRPr kumimoji="1" lang="en-GB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Arial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40653"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주요연혁</a:t>
                      </a:r>
                      <a:endParaRPr kumimoji="1" lang="en-GB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Arial"/>
                      </a:endParaRPr>
                    </a:p>
                  </a:txBody>
                  <a:tcPr marL="48377" marR="48377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1900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9</a:t>
                      </a:r>
                      <a:r>
                        <a:rPr kumimoji="0" lang="en-US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6</a:t>
                      </a:r>
                      <a: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b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0" lang="ko-KR" altLang="en-US" sz="1100" b="0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일경영컨설팅 법인설립</a:t>
                      </a:r>
                      <a:endParaRPr kumimoji="0" lang="en-US" altLang="ko-KR" sz="1100" b="0" kern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indent="0" defTabSz="914080" eaLnBrk="0" fontAlgn="auto" latinLnBrk="0" hangingPunct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SzPct val="75000"/>
                        <a:buNone/>
                        <a:tabLst/>
                        <a:defRPr/>
                      </a:pPr>
                      <a:r>
                        <a:rPr kumimoji="0" lang="en-US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04</a:t>
                      </a:r>
                      <a:r>
                        <a:rPr kumimoji="0" lang="en-US" altLang="ko-KR" sz="1100" b="0" kern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br>
                        <a:rPr kumimoji="0" lang="en-US" altLang="ko-KR" sz="1100" b="0" kern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0" lang="ko-KR" altLang="en-US" sz="1100" b="0" kern="0" spc="-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라이스워터하우스 삼일리스크관리</a:t>
                      </a:r>
                      <a:r>
                        <a:rPr kumimoji="0" lang="ko-KR" altLang="en-US" sz="1100" b="0" kern="0" spc="-5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ko-KR" altLang="en-US" sz="1100" b="0" kern="0" spc="-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㈜ 인수하여</a:t>
                      </a:r>
                      <a:r>
                        <a:rPr kumimoji="0" lang="en-US" altLang="ko-KR" sz="1100" b="0" kern="0" spc="-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en-GB" altLang="ko-KR" sz="1100" b="0" i="0" u="none" strike="noStrike" kern="1200" cap="none" spc="-5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Arial"/>
                        </a:rPr>
                        <a:t>(</a:t>
                      </a:r>
                      <a:r>
                        <a:rPr kumimoji="0" lang="ko-KR" altLang="en-US" sz="1100" b="0" kern="0" spc="-5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</a:t>
                      </a:r>
                      <a:r>
                        <a:rPr kumimoji="0" lang="en-US" altLang="ko-KR" sz="1100" b="0" kern="0" spc="-5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kumimoji="0" lang="ko-KR" altLang="en-US" sz="1100" b="0" kern="0" spc="-5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삼일프라이스워터하우스쿠퍼스컨설팅</a:t>
                      </a:r>
                      <a:r>
                        <a:rPr kumimoji="0" lang="en-US" altLang="ko-KR" sz="1100" b="0" kern="0" spc="-5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kern="0" spc="-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변경</a:t>
                      </a:r>
                      <a:endParaRPr kumimoji="0" lang="en-US" altLang="ko-KR" sz="1100" b="0" kern="0" spc="-5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080" rtl="0" eaLnBrk="0" fontAlgn="auto" latinLnBrk="0" hangingPunct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75000"/>
                        <a:buFontTx/>
                        <a:buNone/>
                        <a:tabLst/>
                        <a:defRPr/>
                      </a:pPr>
                      <a: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4</a:t>
                      </a:r>
                      <a: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br>
                        <a:rPr kumimoji="0" lang="en-GB" altLang="ko-KR" sz="1100" b="1" kern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GB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(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유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)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  <a:sym typeface="Arial"/>
                        </a:rPr>
                        <a:t>프라이스워터하우스쿠퍼스컨설팅  상호변경</a:t>
                      </a:r>
                      <a:endParaRPr kumimoji="0" lang="en-US" altLang="ko-KR" sz="1100" b="0" kern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48377" marT="54000" marB="54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441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오각형 278"/>
          <p:cNvSpPr/>
          <p:nvPr/>
        </p:nvSpPr>
        <p:spPr bwMode="auto">
          <a:xfrm flipH="1">
            <a:off x="5045906" y="2240469"/>
            <a:ext cx="1393881" cy="3797013"/>
          </a:xfrm>
          <a:prstGeom prst="homePlate">
            <a:avLst>
              <a:gd name="adj" fmla="val 22636"/>
            </a:avLst>
          </a:prstGeom>
          <a:gradFill flip="none" rotWithShape="1">
            <a:gsLst>
              <a:gs pos="100000">
                <a:srgbClr val="CADCF7"/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8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8" name="오각형 277"/>
          <p:cNvSpPr/>
          <p:nvPr/>
        </p:nvSpPr>
        <p:spPr bwMode="auto">
          <a:xfrm>
            <a:off x="3622645" y="2253132"/>
            <a:ext cx="1365472" cy="3797013"/>
          </a:xfrm>
          <a:prstGeom prst="homePlate">
            <a:avLst>
              <a:gd name="adj" fmla="val 22636"/>
            </a:avLst>
          </a:prstGeom>
          <a:gradFill flip="none" rotWithShape="1">
            <a:gsLst>
              <a:gs pos="100000">
                <a:srgbClr val="CADCF7"/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8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   </a:t>
            </a:r>
            <a:r>
              <a:rPr lang="ko-KR" altLang="en-US" dirty="0" smtClean="0"/>
              <a:t>시장 및 규제 환경 </a:t>
            </a:r>
            <a:r>
              <a:rPr lang="en-US" altLang="ko-KR" dirty="0" smtClean="0"/>
              <a:t>– </a:t>
            </a:r>
            <a:r>
              <a:rPr lang="ko-KR" altLang="en-US" dirty="0"/>
              <a:t>금융 컨버전스 격화 </a:t>
            </a:r>
            <a:r>
              <a:rPr lang="ko-KR" altLang="en-US" dirty="0" smtClean="0"/>
              <a:t>예상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2700" marR="5080">
              <a:lnSpc>
                <a:spcPct val="100000"/>
              </a:lnSpc>
            </a:pPr>
            <a:r>
              <a:rPr lang="ko-KR" altLang="en-US" dirty="0">
                <a:latin typeface="맑은 고딕"/>
                <a:cs typeface="맑은 고딕"/>
              </a:rPr>
              <a:t>카드산업</a:t>
            </a:r>
            <a:r>
              <a:rPr lang="ko-KR" altLang="en-US" spc="15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성장정체</a:t>
            </a:r>
            <a:r>
              <a:rPr lang="en-US" altLang="ko-KR" spc="-5" dirty="0">
                <a:latin typeface="맑은 고딕"/>
                <a:cs typeface="맑은 고딕"/>
              </a:rPr>
              <a:t> </a:t>
            </a:r>
            <a:r>
              <a:rPr lang="ko-KR" altLang="en-US" spc="-5" dirty="0">
                <a:latin typeface="맑은 고딕"/>
                <a:cs typeface="맑은 고딕"/>
              </a:rPr>
              <a:t>및 </a:t>
            </a:r>
            <a:r>
              <a:rPr lang="en-US" altLang="ko-KR" spc="-10" dirty="0" err="1">
                <a:latin typeface="맑은 고딕"/>
                <a:cs typeface="맑은 고딕"/>
              </a:rPr>
              <a:t>F</a:t>
            </a:r>
            <a:r>
              <a:rPr lang="en-US" altLang="ko-KR" spc="5" dirty="0" err="1">
                <a:latin typeface="맑은 고딕"/>
                <a:cs typeface="맑은 고딕"/>
              </a:rPr>
              <a:t>inT</a:t>
            </a:r>
            <a:r>
              <a:rPr lang="en-US" altLang="ko-KR" spc="-5" dirty="0" err="1">
                <a:latin typeface="맑은 고딕"/>
                <a:cs typeface="맑은 고딕"/>
              </a:rPr>
              <a:t>e</a:t>
            </a:r>
            <a:r>
              <a:rPr lang="en-US" altLang="ko-KR" spc="5" dirty="0" err="1">
                <a:latin typeface="맑은 고딕"/>
                <a:cs typeface="맑은 고딕"/>
              </a:rPr>
              <a:t>c</a:t>
            </a:r>
            <a:r>
              <a:rPr lang="en-US" altLang="ko-KR" dirty="0" err="1">
                <a:latin typeface="맑은 고딕"/>
                <a:cs typeface="맑은 고딕"/>
              </a:rPr>
              <a:t>h</a:t>
            </a:r>
            <a:r>
              <a:rPr lang="en-US" altLang="ko-KR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기반의</a:t>
            </a:r>
            <a:r>
              <a:rPr lang="ko-KR" altLang="en-US" spc="-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지급</a:t>
            </a:r>
            <a:r>
              <a:rPr lang="en-US" altLang="ko-KR" spc="-10" dirty="0">
                <a:latin typeface="맑은 고딕"/>
                <a:cs typeface="맑은 고딕"/>
              </a:rPr>
              <a:t>/</a:t>
            </a:r>
            <a:r>
              <a:rPr lang="ko-KR" altLang="en-US" dirty="0">
                <a:latin typeface="맑은 고딕"/>
                <a:cs typeface="맑은 고딕"/>
              </a:rPr>
              <a:t>결제</a:t>
            </a:r>
            <a:r>
              <a:rPr lang="ko-KR" altLang="en-US" spc="-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경쟁심화에</a:t>
            </a:r>
            <a:r>
              <a:rPr lang="en-US" altLang="ko-KR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따라</a:t>
            </a:r>
            <a:r>
              <a:rPr lang="en-US" altLang="ko-KR" spc="-5" dirty="0">
                <a:latin typeface="맑은 고딕"/>
                <a:cs typeface="맑은 고딕"/>
              </a:rPr>
              <a:t>, </a:t>
            </a:r>
            <a:r>
              <a:rPr lang="ko-KR" altLang="en-US" dirty="0">
                <a:latin typeface="맑은 고딕"/>
                <a:cs typeface="맑은 고딕"/>
              </a:rPr>
              <a:t>서비스</a:t>
            </a:r>
            <a:r>
              <a:rPr lang="ko-KR" altLang="en-US" spc="15" dirty="0">
                <a:latin typeface="맑은 고딕"/>
                <a:cs typeface="맑은 고딕"/>
              </a:rPr>
              <a:t> 경쟁력 </a:t>
            </a:r>
            <a:r>
              <a:rPr lang="ko-KR" altLang="en-US" dirty="0">
                <a:latin typeface="맑은 고딕"/>
                <a:cs typeface="맑은 고딕"/>
              </a:rPr>
              <a:t>우위</a:t>
            </a:r>
            <a:r>
              <a:rPr lang="ko-KR" altLang="en-US" spc="-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시스템</a:t>
            </a:r>
            <a:r>
              <a:rPr lang="ko-KR" altLang="en-US" spc="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구축을</a:t>
            </a:r>
            <a:r>
              <a:rPr lang="ko-KR" altLang="en-US" spc="15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통한</a:t>
            </a:r>
            <a:r>
              <a:rPr lang="ko-KR" altLang="en-US" spc="-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사업</a:t>
            </a:r>
            <a:r>
              <a:rPr lang="ko-KR" altLang="en-US" spc="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경쟁력</a:t>
            </a:r>
            <a:r>
              <a:rPr lang="ko-KR" altLang="en-US" spc="-10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강화가</a:t>
            </a:r>
            <a:r>
              <a:rPr lang="ko-KR" altLang="en-US" spc="15" dirty="0">
                <a:latin typeface="맑은 고딕"/>
                <a:cs typeface="맑은 고딕"/>
              </a:rPr>
              <a:t> </a:t>
            </a:r>
            <a:r>
              <a:rPr lang="ko-KR" altLang="en-US" dirty="0">
                <a:latin typeface="맑은 고딕"/>
                <a:cs typeface="맑은 고딕"/>
              </a:rPr>
              <a:t>요구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273" name="그룹 272"/>
          <p:cNvGrpSpPr/>
          <p:nvPr/>
        </p:nvGrpSpPr>
        <p:grpSpPr>
          <a:xfrm>
            <a:off x="516308" y="2145539"/>
            <a:ext cx="3712151" cy="3991543"/>
            <a:chOff x="285935" y="2145539"/>
            <a:chExt cx="3712151" cy="4983849"/>
          </a:xfrm>
        </p:grpSpPr>
        <p:sp>
          <p:nvSpPr>
            <p:cNvPr id="209" name="직사각형 208"/>
            <p:cNvSpPr/>
            <p:nvPr/>
          </p:nvSpPr>
          <p:spPr bwMode="auto">
            <a:xfrm>
              <a:off x="297750" y="2145539"/>
              <a:ext cx="1152000" cy="113928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인터넷은행</a:t>
              </a: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사업 개시</a:t>
              </a:r>
            </a:p>
          </p:txBody>
        </p:sp>
        <p:grpSp>
          <p:nvGrpSpPr>
            <p:cNvPr id="7" name="그룹 6"/>
            <p:cNvGrpSpPr/>
            <p:nvPr/>
          </p:nvGrpSpPr>
          <p:grpSpPr>
            <a:xfrm>
              <a:off x="1649335" y="4245537"/>
              <a:ext cx="2306674" cy="274320"/>
              <a:chOff x="1649335" y="4245537"/>
              <a:chExt cx="2316480" cy="274320"/>
            </a:xfrm>
          </p:grpSpPr>
          <p:sp>
            <p:nvSpPr>
              <p:cNvPr id="238" name="object 34"/>
              <p:cNvSpPr/>
              <p:nvPr/>
            </p:nvSpPr>
            <p:spPr>
              <a:xfrm>
                <a:off x="1649335" y="4245537"/>
                <a:ext cx="569976" cy="274320"/>
              </a:xfrm>
              <a:prstGeom prst="rect">
                <a:avLst/>
              </a:prstGeom>
              <a:blipFill>
                <a:blip r:embed="rId2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sz="1800" b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39" name="object 35"/>
              <p:cNvSpPr/>
              <p:nvPr/>
            </p:nvSpPr>
            <p:spPr>
              <a:xfrm>
                <a:off x="3222104" y="4285161"/>
                <a:ext cx="743711" cy="195072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sz="1800" b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40" name="object 36"/>
              <p:cNvSpPr/>
              <p:nvPr/>
            </p:nvSpPr>
            <p:spPr>
              <a:xfrm>
                <a:off x="2383904" y="4279064"/>
                <a:ext cx="667512" cy="204215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sz="1800" b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250" name="object 46"/>
            <p:cNvSpPr/>
            <p:nvPr/>
          </p:nvSpPr>
          <p:spPr>
            <a:xfrm>
              <a:off x="1639530" y="3009171"/>
              <a:ext cx="1188720" cy="21336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1" name="object 47"/>
            <p:cNvSpPr/>
            <p:nvPr/>
          </p:nvSpPr>
          <p:spPr>
            <a:xfrm>
              <a:off x="2889209" y="2978690"/>
              <a:ext cx="1066800" cy="28956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5" name="object 51"/>
            <p:cNvSpPr/>
            <p:nvPr/>
          </p:nvSpPr>
          <p:spPr>
            <a:xfrm>
              <a:off x="1830282" y="6801139"/>
              <a:ext cx="771144" cy="30480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6" name="object 52"/>
            <p:cNvSpPr/>
            <p:nvPr/>
          </p:nvSpPr>
          <p:spPr>
            <a:xfrm>
              <a:off x="2705059" y="6865146"/>
              <a:ext cx="996696" cy="192023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8" name="직사각형 257"/>
            <p:cNvSpPr/>
            <p:nvPr/>
          </p:nvSpPr>
          <p:spPr bwMode="auto">
            <a:xfrm>
              <a:off x="1568624" y="2149117"/>
              <a:ext cx="2429462" cy="70381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터넷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은행의 등장에 따라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spc="-1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스마트 기기 </a:t>
              </a:r>
              <a:r>
                <a:rPr kumimoji="1" lang="ko-KR" altLang="en-US" sz="1200" b="0" spc="-1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반 간편결제 활성화</a:t>
              </a:r>
            </a:p>
          </p:txBody>
        </p:sp>
        <p:sp>
          <p:nvSpPr>
            <p:cNvPr id="259" name="직사각형 258"/>
            <p:cNvSpPr/>
            <p:nvPr/>
          </p:nvSpPr>
          <p:spPr bwMode="auto">
            <a:xfrm>
              <a:off x="285935" y="3431792"/>
              <a:ext cx="1152000" cy="113928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Payment </a:t>
              </a: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신규 사업자 시장 진입</a:t>
              </a:r>
            </a:p>
          </p:txBody>
        </p:sp>
        <p:sp>
          <p:nvSpPr>
            <p:cNvPr id="262" name="직사각형 261"/>
            <p:cNvSpPr/>
            <p:nvPr/>
          </p:nvSpPr>
          <p:spPr bwMode="auto">
            <a:xfrm>
              <a:off x="1556809" y="3435370"/>
              <a:ext cx="2429462" cy="70381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유통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IT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 다양한 異업종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업자의 간편결제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확대</a:t>
              </a:r>
            </a:p>
          </p:txBody>
        </p:sp>
        <p:sp>
          <p:nvSpPr>
            <p:cNvPr id="263" name="직사각형 262"/>
            <p:cNvSpPr/>
            <p:nvPr/>
          </p:nvSpPr>
          <p:spPr bwMode="auto">
            <a:xfrm>
              <a:off x="285935" y="4710949"/>
              <a:ext cx="1152000" cy="113928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카드사 </a:t>
              </a:r>
              <a:r>
                <a:rPr kumimoji="1" lang="en-US" altLang="ko-KR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Payment </a:t>
              </a: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서비스 강화</a:t>
              </a:r>
            </a:p>
          </p:txBody>
        </p:sp>
        <p:sp>
          <p:nvSpPr>
            <p:cNvPr id="266" name="직사각형 265"/>
            <p:cNvSpPr/>
            <p:nvPr/>
          </p:nvSpPr>
          <p:spPr bwMode="auto">
            <a:xfrm>
              <a:off x="1556809" y="4714527"/>
              <a:ext cx="2429462" cy="70381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지급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결제 영역의 수익성을 위한 앱카드 및 간편결제 서비스 제공 추진</a:t>
              </a:r>
            </a:p>
          </p:txBody>
        </p:sp>
        <p:sp>
          <p:nvSpPr>
            <p:cNvPr id="267" name="object 40"/>
            <p:cNvSpPr/>
            <p:nvPr/>
          </p:nvSpPr>
          <p:spPr>
            <a:xfrm>
              <a:off x="1767986" y="5545626"/>
              <a:ext cx="947928" cy="18897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8" name="object 41"/>
            <p:cNvSpPr/>
            <p:nvPr/>
          </p:nvSpPr>
          <p:spPr>
            <a:xfrm>
              <a:off x="2929274" y="5560865"/>
              <a:ext cx="725423" cy="17678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9" name="직사각형 268"/>
            <p:cNvSpPr/>
            <p:nvPr/>
          </p:nvSpPr>
          <p:spPr bwMode="auto">
            <a:xfrm>
              <a:off x="297750" y="5990106"/>
              <a:ext cx="1152000" cy="1139282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증권사 체크카드 활성화</a:t>
              </a:r>
            </a:p>
          </p:txBody>
        </p:sp>
        <p:sp>
          <p:nvSpPr>
            <p:cNvPr id="270" name="직사각형 269"/>
            <p:cNvSpPr/>
            <p:nvPr/>
          </p:nvSpPr>
          <p:spPr bwMode="auto">
            <a:xfrm>
              <a:off x="1568624" y="5993684"/>
              <a:ext cx="2429462" cy="70381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증권사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체크카드 시장에서의 서비스 영역 진입 및 확대</a:t>
              </a:r>
            </a:p>
          </p:txBody>
        </p:sp>
      </p:grpSp>
      <p:sp>
        <p:nvSpPr>
          <p:cNvPr id="230" name="object 26"/>
          <p:cNvSpPr/>
          <p:nvPr/>
        </p:nvSpPr>
        <p:spPr>
          <a:xfrm>
            <a:off x="4408616" y="3351458"/>
            <a:ext cx="1298575" cy="1295400"/>
          </a:xfrm>
          <a:custGeom>
            <a:avLst/>
            <a:gdLst/>
            <a:ahLst/>
            <a:cxnLst/>
            <a:rect l="l" t="t" r="r" b="b"/>
            <a:pathLst>
              <a:path w="1298575" h="1295400">
                <a:moveTo>
                  <a:pt x="649224" y="0"/>
                </a:moveTo>
                <a:lnTo>
                  <a:pt x="595982" y="2146"/>
                </a:lnTo>
                <a:lnTo>
                  <a:pt x="543925" y="8476"/>
                </a:lnTo>
                <a:lnTo>
                  <a:pt x="493219" y="18821"/>
                </a:lnTo>
                <a:lnTo>
                  <a:pt x="444032" y="33015"/>
                </a:lnTo>
                <a:lnTo>
                  <a:pt x="396531" y="50893"/>
                </a:lnTo>
                <a:lnTo>
                  <a:pt x="350883" y="72286"/>
                </a:lnTo>
                <a:lnTo>
                  <a:pt x="307256" y="97029"/>
                </a:lnTo>
                <a:lnTo>
                  <a:pt x="265816" y="124955"/>
                </a:lnTo>
                <a:lnTo>
                  <a:pt x="226730" y="155898"/>
                </a:lnTo>
                <a:lnTo>
                  <a:pt x="190166" y="189690"/>
                </a:lnTo>
                <a:lnTo>
                  <a:pt x="156291" y="226165"/>
                </a:lnTo>
                <a:lnTo>
                  <a:pt x="125272" y="265157"/>
                </a:lnTo>
                <a:lnTo>
                  <a:pt x="97277" y="306499"/>
                </a:lnTo>
                <a:lnTo>
                  <a:pt x="72471" y="350025"/>
                </a:lnTo>
                <a:lnTo>
                  <a:pt x="51024" y="395567"/>
                </a:lnTo>
                <a:lnTo>
                  <a:pt x="33101" y="442959"/>
                </a:lnTo>
                <a:lnTo>
                  <a:pt x="18870" y="492035"/>
                </a:lnTo>
                <a:lnTo>
                  <a:pt x="8498" y="542628"/>
                </a:lnTo>
                <a:lnTo>
                  <a:pt x="2152" y="594572"/>
                </a:lnTo>
                <a:lnTo>
                  <a:pt x="0" y="647700"/>
                </a:lnTo>
                <a:lnTo>
                  <a:pt x="2152" y="700827"/>
                </a:lnTo>
                <a:lnTo>
                  <a:pt x="8498" y="752771"/>
                </a:lnTo>
                <a:lnTo>
                  <a:pt x="18870" y="803364"/>
                </a:lnTo>
                <a:lnTo>
                  <a:pt x="33101" y="852440"/>
                </a:lnTo>
                <a:lnTo>
                  <a:pt x="51024" y="899832"/>
                </a:lnTo>
                <a:lnTo>
                  <a:pt x="72471" y="945374"/>
                </a:lnTo>
                <a:lnTo>
                  <a:pt x="97277" y="988900"/>
                </a:lnTo>
                <a:lnTo>
                  <a:pt x="125272" y="1030242"/>
                </a:lnTo>
                <a:lnTo>
                  <a:pt x="156291" y="1069234"/>
                </a:lnTo>
                <a:lnTo>
                  <a:pt x="190166" y="1105709"/>
                </a:lnTo>
                <a:lnTo>
                  <a:pt x="226730" y="1139501"/>
                </a:lnTo>
                <a:lnTo>
                  <a:pt x="265816" y="1170444"/>
                </a:lnTo>
                <a:lnTo>
                  <a:pt x="307256" y="1198370"/>
                </a:lnTo>
                <a:lnTo>
                  <a:pt x="350883" y="1223113"/>
                </a:lnTo>
                <a:lnTo>
                  <a:pt x="396531" y="1244506"/>
                </a:lnTo>
                <a:lnTo>
                  <a:pt x="444032" y="1262384"/>
                </a:lnTo>
                <a:lnTo>
                  <a:pt x="493219" y="1276578"/>
                </a:lnTo>
                <a:lnTo>
                  <a:pt x="543925" y="1286923"/>
                </a:lnTo>
                <a:lnTo>
                  <a:pt x="595982" y="1293253"/>
                </a:lnTo>
                <a:lnTo>
                  <a:pt x="649224" y="1295400"/>
                </a:lnTo>
                <a:lnTo>
                  <a:pt x="702465" y="1293253"/>
                </a:lnTo>
                <a:lnTo>
                  <a:pt x="754522" y="1286923"/>
                </a:lnTo>
                <a:lnTo>
                  <a:pt x="805228" y="1276578"/>
                </a:lnTo>
                <a:lnTo>
                  <a:pt x="854415" y="1262384"/>
                </a:lnTo>
                <a:lnTo>
                  <a:pt x="901916" y="1244506"/>
                </a:lnTo>
                <a:lnTo>
                  <a:pt x="947564" y="1223113"/>
                </a:lnTo>
                <a:lnTo>
                  <a:pt x="991191" y="1198370"/>
                </a:lnTo>
                <a:lnTo>
                  <a:pt x="1032631" y="1170444"/>
                </a:lnTo>
                <a:lnTo>
                  <a:pt x="1071717" y="1139501"/>
                </a:lnTo>
                <a:lnTo>
                  <a:pt x="1108281" y="1105709"/>
                </a:lnTo>
                <a:lnTo>
                  <a:pt x="1142156" y="1069234"/>
                </a:lnTo>
                <a:lnTo>
                  <a:pt x="1173175" y="1030242"/>
                </a:lnTo>
                <a:lnTo>
                  <a:pt x="1201170" y="988900"/>
                </a:lnTo>
                <a:lnTo>
                  <a:pt x="1225976" y="945374"/>
                </a:lnTo>
                <a:lnTo>
                  <a:pt x="1247423" y="899832"/>
                </a:lnTo>
                <a:lnTo>
                  <a:pt x="1265346" y="852440"/>
                </a:lnTo>
                <a:lnTo>
                  <a:pt x="1279577" y="803364"/>
                </a:lnTo>
                <a:lnTo>
                  <a:pt x="1289949" y="752771"/>
                </a:lnTo>
                <a:lnTo>
                  <a:pt x="1296295" y="700827"/>
                </a:lnTo>
                <a:lnTo>
                  <a:pt x="1298448" y="647700"/>
                </a:lnTo>
                <a:lnTo>
                  <a:pt x="1296295" y="594572"/>
                </a:lnTo>
                <a:lnTo>
                  <a:pt x="1289949" y="542628"/>
                </a:lnTo>
                <a:lnTo>
                  <a:pt x="1279577" y="492035"/>
                </a:lnTo>
                <a:lnTo>
                  <a:pt x="1265346" y="442959"/>
                </a:lnTo>
                <a:lnTo>
                  <a:pt x="1247423" y="395567"/>
                </a:lnTo>
                <a:lnTo>
                  <a:pt x="1225976" y="350025"/>
                </a:lnTo>
                <a:lnTo>
                  <a:pt x="1201170" y="306499"/>
                </a:lnTo>
                <a:lnTo>
                  <a:pt x="1173175" y="265157"/>
                </a:lnTo>
                <a:lnTo>
                  <a:pt x="1142156" y="226165"/>
                </a:lnTo>
                <a:lnTo>
                  <a:pt x="1108281" y="189690"/>
                </a:lnTo>
                <a:lnTo>
                  <a:pt x="1071717" y="155898"/>
                </a:lnTo>
                <a:lnTo>
                  <a:pt x="1032631" y="124955"/>
                </a:lnTo>
                <a:lnTo>
                  <a:pt x="991191" y="97029"/>
                </a:lnTo>
                <a:lnTo>
                  <a:pt x="947564" y="72286"/>
                </a:lnTo>
                <a:lnTo>
                  <a:pt x="901916" y="50893"/>
                </a:lnTo>
                <a:lnTo>
                  <a:pt x="854415" y="33015"/>
                </a:lnTo>
                <a:lnTo>
                  <a:pt x="805228" y="18821"/>
                </a:lnTo>
                <a:lnTo>
                  <a:pt x="754522" y="8476"/>
                </a:lnTo>
                <a:lnTo>
                  <a:pt x="702465" y="2146"/>
                </a:lnTo>
                <a:lnTo>
                  <a:pt x="6492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1" name="object 27"/>
          <p:cNvSpPr/>
          <p:nvPr/>
        </p:nvSpPr>
        <p:spPr>
          <a:xfrm>
            <a:off x="4408616" y="3351458"/>
            <a:ext cx="1298575" cy="1295400"/>
          </a:xfrm>
          <a:custGeom>
            <a:avLst/>
            <a:gdLst/>
            <a:ahLst/>
            <a:cxnLst/>
            <a:rect l="l" t="t" r="r" b="b"/>
            <a:pathLst>
              <a:path w="1298575" h="1295400">
                <a:moveTo>
                  <a:pt x="0" y="647700"/>
                </a:moveTo>
                <a:lnTo>
                  <a:pt x="2152" y="594572"/>
                </a:lnTo>
                <a:lnTo>
                  <a:pt x="8498" y="542628"/>
                </a:lnTo>
                <a:lnTo>
                  <a:pt x="18870" y="492035"/>
                </a:lnTo>
                <a:lnTo>
                  <a:pt x="33101" y="442959"/>
                </a:lnTo>
                <a:lnTo>
                  <a:pt x="51024" y="395567"/>
                </a:lnTo>
                <a:lnTo>
                  <a:pt x="72471" y="350025"/>
                </a:lnTo>
                <a:lnTo>
                  <a:pt x="97277" y="306499"/>
                </a:lnTo>
                <a:lnTo>
                  <a:pt x="125272" y="265157"/>
                </a:lnTo>
                <a:lnTo>
                  <a:pt x="156291" y="226165"/>
                </a:lnTo>
                <a:lnTo>
                  <a:pt x="190166" y="189690"/>
                </a:lnTo>
                <a:lnTo>
                  <a:pt x="226730" y="155898"/>
                </a:lnTo>
                <a:lnTo>
                  <a:pt x="265816" y="124955"/>
                </a:lnTo>
                <a:lnTo>
                  <a:pt x="307256" y="97029"/>
                </a:lnTo>
                <a:lnTo>
                  <a:pt x="350883" y="72286"/>
                </a:lnTo>
                <a:lnTo>
                  <a:pt x="396531" y="50893"/>
                </a:lnTo>
                <a:lnTo>
                  <a:pt x="444032" y="33015"/>
                </a:lnTo>
                <a:lnTo>
                  <a:pt x="493219" y="18821"/>
                </a:lnTo>
                <a:lnTo>
                  <a:pt x="543925" y="8476"/>
                </a:lnTo>
                <a:lnTo>
                  <a:pt x="595982" y="2146"/>
                </a:lnTo>
                <a:lnTo>
                  <a:pt x="649224" y="0"/>
                </a:lnTo>
                <a:lnTo>
                  <a:pt x="702465" y="2146"/>
                </a:lnTo>
                <a:lnTo>
                  <a:pt x="754522" y="8476"/>
                </a:lnTo>
                <a:lnTo>
                  <a:pt x="805228" y="18821"/>
                </a:lnTo>
                <a:lnTo>
                  <a:pt x="854415" y="33015"/>
                </a:lnTo>
                <a:lnTo>
                  <a:pt x="901916" y="50893"/>
                </a:lnTo>
                <a:lnTo>
                  <a:pt x="947564" y="72286"/>
                </a:lnTo>
                <a:lnTo>
                  <a:pt x="991191" y="97029"/>
                </a:lnTo>
                <a:lnTo>
                  <a:pt x="1032631" y="124955"/>
                </a:lnTo>
                <a:lnTo>
                  <a:pt x="1071717" y="155898"/>
                </a:lnTo>
                <a:lnTo>
                  <a:pt x="1108281" y="189690"/>
                </a:lnTo>
                <a:lnTo>
                  <a:pt x="1142156" y="226165"/>
                </a:lnTo>
                <a:lnTo>
                  <a:pt x="1173175" y="265157"/>
                </a:lnTo>
                <a:lnTo>
                  <a:pt x="1201170" y="306499"/>
                </a:lnTo>
                <a:lnTo>
                  <a:pt x="1225976" y="350025"/>
                </a:lnTo>
                <a:lnTo>
                  <a:pt x="1247423" y="395567"/>
                </a:lnTo>
                <a:lnTo>
                  <a:pt x="1265346" y="442959"/>
                </a:lnTo>
                <a:lnTo>
                  <a:pt x="1279577" y="492035"/>
                </a:lnTo>
                <a:lnTo>
                  <a:pt x="1289949" y="542628"/>
                </a:lnTo>
                <a:lnTo>
                  <a:pt x="1296295" y="594572"/>
                </a:lnTo>
                <a:lnTo>
                  <a:pt x="1298448" y="647700"/>
                </a:lnTo>
                <a:lnTo>
                  <a:pt x="1296295" y="700827"/>
                </a:lnTo>
                <a:lnTo>
                  <a:pt x="1289949" y="752771"/>
                </a:lnTo>
                <a:lnTo>
                  <a:pt x="1279577" y="803364"/>
                </a:lnTo>
                <a:lnTo>
                  <a:pt x="1265346" y="852440"/>
                </a:lnTo>
                <a:lnTo>
                  <a:pt x="1247423" y="899832"/>
                </a:lnTo>
                <a:lnTo>
                  <a:pt x="1225976" y="945374"/>
                </a:lnTo>
                <a:lnTo>
                  <a:pt x="1201170" y="988900"/>
                </a:lnTo>
                <a:lnTo>
                  <a:pt x="1173175" y="1030242"/>
                </a:lnTo>
                <a:lnTo>
                  <a:pt x="1142156" y="1069234"/>
                </a:lnTo>
                <a:lnTo>
                  <a:pt x="1108281" y="1105709"/>
                </a:lnTo>
                <a:lnTo>
                  <a:pt x="1071717" y="1139501"/>
                </a:lnTo>
                <a:lnTo>
                  <a:pt x="1032631" y="1170444"/>
                </a:lnTo>
                <a:lnTo>
                  <a:pt x="991191" y="1198370"/>
                </a:lnTo>
                <a:lnTo>
                  <a:pt x="947564" y="1223113"/>
                </a:lnTo>
                <a:lnTo>
                  <a:pt x="901916" y="1244506"/>
                </a:lnTo>
                <a:lnTo>
                  <a:pt x="854415" y="1262384"/>
                </a:lnTo>
                <a:lnTo>
                  <a:pt x="805228" y="1276578"/>
                </a:lnTo>
                <a:lnTo>
                  <a:pt x="754522" y="1286923"/>
                </a:lnTo>
                <a:lnTo>
                  <a:pt x="702465" y="1293253"/>
                </a:lnTo>
                <a:lnTo>
                  <a:pt x="649224" y="1295400"/>
                </a:lnTo>
                <a:lnTo>
                  <a:pt x="595982" y="1293253"/>
                </a:lnTo>
                <a:lnTo>
                  <a:pt x="543925" y="1286923"/>
                </a:lnTo>
                <a:lnTo>
                  <a:pt x="493219" y="1276578"/>
                </a:lnTo>
                <a:lnTo>
                  <a:pt x="444032" y="1262384"/>
                </a:lnTo>
                <a:lnTo>
                  <a:pt x="396531" y="1244506"/>
                </a:lnTo>
                <a:lnTo>
                  <a:pt x="350883" y="1223113"/>
                </a:lnTo>
                <a:lnTo>
                  <a:pt x="307256" y="1198370"/>
                </a:lnTo>
                <a:lnTo>
                  <a:pt x="265816" y="1170444"/>
                </a:lnTo>
                <a:lnTo>
                  <a:pt x="226730" y="1139501"/>
                </a:lnTo>
                <a:lnTo>
                  <a:pt x="190166" y="1105709"/>
                </a:lnTo>
                <a:lnTo>
                  <a:pt x="156291" y="1069234"/>
                </a:lnTo>
                <a:lnTo>
                  <a:pt x="125272" y="1030242"/>
                </a:lnTo>
                <a:lnTo>
                  <a:pt x="97277" y="988900"/>
                </a:lnTo>
                <a:lnTo>
                  <a:pt x="72471" y="945374"/>
                </a:lnTo>
                <a:lnTo>
                  <a:pt x="51024" y="899832"/>
                </a:lnTo>
                <a:lnTo>
                  <a:pt x="33101" y="852440"/>
                </a:lnTo>
                <a:lnTo>
                  <a:pt x="18870" y="803364"/>
                </a:lnTo>
                <a:lnTo>
                  <a:pt x="8498" y="752771"/>
                </a:lnTo>
                <a:lnTo>
                  <a:pt x="2152" y="700827"/>
                </a:lnTo>
                <a:lnTo>
                  <a:pt x="0" y="647700"/>
                </a:lnTo>
                <a:close/>
              </a:path>
            </a:pathLst>
          </a:custGeom>
          <a:ln w="27432">
            <a:solidFill>
              <a:srgbClr val="7E7E7E"/>
            </a:solidFill>
            <a:prstDash val="lgDash"/>
          </a:ln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2" name="object 28"/>
          <p:cNvSpPr/>
          <p:nvPr/>
        </p:nvSpPr>
        <p:spPr>
          <a:xfrm>
            <a:off x="4481769" y="3424609"/>
            <a:ext cx="1152525" cy="1152525"/>
          </a:xfrm>
          <a:custGeom>
            <a:avLst/>
            <a:gdLst/>
            <a:ahLst/>
            <a:cxnLst/>
            <a:rect l="l" t="t" r="r" b="b"/>
            <a:pathLst>
              <a:path w="1152525" h="1152525">
                <a:moveTo>
                  <a:pt x="576072" y="0"/>
                </a:moveTo>
                <a:lnTo>
                  <a:pt x="528827" y="1909"/>
                </a:lnTo>
                <a:lnTo>
                  <a:pt x="482635" y="7540"/>
                </a:lnTo>
                <a:lnTo>
                  <a:pt x="437641" y="16743"/>
                </a:lnTo>
                <a:lnTo>
                  <a:pt x="393996" y="29370"/>
                </a:lnTo>
                <a:lnTo>
                  <a:pt x="351847" y="45273"/>
                </a:lnTo>
                <a:lnTo>
                  <a:pt x="311342" y="64304"/>
                </a:lnTo>
                <a:lnTo>
                  <a:pt x="272631" y="86313"/>
                </a:lnTo>
                <a:lnTo>
                  <a:pt x="235860" y="111154"/>
                </a:lnTo>
                <a:lnTo>
                  <a:pt x="201179" y="138677"/>
                </a:lnTo>
                <a:lnTo>
                  <a:pt x="168735" y="168735"/>
                </a:lnTo>
                <a:lnTo>
                  <a:pt x="138677" y="201179"/>
                </a:lnTo>
                <a:lnTo>
                  <a:pt x="111154" y="235860"/>
                </a:lnTo>
                <a:lnTo>
                  <a:pt x="86313" y="272631"/>
                </a:lnTo>
                <a:lnTo>
                  <a:pt x="64304" y="311342"/>
                </a:lnTo>
                <a:lnTo>
                  <a:pt x="45273" y="351847"/>
                </a:lnTo>
                <a:lnTo>
                  <a:pt x="29370" y="393996"/>
                </a:lnTo>
                <a:lnTo>
                  <a:pt x="16743" y="437641"/>
                </a:lnTo>
                <a:lnTo>
                  <a:pt x="7540" y="482635"/>
                </a:lnTo>
                <a:lnTo>
                  <a:pt x="1909" y="528827"/>
                </a:lnTo>
                <a:lnTo>
                  <a:pt x="0" y="576071"/>
                </a:lnTo>
                <a:lnTo>
                  <a:pt x="1909" y="623316"/>
                </a:lnTo>
                <a:lnTo>
                  <a:pt x="7540" y="669508"/>
                </a:lnTo>
                <a:lnTo>
                  <a:pt x="16743" y="714502"/>
                </a:lnTo>
                <a:lnTo>
                  <a:pt x="29370" y="758147"/>
                </a:lnTo>
                <a:lnTo>
                  <a:pt x="45273" y="800296"/>
                </a:lnTo>
                <a:lnTo>
                  <a:pt x="64304" y="840801"/>
                </a:lnTo>
                <a:lnTo>
                  <a:pt x="86313" y="879512"/>
                </a:lnTo>
                <a:lnTo>
                  <a:pt x="111154" y="916283"/>
                </a:lnTo>
                <a:lnTo>
                  <a:pt x="138677" y="950964"/>
                </a:lnTo>
                <a:lnTo>
                  <a:pt x="168735" y="983408"/>
                </a:lnTo>
                <a:lnTo>
                  <a:pt x="201179" y="1013466"/>
                </a:lnTo>
                <a:lnTo>
                  <a:pt x="235860" y="1040989"/>
                </a:lnTo>
                <a:lnTo>
                  <a:pt x="272631" y="1065830"/>
                </a:lnTo>
                <a:lnTo>
                  <a:pt x="311342" y="1087839"/>
                </a:lnTo>
                <a:lnTo>
                  <a:pt x="351847" y="1106870"/>
                </a:lnTo>
                <a:lnTo>
                  <a:pt x="393996" y="1122773"/>
                </a:lnTo>
                <a:lnTo>
                  <a:pt x="437641" y="1135400"/>
                </a:lnTo>
                <a:lnTo>
                  <a:pt x="482635" y="1144603"/>
                </a:lnTo>
                <a:lnTo>
                  <a:pt x="528827" y="1150234"/>
                </a:lnTo>
                <a:lnTo>
                  <a:pt x="576072" y="1152144"/>
                </a:lnTo>
                <a:lnTo>
                  <a:pt x="623316" y="1150234"/>
                </a:lnTo>
                <a:lnTo>
                  <a:pt x="669508" y="1144603"/>
                </a:lnTo>
                <a:lnTo>
                  <a:pt x="714502" y="1135400"/>
                </a:lnTo>
                <a:lnTo>
                  <a:pt x="758147" y="1122773"/>
                </a:lnTo>
                <a:lnTo>
                  <a:pt x="800296" y="1106870"/>
                </a:lnTo>
                <a:lnTo>
                  <a:pt x="840801" y="1087839"/>
                </a:lnTo>
                <a:lnTo>
                  <a:pt x="879512" y="1065830"/>
                </a:lnTo>
                <a:lnTo>
                  <a:pt x="916283" y="1040989"/>
                </a:lnTo>
                <a:lnTo>
                  <a:pt x="950964" y="1013466"/>
                </a:lnTo>
                <a:lnTo>
                  <a:pt x="983408" y="983408"/>
                </a:lnTo>
                <a:lnTo>
                  <a:pt x="1013466" y="950964"/>
                </a:lnTo>
                <a:lnTo>
                  <a:pt x="1040989" y="916283"/>
                </a:lnTo>
                <a:lnTo>
                  <a:pt x="1065830" y="879512"/>
                </a:lnTo>
                <a:lnTo>
                  <a:pt x="1087839" y="840801"/>
                </a:lnTo>
                <a:lnTo>
                  <a:pt x="1106870" y="800296"/>
                </a:lnTo>
                <a:lnTo>
                  <a:pt x="1122773" y="758147"/>
                </a:lnTo>
                <a:lnTo>
                  <a:pt x="1135400" y="714502"/>
                </a:lnTo>
                <a:lnTo>
                  <a:pt x="1144603" y="669508"/>
                </a:lnTo>
                <a:lnTo>
                  <a:pt x="1150234" y="623316"/>
                </a:lnTo>
                <a:lnTo>
                  <a:pt x="1152144" y="576071"/>
                </a:lnTo>
                <a:lnTo>
                  <a:pt x="1150234" y="528827"/>
                </a:lnTo>
                <a:lnTo>
                  <a:pt x="1144603" y="482635"/>
                </a:lnTo>
                <a:lnTo>
                  <a:pt x="1135400" y="437641"/>
                </a:lnTo>
                <a:lnTo>
                  <a:pt x="1122773" y="393996"/>
                </a:lnTo>
                <a:lnTo>
                  <a:pt x="1106870" y="351847"/>
                </a:lnTo>
                <a:lnTo>
                  <a:pt x="1087839" y="311342"/>
                </a:lnTo>
                <a:lnTo>
                  <a:pt x="1065830" y="272631"/>
                </a:lnTo>
                <a:lnTo>
                  <a:pt x="1040989" y="235860"/>
                </a:lnTo>
                <a:lnTo>
                  <a:pt x="1013466" y="201179"/>
                </a:lnTo>
                <a:lnTo>
                  <a:pt x="983408" y="168735"/>
                </a:lnTo>
                <a:lnTo>
                  <a:pt x="950964" y="138677"/>
                </a:lnTo>
                <a:lnTo>
                  <a:pt x="916283" y="111154"/>
                </a:lnTo>
                <a:lnTo>
                  <a:pt x="879512" y="86313"/>
                </a:lnTo>
                <a:lnTo>
                  <a:pt x="840801" y="64304"/>
                </a:lnTo>
                <a:lnTo>
                  <a:pt x="800296" y="45273"/>
                </a:lnTo>
                <a:lnTo>
                  <a:pt x="758147" y="29370"/>
                </a:lnTo>
                <a:lnTo>
                  <a:pt x="714502" y="16743"/>
                </a:lnTo>
                <a:lnTo>
                  <a:pt x="669508" y="7540"/>
                </a:lnTo>
                <a:lnTo>
                  <a:pt x="623316" y="1909"/>
                </a:lnTo>
                <a:lnTo>
                  <a:pt x="576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3" name="object 29"/>
          <p:cNvSpPr/>
          <p:nvPr/>
        </p:nvSpPr>
        <p:spPr>
          <a:xfrm>
            <a:off x="4469069" y="3424609"/>
            <a:ext cx="1152525" cy="1152525"/>
          </a:xfrm>
          <a:custGeom>
            <a:avLst/>
            <a:gdLst/>
            <a:ahLst/>
            <a:cxnLst/>
            <a:rect l="l" t="t" r="r" b="b"/>
            <a:pathLst>
              <a:path w="1152525" h="1152525">
                <a:moveTo>
                  <a:pt x="0" y="576071"/>
                </a:moveTo>
                <a:lnTo>
                  <a:pt x="1909" y="528827"/>
                </a:lnTo>
                <a:lnTo>
                  <a:pt x="7540" y="482635"/>
                </a:lnTo>
                <a:lnTo>
                  <a:pt x="16743" y="437641"/>
                </a:lnTo>
                <a:lnTo>
                  <a:pt x="29370" y="393996"/>
                </a:lnTo>
                <a:lnTo>
                  <a:pt x="45273" y="351847"/>
                </a:lnTo>
                <a:lnTo>
                  <a:pt x="64304" y="311342"/>
                </a:lnTo>
                <a:lnTo>
                  <a:pt x="86313" y="272631"/>
                </a:lnTo>
                <a:lnTo>
                  <a:pt x="111154" y="235860"/>
                </a:lnTo>
                <a:lnTo>
                  <a:pt x="138677" y="201179"/>
                </a:lnTo>
                <a:lnTo>
                  <a:pt x="168735" y="168735"/>
                </a:lnTo>
                <a:lnTo>
                  <a:pt x="201179" y="138677"/>
                </a:lnTo>
                <a:lnTo>
                  <a:pt x="235860" y="111154"/>
                </a:lnTo>
                <a:lnTo>
                  <a:pt x="272631" y="86313"/>
                </a:lnTo>
                <a:lnTo>
                  <a:pt x="311342" y="64304"/>
                </a:lnTo>
                <a:lnTo>
                  <a:pt x="351847" y="45273"/>
                </a:lnTo>
                <a:lnTo>
                  <a:pt x="393996" y="29370"/>
                </a:lnTo>
                <a:lnTo>
                  <a:pt x="437641" y="16743"/>
                </a:lnTo>
                <a:lnTo>
                  <a:pt x="482635" y="7540"/>
                </a:lnTo>
                <a:lnTo>
                  <a:pt x="528827" y="1909"/>
                </a:lnTo>
                <a:lnTo>
                  <a:pt x="576072" y="0"/>
                </a:lnTo>
                <a:lnTo>
                  <a:pt x="623316" y="1909"/>
                </a:lnTo>
                <a:lnTo>
                  <a:pt x="669508" y="7540"/>
                </a:lnTo>
                <a:lnTo>
                  <a:pt x="714502" y="16743"/>
                </a:lnTo>
                <a:lnTo>
                  <a:pt x="758147" y="29370"/>
                </a:lnTo>
                <a:lnTo>
                  <a:pt x="800296" y="45273"/>
                </a:lnTo>
                <a:lnTo>
                  <a:pt x="840801" y="64304"/>
                </a:lnTo>
                <a:lnTo>
                  <a:pt x="879512" y="86313"/>
                </a:lnTo>
                <a:lnTo>
                  <a:pt x="916283" y="111154"/>
                </a:lnTo>
                <a:lnTo>
                  <a:pt x="950964" y="138677"/>
                </a:lnTo>
                <a:lnTo>
                  <a:pt x="983408" y="168735"/>
                </a:lnTo>
                <a:lnTo>
                  <a:pt x="1013466" y="201179"/>
                </a:lnTo>
                <a:lnTo>
                  <a:pt x="1040989" y="235860"/>
                </a:lnTo>
                <a:lnTo>
                  <a:pt x="1065830" y="272631"/>
                </a:lnTo>
                <a:lnTo>
                  <a:pt x="1087839" y="311342"/>
                </a:lnTo>
                <a:lnTo>
                  <a:pt x="1106870" y="351847"/>
                </a:lnTo>
                <a:lnTo>
                  <a:pt x="1122773" y="393996"/>
                </a:lnTo>
                <a:lnTo>
                  <a:pt x="1135400" y="437641"/>
                </a:lnTo>
                <a:lnTo>
                  <a:pt x="1144603" y="482635"/>
                </a:lnTo>
                <a:lnTo>
                  <a:pt x="1150234" y="528827"/>
                </a:lnTo>
                <a:lnTo>
                  <a:pt x="1152144" y="576071"/>
                </a:lnTo>
                <a:lnTo>
                  <a:pt x="1150234" y="623316"/>
                </a:lnTo>
                <a:lnTo>
                  <a:pt x="1144603" y="669508"/>
                </a:lnTo>
                <a:lnTo>
                  <a:pt x="1135400" y="714502"/>
                </a:lnTo>
                <a:lnTo>
                  <a:pt x="1122773" y="758147"/>
                </a:lnTo>
                <a:lnTo>
                  <a:pt x="1106870" y="800296"/>
                </a:lnTo>
                <a:lnTo>
                  <a:pt x="1087839" y="840801"/>
                </a:lnTo>
                <a:lnTo>
                  <a:pt x="1065830" y="879512"/>
                </a:lnTo>
                <a:lnTo>
                  <a:pt x="1040989" y="916283"/>
                </a:lnTo>
                <a:lnTo>
                  <a:pt x="1013466" y="950964"/>
                </a:lnTo>
                <a:lnTo>
                  <a:pt x="983408" y="983408"/>
                </a:lnTo>
                <a:lnTo>
                  <a:pt x="950964" y="1013466"/>
                </a:lnTo>
                <a:lnTo>
                  <a:pt x="916283" y="1040989"/>
                </a:lnTo>
                <a:lnTo>
                  <a:pt x="879512" y="1065830"/>
                </a:lnTo>
                <a:lnTo>
                  <a:pt x="840801" y="1087839"/>
                </a:lnTo>
                <a:lnTo>
                  <a:pt x="800296" y="1106870"/>
                </a:lnTo>
                <a:lnTo>
                  <a:pt x="758147" y="1122773"/>
                </a:lnTo>
                <a:lnTo>
                  <a:pt x="714502" y="1135400"/>
                </a:lnTo>
                <a:lnTo>
                  <a:pt x="669508" y="1144603"/>
                </a:lnTo>
                <a:lnTo>
                  <a:pt x="623316" y="1150234"/>
                </a:lnTo>
                <a:lnTo>
                  <a:pt x="576072" y="1152144"/>
                </a:lnTo>
                <a:lnTo>
                  <a:pt x="528827" y="1150234"/>
                </a:lnTo>
                <a:lnTo>
                  <a:pt x="482635" y="1144603"/>
                </a:lnTo>
                <a:lnTo>
                  <a:pt x="437641" y="1135400"/>
                </a:lnTo>
                <a:lnTo>
                  <a:pt x="393996" y="1122773"/>
                </a:lnTo>
                <a:lnTo>
                  <a:pt x="351847" y="1106870"/>
                </a:lnTo>
                <a:lnTo>
                  <a:pt x="311342" y="1087839"/>
                </a:lnTo>
                <a:lnTo>
                  <a:pt x="272631" y="1065830"/>
                </a:lnTo>
                <a:lnTo>
                  <a:pt x="235860" y="1040989"/>
                </a:lnTo>
                <a:lnTo>
                  <a:pt x="201179" y="1013466"/>
                </a:lnTo>
                <a:lnTo>
                  <a:pt x="168735" y="983408"/>
                </a:lnTo>
                <a:lnTo>
                  <a:pt x="138677" y="950964"/>
                </a:lnTo>
                <a:lnTo>
                  <a:pt x="111154" y="916283"/>
                </a:lnTo>
                <a:lnTo>
                  <a:pt x="86313" y="879512"/>
                </a:lnTo>
                <a:lnTo>
                  <a:pt x="64304" y="840801"/>
                </a:lnTo>
                <a:lnTo>
                  <a:pt x="45273" y="800296"/>
                </a:lnTo>
                <a:lnTo>
                  <a:pt x="29370" y="758147"/>
                </a:lnTo>
                <a:lnTo>
                  <a:pt x="16743" y="714502"/>
                </a:lnTo>
                <a:lnTo>
                  <a:pt x="7540" y="669508"/>
                </a:lnTo>
                <a:lnTo>
                  <a:pt x="1909" y="623316"/>
                </a:lnTo>
                <a:lnTo>
                  <a:pt x="0" y="576071"/>
                </a:lnTo>
                <a:close/>
              </a:path>
            </a:pathLst>
          </a:custGeom>
          <a:ln w="9143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800" b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4" name="object 30"/>
          <p:cNvSpPr txBox="1"/>
          <p:nvPr/>
        </p:nvSpPr>
        <p:spPr>
          <a:xfrm>
            <a:off x="4646869" y="3614939"/>
            <a:ext cx="79375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 fontAlgn="auto">
              <a:spcBef>
                <a:spcPts val="0"/>
              </a:spcBef>
              <a:spcAft>
                <a:spcPts val="0"/>
              </a:spcAft>
            </a:pPr>
            <a:r>
              <a:rPr sz="1500" spc="-5" dirty="0" err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국내</a:t>
            </a:r>
            <a:r>
              <a:rPr sz="1500" spc="-5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endParaRPr lang="en-US" sz="1500" spc="-5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  <a:p>
            <a:pPr marL="12700" marR="5080" algn="ctr" fontAlgn="auto">
              <a:spcBef>
                <a:spcPts val="0"/>
              </a:spcBef>
              <a:spcAft>
                <a:spcPts val="0"/>
              </a:spcAft>
            </a:pPr>
            <a:r>
              <a:rPr sz="1500" dirty="0" err="1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카드사</a:t>
            </a:r>
            <a:r>
              <a:rPr sz="150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 </a:t>
            </a:r>
            <a:r>
              <a:rPr sz="15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rPr>
              <a:t>사업환경</a:t>
            </a:r>
            <a:endParaRPr sz="1500" b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맑은 고딕"/>
            </a:endParaRPr>
          </a:p>
        </p:txBody>
      </p:sp>
      <p:sp>
        <p:nvSpPr>
          <p:cNvPr id="274" name="Rectangle 44"/>
          <p:cNvSpPr>
            <a:spLocks noChangeArrowheads="1"/>
          </p:cNvSpPr>
          <p:nvPr/>
        </p:nvSpPr>
        <p:spPr bwMode="auto">
          <a:xfrm>
            <a:off x="504129" y="1706472"/>
            <a:ext cx="3724329" cy="32779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18000" rIns="90000" bIns="18000" anchor="ctr"/>
          <a:lstStyle/>
          <a:p>
            <a:pPr marL="85725" indent="-85725" algn="ctr" defTabSz="785813"/>
            <a:r>
              <a:rPr lang="ko-KR" altLang="en-US" sz="13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HY태명조" charset="-127"/>
              </a:rPr>
              <a:t>지급</a:t>
            </a:r>
            <a:r>
              <a:rPr lang="en-US" altLang="ko-KR" sz="13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HY태명조" charset="-127"/>
              </a:rPr>
              <a:t>/</a:t>
            </a:r>
            <a:r>
              <a:rPr lang="ko-KR" altLang="en-US" sz="13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HY태명조" charset="-127"/>
              </a:rPr>
              <a:t>결제 시장의 경쟁 심화</a:t>
            </a:r>
          </a:p>
        </p:txBody>
      </p:sp>
      <p:sp>
        <p:nvSpPr>
          <p:cNvPr id="275" name="Rectangle 44"/>
          <p:cNvSpPr>
            <a:spLocks noChangeArrowheads="1"/>
          </p:cNvSpPr>
          <p:nvPr/>
        </p:nvSpPr>
        <p:spPr bwMode="auto">
          <a:xfrm>
            <a:off x="5869268" y="1706472"/>
            <a:ext cx="3704944" cy="32779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18000" rIns="90000" bIns="18000" anchor="ctr"/>
          <a:lstStyle/>
          <a:p>
            <a:pPr marL="85725" indent="-85725" algn="ctr" defTabSz="785813"/>
            <a:r>
              <a:rPr lang="ko-KR" altLang="en-US" sz="13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HY태명조" charset="-127"/>
              </a:rPr>
              <a:t>신용카드사 </a:t>
            </a:r>
            <a:r>
              <a:rPr lang="ko-KR" altLang="en-US" sz="13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HY태명조" charset="-127"/>
              </a:rPr>
              <a:t>최근 동향</a:t>
            </a:r>
            <a:endParaRPr lang="ko-KR" altLang="en-US" sz="13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HY태명조" charset="-127"/>
            </a:endParaRPr>
          </a:p>
        </p:txBody>
      </p:sp>
      <p:grpSp>
        <p:nvGrpSpPr>
          <p:cNvPr id="284" name="그룹 283"/>
          <p:cNvGrpSpPr/>
          <p:nvPr/>
        </p:nvGrpSpPr>
        <p:grpSpPr>
          <a:xfrm>
            <a:off x="5873876" y="2107413"/>
            <a:ext cx="3700336" cy="4010890"/>
            <a:chOff x="5873876" y="2107412"/>
            <a:chExt cx="3700336" cy="4162183"/>
          </a:xfrm>
        </p:grpSpPr>
        <p:sp>
          <p:nvSpPr>
            <p:cNvPr id="276" name="직사각형 275"/>
            <p:cNvSpPr/>
            <p:nvPr/>
          </p:nvSpPr>
          <p:spPr bwMode="auto">
            <a:xfrm>
              <a:off x="5873876" y="2107412"/>
              <a:ext cx="1152000" cy="1321505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가맹점 </a:t>
              </a:r>
              <a:r>
                <a:rPr kumimoji="1" lang="ko-KR" altLang="en-US" sz="1200" dirty="0" err="1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수수료율</a:t>
              </a: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 인하</a:t>
              </a:r>
            </a:p>
          </p:txBody>
        </p:sp>
        <p:sp>
          <p:nvSpPr>
            <p:cNvPr id="277" name="직사각형 276"/>
            <p:cNvSpPr/>
            <p:nvPr/>
          </p:nvSpPr>
          <p:spPr bwMode="auto">
            <a:xfrm>
              <a:off x="7144750" y="2110279"/>
              <a:ext cx="2429462" cy="131433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맹점 수수료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적정성에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한 사회적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심도 증가</a:t>
              </a:r>
            </a:p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2015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년 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1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월 중소가맹점 신용카드 </a:t>
              </a:r>
              <a:r>
                <a:rPr kumimoji="1" lang="ko-KR" altLang="en-US" sz="1200" b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수수료율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0.7%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하</a:t>
              </a:r>
            </a:p>
          </p:txBody>
        </p:sp>
        <p:sp>
          <p:nvSpPr>
            <p:cNvPr id="280" name="직사각형 279"/>
            <p:cNvSpPr/>
            <p:nvPr/>
          </p:nvSpPr>
          <p:spPr bwMode="auto">
            <a:xfrm>
              <a:off x="5873876" y="3527751"/>
              <a:ext cx="1152000" cy="1321505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체크카드 활성화</a:t>
              </a:r>
            </a:p>
          </p:txBody>
        </p:sp>
        <p:sp>
          <p:nvSpPr>
            <p:cNvPr id="281" name="직사각형 280"/>
            <p:cNvSpPr/>
            <p:nvPr/>
          </p:nvSpPr>
          <p:spPr bwMode="auto">
            <a:xfrm>
              <a:off x="7144750" y="3530618"/>
              <a:ext cx="2429462" cy="131433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부차원에서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체크카드에 대한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세제 혜택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지속 확대</a:t>
              </a:r>
            </a:p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체크카드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용금액 대상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용 카드 대비 높은 수준의 소득공제 제공</a:t>
              </a:r>
            </a:p>
          </p:txBody>
        </p:sp>
        <p:sp>
          <p:nvSpPr>
            <p:cNvPr id="282" name="직사각형 281"/>
            <p:cNvSpPr/>
            <p:nvPr/>
          </p:nvSpPr>
          <p:spPr bwMode="auto">
            <a:xfrm>
              <a:off x="5873876" y="4948090"/>
              <a:ext cx="1152000" cy="1321505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신용카드</a:t>
              </a:r>
            </a:p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kumimoji="1" lang="ko-KR" altLang="en-US" sz="12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발급 포화</a:t>
              </a:r>
            </a:p>
          </p:txBody>
        </p:sp>
        <p:sp>
          <p:nvSpPr>
            <p:cNvPr id="283" name="직사각형 282"/>
            <p:cNvSpPr/>
            <p:nvPr/>
          </p:nvSpPr>
          <p:spPr bwMode="auto">
            <a:xfrm>
              <a:off x="7144750" y="4950957"/>
              <a:ext cx="2429462" cy="131433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36000" bIns="36000" rtlCol="0" anchor="ctr"/>
            <a:lstStyle/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높은 신용카드 </a:t>
              </a:r>
              <a:r>
                <a:rPr kumimoji="1" lang="ko-KR" altLang="en-US" sz="1200" b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급율에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따라</a:t>
              </a: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내수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시장 포화</a:t>
              </a:r>
            </a:p>
            <a:p>
              <a:pPr marL="179388" indent="-179388" latinLnBrk="0">
                <a:spcBef>
                  <a:spcPts val="300"/>
                </a:spcBef>
                <a:buFont typeface="Wingdings" pitchFamily="2" charset="2"/>
                <a:buChar char="§"/>
              </a:pP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금융당국의 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휴면카드 정리 노력에도 불구</a:t>
              </a: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성인 </a:t>
              </a:r>
              <a:r>
                <a:rPr kumimoji="1" lang="en-US" altLang="ko-KR" sz="1200" b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 평균 </a:t>
              </a:r>
              <a:r>
                <a:rPr kumimoji="1" lang="en-US" altLang="ko-KR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3.6</a:t>
              </a:r>
              <a:r>
                <a:rPr kumimoji="1" lang="ko-KR" altLang="en-US" sz="1200" b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장의 카드 보유</a:t>
              </a:r>
            </a:p>
          </p:txBody>
        </p:sp>
      </p:grpSp>
      <p:sp>
        <p:nvSpPr>
          <p:cNvPr id="41" name="직사각형 40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6680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cs typeface="Arial" panose="020B0604020202020204" pitchFamily="34" charset="0"/>
              </a:rPr>
              <a:t>PwC</a:t>
            </a:r>
            <a:r>
              <a:rPr lang="ko-KR" altLang="en-US" dirty="0"/>
              <a:t> </a:t>
            </a:r>
            <a:r>
              <a:rPr lang="en-US" altLang="ko-KR" dirty="0"/>
              <a:t>– </a:t>
            </a:r>
            <a:r>
              <a:rPr lang="ko-KR" altLang="en-US" dirty="0"/>
              <a:t>서비스 </a:t>
            </a:r>
            <a:r>
              <a:rPr lang="ko-KR" altLang="en-US" dirty="0" smtClean="0"/>
              <a:t>영역 </a:t>
            </a:r>
            <a:r>
              <a:rPr lang="en-US" altLang="ko-KR" dirty="0" smtClean="0"/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wC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는 서비스 유형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Lines of Service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 산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Industry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trix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조직을 운영하여 고객 상황에 맞는 최적의 솔루션을 제공하고 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grpSp>
        <p:nvGrpSpPr>
          <p:cNvPr id="7" name="그룹 6"/>
          <p:cNvGrpSpPr/>
          <p:nvPr/>
        </p:nvGrpSpPr>
        <p:grpSpPr>
          <a:xfrm>
            <a:off x="1076897" y="1412875"/>
            <a:ext cx="7719275" cy="4811159"/>
            <a:chOff x="1014543" y="1412776"/>
            <a:chExt cx="7861913" cy="4688177"/>
          </a:xfrm>
        </p:grpSpPr>
        <p:sp>
          <p:nvSpPr>
            <p:cNvPr id="8" name="TextBox 7"/>
            <p:cNvSpPr txBox="1"/>
            <p:nvPr/>
          </p:nvSpPr>
          <p:spPr>
            <a:xfrm>
              <a:off x="1014543" y="1705137"/>
              <a:ext cx="2627610" cy="4395816"/>
            </a:xfrm>
            <a:prstGeom prst="rect">
              <a:avLst/>
            </a:prstGeom>
            <a:solidFill>
              <a:schemeClr val="bg1">
                <a:lumMod val="85000"/>
                <a:alpha val="50000"/>
              </a:schemeClr>
            </a:solidFill>
          </p:spPr>
          <p:txBody>
            <a:bodyPr vert="horz" wrap="square" lIns="112065" tIns="84049" rIns="56032" bIns="0" rtlCol="0">
              <a:noAutofit/>
            </a:bodyPr>
            <a:lstStyle/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wC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 제공하는 서비스는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의 서비스 라인으로 구성되어 있으며 다음과 같습니다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. </a:t>
              </a: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8BCBE6"/>
                </a:buClr>
                <a:buSzPct val="75000"/>
                <a:defRPr/>
              </a:pP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각각의 해당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taff 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들은 우수한 인력으로 구성되어 있으며 풍부한 경험을 보유하고 있습니다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.</a:t>
              </a:r>
              <a:endParaRPr lang="ko-KR" altLang="en-GB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014543" y="1412776"/>
              <a:ext cx="2627611" cy="279993"/>
            </a:xfrm>
            <a:prstGeom prst="rect">
              <a:avLst/>
            </a:prstGeom>
            <a:solidFill>
              <a:schemeClr val="tx2"/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indent="-213497" algn="ctr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r>
                <a:rPr lang="en-US" sz="140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nes of Service</a:t>
              </a:r>
              <a:endParaRPr lang="en-GB" sz="1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827231" y="1705137"/>
              <a:ext cx="5049225" cy="4395816"/>
            </a:xfrm>
            <a:prstGeom prst="rect">
              <a:avLst/>
            </a:prstGeom>
            <a:solidFill>
              <a:schemeClr val="bg1">
                <a:lumMod val="85000"/>
                <a:alpha val="50000"/>
              </a:schemeClr>
            </a:solidFill>
          </p:spPr>
          <p:txBody>
            <a:bodyPr vert="horz" wrap="square" lIns="112065" tIns="84049" rIns="56032" bIns="0" rtlCol="0">
              <a:noAutofit/>
            </a:bodyPr>
            <a:lstStyle/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r>
                <a:rPr lang="en-GB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wC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는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2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dustry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별로 풍부한 전문가를 보유하고 있으며 </a:t>
              </a:r>
              <a:r>
                <a:rPr lang="en-GB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dustry sector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는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다음과 같이 구성됩니다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. </a:t>
              </a: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  <a:buFont typeface="Arial" pitchFamily="34" charset="0"/>
                <a:buChar char="•"/>
              </a:pPr>
              <a:endPara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142084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endParaRPr lang="en-GB" altLang="ko-KR" sz="10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98968" fontAlgn="auto" latinLnBrk="0">
                <a:spcBef>
                  <a:spcPts val="0"/>
                </a:spcBef>
                <a:spcAft>
                  <a:spcPts val="700"/>
                </a:spcAft>
              </a:pPr>
              <a:r>
                <a:rPr lang="en-GB" altLang="ko-KR" sz="10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wC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는 각 부문에서 </a:t>
              </a:r>
              <a:r>
                <a:rPr lang="en-GB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lient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와 </a:t>
              </a:r>
              <a:r>
                <a:rPr lang="en-GB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ulti-disciplined team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을 이루어 풍부한 산업지식과 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험을 공유하고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있습니다</a:t>
              </a:r>
              <a:r>
                <a:rPr lang="en-US" altLang="ko-KR" sz="10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. 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827231" y="1412776"/>
              <a:ext cx="5049225" cy="279993"/>
            </a:xfrm>
            <a:prstGeom prst="rect">
              <a:avLst/>
            </a:prstGeom>
            <a:solidFill>
              <a:schemeClr val="tx2"/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indent="-213497" algn="ctr" defTabSz="898968" fontAlgn="auto" latinLnBrk="0">
                <a:spcBef>
                  <a:spcPts val="0"/>
                </a:spcBef>
                <a:spcAft>
                  <a:spcPts val="700"/>
                </a:spcAft>
              </a:pPr>
              <a:r>
                <a:rPr lang="en-US" sz="14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dustry Sectors</a:t>
              </a:r>
              <a:endParaRPr lang="en-GB" sz="14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3" name="그룹 15"/>
            <p:cNvGrpSpPr/>
            <p:nvPr/>
          </p:nvGrpSpPr>
          <p:grpSpPr>
            <a:xfrm>
              <a:off x="3937125" y="2310643"/>
              <a:ext cx="4829436" cy="3306616"/>
              <a:chOff x="3992852" y="2681403"/>
              <a:chExt cx="5372137" cy="3528391"/>
            </a:xfrm>
          </p:grpSpPr>
          <p:sp>
            <p:nvSpPr>
              <p:cNvPr id="15" name="직사각형 14"/>
              <p:cNvSpPr/>
              <p:nvPr/>
            </p:nvSpPr>
            <p:spPr>
              <a:xfrm>
                <a:off x="3992852" y="2681403"/>
                <a:ext cx="2808313" cy="352839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anchor="ctr">
                <a:noAutofit/>
              </a:bodyPr>
              <a:lstStyle/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US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erospace &amp; defence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Asset management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Automotive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Banking &amp; capital markets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Capital projects and infrastructure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Chemicals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Communications 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Energy, utilities &amp; mining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Engineering &amp; construction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Entertainment &amp; media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Financial services</a:t>
                </a:r>
              </a:p>
            </p:txBody>
          </p:sp>
          <p:sp>
            <p:nvSpPr>
              <p:cNvPr id="16" name="직사각형 15"/>
              <p:cNvSpPr/>
              <p:nvPr/>
            </p:nvSpPr>
            <p:spPr>
              <a:xfrm>
                <a:off x="6743673" y="2681403"/>
                <a:ext cx="2621316" cy="352839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anchor="ctr">
                <a:noAutofit/>
              </a:bodyPr>
              <a:lstStyle/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US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orest, paper &amp; packaging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Government/public services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Healthcare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Hospitality &amp; leisure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Industrial manufacturing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en-US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Insurance</a:t>
                </a:r>
                <a:endParaRPr lang="en-GB" altLang="ko-KR" sz="970" b="0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Metals 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Pharmaceuticals &amp; life sciences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Retail &amp; consumer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Technology</a:t>
                </a:r>
              </a:p>
              <a:p>
                <a:pPr marL="142084" indent="-69189" defTabSz="898968" fontAlgn="auto" latinLnBrk="0">
                  <a:spcBef>
                    <a:spcPts val="0"/>
                  </a:spcBef>
                  <a:spcAft>
                    <a:spcPts val="700"/>
                  </a:spcAft>
                  <a:buFont typeface="Arial" pitchFamily="34" charset="0"/>
                  <a:buChar char="•"/>
                </a:pPr>
                <a:r>
                  <a:rPr lang="en-GB" altLang="ko-KR" sz="970" b="0" dirty="0">
                    <a:solidFill>
                      <a:srgbClr val="B1C3EF">
                        <a:lumMod val="10000"/>
                      </a:srgb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Transportation &amp; logistics</a:t>
                </a:r>
              </a:p>
            </p:txBody>
          </p:sp>
        </p:grpSp>
        <p:sp>
          <p:nvSpPr>
            <p:cNvPr id="14" name="직사각형 13"/>
            <p:cNvSpPr/>
            <p:nvPr/>
          </p:nvSpPr>
          <p:spPr>
            <a:xfrm>
              <a:off x="1148690" y="2331057"/>
              <a:ext cx="2359316" cy="1778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anchor="ctr">
              <a:noAutofit/>
            </a:bodyPr>
            <a:lstStyle/>
            <a:p>
              <a:pPr marL="142084" indent="-69189" defTabSz="898968" fontAlgn="auto" latinLnBrk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235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visory</a:t>
              </a:r>
            </a:p>
            <a:p>
              <a:pPr marL="207567" indent="-69189" defTabSz="898968" fontAlgn="auto" latinLnBrk="0">
                <a:spcBef>
                  <a:spcPts val="0"/>
                </a:spcBef>
                <a:spcAft>
                  <a:spcPts val="0"/>
                </a:spcAft>
                <a:buFont typeface="Arial Narrow" pitchFamily="34" charset="0"/>
                <a:buChar char="–"/>
              </a:pPr>
              <a:r>
                <a:rPr lang="en-US" altLang="ko-KR" sz="970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nsulting</a:t>
              </a:r>
            </a:p>
            <a:p>
              <a:pPr marL="207567" indent="-69189" defTabSz="898968" fontAlgn="auto" latinLnBrk="0">
                <a:spcBef>
                  <a:spcPts val="0"/>
                </a:spcBef>
                <a:spcAft>
                  <a:spcPts val="0"/>
                </a:spcAft>
                <a:buFont typeface="Arial Narrow" pitchFamily="34" charset="0"/>
                <a:buChar char="–"/>
              </a:pPr>
              <a:r>
                <a:rPr lang="en-US" altLang="ko-KR" sz="970" b="0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Deal</a:t>
              </a:r>
            </a:p>
            <a:p>
              <a:pPr marL="207567" indent="-69189" defTabSz="898968" fontAlgn="auto" latinLnBrk="0">
                <a:spcBef>
                  <a:spcPts val="0"/>
                </a:spcBef>
                <a:spcAft>
                  <a:spcPts val="0"/>
                </a:spcAft>
                <a:buFont typeface="Arial Narrow" pitchFamily="34" charset="0"/>
                <a:buChar char="–"/>
              </a:pPr>
              <a:endParaRPr lang="en-US" altLang="ko-KR" sz="970" b="0" dirty="0">
                <a:solidFill>
                  <a:srgbClr val="B1C3EF">
                    <a:lumMod val="1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142084" indent="-69189" defTabSz="898968" fontAlgn="auto" latinLnBrk="0">
                <a:lnSpc>
                  <a:spcPct val="150000"/>
                </a:lnSpc>
                <a:spcBef>
                  <a:spcPts val="0"/>
                </a:spcBef>
                <a:spcAft>
                  <a:spcPts val="934"/>
                </a:spcAft>
                <a:buFont typeface="Arial" pitchFamily="34" charset="0"/>
                <a:buChar char="•"/>
              </a:pPr>
              <a:r>
                <a:rPr lang="en-US" altLang="ko-KR" sz="1235" b="0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Assurance</a:t>
              </a:r>
            </a:p>
            <a:p>
              <a:pPr marL="142084" indent="-69189" defTabSz="898968" fontAlgn="auto" latinLnBrk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235" b="0" dirty="0">
                  <a:solidFill>
                    <a:srgbClr val="B1C3EF">
                      <a:lumMod val="1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a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9472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서비스 영역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>
                <a:cs typeface="Arial" pitchFamily="34" charset="0"/>
              </a:rPr>
              <a:t>컨설팅은 </a:t>
            </a:r>
            <a:r>
              <a:rPr lang="en-US" altLang="ko-KR" dirty="0">
                <a:cs typeface="Arial" panose="020B0604020202020204" pitchFamily="34" charset="0"/>
              </a:rPr>
              <a:t>Operation </a:t>
            </a:r>
            <a:r>
              <a:rPr lang="ko-KR" altLang="en-US" dirty="0">
                <a:cs typeface="Arial" pitchFamily="34" charset="0"/>
              </a:rPr>
              <a:t>및 전략</a:t>
            </a:r>
            <a:r>
              <a:rPr lang="en-US" altLang="ko-KR" dirty="0">
                <a:cs typeface="Arial" pitchFamily="34" charset="0"/>
              </a:rPr>
              <a:t>, </a:t>
            </a:r>
            <a:r>
              <a:rPr lang="ko-KR" altLang="en-US" dirty="0">
                <a:cs typeface="Arial" pitchFamily="34" charset="0"/>
              </a:rPr>
              <a:t>재무</a:t>
            </a:r>
            <a:r>
              <a:rPr lang="en-US" altLang="ko-KR" dirty="0">
                <a:cs typeface="Arial" pitchFamily="34" charset="0"/>
              </a:rPr>
              <a:t>, IT, </a:t>
            </a:r>
            <a:r>
              <a:rPr lang="ko-KR" altLang="en-US" dirty="0" err="1">
                <a:cs typeface="Arial" pitchFamily="34" charset="0"/>
              </a:rPr>
              <a:t>리스크</a:t>
            </a:r>
            <a:r>
              <a:rPr lang="en-US" altLang="ko-KR" dirty="0">
                <a:cs typeface="Arial" pitchFamily="34" charset="0"/>
              </a:rPr>
              <a:t> </a:t>
            </a:r>
            <a:r>
              <a:rPr lang="ko-KR" altLang="en-US" dirty="0">
                <a:cs typeface="Arial" pitchFamily="34" charset="0"/>
              </a:rPr>
              <a:t>등 다양한 영역의 서비스를 제공하고 있음</a:t>
            </a:r>
            <a:endParaRPr lang="ko-KR" altLang="en-US" dirty="0"/>
          </a:p>
        </p:txBody>
      </p:sp>
      <p:sp>
        <p:nvSpPr>
          <p:cNvPr id="1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sp>
        <p:nvSpPr>
          <p:cNvPr id="17" name="타원 16"/>
          <p:cNvSpPr/>
          <p:nvPr/>
        </p:nvSpPr>
        <p:spPr bwMode="ltGray">
          <a:xfrm>
            <a:off x="3301936" y="1998627"/>
            <a:ext cx="3303222" cy="3303222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764" b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ltGray">
          <a:xfrm>
            <a:off x="6951529" y="1872367"/>
            <a:ext cx="1778658" cy="177787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재무</a:t>
            </a: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금 프로세스 효율화</a:t>
            </a: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재무 선진화</a:t>
            </a:r>
            <a:endParaRPr lang="en-US" altLang="ko-KR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Global / </a:t>
            </a: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연결경영관리</a:t>
            </a:r>
            <a:endParaRPr lang="en-US" altLang="ko-KR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orporate Performance </a:t>
            </a:r>
            <a:b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nagement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hared Service &amp; Outsourcing</a:t>
            </a:r>
            <a:endParaRPr lang="ko-KR" altLang="en-US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" name="직사각형 18"/>
          <p:cNvSpPr/>
          <p:nvPr/>
        </p:nvSpPr>
        <p:spPr bwMode="ltGray">
          <a:xfrm>
            <a:off x="6982238" y="4319117"/>
            <a:ext cx="1904611" cy="177787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isk Management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ompliance / </a:t>
            </a:r>
            <a:b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egulatory Advisory Service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Governance / </a:t>
            </a:r>
            <a:b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업지배구조 개선</a:t>
            </a:r>
            <a:endParaRPr lang="en-US" altLang="ko-KR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endParaRPr lang="ko-KR" altLang="en-US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0" name="직사각형 19"/>
          <p:cNvSpPr/>
          <p:nvPr/>
        </p:nvSpPr>
        <p:spPr bwMode="ltGray">
          <a:xfrm>
            <a:off x="981987" y="4349544"/>
            <a:ext cx="1904611" cy="101637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RP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terprise Resource Planning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TG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T Governance</a:t>
            </a:r>
            <a:endParaRPr lang="en-US" altLang="ko-KR" sz="1059" b="0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SP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nformation Strategy &amp; Planning</a:t>
            </a:r>
            <a:endParaRPr lang="en-US" altLang="ko-KR" sz="1059" b="0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>
                  <a:lumMod val="75000"/>
                </a:srgbClr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MO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roject Management Office</a:t>
            </a:r>
            <a:endParaRPr lang="ko-KR" altLang="en-US" sz="1059" b="0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1" name="타원 20"/>
          <p:cNvSpPr/>
          <p:nvPr/>
        </p:nvSpPr>
        <p:spPr bwMode="ltGray">
          <a:xfrm>
            <a:off x="5144665" y="1638781"/>
            <a:ext cx="1714040" cy="1714040"/>
          </a:xfrm>
          <a:prstGeom prst="ellipse">
            <a:avLst/>
          </a:prstGeom>
          <a:solidFill>
            <a:srgbClr val="1B3A87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76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inance &amp; Accounting</a:t>
            </a:r>
          </a:p>
        </p:txBody>
      </p:sp>
      <p:sp>
        <p:nvSpPr>
          <p:cNvPr id="22" name="타원 21"/>
          <p:cNvSpPr/>
          <p:nvPr/>
        </p:nvSpPr>
        <p:spPr bwMode="ltGray">
          <a:xfrm>
            <a:off x="3048389" y="1638781"/>
            <a:ext cx="1714040" cy="1714040"/>
          </a:xfrm>
          <a:prstGeom prst="ellipse">
            <a:avLst/>
          </a:prstGeom>
          <a:solidFill>
            <a:srgbClr val="002060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76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Operation &amp; Strategy</a:t>
            </a:r>
          </a:p>
        </p:txBody>
      </p:sp>
      <p:sp>
        <p:nvSpPr>
          <p:cNvPr id="23" name="타원 22"/>
          <p:cNvSpPr/>
          <p:nvPr/>
        </p:nvSpPr>
        <p:spPr bwMode="ltGray">
          <a:xfrm>
            <a:off x="3048389" y="4000712"/>
            <a:ext cx="1714040" cy="1714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76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echnology</a:t>
            </a:r>
          </a:p>
        </p:txBody>
      </p:sp>
      <p:sp>
        <p:nvSpPr>
          <p:cNvPr id="24" name="타원 23"/>
          <p:cNvSpPr/>
          <p:nvPr/>
        </p:nvSpPr>
        <p:spPr bwMode="ltGray">
          <a:xfrm>
            <a:off x="5144665" y="4000712"/>
            <a:ext cx="1714040" cy="171404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76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isk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3909610" y="3405878"/>
            <a:ext cx="2087874" cy="499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8968" fontAlgn="auto" latinLnBrk="0">
              <a:spcBef>
                <a:spcPts val="0"/>
              </a:spcBef>
              <a:spcAft>
                <a:spcPts val="353"/>
              </a:spcAft>
              <a:buSzPct val="90000"/>
              <a:defRPr/>
            </a:pPr>
            <a:r>
              <a:rPr lang="en-US" altLang="ko-KR" sz="2647" i="1" kern="0" dirty="0">
                <a:solidFill>
                  <a:srgbClr val="B1C3EF">
                    <a:lumMod val="1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Arial"/>
              </a:rPr>
              <a:t>Consulting</a:t>
            </a:r>
            <a:endParaRPr lang="en-US" altLang="ko-KR" sz="2647" b="0" kern="0" dirty="0">
              <a:solidFill>
                <a:srgbClr val="B1C3EF">
                  <a:lumMod val="10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Arial"/>
            </a:endParaRPr>
          </a:p>
        </p:txBody>
      </p:sp>
      <p:sp>
        <p:nvSpPr>
          <p:cNvPr id="26" name="직사각형 25"/>
          <p:cNvSpPr/>
          <p:nvPr/>
        </p:nvSpPr>
        <p:spPr bwMode="ltGray">
          <a:xfrm>
            <a:off x="981987" y="1765486"/>
            <a:ext cx="2099789" cy="10798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I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rocess innovation</a:t>
            </a:r>
            <a:r>
              <a:rPr lang="en-US" altLang="ko-KR" sz="1059" b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BPR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spc="-26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CM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upply Chain Management</a:t>
            </a:r>
            <a:endParaRPr lang="en-US" altLang="ko-KR" sz="1059" b="0" spc="-26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spc="-26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evenue Enhancement / CRM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spc="-26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LM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roduct Lifecycle Management</a:t>
            </a:r>
            <a:r>
              <a:rPr lang="en-US" altLang="ko-KR" sz="1059" b="0" spc="-26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059" b="0" spc="-26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R&amp;D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MI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ost Merger Integration</a:t>
            </a:r>
            <a:r>
              <a:rPr lang="en-US" altLang="ko-KR" sz="1059" b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략수립</a:t>
            </a:r>
            <a:endParaRPr lang="en-US" altLang="ko-KR" sz="1059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spc="-26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ata Analytics</a:t>
            </a:r>
            <a:endParaRPr lang="en-US" altLang="ko-KR" sz="1059" b="0" baseline="30000" dirty="0">
              <a:solidFill>
                <a:srgbClr val="DC69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r>
              <a:rPr lang="en-US" altLang="ko-KR" sz="1059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R </a:t>
            </a:r>
            <a:r>
              <a:rPr lang="en-US" altLang="ko-KR" sz="1059" b="0" baseline="3000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uman Resources</a:t>
            </a:r>
          </a:p>
          <a:p>
            <a:pPr marL="159656" indent="-159656" defTabSz="898968" fontAlgn="auto" latinLnBrk="0">
              <a:spcBef>
                <a:spcPts val="0"/>
              </a:spcBef>
              <a:spcAft>
                <a:spcPts val="529"/>
              </a:spcAft>
              <a:buClr>
                <a:srgbClr val="1D1F6F"/>
              </a:buClr>
              <a:buSzPct val="80000"/>
              <a:buFont typeface="Wingdings" pitchFamily="2" charset="2"/>
              <a:buChar char="l"/>
            </a:pPr>
            <a:endParaRPr lang="en-US" altLang="ko-KR" sz="1059" b="0" baseline="30000" dirty="0">
              <a:solidFill>
                <a:srgbClr val="DC69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572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PwC – </a:t>
            </a:r>
            <a:r>
              <a:rPr lang="ko-KR" altLang="en-US" dirty="0" smtClean="0"/>
              <a:t>전문가 </a:t>
            </a:r>
            <a:r>
              <a:rPr lang="ko-KR" altLang="en-US" dirty="0"/>
              <a:t>보유 현황 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>
                <a:cs typeface="Arial" pitchFamily="34" charset="0"/>
              </a:rPr>
              <a:t>컨설팅은 </a:t>
            </a:r>
            <a:r>
              <a:rPr lang="en-US" altLang="ko-KR" dirty="0">
                <a:cs typeface="Arial" pitchFamily="34" charset="0"/>
              </a:rPr>
              <a:t>380</a:t>
            </a:r>
            <a:r>
              <a:rPr lang="ko-KR" altLang="en-US" dirty="0">
                <a:cs typeface="Arial" pitchFamily="34" charset="0"/>
              </a:rPr>
              <a:t>여명의 분야별 전문가를 보유하고 </a:t>
            </a:r>
            <a:r>
              <a:rPr lang="ko-KR" altLang="en-US" dirty="0" smtClean="0">
                <a:cs typeface="Arial" pitchFamily="34" charset="0"/>
              </a:rPr>
              <a:t>있음</a:t>
            </a:r>
            <a:endParaRPr lang="ko-KR" altLang="en-US" dirty="0"/>
          </a:p>
        </p:txBody>
      </p:sp>
      <p:sp>
        <p:nvSpPr>
          <p:cNvPr id="1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1. </a:t>
            </a:r>
            <a:r>
              <a:rPr lang="ko-KR" altLang="en-US" sz="1400" dirty="0">
                <a:solidFill>
                  <a:srgbClr val="FFFFFF"/>
                </a:solidFill>
              </a:rPr>
              <a:t>일반현황</a:t>
            </a:r>
          </a:p>
        </p:txBody>
      </p:sp>
      <p:graphicFrame>
        <p:nvGraphicFramePr>
          <p:cNvPr id="15" name="차트 14"/>
          <p:cNvGraphicFramePr/>
          <p:nvPr>
            <p:extLst/>
          </p:nvPr>
        </p:nvGraphicFramePr>
        <p:xfrm>
          <a:off x="691274" y="2466074"/>
          <a:ext cx="4526104" cy="3017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027726" y="2152395"/>
            <a:ext cx="3569058" cy="246142"/>
          </a:xfrm>
          <a:prstGeom prst="rect">
            <a:avLst/>
          </a:prstGeom>
          <a:solidFill>
            <a:schemeClr val="tx2"/>
          </a:solidFill>
        </p:spPr>
        <p:txBody>
          <a:bodyPr vert="horz" wrap="none" lIns="0" tIns="0" rIns="0" bIns="0" rtlCol="0">
            <a:noAutofit/>
          </a:bodyPr>
          <a:lstStyle/>
          <a:p>
            <a:pPr indent="-234454" algn="ctr" defTabSz="898968" fontAlgn="auto" latinLnBrk="0">
              <a:spcBef>
                <a:spcPts val="0"/>
              </a:spcBef>
              <a:spcAft>
                <a:spcPts val="769"/>
              </a:spcAft>
            </a:pPr>
            <a:r>
              <a:rPr lang="ko-KR" altLang="en-US" sz="1367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야별 전문가 현황</a:t>
            </a:r>
            <a:endParaRPr lang="en-GB" sz="1367" dirty="0" err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6" name="Group 52"/>
          <p:cNvGraphicFramePr>
            <a:graphicFrameLocks noGrp="1"/>
          </p:cNvGraphicFramePr>
          <p:nvPr>
            <p:extLst/>
          </p:nvPr>
        </p:nvGraphicFramePr>
        <p:xfrm>
          <a:off x="5027725" y="2871587"/>
          <a:ext cx="3561475" cy="2177452"/>
        </p:xfrm>
        <a:graphic>
          <a:graphicData uri="http://schemas.openxmlformats.org/drawingml/2006/table">
            <a:tbl>
              <a:tblPr/>
              <a:tblGrid>
                <a:gridCol w="2238894"/>
                <a:gridCol w="1322581"/>
              </a:tblGrid>
              <a:tr h="363890">
                <a:tc>
                  <a:txBody>
                    <a:bodyPr/>
                    <a:lstStyle/>
                    <a:p>
                      <a:pPr marL="0" marR="0" indent="0" algn="l" defTabSz="96931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Finance &amp; Accounting</a:t>
                      </a:r>
                    </a:p>
                  </a:txBody>
                  <a:tcPr marL="8141" marR="8141" marT="8141" marB="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38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Risk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8141" marT="8141" marB="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3890">
                <a:tc>
                  <a:txBody>
                    <a:bodyPr/>
                    <a:lstStyle/>
                    <a:p>
                      <a:pPr marL="0" marR="0" indent="0" algn="l" defTabSz="96931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trategy</a:t>
                      </a:r>
                    </a:p>
                  </a:txBody>
                  <a:tcPr marL="8141" marR="8141" marT="8141" marB="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38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IT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&amp; Technolog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8141" marT="8141" marB="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3890">
                <a:tc>
                  <a:txBody>
                    <a:bodyPr/>
                    <a:lstStyle/>
                    <a:p>
                      <a:pPr marL="0" marR="0" indent="0" algn="l" defTabSz="96931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Oper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8141" marT="8141" marB="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0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800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합계</a:t>
                      </a:r>
                    </a:p>
                  </a:txBody>
                  <a:tcPr marL="93738" marR="8267" marT="9228" marB="0" anchor="ctr"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82</a:t>
                      </a:r>
                      <a:r>
                        <a:rPr lang="ko-KR" altLang="en-US" sz="1100" b="1" i="0" u="none" strike="noStrike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명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141" marR="92304" marT="8141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7" name="직사각형 26"/>
          <p:cNvSpPr/>
          <p:nvPr/>
        </p:nvSpPr>
        <p:spPr>
          <a:xfrm>
            <a:off x="7542101" y="2579632"/>
            <a:ext cx="1149675" cy="2369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94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16</a:t>
            </a:r>
            <a:r>
              <a:rPr lang="ko-KR" altLang="en-US" sz="94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94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</a:t>
            </a:r>
            <a:r>
              <a:rPr lang="ko-KR" altLang="en-US" sz="94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 기준</a:t>
            </a:r>
            <a:r>
              <a:rPr lang="en-US" altLang="ko-KR" sz="94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3544216" y="2156549"/>
            <a:ext cx="14782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nance &amp; Accounting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092445" y="5627994"/>
            <a:ext cx="7088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Strategy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1395684" y="2122954"/>
            <a:ext cx="7697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ration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174181" y="5054081"/>
            <a:ext cx="81445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316906" y="5193517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&amp; Technology</a:t>
            </a:r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3" name="직선 연결선 32"/>
          <p:cNvCxnSpPr>
            <a:endCxn id="28" idx="2"/>
          </p:cNvCxnSpPr>
          <p:nvPr/>
        </p:nvCxnSpPr>
        <p:spPr>
          <a:xfrm flipV="1">
            <a:off x="3993355" y="2402770"/>
            <a:ext cx="290006" cy="417218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>
            <a:endCxn id="29" idx="0"/>
          </p:cNvCxnSpPr>
          <p:nvPr/>
        </p:nvCxnSpPr>
        <p:spPr>
          <a:xfrm>
            <a:off x="3283503" y="5193517"/>
            <a:ext cx="163366" cy="434477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/>
          <p:cNvCxnSpPr/>
          <p:nvPr/>
        </p:nvCxnSpPr>
        <p:spPr>
          <a:xfrm flipH="1">
            <a:off x="1811514" y="4864412"/>
            <a:ext cx="295234" cy="269184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/>
          <p:cNvCxnSpPr/>
          <p:nvPr/>
        </p:nvCxnSpPr>
        <p:spPr>
          <a:xfrm>
            <a:off x="4157812" y="4699470"/>
            <a:ext cx="351027" cy="299533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/>
          <p:cNvCxnSpPr/>
          <p:nvPr/>
        </p:nvCxnSpPr>
        <p:spPr>
          <a:xfrm flipH="1" flipV="1">
            <a:off x="1922120" y="2376386"/>
            <a:ext cx="282255" cy="371866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타원 37"/>
          <p:cNvSpPr/>
          <p:nvPr/>
        </p:nvSpPr>
        <p:spPr>
          <a:xfrm>
            <a:off x="2449724" y="3278131"/>
            <a:ext cx="1169174" cy="1169174"/>
          </a:xfrm>
          <a:prstGeom prst="ellipse">
            <a:avLst/>
          </a:prstGeom>
          <a:noFill/>
        </p:spPr>
        <p:txBody>
          <a:bodyPr wrap="none" anchor="ctr">
            <a:noAutofit/>
          </a:bodyPr>
          <a:lstStyle/>
          <a:p>
            <a:pPr algn="ctr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2393" i="1" dirty="0">
                <a:solidFill>
                  <a:srgbClr val="B1C3EF">
                    <a:lumMod val="1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382</a:t>
            </a:r>
            <a:r>
              <a:rPr lang="ko-KR" altLang="en-US" sz="1539" dirty="0">
                <a:solidFill>
                  <a:srgbClr val="B1C3EF">
                    <a:lumMod val="1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명</a:t>
            </a:r>
          </a:p>
        </p:txBody>
      </p:sp>
    </p:spTree>
    <p:extLst>
      <p:ext uri="{BB962C8B-B14F-4D97-AF65-F5344CB8AC3E}">
        <p14:creationId xmlns:p14="http://schemas.microsoft.com/office/powerpoint/2010/main" val="353145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176232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일반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재무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영업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</a:t>
            </a:r>
            <a:r>
              <a:rPr lang="ko-KR" altLang="en-US" sz="22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현황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1166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KPMG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주요 </a:t>
            </a:r>
            <a:r>
              <a:rPr lang="ko-KR" altLang="en-US" dirty="0"/>
              <a:t>재무 현황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err="1" smtClean="0"/>
              <a:t>삼정</a:t>
            </a:r>
            <a:r>
              <a:rPr lang="en-US" altLang="ko-KR" dirty="0" smtClean="0"/>
              <a:t>KPMG</a:t>
            </a:r>
            <a:r>
              <a:rPr lang="ko-KR" altLang="en-US" dirty="0" smtClean="0"/>
              <a:t>는 </a:t>
            </a:r>
            <a:r>
              <a:rPr lang="ko-KR" altLang="en-US" dirty="0"/>
              <a:t>지속적으로 안정적인 매출을 올리고 있으며</a:t>
            </a:r>
            <a:r>
              <a:rPr lang="en-US" altLang="ko-KR" dirty="0"/>
              <a:t>, </a:t>
            </a:r>
            <a:r>
              <a:rPr lang="ko-KR" altLang="en-US" dirty="0" smtClean="0"/>
              <a:t>기업신용평가등급이 </a:t>
            </a:r>
            <a:r>
              <a:rPr lang="en-US" altLang="ko-KR" dirty="0" smtClean="0"/>
              <a:t>e-2</a:t>
            </a:r>
            <a:r>
              <a:rPr lang="en-US" altLang="ko-KR" baseline="30000" dirty="0" smtClean="0"/>
              <a:t>0 </a:t>
            </a:r>
            <a:r>
              <a:rPr lang="en-US" altLang="ko-KR" baseline="30000" dirty="0"/>
              <a:t>1)</a:t>
            </a:r>
            <a:r>
              <a:rPr lang="ko-KR" altLang="en-US" dirty="0"/>
              <a:t> 등급으로 우수함  </a:t>
            </a:r>
            <a:endParaRPr lang="en-US" altLang="ko-KR" dirty="0"/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 smtClean="0">
                <a:solidFill>
                  <a:srgbClr val="FFFFFF"/>
                </a:solidFill>
              </a:rPr>
              <a:t>2. </a:t>
            </a:r>
            <a:r>
              <a:rPr lang="ko-KR" altLang="en-US" sz="1400" dirty="0" smtClean="0">
                <a:solidFill>
                  <a:srgbClr val="FFFFFF"/>
                </a:solidFill>
              </a:rPr>
              <a:t>재무현황</a:t>
            </a:r>
            <a:endParaRPr lang="ko-KR" altLang="en-US" sz="1400" dirty="0">
              <a:solidFill>
                <a:srgbClr val="FFFFFF"/>
              </a:solidFill>
            </a:endParaRPr>
          </a:p>
        </p:txBody>
      </p:sp>
      <p:sp>
        <p:nvSpPr>
          <p:cNvPr id="43" name="Text Box 795"/>
          <p:cNvSpPr txBox="1">
            <a:spLocks noChangeArrowheads="1"/>
          </p:cNvSpPr>
          <p:nvPr/>
        </p:nvSpPr>
        <p:spPr bwMode="auto">
          <a:xfrm>
            <a:off x="5301853" y="1739145"/>
            <a:ext cx="130733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0" hangingPunct="0">
              <a:spcBef>
                <a:spcPts val="199"/>
              </a:spcBef>
            </a:pPr>
            <a:r>
              <a:rPr lang="en-US" altLang="ko-KR" sz="1000" b="0" dirty="0">
                <a:solidFill>
                  <a:srgbClr val="000000">
                    <a:lumMod val="75000"/>
                    <a:lumOff val="2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0" dirty="0">
                <a:solidFill>
                  <a:srgbClr val="000000">
                    <a:lumMod val="75000"/>
                    <a:lumOff val="2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: </a:t>
            </a:r>
            <a:r>
              <a:rPr lang="ko-KR" altLang="en-US" sz="1000" b="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만원</a:t>
            </a:r>
            <a:r>
              <a:rPr lang="ko-KR" altLang="en-US" sz="1000" b="0" dirty="0">
                <a:solidFill>
                  <a:srgbClr val="000000">
                    <a:lumMod val="75000"/>
                    <a:lumOff val="2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44" name="표 43"/>
          <p:cNvGraphicFramePr>
            <a:graphicFrameLocks noGrp="1"/>
          </p:cNvGraphicFramePr>
          <p:nvPr>
            <p:extLst/>
          </p:nvPr>
        </p:nvGraphicFramePr>
        <p:xfrm>
          <a:off x="333269" y="2025300"/>
          <a:ext cx="6192641" cy="4067996"/>
        </p:xfrm>
        <a:graphic>
          <a:graphicData uri="http://schemas.openxmlformats.org/drawingml/2006/table">
            <a:tbl>
              <a:tblPr/>
              <a:tblGrid>
                <a:gridCol w="16186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385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7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1775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lang="ko-KR" altLang="en-US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   분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lang="en-US" altLang="ko-KR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Y12/13</a:t>
                      </a:r>
                      <a:endParaRPr lang="ko-KR" altLang="en-US" sz="1200" b="1" u="none" strike="noStrike" kern="1200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Y13/14</a:t>
                      </a:r>
                      <a:endParaRPr lang="ko-KR" altLang="en-US" sz="1200" b="1" u="none" strike="noStrike" kern="1200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Y14/15</a:t>
                      </a:r>
                      <a:endParaRPr lang="ko-KR" altLang="en-US" sz="1200" b="1" u="none" strike="noStrike" kern="1200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총자산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03,955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91,129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95,763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유동자산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95,877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83,513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88,37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비유동자산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8,078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,616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,393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유동부채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2,925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6,78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1,644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비유동부채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,001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,001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,001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본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0,029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3,348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3,117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업이익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,191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,218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2,01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총매출액</a:t>
                      </a:r>
                      <a:r>
                        <a:rPr kumimoji="0" lang="en-US" altLang="ko-KR" sz="12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)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57,285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66,957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75,92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444500" marR="0" lvl="0" indent="-171450" algn="l" defTabSz="3556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Pct val="12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회계감사</a:t>
                      </a:r>
                      <a:endParaRPr kumimoji="0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00,79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05,737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12,755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22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444500" marR="0" lvl="0" indent="-171450" algn="l" defTabSz="3556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Pct val="12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컨설팅</a:t>
                      </a: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기타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19,288</a:t>
                      </a:r>
                    </a:p>
                  </a:txBody>
                  <a:tcPr marL="9525" marR="179999" marT="9525" marB="0" anchor="ctr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16,257</a:t>
                      </a:r>
                    </a:p>
                  </a:txBody>
                  <a:tcPr marL="9525" marR="179999" marT="9525" marB="0" anchor="ctr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21,755</a:t>
                      </a:r>
                    </a:p>
                  </a:txBody>
                  <a:tcPr marL="0" marR="179999" marT="9525" marB="0" anchor="ctr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444500" marR="0" lvl="0" indent="-171450" algn="l" defTabSz="3556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Pct val="12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세무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7,207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4,963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1,410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경상이익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세전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,229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,202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3,529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유동비율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31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47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71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부채비율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46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73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22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기자본비율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9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7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5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384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17780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업이익률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.5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.6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rgbClr val="415299"/>
                        </a:buClr>
                        <a:buSzPct val="125000"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.4%</a:t>
                      </a:r>
                    </a:p>
                  </a:txBody>
                  <a:tcPr marL="0" marR="179999" marT="0" marB="0" anchor="ctr" horzOverflow="overflow">
                    <a:lnL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45" name="직사각형 44"/>
          <p:cNvSpPr/>
          <p:nvPr/>
        </p:nvSpPr>
        <p:spPr>
          <a:xfrm>
            <a:off x="336096" y="6193392"/>
            <a:ext cx="8699518" cy="18000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1) </a:t>
            </a:r>
            <a:r>
              <a: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rPr>
              <a:t>회사채 등급 </a:t>
            </a: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AA0</a:t>
            </a:r>
            <a:r>
              <a: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rPr>
              <a:t>에 준함</a:t>
            </a:r>
            <a:r>
              <a:rPr lang="en-US" altLang="ko-KR" sz="800" b="0" dirty="0">
                <a:solidFill>
                  <a:srgbClr val="000000"/>
                </a:solidFill>
                <a:latin typeface="맑은 고딕"/>
                <a:ea typeface="맑은 고딕"/>
              </a:rPr>
              <a:t>	2) </a:t>
            </a:r>
            <a:r>
              <a:rPr lang="ko-KR" altLang="en-US" sz="800" b="0" dirty="0" err="1">
                <a:solidFill>
                  <a:srgbClr val="000000"/>
                </a:solidFill>
                <a:latin typeface="맑은 고딕"/>
                <a:ea typeface="맑은 고딕"/>
              </a:rPr>
              <a:t>삼정회계법인의</a:t>
            </a:r>
            <a:r>
              <a:rPr lang="ko-KR" altLang="en-US" sz="800" b="0" dirty="0">
                <a:solidFill>
                  <a:srgbClr val="000000"/>
                </a:solidFill>
                <a:latin typeface="맑은 고딕"/>
                <a:ea typeface="맑은 고딕"/>
              </a:rPr>
              <a:t> 사업보고서 상 금액임</a:t>
            </a:r>
            <a:endParaRPr lang="en-US" altLang="ko-KR" sz="8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357" y="1895274"/>
            <a:ext cx="2921223" cy="4054077"/>
          </a:xfrm>
          <a:prstGeom prst="rect">
            <a:avLst/>
          </a:prstGeom>
        </p:spPr>
      </p:pic>
      <p:sp>
        <p:nvSpPr>
          <p:cNvPr id="48" name="ColumnHeader"/>
          <p:cNvSpPr>
            <a:spLocks noChangeArrowheads="1"/>
          </p:cNvSpPr>
          <p:nvPr/>
        </p:nvSpPr>
        <p:spPr bwMode="gray">
          <a:xfrm>
            <a:off x="340006" y="1390850"/>
            <a:ext cx="6179167" cy="30995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46800" bIns="46800" anchor="ctr">
            <a:spAutoFit/>
          </a:bodyPr>
          <a:lstStyle/>
          <a:p>
            <a:pPr algn="ctr">
              <a:defRPr/>
            </a:pP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재무구조 및 최근 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3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간 매출액</a:t>
            </a:r>
            <a:endParaRPr lang="en-US" altLang="ko-KR" sz="14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49" name="직선 연결선 48"/>
          <p:cNvCxnSpPr/>
          <p:nvPr/>
        </p:nvCxnSpPr>
        <p:spPr bwMode="auto">
          <a:xfrm>
            <a:off x="340004" y="1738908"/>
            <a:ext cx="617917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7152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주요 </a:t>
            </a:r>
            <a:r>
              <a:rPr lang="ko-KR" altLang="en-US" dirty="0"/>
              <a:t>재무 현황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cs typeface="Arial" panose="020B0604020202020204" pitchFamily="34" charset="0"/>
              </a:rPr>
              <a:t>PwC</a:t>
            </a:r>
            <a:r>
              <a:rPr lang="ko-KR" altLang="en-US" dirty="0" smtClean="0">
                <a:cs typeface="Arial" pitchFamily="34" charset="0"/>
              </a:rPr>
              <a:t>컨설팅은 </a:t>
            </a:r>
            <a:r>
              <a:rPr lang="ko-KR" altLang="en-US" dirty="0">
                <a:cs typeface="Arial" pitchFamily="34" charset="0"/>
              </a:rPr>
              <a:t>안정적인 재무구조를 유지하고 있음</a:t>
            </a:r>
            <a:endParaRPr lang="en-US" altLang="ko-KR" dirty="0"/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2. </a:t>
            </a:r>
            <a:r>
              <a:rPr lang="ko-KR" altLang="en-US" sz="1400" dirty="0">
                <a:solidFill>
                  <a:srgbClr val="FFFFFF"/>
                </a:solidFill>
              </a:rPr>
              <a:t>재무현황</a:t>
            </a:r>
          </a:p>
        </p:txBody>
      </p:sp>
      <p:sp>
        <p:nvSpPr>
          <p:cNvPr id="11" name="Text Box 125"/>
          <p:cNvSpPr txBox="1">
            <a:spLocks noChangeArrowheads="1"/>
          </p:cNvSpPr>
          <p:nvPr/>
        </p:nvSpPr>
        <p:spPr bwMode="gray">
          <a:xfrm>
            <a:off x="4629521" y="1918893"/>
            <a:ext cx="913888" cy="22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5812" tIns="42906" rIns="85812" bIns="42906">
            <a:spAutoFit/>
          </a:bodyPr>
          <a:lstStyle/>
          <a:p>
            <a:pPr algn="ctr" defTabSz="898968" eaLnBrk="0" fontAlgn="auto" latinLnBrk="0" hangingPunct="0">
              <a:spcBef>
                <a:spcPct val="50000"/>
              </a:spcBef>
              <a:spcAft>
                <a:spcPts val="0"/>
              </a:spcAft>
            </a:pP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</a:t>
            </a: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만원</a:t>
            </a: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2" name="Text Box 126"/>
          <p:cNvSpPr txBox="1">
            <a:spLocks noChangeArrowheads="1"/>
          </p:cNvSpPr>
          <p:nvPr/>
        </p:nvSpPr>
        <p:spPr bwMode="gray">
          <a:xfrm>
            <a:off x="1185695" y="5284607"/>
            <a:ext cx="3551281" cy="14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6892" tIns="0" rIns="16892" bIns="0">
            <a:spAutoFit/>
          </a:bodyPr>
          <a:lstStyle/>
          <a:p>
            <a:pPr marL="143025" indent="-143025" defTabSz="898968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926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*)PwC</a:t>
            </a:r>
            <a:r>
              <a:rPr lang="ko-KR" altLang="en-US" sz="926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컨설팅은 </a:t>
            </a:r>
            <a:r>
              <a:rPr lang="en-US" altLang="ko-KR" sz="926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ko-KR" altLang="en-US" sz="926" b="0" i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 결산법인임</a:t>
            </a:r>
            <a:endParaRPr lang="en-US" altLang="ko-KR" sz="926" b="0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 Box 125"/>
          <p:cNvSpPr txBox="1">
            <a:spLocks noChangeArrowheads="1"/>
          </p:cNvSpPr>
          <p:nvPr/>
        </p:nvSpPr>
        <p:spPr bwMode="gray">
          <a:xfrm>
            <a:off x="7958942" y="1918893"/>
            <a:ext cx="913888" cy="22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5812" tIns="42906" rIns="85812" bIns="42906">
            <a:spAutoFit/>
          </a:bodyPr>
          <a:lstStyle/>
          <a:p>
            <a:pPr algn="ctr" defTabSz="898968" eaLnBrk="0" fontAlgn="auto" latinLnBrk="0" hangingPunct="0">
              <a:spcBef>
                <a:spcPct val="50000"/>
              </a:spcBef>
              <a:spcAft>
                <a:spcPts val="0"/>
              </a:spcAft>
            </a:pP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</a:t>
            </a: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만원</a:t>
            </a:r>
            <a:r>
              <a:rPr lang="en-US" altLang="ko-KR" sz="926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14" name="Group 469"/>
          <p:cNvGraphicFramePr>
            <a:graphicFrameLocks noGrp="1"/>
          </p:cNvGraphicFramePr>
          <p:nvPr>
            <p:extLst/>
          </p:nvPr>
        </p:nvGraphicFramePr>
        <p:xfrm>
          <a:off x="1184579" y="2490603"/>
          <a:ext cx="4231168" cy="2622025"/>
        </p:xfrm>
        <a:graphic>
          <a:graphicData uri="http://schemas.openxmlformats.org/drawingml/2006/table">
            <a:tbl>
              <a:tblPr/>
              <a:tblGrid>
                <a:gridCol w="1713175"/>
                <a:gridCol w="881373"/>
                <a:gridCol w="807925"/>
                <a:gridCol w="828695"/>
              </a:tblGrid>
              <a:tr h="423001"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구 분</a:t>
                      </a:r>
                    </a:p>
                  </a:txBody>
                  <a:tcPr marL="40333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3.6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40333" marR="40333" marT="40333" marB="40333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4.6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40333" marR="40333" marT="40333" marB="40333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.6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40333" marR="40333" marT="40333" marB="40333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401352">
                <a:tc>
                  <a:txBody>
                    <a:bodyPr/>
                    <a:lstStyle/>
                    <a:p>
                      <a:pPr marL="266700" marR="0" lvl="0" indent="-266700" algn="ctr" defTabSz="695325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2A34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매출액</a:t>
                      </a:r>
                    </a:p>
                  </a:txBody>
                  <a:tcPr marL="158791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3,687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0,083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9,371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64051">
                <a:tc>
                  <a:txBody>
                    <a:bodyPr/>
                    <a:lstStyle/>
                    <a:p>
                      <a:pPr marL="0" marR="0" lvl="0" indent="0" algn="ctr" defTabSz="695325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2A34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총자산</a:t>
                      </a:r>
                    </a:p>
                  </a:txBody>
                  <a:tcPr marL="158791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8,848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5,560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9,305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4797">
                <a:tc>
                  <a:txBody>
                    <a:bodyPr/>
                    <a:lstStyle/>
                    <a:p>
                      <a:pPr marL="0" marR="0" lvl="0" indent="0" algn="ctr" defTabSz="695325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2A34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자기자본</a:t>
                      </a:r>
                    </a:p>
                  </a:txBody>
                  <a:tcPr marL="158791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,090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,968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2,974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68449">
                <a:tc>
                  <a:txBody>
                    <a:bodyPr/>
                    <a:lstStyle/>
                    <a:p>
                      <a:pPr marL="0" marR="0" lvl="0" indent="0" algn="ctr" defTabSz="695325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2A34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자기자본비율</a:t>
                      </a:r>
                    </a:p>
                  </a:txBody>
                  <a:tcPr marL="158791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49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47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44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10375">
                <a:tc>
                  <a:txBody>
                    <a:bodyPr/>
                    <a:lstStyle/>
                    <a:p>
                      <a:pPr marL="0" marR="0" lvl="0" indent="0" algn="ctr" defTabSz="695325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  <a:tab pos="722313" algn="l"/>
                          <a:tab pos="1074738" algn="l"/>
                          <a:tab pos="1427163" algn="l"/>
                          <a:tab pos="1700213" algn="l"/>
                        </a:tabLst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2A34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유동비율</a:t>
                      </a:r>
                    </a:p>
                  </a:txBody>
                  <a:tcPr marL="158791" marR="40333" marT="40333" marB="40333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5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39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19007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63%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403" marR="95275" marT="8403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차트 14"/>
          <p:cNvGraphicFramePr>
            <a:graphicFrameLocks/>
          </p:cNvGraphicFramePr>
          <p:nvPr>
            <p:extLst/>
          </p:nvPr>
        </p:nvGraphicFramePr>
        <p:xfrm>
          <a:off x="5735071" y="2300034"/>
          <a:ext cx="3195824" cy="3230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6" name="그룹 15"/>
          <p:cNvGrpSpPr/>
          <p:nvPr/>
        </p:nvGrpSpPr>
        <p:grpSpPr>
          <a:xfrm>
            <a:off x="998004" y="1370621"/>
            <a:ext cx="4488514" cy="331714"/>
            <a:chOff x="546749" y="1275423"/>
            <a:chExt cx="4137288" cy="376019"/>
          </a:xfrm>
        </p:grpSpPr>
        <p:sp>
          <p:nvSpPr>
            <p:cNvPr id="17" name="직사각형 16"/>
            <p:cNvSpPr/>
            <p:nvPr/>
          </p:nvSpPr>
          <p:spPr>
            <a:xfrm>
              <a:off x="546749" y="1275423"/>
              <a:ext cx="4135527" cy="37601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568371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근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년 재무현황</a:t>
              </a:r>
            </a:p>
          </p:txBody>
        </p:sp>
        <p:cxnSp>
          <p:nvCxnSpPr>
            <p:cNvPr id="18" name="직선 연결선 17"/>
            <p:cNvCxnSpPr/>
            <p:nvPr/>
          </p:nvCxnSpPr>
          <p:spPr>
            <a:xfrm>
              <a:off x="554577" y="1648796"/>
              <a:ext cx="41294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그룹 18"/>
          <p:cNvGrpSpPr/>
          <p:nvPr/>
        </p:nvGrpSpPr>
        <p:grpSpPr>
          <a:xfrm>
            <a:off x="5774407" y="1369646"/>
            <a:ext cx="2969840" cy="331714"/>
            <a:chOff x="4692016" y="1268413"/>
            <a:chExt cx="4635602" cy="376019"/>
          </a:xfrm>
        </p:grpSpPr>
        <p:sp>
          <p:nvSpPr>
            <p:cNvPr id="20" name="직사각형 19"/>
            <p:cNvSpPr/>
            <p:nvPr/>
          </p:nvSpPr>
          <p:spPr>
            <a:xfrm>
              <a:off x="4692016" y="1268413"/>
              <a:ext cx="4635602" cy="37601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568371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근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년 매출액 추이</a:t>
              </a:r>
            </a:p>
          </p:txBody>
        </p:sp>
        <p:cxnSp>
          <p:nvCxnSpPr>
            <p:cNvPr id="21" name="직선 연결선 20"/>
            <p:cNvCxnSpPr/>
            <p:nvPr/>
          </p:nvCxnSpPr>
          <p:spPr>
            <a:xfrm>
              <a:off x="4874000" y="1641786"/>
              <a:ext cx="44006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133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cs typeface="Arial" panose="020B0604020202020204" pitchFamily="34" charset="0"/>
              </a:rPr>
              <a:t>PwC</a:t>
            </a:r>
            <a:r>
              <a:rPr lang="ko-KR" altLang="en-US" dirty="0"/>
              <a:t> </a:t>
            </a:r>
            <a:r>
              <a:rPr lang="en-US" altLang="ko-KR" dirty="0"/>
              <a:t>– </a:t>
            </a:r>
            <a:r>
              <a:rPr lang="ko-KR" altLang="en-US" dirty="0"/>
              <a:t>주요 재무 현황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wC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안정적인 재무구조 하에 최근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꾸준한 매출신장을 달성하며 고객과 함께 성장해가고 있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2. </a:t>
            </a:r>
            <a:r>
              <a:rPr lang="ko-KR" altLang="en-US" sz="1400" dirty="0">
                <a:solidFill>
                  <a:srgbClr val="FFFFFF"/>
                </a:solidFill>
              </a:rPr>
              <a:t>재무현황</a:t>
            </a:r>
          </a:p>
        </p:txBody>
      </p:sp>
      <p:sp>
        <p:nvSpPr>
          <p:cNvPr id="22" name="Text Box 125"/>
          <p:cNvSpPr txBox="1">
            <a:spLocks noChangeArrowheads="1"/>
          </p:cNvSpPr>
          <p:nvPr/>
        </p:nvSpPr>
        <p:spPr bwMode="gray">
          <a:xfrm>
            <a:off x="8189226" y="1441645"/>
            <a:ext cx="687270" cy="221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3136" tIns="41568" rIns="83136" bIns="41568">
            <a:spAutoFit/>
          </a:bodyPr>
          <a:lstStyle/>
          <a:p>
            <a:pPr algn="ctr" defTabSz="898968" eaLnBrk="0" fontAlgn="auto" latinLnBrk="0" hangingPunct="0">
              <a:spcBef>
                <a:spcPct val="50000"/>
              </a:spcBef>
              <a:spcAft>
                <a:spcPts val="0"/>
              </a:spcAft>
            </a:pPr>
            <a:r>
              <a:rPr lang="en-US" altLang="ko-KR" sz="897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(</a:t>
            </a:r>
            <a:r>
              <a:rPr lang="ko-KR" altLang="en-US" sz="897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단위 </a:t>
            </a:r>
            <a:r>
              <a:rPr lang="en-US" altLang="ko-KR" sz="897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: </a:t>
            </a:r>
            <a:r>
              <a:rPr lang="ko-KR" altLang="en-US" sz="897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원</a:t>
            </a:r>
            <a:r>
              <a:rPr lang="en-US" altLang="ko-KR" sz="897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/>
              </a:rPr>
              <a:t>)</a:t>
            </a:r>
          </a:p>
        </p:txBody>
      </p:sp>
      <p:graphicFrame>
        <p:nvGraphicFramePr>
          <p:cNvPr id="23" name="표 22"/>
          <p:cNvGraphicFramePr>
            <a:graphicFrameLocks noGrp="1"/>
          </p:cNvGraphicFramePr>
          <p:nvPr>
            <p:extLst/>
          </p:nvPr>
        </p:nvGraphicFramePr>
        <p:xfrm>
          <a:off x="1009827" y="1650878"/>
          <a:ext cx="7865769" cy="4586434"/>
        </p:xfrm>
        <a:graphic>
          <a:graphicData uri="http://schemas.openxmlformats.org/drawingml/2006/table">
            <a:tbl>
              <a:tblPr firstRow="1" bandRow="1"/>
              <a:tblGrid>
                <a:gridCol w="588595"/>
                <a:gridCol w="1391224"/>
                <a:gridCol w="1177190"/>
                <a:gridCol w="1177190"/>
                <a:gridCol w="1177190"/>
                <a:gridCol w="1177190"/>
                <a:gridCol w="1177190"/>
              </a:tblGrid>
              <a:tr h="326492"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3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4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15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합계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평균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자본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100053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8,848,227,793</a:t>
                      </a: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100053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5,559,829,972</a:t>
                      </a: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9,305,447,288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3,713,505,05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7,904,501,684</a:t>
                      </a:r>
                    </a:p>
                  </a:txBody>
                  <a:tcPr marL="0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기자본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,090,336,710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,967,844,76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2,974,369,35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9,032,550,76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3,010,850,25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부채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,737,891,083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3,422,985,212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5,562,077,935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43,722,954,230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,574,318,077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4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정부채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ko-KR" altLang="en-US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0,000,000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69,000,000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69,000,000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958,000,000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19,333,333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5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자산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1,325,449,379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8,633,104,545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5,303,650,844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65,262,204,768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1,754,068,256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7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6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기순이익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1,008,426,789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2,122,491,95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,006,524,593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,124,394,146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08,131,382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2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원가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매출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3,687,467,215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0,083,490,978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9,370,677,820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43,141,636,01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81,047,212,00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9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기자본이익율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7.2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17.7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7.8%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5.4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5.7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0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율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05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4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26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4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5%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2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차입금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95275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2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형순자산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4,090,336,710</a:t>
                      </a: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1,967,844,76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2,974,369,35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39,032,550,76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3,010,850,25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6722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3</a:t>
                      </a:r>
                      <a:endParaRPr lang="en-US" altLang="ko-KR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8335" marR="8335" marT="8335" marB="0"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BIT</a:t>
                      </a:r>
                      <a:endParaRPr lang="ko-KR" alt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3516" marR="63516" marT="833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 1,161,258,14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,851,481,042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1,752,308,691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722" marR="95275"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2,260,430,491</a:t>
                      </a:r>
                    </a:p>
                  </a:txBody>
                  <a:tcPr marL="6722" marR="95275"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00536" rtl="0" eaLnBrk="1" fontAlgn="ctr" latinLnBrk="1" hangingPunct="1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-753,476,830</a:t>
                      </a:r>
                    </a:p>
                  </a:txBody>
                  <a:tcPr marL="6722" marR="95275"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7430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3621532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40660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일반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재무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영업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17919"/>
            <a:ext cx="3896795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</a:t>
            </a:r>
            <a:r>
              <a:rPr lang="ko-KR" altLang="en-US" sz="2200" dirty="0" smtClean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현황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637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프로젝트 </a:t>
            </a:r>
            <a:r>
              <a:rPr lang="ko-KR" altLang="en-US" dirty="0"/>
              <a:t>수행 실적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카드사 및 금융사의 경영전략</a:t>
            </a:r>
            <a:r>
              <a:rPr lang="en-US" altLang="ko-KR" dirty="0"/>
              <a:t>, </a:t>
            </a:r>
            <a:r>
              <a:rPr lang="ko-KR" altLang="en-US" dirty="0"/>
              <a:t>프로세스 혁신</a:t>
            </a:r>
            <a:r>
              <a:rPr lang="en-US" altLang="ko-KR" dirty="0"/>
              <a:t>, </a:t>
            </a:r>
            <a:r>
              <a:rPr lang="ko-KR" altLang="en-US" dirty="0"/>
              <a:t>그리고 </a:t>
            </a:r>
            <a:r>
              <a:rPr lang="en-US" altLang="ko-KR" dirty="0"/>
              <a:t>IT </a:t>
            </a:r>
            <a:r>
              <a:rPr lang="ko-KR" altLang="en-US" dirty="0"/>
              <a:t>등 전 영역에서  풍부한 프로젝트 수행 경험을 보유하고 있음</a:t>
            </a:r>
          </a:p>
        </p:txBody>
      </p:sp>
      <p:sp>
        <p:nvSpPr>
          <p:cNvPr id="43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83" name="그룹 82"/>
          <p:cNvGrpSpPr/>
          <p:nvPr/>
        </p:nvGrpSpPr>
        <p:grpSpPr>
          <a:xfrm>
            <a:off x="357410" y="1124744"/>
            <a:ext cx="9276111" cy="5200941"/>
            <a:chOff x="283370" y="1124744"/>
            <a:chExt cx="9276111" cy="5200941"/>
          </a:xfrm>
        </p:grpSpPr>
        <p:grpSp>
          <p:nvGrpSpPr>
            <p:cNvPr id="84" name="그룹 83"/>
            <p:cNvGrpSpPr/>
            <p:nvPr/>
          </p:nvGrpSpPr>
          <p:grpSpPr>
            <a:xfrm>
              <a:off x="6587801" y="1746860"/>
              <a:ext cx="2971680" cy="1122834"/>
              <a:chOff x="6710830" y="1846052"/>
              <a:chExt cx="2971680" cy="1122834"/>
            </a:xfrm>
          </p:grpSpPr>
          <p:sp>
            <p:nvSpPr>
              <p:cNvPr id="158" name="TextBox 157"/>
              <p:cNvSpPr txBox="1"/>
              <p:nvPr/>
            </p:nvSpPr>
            <p:spPr bwMode="auto">
              <a:xfrm>
                <a:off x="6710830" y="1846052"/>
                <a:ext cx="1300603" cy="24198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전사 프로세스 혁신</a:t>
                </a:r>
              </a:p>
            </p:txBody>
          </p:sp>
          <p:cxnSp>
            <p:nvCxnSpPr>
              <p:cNvPr id="159" name="직선 연결선 158"/>
              <p:cNvCxnSpPr/>
              <p:nvPr/>
            </p:nvCxnSpPr>
            <p:spPr bwMode="auto">
              <a:xfrm>
                <a:off x="6710830" y="2088032"/>
                <a:ext cx="288675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160" name="TextBox 159"/>
              <p:cNvSpPr txBox="1"/>
              <p:nvPr/>
            </p:nvSpPr>
            <p:spPr bwMode="auto">
              <a:xfrm>
                <a:off x="6710830" y="2117508"/>
                <a:ext cx="2971680" cy="85137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b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KB</a:t>
                </a:r>
                <a:r>
                  <a:rPr lang="ko-KR" altLang="en-US" sz="1100" b="0" dirty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국민카드 차세대시스템 구축 마스터플랜 </a:t>
                </a:r>
                <a:r>
                  <a:rPr lang="en-US" altLang="ko-KR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– </a:t>
                </a:r>
                <a:r>
                  <a:rPr lang="ko-KR" altLang="en-US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상품</a:t>
                </a:r>
                <a:r>
                  <a:rPr lang="en-US" altLang="ko-KR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고객</a:t>
                </a:r>
                <a:r>
                  <a:rPr lang="en-US" altLang="ko-KR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마케팅</a:t>
                </a:r>
                <a:r>
                  <a:rPr lang="en-US" altLang="ko-KR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lang="ko-KR" altLang="en-US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경영관리 </a:t>
                </a:r>
                <a:r>
                  <a:rPr lang="en-US" altLang="ko-KR" sz="1100" b="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’16)</a:t>
                </a:r>
                <a:endParaRPr lang="en-US" altLang="ko-KR" sz="1100" b="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ko-KR" altLang="en-US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우리은행 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차세대 업무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BPR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5)</a:t>
                </a: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ko-KR" altLang="en-US" sz="1100" b="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하나대투증권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차세대 시스템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PI (‘15)</a:t>
                </a:r>
              </a:p>
            </p:txBody>
          </p:sp>
        </p:grpSp>
        <p:sp>
          <p:nvSpPr>
            <p:cNvPr id="85" name="TextBox 84"/>
            <p:cNvSpPr txBox="1"/>
            <p:nvPr/>
          </p:nvSpPr>
          <p:spPr bwMode="auto">
            <a:xfrm>
              <a:off x="6732651" y="2992262"/>
              <a:ext cx="981606" cy="2419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재무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관리회계</a:t>
              </a:r>
            </a:p>
          </p:txBody>
        </p:sp>
        <p:cxnSp>
          <p:nvCxnSpPr>
            <p:cNvPr id="86" name="직선 연결선 85"/>
            <p:cNvCxnSpPr/>
            <p:nvPr/>
          </p:nvCxnSpPr>
          <p:spPr bwMode="auto">
            <a:xfrm>
              <a:off x="6732650" y="3237727"/>
              <a:ext cx="2808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87" name="TextBox 86"/>
            <p:cNvSpPr txBox="1"/>
            <p:nvPr/>
          </p:nvSpPr>
          <p:spPr bwMode="auto">
            <a:xfrm>
              <a:off x="6732651" y="3225653"/>
              <a:ext cx="2751642" cy="9021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IFRS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 구축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1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현대카드 전사관리회계 고도화 구축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4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롯데카드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관리회계시스템 고도화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2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외환은행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IFRS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 구축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’11)</a:t>
              </a:r>
              <a:endPara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88" name="그룹 87"/>
            <p:cNvGrpSpPr/>
            <p:nvPr/>
          </p:nvGrpSpPr>
          <p:grpSpPr>
            <a:xfrm>
              <a:off x="6742590" y="4169735"/>
              <a:ext cx="2679508" cy="759200"/>
              <a:chOff x="6710829" y="4429888"/>
              <a:chExt cx="2679508" cy="759200"/>
            </a:xfrm>
          </p:grpSpPr>
          <p:sp>
            <p:nvSpPr>
              <p:cNvPr id="116" name="TextBox 115"/>
              <p:cNvSpPr txBox="1"/>
              <p:nvPr/>
            </p:nvSpPr>
            <p:spPr bwMode="auto">
              <a:xfrm>
                <a:off x="6710830" y="4429888"/>
                <a:ext cx="636960" cy="24198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경영관리</a:t>
                </a:r>
              </a:p>
            </p:txBody>
          </p:sp>
          <p:cxnSp>
            <p:nvCxnSpPr>
              <p:cNvPr id="156" name="직선 연결선 155"/>
              <p:cNvCxnSpPr/>
              <p:nvPr/>
            </p:nvCxnSpPr>
            <p:spPr bwMode="auto">
              <a:xfrm>
                <a:off x="6710829" y="4688948"/>
                <a:ext cx="266400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157" name="TextBox 156"/>
              <p:cNvSpPr txBox="1"/>
              <p:nvPr/>
            </p:nvSpPr>
            <p:spPr bwMode="auto">
              <a:xfrm>
                <a:off x="6710830" y="4727048"/>
                <a:ext cx="2679507" cy="4620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BC</a:t>
                </a: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카드 표준서비스 가격체계 설계 </a:t>
                </a: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4)</a:t>
                </a: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농협중앙회 경영관리고도화 </a:t>
                </a: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3)</a:t>
                </a:r>
                <a:endPara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89" name="TextBox 88"/>
            <p:cNvSpPr txBox="1"/>
            <p:nvPr/>
          </p:nvSpPr>
          <p:spPr bwMode="auto">
            <a:xfrm>
              <a:off x="283370" y="3496620"/>
              <a:ext cx="1619601" cy="2419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성과관리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프로세스 혁신</a:t>
              </a:r>
            </a:p>
          </p:txBody>
        </p:sp>
        <p:cxnSp>
          <p:nvCxnSpPr>
            <p:cNvPr id="90" name="직선 연결선 89"/>
            <p:cNvCxnSpPr/>
            <p:nvPr/>
          </p:nvCxnSpPr>
          <p:spPr bwMode="auto">
            <a:xfrm>
              <a:off x="283370" y="3755680"/>
              <a:ext cx="288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91" name="TextBox 90"/>
            <p:cNvSpPr txBox="1"/>
            <p:nvPr/>
          </p:nvSpPr>
          <p:spPr bwMode="auto">
            <a:xfrm>
              <a:off x="283370" y="3793780"/>
              <a:ext cx="3094684" cy="1122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상품수익성분석시스템 수정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6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대고객수수료율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 체계 개편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3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대고객금리산출체계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 개편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3)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KB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국민카드신용평가시스템 모형 검증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’15) 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KB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국민카드 </a:t>
              </a:r>
              <a:r>
                <a:rPr lang="ko-KR" altLang="en-US" sz="1100" b="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신연회비체계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설계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4)</a:t>
              </a:r>
            </a:p>
          </p:txBody>
        </p:sp>
        <p:sp>
          <p:nvSpPr>
            <p:cNvPr id="92" name="TextBox 91"/>
            <p:cNvSpPr txBox="1"/>
            <p:nvPr/>
          </p:nvSpPr>
          <p:spPr bwMode="auto">
            <a:xfrm>
              <a:off x="6688121" y="5239743"/>
              <a:ext cx="620930" cy="2419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IT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인프라</a:t>
              </a:r>
            </a:p>
          </p:txBody>
        </p:sp>
        <p:cxnSp>
          <p:nvCxnSpPr>
            <p:cNvPr id="93" name="직선 연결선 92"/>
            <p:cNvCxnSpPr/>
            <p:nvPr/>
          </p:nvCxnSpPr>
          <p:spPr bwMode="auto">
            <a:xfrm>
              <a:off x="6675421" y="5511503"/>
              <a:ext cx="2592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94" name="TextBox 93"/>
            <p:cNvSpPr txBox="1"/>
            <p:nvPr/>
          </p:nvSpPr>
          <p:spPr bwMode="auto">
            <a:xfrm>
              <a:off x="6688121" y="5536903"/>
              <a:ext cx="2583327" cy="6821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하나카드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IT </a:t>
              </a:r>
              <a:r>
                <a:rPr lang="ko-KR" altLang="en-US" sz="1100" dirty="0" err="1">
                  <a:solidFill>
                    <a:srgbClr val="000000"/>
                  </a:solidFill>
                  <a:latin typeface="맑은 고딕"/>
                  <a:ea typeface="맑은 고딕"/>
                </a:rPr>
                <a:t>아웃소싱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 전략 수립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4) 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중앙회 전환시스템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PMO (’17) 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동부화재 데이터센터 효율화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(‘14)</a:t>
              </a:r>
              <a:endParaRPr lang="ko-KR" altLang="en-US" sz="1100" b="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95" name="그룹 94"/>
            <p:cNvGrpSpPr/>
            <p:nvPr/>
          </p:nvGrpSpPr>
          <p:grpSpPr>
            <a:xfrm>
              <a:off x="3115144" y="1124744"/>
              <a:ext cx="3420000" cy="1156652"/>
              <a:chOff x="-1130169" y="966346"/>
              <a:chExt cx="3420000" cy="1156652"/>
            </a:xfrm>
          </p:grpSpPr>
          <p:sp>
            <p:nvSpPr>
              <p:cNvPr id="113" name="TextBox 112"/>
              <p:cNvSpPr txBox="1"/>
              <p:nvPr/>
            </p:nvSpPr>
            <p:spPr bwMode="auto">
              <a:xfrm>
                <a:off x="-815651" y="966346"/>
                <a:ext cx="968782" cy="24198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비즈니스 전략</a:t>
                </a:r>
              </a:p>
            </p:txBody>
          </p:sp>
          <p:cxnSp>
            <p:nvCxnSpPr>
              <p:cNvPr id="114" name="직선 연결선 113"/>
              <p:cNvCxnSpPr/>
              <p:nvPr/>
            </p:nvCxnSpPr>
            <p:spPr bwMode="auto">
              <a:xfrm>
                <a:off x="-1130169" y="1225406"/>
                <a:ext cx="342000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115" name="TextBox 114"/>
              <p:cNvSpPr txBox="1"/>
              <p:nvPr/>
            </p:nvSpPr>
            <p:spPr bwMode="auto">
              <a:xfrm>
                <a:off x="-1007210" y="1220837"/>
                <a:ext cx="3194070" cy="9021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b="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BC</a:t>
                </a:r>
                <a:r>
                  <a:rPr lang="ko-KR" altLang="en-US" sz="1100" b="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카드 차세대 시스템 </a:t>
                </a:r>
                <a:r>
                  <a:rPr lang="ko-KR" altLang="en-US" sz="1100" b="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마스터플랜 </a:t>
                </a:r>
                <a:r>
                  <a:rPr lang="en-US" altLang="ko-KR" sz="1100" b="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(‘16)</a:t>
                </a:r>
                <a:endParaRPr lang="en-US" altLang="ko-KR" sz="1100" b="0" dirty="0" smtClea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NH</a:t>
                </a:r>
                <a:r>
                  <a:rPr lang="ko-KR" altLang="en-US" sz="110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카드 차세대시스템 구축 마스터플랜 </a:t>
                </a:r>
                <a:r>
                  <a:rPr lang="en-US" altLang="ko-KR" sz="1100" dirty="0" smtClean="0">
                    <a:solidFill>
                      <a:sysClr val="windowText" lastClr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‘15)</a:t>
                </a:r>
                <a:endParaRPr lang="en-US" altLang="ko-KR" sz="1100" dirty="0" smtClean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ko-KR" altLang="en-US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현대카드 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법인고객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Lock-in 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전략 수립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5)</a:t>
                </a: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NH</a:t>
                </a:r>
                <a:r>
                  <a:rPr lang="ko-KR" altLang="en-US" sz="110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농협캐피탈</a:t>
                </a:r>
                <a:r>
                  <a:rPr lang="ko-KR" altLang="en-US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미국법인 설립 타당성 검토 </a:t>
                </a: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’15)</a:t>
                </a:r>
                <a:endPara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</p:grpSp>
        <p:grpSp>
          <p:nvGrpSpPr>
            <p:cNvPr id="96" name="그룹 95"/>
            <p:cNvGrpSpPr/>
            <p:nvPr/>
          </p:nvGrpSpPr>
          <p:grpSpPr>
            <a:xfrm>
              <a:off x="452780" y="1932638"/>
              <a:ext cx="2843013" cy="979261"/>
              <a:chOff x="-879810" y="1916790"/>
              <a:chExt cx="2843013" cy="979261"/>
            </a:xfrm>
          </p:grpSpPr>
          <p:sp>
            <p:nvSpPr>
              <p:cNvPr id="110" name="TextBox 109"/>
              <p:cNvSpPr txBox="1"/>
              <p:nvPr/>
            </p:nvSpPr>
            <p:spPr bwMode="auto">
              <a:xfrm>
                <a:off x="-879810" y="1916790"/>
                <a:ext cx="1122671" cy="24198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ko-KR" altLang="en-US" sz="110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리스크</a:t>
                </a:r>
                <a:r>
                  <a:rPr lang="en-US" altLang="ko-KR" sz="110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110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거버넌스</a:t>
                </a:r>
                <a:endPara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cxnSp>
            <p:nvCxnSpPr>
              <p:cNvPr id="111" name="직선 연결선 110"/>
              <p:cNvCxnSpPr/>
              <p:nvPr/>
            </p:nvCxnSpPr>
            <p:spPr bwMode="auto">
              <a:xfrm>
                <a:off x="-879810" y="2175850"/>
                <a:ext cx="262800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sp>
            <p:nvSpPr>
              <p:cNvPr id="112" name="TextBox 111"/>
              <p:cNvSpPr txBox="1"/>
              <p:nvPr/>
            </p:nvSpPr>
            <p:spPr bwMode="auto">
              <a:xfrm>
                <a:off x="-879810" y="2213950"/>
                <a:ext cx="2843013" cy="68210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BC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카드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IT </a:t>
                </a:r>
                <a:r>
                  <a:rPr lang="ko-KR" altLang="en-US" sz="1100" b="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거버넌스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개선 전략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’14) </a:t>
                </a: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하나카드 </a:t>
                </a:r>
                <a:r>
                  <a:rPr lang="ko-KR" altLang="en-US" sz="1100" b="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전사리스크관리시스템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구축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1)</a:t>
                </a:r>
              </a:p>
              <a:p>
                <a:pPr marL="90488" indent="-90488" latinLnBrk="0">
                  <a:spcBef>
                    <a:spcPct val="30000"/>
                  </a:spcBef>
                  <a:buFont typeface="Wingdings" pitchFamily="2" charset="2"/>
                  <a:buChar char="§"/>
                </a:pP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NH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농협은행 </a:t>
                </a:r>
                <a:r>
                  <a:rPr lang="ko-KR" altLang="en-US" sz="1100" b="0" dirty="0" err="1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리스크요소</a:t>
                </a:r>
                <a:r>
                  <a:rPr lang="ko-KR" altLang="en-US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 추정 </a:t>
                </a:r>
                <a:r>
                  <a:rPr lang="en-US" altLang="ko-KR" sz="1100" b="0" dirty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(‘15)</a:t>
                </a:r>
              </a:p>
            </p:txBody>
          </p:sp>
        </p:grpSp>
        <p:sp>
          <p:nvSpPr>
            <p:cNvPr id="97" name="TextBox 96"/>
            <p:cNvSpPr txBox="1"/>
            <p:nvPr/>
          </p:nvSpPr>
          <p:spPr bwMode="auto">
            <a:xfrm>
              <a:off x="488380" y="5328502"/>
              <a:ext cx="1454492" cy="2419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 통합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구축관리</a:t>
              </a:r>
            </a:p>
          </p:txBody>
        </p:sp>
        <p:cxnSp>
          <p:nvCxnSpPr>
            <p:cNvPr id="98" name="직선 연결선 97"/>
            <p:cNvCxnSpPr/>
            <p:nvPr/>
          </p:nvCxnSpPr>
          <p:spPr bwMode="auto">
            <a:xfrm>
              <a:off x="488379" y="5587562"/>
              <a:ext cx="596592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99" name="TextBox 98"/>
            <p:cNvSpPr txBox="1"/>
            <p:nvPr/>
          </p:nvSpPr>
          <p:spPr bwMode="auto">
            <a:xfrm>
              <a:off x="488380" y="5623954"/>
              <a:ext cx="3040182" cy="6821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하나외환카드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IT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통합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PMI PMO (‘15)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하나외환카드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IT 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통합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PMI MP (‘14) </a:t>
              </a:r>
            </a:p>
            <a:p>
              <a:pPr marL="90488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생명 차세대 정보계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ISP (‘14)</a:t>
              </a:r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3516687" y="5623954"/>
              <a:ext cx="3018457" cy="701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0488" lvl="0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농협생명 차세대시스템 구축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PMO (‘13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)</a:t>
              </a:r>
            </a:p>
            <a:p>
              <a:pPr marL="90488" lvl="0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우리은행 차세대 구축 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/>
                  <a:ea typeface="맑은 고딕"/>
                </a:rPr>
                <a:t>PMO (’16) </a:t>
              </a:r>
            </a:p>
            <a:p>
              <a:pPr marL="90488" lvl="0" indent="-90488" latinLnBrk="0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하나외환은행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IT</a:t>
              </a:r>
              <a:r>
                <a:rPr lang="ko-KR" altLang="en-US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시스템 통합 </a:t>
              </a:r>
              <a:r>
                <a:rPr lang="en-US" altLang="ko-KR" sz="1100" b="0" dirty="0">
                  <a:solidFill>
                    <a:srgbClr val="000000"/>
                  </a:solidFill>
                  <a:latin typeface="맑은 고딕"/>
                  <a:ea typeface="맑은 고딕"/>
                </a:rPr>
                <a:t>PMI PMO (’16)</a:t>
              </a:r>
            </a:p>
          </p:txBody>
        </p:sp>
        <p:pic>
          <p:nvPicPr>
            <p:cNvPr id="101" name="그림 10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64703" y="2536528"/>
              <a:ext cx="3189600" cy="2625686"/>
            </a:xfrm>
            <a:prstGeom prst="rect">
              <a:avLst/>
            </a:prstGeom>
          </p:spPr>
        </p:pic>
        <p:cxnSp>
          <p:nvCxnSpPr>
            <p:cNvPr id="102" name="직선 연결선 101"/>
            <p:cNvCxnSpPr/>
            <p:nvPr/>
          </p:nvCxnSpPr>
          <p:spPr bwMode="auto">
            <a:xfrm>
              <a:off x="3074454" y="2191698"/>
              <a:ext cx="648000" cy="133200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3" name="직선 연결선 102"/>
            <p:cNvCxnSpPr/>
            <p:nvPr/>
          </p:nvCxnSpPr>
          <p:spPr bwMode="auto">
            <a:xfrm>
              <a:off x="3146348" y="3755680"/>
              <a:ext cx="576000" cy="28372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4" name="직선 연결선 103"/>
            <p:cNvCxnSpPr/>
            <p:nvPr/>
          </p:nvCxnSpPr>
          <p:spPr bwMode="auto">
            <a:xfrm flipV="1">
              <a:off x="3195909" y="4600210"/>
              <a:ext cx="333129" cy="99000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5" name="직선 연결선 104"/>
            <p:cNvCxnSpPr/>
            <p:nvPr/>
          </p:nvCxnSpPr>
          <p:spPr bwMode="auto">
            <a:xfrm flipH="1" flipV="1">
              <a:off x="5527032" y="5097884"/>
              <a:ext cx="1161090" cy="421861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6" name="직선 연결선 105"/>
            <p:cNvCxnSpPr/>
            <p:nvPr/>
          </p:nvCxnSpPr>
          <p:spPr bwMode="auto">
            <a:xfrm flipH="1">
              <a:off x="6225648" y="1379235"/>
              <a:ext cx="295892" cy="154570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7" name="직선 연결선 106"/>
            <p:cNvCxnSpPr/>
            <p:nvPr/>
          </p:nvCxnSpPr>
          <p:spPr bwMode="auto">
            <a:xfrm flipH="1">
              <a:off x="6353507" y="1997050"/>
              <a:ext cx="242315" cy="87428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8" name="직선 연결선 107"/>
            <p:cNvCxnSpPr/>
            <p:nvPr/>
          </p:nvCxnSpPr>
          <p:spPr bwMode="auto">
            <a:xfrm flipH="1">
              <a:off x="6181827" y="3242452"/>
              <a:ext cx="550330" cy="28817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09" name="직선 연결선 108"/>
            <p:cNvCxnSpPr/>
            <p:nvPr/>
          </p:nvCxnSpPr>
          <p:spPr bwMode="auto">
            <a:xfrm flipH="1">
              <a:off x="5974698" y="4426575"/>
              <a:ext cx="771010" cy="31326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47228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1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896763"/>
              </p:ext>
            </p:extLst>
          </p:nvPr>
        </p:nvGraphicFramePr>
        <p:xfrm>
          <a:off x="379043" y="1299559"/>
          <a:ext cx="9147914" cy="4953289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5786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767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련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</a:t>
                      </a:r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ster Plan </a:t>
                      </a: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구축을 위한 </a:t>
                      </a:r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P </a:t>
                      </a: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2016.01 ~ 2016.06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수익성분석시스템 수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업점의 수수료체계를 반영하여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상품수익성분석시스템 수정</a:t>
                      </a:r>
                      <a:r>
                        <a:rPr lang="ko-KR" altLang="en-US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8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6.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222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고객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수료율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체계 개편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신용카드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고객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수료율에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대한 감독기관 요건 반영 및 산출 체계 개선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.08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.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고객금리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산출체계 개선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회원 대상 산출체계 개선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.06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품수익성 분석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카드 상품수익성 분석 및 상품손익 목표관리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2.09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 1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2222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카드</a:t>
                      </a:r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b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1~3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은행 및 카드의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</a:t>
                      </a:r>
                      <a:r>
                        <a:rPr lang="en-US" altLang="ko-KR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br>
                        <a:rPr lang="en-US" altLang="ko-KR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KB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국민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용평가시스템 모형 검증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신용평가시스템 모형 진단 요건 도출 및 개선기회 도출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8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2222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KB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국민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 연회비 체계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 연회비 구축방향 수립 및 적용방안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5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2222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거버넌스 개선 전략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거버넌스 체계의 적정성 진단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조직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력 적정성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웃소싱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적정성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4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2222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표준서비스 가격체계 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표준 서비스 기반 가격 체계 요건 재 정의 및</a:t>
                      </a:r>
                    </a:p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imulatio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모델 정의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3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8854132" y="4208420"/>
            <a:ext cx="320083" cy="288000"/>
            <a:chOff x="3109" y="1896"/>
            <a:chExt cx="369" cy="316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54132" y="5483324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20" name="Group 4"/>
          <p:cNvGrpSpPr>
            <a:grpSpLocks noChangeAspect="1"/>
          </p:cNvGrpSpPr>
          <p:nvPr/>
        </p:nvGrpSpPr>
        <p:grpSpPr bwMode="auto">
          <a:xfrm>
            <a:off x="8857509" y="2060848"/>
            <a:ext cx="320083" cy="288000"/>
            <a:chOff x="3109" y="1896"/>
            <a:chExt cx="369" cy="316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8330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및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제 환경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익성 </a:t>
            </a:r>
            <a:r>
              <a:rPr lang="ko-KR" altLang="en-US" dirty="0" smtClean="0"/>
              <a:t>정체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내용 개체 틀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카드 산업의 수익성이 시장 성숙 및 규제에 따라 구조적으로 </a:t>
            </a:r>
            <a:r>
              <a:rPr lang="ko-KR" altLang="en-US" dirty="0" smtClean="0"/>
              <a:t>정체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되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있음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933690" y="1857016"/>
            <a:ext cx="2287665" cy="2844000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 대란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2" name="사각형 설명선 121"/>
          <p:cNvSpPr/>
          <p:nvPr/>
        </p:nvSpPr>
        <p:spPr>
          <a:xfrm>
            <a:off x="1094964" y="4812940"/>
            <a:ext cx="1944000" cy="1332000"/>
          </a:xfrm>
          <a:prstGeom prst="wedgeRectCallout">
            <a:avLst>
              <a:gd name="adj1" fmla="val -22167"/>
              <a:gd name="adj2" fmla="val -60244"/>
            </a:avLst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ko-KR" altLang="en-US" sz="1400" kern="0" dirty="0" smtClean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관리 실패로 인한 유동성 위기</a:t>
            </a:r>
            <a:endParaRPr lang="en-US" altLang="ko-KR" sz="1400" kern="0" dirty="0" smtClean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론 및 현금서비스 위주 수익 창출 구조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무분별한 카드 발급 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3" name="직사각형 122"/>
          <p:cNvSpPr/>
          <p:nvPr/>
        </p:nvSpPr>
        <p:spPr>
          <a:xfrm>
            <a:off x="6280923" y="1857016"/>
            <a:ext cx="2887141" cy="2844000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 규제 강화 및 성숙기 진입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3313179" y="1857016"/>
            <a:ext cx="1088283" cy="2844000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판 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Drive”</a:t>
            </a: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5" name="사각형 설명선 124"/>
          <p:cNvSpPr/>
          <p:nvPr/>
        </p:nvSpPr>
        <p:spPr>
          <a:xfrm>
            <a:off x="3226107" y="4812940"/>
            <a:ext cx="1944000" cy="1332000"/>
          </a:xfrm>
          <a:prstGeom prst="wedgeRectCallout">
            <a:avLst>
              <a:gd name="adj1" fmla="val -22575"/>
              <a:gd name="adj2" fmla="val -62036"/>
            </a:avLst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ko-KR" altLang="en-US" sz="1400" kern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용판매 중심 </a:t>
            </a:r>
            <a:r>
              <a:rPr lang="en-US" altLang="ko-KR" sz="1400" kern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400" kern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400" kern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업 구조 변경</a:t>
            </a:r>
            <a:endParaRPr lang="en-US" altLang="ko-KR" sz="1400" kern="0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용카드 결제 영역 확대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관리 강화를 통한 대손 비용 감소</a:t>
            </a: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4530552" y="1857016"/>
            <a:ext cx="1608454" cy="2844000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글로벌 금융 위기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7" name="사각형 설명선 126"/>
          <p:cNvSpPr/>
          <p:nvPr/>
        </p:nvSpPr>
        <p:spPr>
          <a:xfrm>
            <a:off x="5351522" y="4812940"/>
            <a:ext cx="1944000" cy="1332000"/>
          </a:xfrm>
          <a:prstGeom prst="wedgeRectCallout">
            <a:avLst>
              <a:gd name="adj1" fmla="val -23737"/>
              <a:gd name="adj2" fmla="val -64724"/>
            </a:avLst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ko-KR" altLang="en-US" sz="1400" kern="0" dirty="0">
                <a:solidFill>
                  <a:srgbClr val="1D1F6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품 혜택 강화 등 마케팅 비용 증가</a:t>
            </a:r>
            <a:endParaRPr lang="en-US" altLang="ko-KR" sz="1400" kern="0" dirty="0">
              <a:solidFill>
                <a:srgbClr val="1D1F6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규 회원 모집을 위한 모집비용 증가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90000" indent="-72000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ll-in-One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 출시 등 상품 혜택 강화</a:t>
            </a:r>
            <a:endParaRPr lang="en-US" altLang="ko-KR" sz="12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128" name="개체 127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774602" y="1971315"/>
          <a:ext cx="8534310" cy="223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" name="Chart" r:id="rId41" imgW="8534451" imgH="2238289" progId="MSGraph.Chart.8">
                  <p:embed followColorScheme="full"/>
                </p:oleObj>
              </mc:Choice>
              <mc:Fallback>
                <p:oleObj name="Chart" r:id="rId41" imgW="8534451" imgH="22382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774602" y="1971315"/>
                        <a:ext cx="8534310" cy="2238300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9" name="자유형 128"/>
          <p:cNvSpPr/>
          <p:nvPr>
            <p:custDataLst>
              <p:tags r:id="rId3"/>
            </p:custDataLst>
          </p:nvPr>
        </p:nvSpPr>
        <p:spPr bwMode="auto">
          <a:xfrm>
            <a:off x="2755802" y="4001729"/>
            <a:ext cx="412751" cy="79376"/>
          </a:xfrm>
          <a:custGeom>
            <a:avLst/>
            <a:gdLst/>
            <a:ahLst/>
            <a:cxnLst/>
            <a:rect l="0" t="0" r="0" b="0"/>
            <a:pathLst>
              <a:path w="412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solidFill>
            <a:srgbClr val="36408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 useBgFill="1">
        <p:nvSpPr>
          <p:cNvPr id="130" name="자유형 129"/>
          <p:cNvSpPr/>
          <p:nvPr>
            <p:custDataLst>
              <p:tags r:id="rId4"/>
            </p:custDataLst>
          </p:nvPr>
        </p:nvSpPr>
        <p:spPr bwMode="auto">
          <a:xfrm>
            <a:off x="807940" y="3993791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solidFill>
            <a:srgbClr val="36408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 useBgFill="1">
        <p:nvSpPr>
          <p:cNvPr id="131" name="자유형 130"/>
          <p:cNvSpPr/>
          <p:nvPr>
            <p:custDataLst>
              <p:tags r:id="rId5"/>
            </p:custDataLst>
          </p:nvPr>
        </p:nvSpPr>
        <p:spPr bwMode="auto">
          <a:xfrm>
            <a:off x="9135965" y="3993791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solidFill>
            <a:srgbClr val="36408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 useBgFill="1">
        <p:nvSpPr>
          <p:cNvPr id="132" name="자유형 131"/>
          <p:cNvSpPr/>
          <p:nvPr>
            <p:custDataLst>
              <p:tags r:id="rId6"/>
            </p:custDataLst>
          </p:nvPr>
        </p:nvSpPr>
        <p:spPr bwMode="auto">
          <a:xfrm>
            <a:off x="2184302" y="4001729"/>
            <a:ext cx="742951" cy="79376"/>
          </a:xfrm>
          <a:custGeom>
            <a:avLst/>
            <a:gdLst/>
            <a:ahLst/>
            <a:cxnLst/>
            <a:rect l="0" t="0" r="0" b="0"/>
            <a:pathLst>
              <a:path w="7429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solidFill>
            <a:srgbClr val="36408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33" name="자유형 132"/>
          <p:cNvSpPr/>
          <p:nvPr>
            <p:custDataLst>
              <p:tags r:id="rId7"/>
            </p:custDataLst>
          </p:nvPr>
        </p:nvSpPr>
        <p:spPr bwMode="auto">
          <a:xfrm>
            <a:off x="2184302" y="4001729"/>
            <a:ext cx="742951" cy="22226"/>
          </a:xfrm>
          <a:custGeom>
            <a:avLst/>
            <a:gdLst/>
            <a:ahLst/>
            <a:cxnLst/>
            <a:rect l="0" t="0" r="0" b="0"/>
            <a:pathLst>
              <a:path w="7429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</a:path>
            </a:pathLst>
          </a:custGeom>
          <a:noFill/>
          <a:ln w="9525" cap="flat" cmpd="sng" algn="ctr">
            <a:solidFill>
              <a:srgbClr val="9B171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자유형 133"/>
          <p:cNvSpPr/>
          <p:nvPr>
            <p:custDataLst>
              <p:tags r:id="rId8"/>
            </p:custDataLst>
          </p:nvPr>
        </p:nvSpPr>
        <p:spPr bwMode="auto">
          <a:xfrm>
            <a:off x="2755802" y="4058879"/>
            <a:ext cx="412751" cy="22226"/>
          </a:xfrm>
          <a:custGeom>
            <a:avLst/>
            <a:gdLst/>
            <a:ahLst/>
            <a:cxnLst/>
            <a:rect l="0" t="0" r="0" b="0"/>
            <a:pathLst>
              <a:path w="412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자유형 134"/>
          <p:cNvSpPr/>
          <p:nvPr>
            <p:custDataLst>
              <p:tags r:id="rId9"/>
            </p:custDataLst>
          </p:nvPr>
        </p:nvSpPr>
        <p:spPr bwMode="auto">
          <a:xfrm>
            <a:off x="2755802" y="4001729"/>
            <a:ext cx="412751" cy="22226"/>
          </a:xfrm>
          <a:custGeom>
            <a:avLst/>
            <a:gdLst/>
            <a:ahLst/>
            <a:cxnLst/>
            <a:rect l="0" t="0" r="0" b="0"/>
            <a:pathLst>
              <a:path w="412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자유형 135"/>
          <p:cNvSpPr/>
          <p:nvPr>
            <p:custDataLst>
              <p:tags r:id="rId10"/>
            </p:custDataLst>
          </p:nvPr>
        </p:nvSpPr>
        <p:spPr bwMode="auto">
          <a:xfrm>
            <a:off x="807940" y="405094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자유형 136"/>
          <p:cNvSpPr/>
          <p:nvPr>
            <p:custDataLst>
              <p:tags r:id="rId11"/>
            </p:custDataLst>
          </p:nvPr>
        </p:nvSpPr>
        <p:spPr bwMode="auto">
          <a:xfrm>
            <a:off x="807940" y="399379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자유형 137"/>
          <p:cNvSpPr/>
          <p:nvPr>
            <p:custDataLst>
              <p:tags r:id="rId12"/>
            </p:custDataLst>
          </p:nvPr>
        </p:nvSpPr>
        <p:spPr bwMode="auto">
          <a:xfrm>
            <a:off x="9135965" y="4050941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자유형 138"/>
          <p:cNvSpPr/>
          <p:nvPr>
            <p:custDataLst>
              <p:tags r:id="rId13"/>
            </p:custDataLst>
          </p:nvPr>
        </p:nvSpPr>
        <p:spPr bwMode="auto">
          <a:xfrm>
            <a:off x="9066684" y="3993791"/>
            <a:ext cx="284612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자유형 139"/>
          <p:cNvSpPr/>
          <p:nvPr>
            <p:custDataLst>
              <p:tags r:id="rId14"/>
            </p:custDataLst>
          </p:nvPr>
        </p:nvSpPr>
        <p:spPr bwMode="auto">
          <a:xfrm>
            <a:off x="2184302" y="4058879"/>
            <a:ext cx="742951" cy="22226"/>
          </a:xfrm>
          <a:custGeom>
            <a:avLst/>
            <a:gdLst/>
            <a:ahLst/>
            <a:cxnLst/>
            <a:rect l="0" t="0" r="0" b="0"/>
            <a:pathLst>
              <a:path w="7429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</a:path>
            </a:pathLst>
          </a:custGeom>
          <a:noFill/>
          <a:ln w="9525" cap="flat" cmpd="sng" algn="ctr">
            <a:solidFill>
              <a:srgbClr val="9B171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1" name="텍스트 개체 틀 3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745065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0D236CD2-9391-46CA-948D-D231BAEBE420}" type="datetime'''''''''''''''''''''’0''9''년''''''''''''''''''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9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2" name="텍스트 개체 틀 3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49752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E3866BEC-004F-4A96-A140-27D335537A09}" type="datetime'''''''''''''''''''’''''''0''''''''''''''8''년''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8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3" name="텍스트 개체 틀 2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554440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E313D36F-E2FB-4DD9-ABD7-E18F0AAE0533}" type="datetime'''’0''''''''''7''''''''''''''''''''''''''년''''''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7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4" name="텍스트 개체 틀 2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59127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FB644DEF-11D8-4F74-980B-8850E3C42779}" type="datetime'''''''''''''''''''''''''''''’0''''''''''''''6''''''''''''년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6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5" name="텍스트 개체 틀 27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63815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DA342A31-EC7B-4DB4-822E-61D815B00DEC}" type="datetime'''''''''''’''0''''''''''''''''''''''''''''''''5년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5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 useBgFill="1">
        <p:nvSpPr>
          <p:cNvPr id="146" name="텍스트 개체 틀 7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416202" y="2823804"/>
            <a:ext cx="261938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B670FFFD-FA9D-434F-BC77-0E5A19CA961D}" type="datetime'''''''''''''''''''''''''-''''''''2.''''''''6''''''''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-2.6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7" name="텍스트 개체 틀 2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68502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4D520A14-6A70-4A4A-8BE8-6320FE2C4046}" type="datetime'''''''''''''''''''''''''''’04''년''''''''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4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48" name="텍스트 개체 틀 65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82790" y="4120791"/>
            <a:ext cx="346075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D0111790-2FAE-4A0E-8154-2A2FF7481625}" type="datetime'''''-''7''''''7''''''''''.''''5''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-77.5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 useBgFill="1">
        <p:nvSpPr>
          <p:cNvPr id="149" name="텍스트 개체 틀 5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782790" y="3709629"/>
            <a:ext cx="346075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54F438CF-FE9D-4A02-9C4C-5FDAA76B3050}" type="datetime'''''''''''''''''-3''7''''''''''''''''''''''.''''1''''''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-37.1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0" name="텍스트 개체 틀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73190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9ED44D30-41EC-4A0D-8FD8-E303EBE4A551}" type="datetime'''''''’''0''''''''''3''''''''''''''''''''년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3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 useBgFill="1">
        <p:nvSpPr>
          <p:cNvPr id="151" name="텍스트 개체 틀 50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182715" y="3842979"/>
            <a:ext cx="346075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2B03BBA6-1EB5-4637-B441-F1EB3E2669C4}" type="datetime'''''''''''''-''6''''''3''''.''''''8''''''''''''''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-63.8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2" name="텍스트 개체 틀 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577877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89899194-34A5-4CEA-A6EA-BC4E95D4F504}" type="datetime'''''''''''’''''''''''''''''0''2''''''''''''년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2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 useBgFill="1">
        <p:nvSpPr>
          <p:cNvPr id="153" name="텍스트 개체 틀 49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92165" y="3242904"/>
            <a:ext cx="346075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994009ED-7AC9-4DD9-97E1-EABEDBA36461}" type="datetime'''''''''''''''''''''''''-''''''1''''8''.''''''''9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-18.9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4" name="텍스트 개체 틀 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82565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220B1DED-8D6B-4151-B8AA-B7AFA26DF1AD}" type="datetime'''''''''''’''''''''0''''''''''1''''''''''''''''''''''''년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01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 useBgFill="1">
        <p:nvSpPr>
          <p:cNvPr id="155" name="텍스트 개체 틀 70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22252" y="2571391"/>
            <a:ext cx="295275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11215CC8-5A29-4F29-A962-CD283021131B}" type="datetime'''''4''''''9''.''''''''''''2'''''''''''''">
              <a:rPr lang="en-US" altLang="ko-KR" sz="12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49.2</a:t>
            </a:fld>
            <a:endParaRPr lang="ko-KR" altLang="en-US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6" name="텍스트 개체 틀 3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0377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9FDFA9A6-94F5-4936-AB58-4ED91D11BEC4}" type="datetime'''''’''''''''''10''''''''''''''''''''''''''''''''''년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10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7" name="텍스트 개체 틀 4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721627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B3F12762-A493-4DF6-B35B-16DC5A15A7B1}" type="datetime'''’1''''''4''''''''년''''''''''''''''''''''''''''''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14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8" name="텍스트 개체 틀 41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126315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7293CA8E-0910-427F-9545-0A1CB5B233BF}" type="datetime'''''''''''''''''''''''''’1''3''년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13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59" name="텍스트 개체 틀 3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531002" y="4425591"/>
            <a:ext cx="376238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40CC0C2D-231B-47D3-A3FA-853356B25EE5}" type="datetime'''''’''''''''''''1''''''''2''''''년''''''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12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60" name="텍스트 개체 틀 3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858532" y="4425591"/>
            <a:ext cx="448633" cy="1651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D3780A65-C7B3-4636-B987-1A2B6B8C66DA}" type="datetime'’''1''''''1''''''''''년'''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algn="ctr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’11년</a:t>
            </a:fld>
            <a:endParaRPr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cxnSp>
        <p:nvCxnSpPr>
          <p:cNvPr id="161" name="직선 연결선 160"/>
          <p:cNvCxnSpPr/>
          <p:nvPr>
            <p:custDataLst>
              <p:tags r:id="rId35"/>
            </p:custDataLst>
          </p:nvPr>
        </p:nvCxnSpPr>
        <p:spPr bwMode="gray">
          <a:xfrm>
            <a:off x="7733158" y="1562125"/>
            <a:ext cx="285750" cy="0"/>
          </a:xfrm>
          <a:prstGeom prst="line">
            <a:avLst/>
          </a:prstGeom>
          <a:noFill/>
          <a:ln w="19050" cap="flat" cmpd="sng" algn="ctr">
            <a:solidFill>
              <a:srgbClr val="9B171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62" name="직사각형 161"/>
          <p:cNvSpPr/>
          <p:nvPr>
            <p:custDataLst>
              <p:tags r:id="rId36"/>
            </p:custDataLst>
          </p:nvPr>
        </p:nvSpPr>
        <p:spPr bwMode="auto">
          <a:xfrm>
            <a:off x="8912670" y="1495450"/>
            <a:ext cx="179387" cy="133350"/>
          </a:xfrm>
          <a:prstGeom prst="rect">
            <a:avLst/>
          </a:prstGeom>
          <a:solidFill>
            <a:srgbClr val="ADABA1"/>
          </a:solidFill>
          <a:ln w="952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63" name="타원 162"/>
          <p:cNvSpPr/>
          <p:nvPr>
            <p:custDataLst>
              <p:tags r:id="rId37"/>
            </p:custDataLst>
          </p:nvPr>
        </p:nvSpPr>
        <p:spPr bwMode="auto">
          <a:xfrm>
            <a:off x="7833170" y="1519263"/>
            <a:ext cx="85725" cy="85725"/>
          </a:xfrm>
          <a:prstGeom prst="ellipse">
            <a:avLst/>
          </a:prstGeom>
          <a:solidFill>
            <a:srgbClr val="9B1717"/>
          </a:solidFill>
          <a:ln w="9525" cap="flat" cmpd="sng" algn="ctr">
            <a:solidFill>
              <a:srgbClr val="9B171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ko-KR" altLang="en-US" sz="1400" b="0" kern="0" dirty="0" err="1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64" name="텍스트 개체 틀 47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142858" y="1492275"/>
            <a:ext cx="274638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5B2A1B1B-66AB-4979-9493-A69C82263F30}" type="datetime'''''''''''''''''''''''''''R''''''''O''E'''''''''''">
              <a:rPr lang="en-US" altLang="ko-KR" sz="10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ROE</a:t>
            </a:fld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65" name="텍스트 개체 틀 48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69708" y="1492275"/>
            <a:ext cx="6350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0" latinLnBrk="0" hangingPunct="0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10896" indent="-128016" algn="l" defTabSz="914400" rtl="0" eaLnBrk="0" latin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89600" indent="-180000" algn="l" defTabSz="914400" rtl="0" eaLnBrk="0" latinLnBrk="0" hangingPunct="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33600" indent="-137160" algn="l" defTabSz="914400" rtl="0" eaLnBrk="0" latinLnBrk="0" hangingPunct="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70400" indent="-136800" algn="l" defTabSz="914400" rtl="0" eaLnBrk="0" latinLnBrk="0" hangingPunct="0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</a:pPr>
            <a:fld id="{C2DCE46B-DF09-4F67-8967-F009CACD8B60}" type="datetime'''''''''''''영''''''업''''이익률'''''''">
              <a:rPr lang="en-US" altLang="ko-KR" sz="1000" b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Arial" panose="020B0604020202020204" pitchFamily="34" charset="0"/>
              </a:rPr>
              <a:pPr marL="0" indent="0" fontAlgn="auto"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</a:pPr>
              <a:t>영업이익률</a:t>
            </a:fld>
            <a:endParaRPr lang="ko-KR" altLang="en-US" sz="10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Arial" panose="020B0604020202020204" pitchFamily="34" charset="0"/>
            </a:endParaRPr>
          </a:p>
        </p:txBody>
      </p:sp>
      <p:sp>
        <p:nvSpPr>
          <p:cNvPr id="167" name="Freeform 928"/>
          <p:cNvSpPr>
            <a:spLocks/>
          </p:cNvSpPr>
          <p:nvPr/>
        </p:nvSpPr>
        <p:spPr bwMode="auto">
          <a:xfrm rot="439717">
            <a:off x="4856099" y="2943702"/>
            <a:ext cx="3891177" cy="286224"/>
          </a:xfrm>
          <a:custGeom>
            <a:avLst/>
            <a:gdLst>
              <a:gd name="T0" fmla="*/ 0 w 3904"/>
              <a:gd name="T1" fmla="*/ 2147483647 h 511"/>
              <a:gd name="T2" fmla="*/ 2147483647 w 3904"/>
              <a:gd name="T3" fmla="*/ 2147483647 h 511"/>
              <a:gd name="T4" fmla="*/ 2147483647 w 3904"/>
              <a:gd name="T5" fmla="*/ 0 h 511"/>
              <a:gd name="T6" fmla="*/ 2147483647 w 3904"/>
              <a:gd name="T7" fmla="*/ 2147483647 h 511"/>
              <a:gd name="T8" fmla="*/ 2147483647 w 3904"/>
              <a:gd name="T9" fmla="*/ 2147483647 h 511"/>
              <a:gd name="T10" fmla="*/ 2147483647 w 3904"/>
              <a:gd name="T11" fmla="*/ 2147483647 h 511"/>
              <a:gd name="T12" fmla="*/ 0 w 3904"/>
              <a:gd name="T13" fmla="*/ 2147483647 h 5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904"/>
              <a:gd name="T22" fmla="*/ 0 h 511"/>
              <a:gd name="T23" fmla="*/ 3904 w 3904"/>
              <a:gd name="T24" fmla="*/ 511 h 5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904" h="511">
                <a:moveTo>
                  <a:pt x="0" y="244"/>
                </a:moveTo>
                <a:lnTo>
                  <a:pt x="3400" y="133"/>
                </a:lnTo>
                <a:lnTo>
                  <a:pt x="3400" y="0"/>
                </a:lnTo>
                <a:lnTo>
                  <a:pt x="3904" y="252"/>
                </a:lnTo>
                <a:lnTo>
                  <a:pt x="3415" y="511"/>
                </a:lnTo>
                <a:lnTo>
                  <a:pt x="3415" y="355"/>
                </a:lnTo>
                <a:lnTo>
                  <a:pt x="0" y="244"/>
                </a:lnTo>
                <a:close/>
              </a:path>
            </a:pathLst>
          </a:custGeom>
          <a:solidFill>
            <a:schemeClr val="accent1">
              <a:lumMod val="75000"/>
              <a:alpha val="20000"/>
            </a:schemeClr>
          </a:solidFill>
          <a:ln>
            <a:noFill/>
          </a:ln>
          <a:extLst/>
        </p:spPr>
        <p:txBody>
          <a:bodyPr lIns="45720" tIns="91440" rIns="45720" bIns="9144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800" b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8" name="Freeform 932"/>
          <p:cNvSpPr>
            <a:spLocks/>
          </p:cNvSpPr>
          <p:nvPr/>
        </p:nvSpPr>
        <p:spPr bwMode="auto">
          <a:xfrm rot="400015">
            <a:off x="3432476" y="2693657"/>
            <a:ext cx="779519" cy="816505"/>
          </a:xfrm>
          <a:custGeom>
            <a:avLst/>
            <a:gdLst>
              <a:gd name="T0" fmla="*/ 0 w 1674"/>
              <a:gd name="T1" fmla="*/ 2147483647 h 1656"/>
              <a:gd name="T2" fmla="*/ 2147483647 w 1674"/>
              <a:gd name="T3" fmla="*/ 2147483647 h 1656"/>
              <a:gd name="T4" fmla="*/ 2147483647 w 1674"/>
              <a:gd name="T5" fmla="*/ 2147483647 h 1656"/>
              <a:gd name="T6" fmla="*/ 2147483647 w 1674"/>
              <a:gd name="T7" fmla="*/ 0 h 1656"/>
              <a:gd name="T8" fmla="*/ 2147483647 w 1674"/>
              <a:gd name="T9" fmla="*/ 2147483647 h 1656"/>
              <a:gd name="T10" fmla="*/ 2147483647 w 1674"/>
              <a:gd name="T11" fmla="*/ 2147483647 h 1656"/>
              <a:gd name="T12" fmla="*/ 0 w 1674"/>
              <a:gd name="T13" fmla="*/ 2147483647 h 16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74"/>
              <a:gd name="T22" fmla="*/ 0 h 1656"/>
              <a:gd name="T23" fmla="*/ 1674 w 1674"/>
              <a:gd name="T24" fmla="*/ 1656 h 16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74" h="1656">
                <a:moveTo>
                  <a:pt x="0" y="1656"/>
                </a:moveTo>
                <a:lnTo>
                  <a:pt x="1158" y="264"/>
                </a:lnTo>
                <a:lnTo>
                  <a:pt x="1044" y="156"/>
                </a:lnTo>
                <a:lnTo>
                  <a:pt x="1674" y="0"/>
                </a:lnTo>
                <a:lnTo>
                  <a:pt x="1518" y="636"/>
                </a:lnTo>
                <a:lnTo>
                  <a:pt x="1404" y="522"/>
                </a:lnTo>
                <a:lnTo>
                  <a:pt x="0" y="1656"/>
                </a:lnTo>
                <a:close/>
              </a:path>
            </a:pathLst>
          </a:custGeom>
          <a:solidFill>
            <a:schemeClr val="accent1">
              <a:lumMod val="75000"/>
              <a:alpha val="20000"/>
            </a:schemeClr>
          </a:solidFill>
          <a:ln>
            <a:noFill/>
          </a:ln>
          <a:extLst/>
        </p:spPr>
        <p:txBody>
          <a:bodyPr lIns="45720" tIns="91440" rIns="45720" bIns="9144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800" b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9" name="Freeform 932"/>
          <p:cNvSpPr>
            <a:spLocks/>
          </p:cNvSpPr>
          <p:nvPr/>
        </p:nvSpPr>
        <p:spPr bwMode="auto">
          <a:xfrm rot="4353952">
            <a:off x="1164044" y="2422305"/>
            <a:ext cx="1982210" cy="1095775"/>
          </a:xfrm>
          <a:custGeom>
            <a:avLst/>
            <a:gdLst>
              <a:gd name="T0" fmla="*/ 0 w 1674"/>
              <a:gd name="T1" fmla="*/ 2147483647 h 1656"/>
              <a:gd name="T2" fmla="*/ 2147483647 w 1674"/>
              <a:gd name="T3" fmla="*/ 2147483647 h 1656"/>
              <a:gd name="T4" fmla="*/ 2147483647 w 1674"/>
              <a:gd name="T5" fmla="*/ 2147483647 h 1656"/>
              <a:gd name="T6" fmla="*/ 2147483647 w 1674"/>
              <a:gd name="T7" fmla="*/ 0 h 1656"/>
              <a:gd name="T8" fmla="*/ 2147483647 w 1674"/>
              <a:gd name="T9" fmla="*/ 2147483647 h 1656"/>
              <a:gd name="T10" fmla="*/ 2147483647 w 1674"/>
              <a:gd name="T11" fmla="*/ 2147483647 h 1656"/>
              <a:gd name="T12" fmla="*/ 0 w 1674"/>
              <a:gd name="T13" fmla="*/ 2147483647 h 16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74"/>
              <a:gd name="T22" fmla="*/ 0 h 1656"/>
              <a:gd name="T23" fmla="*/ 1674 w 1674"/>
              <a:gd name="T24" fmla="*/ 1656 h 16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74" h="1656">
                <a:moveTo>
                  <a:pt x="0" y="1656"/>
                </a:moveTo>
                <a:lnTo>
                  <a:pt x="1158" y="264"/>
                </a:lnTo>
                <a:lnTo>
                  <a:pt x="1044" y="156"/>
                </a:lnTo>
                <a:lnTo>
                  <a:pt x="1674" y="0"/>
                </a:lnTo>
                <a:lnTo>
                  <a:pt x="1518" y="636"/>
                </a:lnTo>
                <a:lnTo>
                  <a:pt x="1404" y="522"/>
                </a:lnTo>
                <a:lnTo>
                  <a:pt x="0" y="1656"/>
                </a:lnTo>
                <a:close/>
              </a:path>
            </a:pathLst>
          </a:custGeom>
          <a:solidFill>
            <a:schemeClr val="accent1">
              <a:lumMod val="75000"/>
              <a:alpha val="20000"/>
            </a:schemeClr>
          </a:solidFill>
          <a:ln>
            <a:noFill/>
          </a:ln>
          <a:extLst/>
        </p:spPr>
        <p:txBody>
          <a:bodyPr lIns="45720" tIns="91440" rIns="45720" bIns="9144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800" b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 bwMode="auto">
          <a:xfrm>
            <a:off x="3423996" y="1398262"/>
            <a:ext cx="3004596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marL="90488" indent="-90488" latinLnBrk="0">
              <a:spcBef>
                <a:spcPct val="30000"/>
              </a:spcBef>
            </a:pPr>
            <a:r>
              <a:rPr lang="ko-KR" altLang="en-US" sz="1400" dirty="0">
                <a:solidFill>
                  <a:srgbClr val="000000"/>
                </a:solidFill>
                <a:latin typeface="맑은 고딕"/>
                <a:ea typeface="맑은 고딕"/>
              </a:rPr>
              <a:t>국내 신용카드 산업 수익성 추이 </a:t>
            </a:r>
            <a:r>
              <a:rPr lang="en-US" altLang="ko-KR" sz="1400" dirty="0">
                <a:solidFill>
                  <a:srgbClr val="000000"/>
                </a:solidFill>
                <a:latin typeface="맑은 고딕"/>
                <a:ea typeface="맑은 고딕"/>
              </a:rPr>
              <a:t>(%)</a:t>
            </a:r>
          </a:p>
        </p:txBody>
      </p:sp>
      <p:sp>
        <p:nvSpPr>
          <p:cNvPr id="63" name="Line 75"/>
          <p:cNvSpPr>
            <a:spLocks noChangeShapeType="1"/>
          </p:cNvSpPr>
          <p:nvPr/>
        </p:nvSpPr>
        <p:spPr bwMode="auto">
          <a:xfrm>
            <a:off x="453000" y="1742723"/>
            <a:ext cx="9000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7753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2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83792"/>
              </p:ext>
            </p:extLst>
          </p:nvPr>
        </p:nvGraphicFramePr>
        <p:xfrm>
          <a:off x="379043" y="1299559"/>
          <a:ext cx="9147914" cy="5009761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련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4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하나∙외환카드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용카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업그레이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카드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외환카드 합병에 따른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통합 컨설팅 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8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4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하나∙외환카드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하나카드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외환카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I MP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카드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외환카드 합병에 따른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통합 마스터플랜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3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O (IT Outsourcing)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략 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업무 분석 통한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웃소싱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업무 도출 및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소싱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전략 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5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9</a:t>
                      </a:r>
                    </a:p>
                  </a:txBody>
                  <a:tcPr marL="72000" marR="72000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4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리스크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관리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리스크관리시스템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구축 업무요건 정의 및 구축 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현대카드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법인고객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Lock-in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전략 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법인고객 신규 서비스 및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Lock-i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방안 수립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10~</a:t>
                      </a:r>
                      <a:b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</a:b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  <a:sym typeface="Wingdings" pitchFamily="2" charset="2"/>
                        </a:rPr>
                        <a:t>2015.12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4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대카드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캐피탈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회계 고도화 구축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대응 관리회계 및 계획수립 고도화 프로젝트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hase I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hase Ⅱ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4~</a:t>
                      </a:r>
                    </a:p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 1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롯데카드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회계시스템 고도화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회계 시스템 구축 요건 정의 및 시스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upgrade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1.08~ 2012.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중앙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환시스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중앙회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상호금융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분리에 따른 전환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7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7.0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중앙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농협경영관리고도화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중앙회 경영관리 업무체계 및 시스템 고도화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5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259" name="Group 4"/>
          <p:cNvGrpSpPr>
            <a:grpSpLocks noChangeAspect="1"/>
          </p:cNvGrpSpPr>
          <p:nvPr/>
        </p:nvGrpSpPr>
        <p:grpSpPr bwMode="auto">
          <a:xfrm>
            <a:off x="8820224" y="2179464"/>
            <a:ext cx="320083" cy="288000"/>
            <a:chOff x="3109" y="1896"/>
            <a:chExt cx="369" cy="316"/>
          </a:xfrm>
        </p:grpSpPr>
        <p:sp>
          <p:nvSpPr>
            <p:cNvPr id="26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8820224" y="2658120"/>
            <a:ext cx="320083" cy="288000"/>
            <a:chOff x="3109" y="1896"/>
            <a:chExt cx="369" cy="316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16032" y="4530328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7" name="Group 4"/>
          <p:cNvGrpSpPr>
            <a:grpSpLocks noChangeAspect="1"/>
          </p:cNvGrpSpPr>
          <p:nvPr/>
        </p:nvGrpSpPr>
        <p:grpSpPr bwMode="auto">
          <a:xfrm>
            <a:off x="8816032" y="5466432"/>
            <a:ext cx="320083" cy="288000"/>
            <a:chOff x="3109" y="1896"/>
            <a:chExt cx="369" cy="316"/>
          </a:xfrm>
        </p:grpSpPr>
        <p:sp>
          <p:nvSpPr>
            <p:cNvPr id="4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0" name="Group 4"/>
          <p:cNvGrpSpPr>
            <a:grpSpLocks noChangeAspect="1"/>
          </p:cNvGrpSpPr>
          <p:nvPr/>
        </p:nvGrpSpPr>
        <p:grpSpPr bwMode="auto">
          <a:xfrm>
            <a:off x="8816032" y="5923880"/>
            <a:ext cx="320083" cy="288000"/>
            <a:chOff x="3109" y="1896"/>
            <a:chExt cx="369" cy="316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55" name="Group 4"/>
          <p:cNvGrpSpPr>
            <a:grpSpLocks noChangeAspect="1"/>
          </p:cNvGrpSpPr>
          <p:nvPr/>
        </p:nvGrpSpPr>
        <p:grpSpPr bwMode="auto">
          <a:xfrm>
            <a:off x="8816032" y="4994785"/>
            <a:ext cx="320083" cy="288000"/>
            <a:chOff x="3109" y="1896"/>
            <a:chExt cx="369" cy="316"/>
          </a:xfrm>
        </p:grpSpPr>
        <p:sp>
          <p:nvSpPr>
            <p:cNvPr id="5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29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3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271753"/>
              </p:ext>
            </p:extLst>
          </p:nvPr>
        </p:nvGraphicFramePr>
        <p:xfrm>
          <a:off x="379043" y="1299559"/>
          <a:ext cx="9147914" cy="5009761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중앙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제사업 구조개편 마스터플랜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중앙회 경제사업구조 개편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P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도관리체계 개선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토탈익스포저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TE)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한도 관리체계 개선 업무 요건 도출 및 시스템 개선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2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인고객정보보호강화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인고객의 정보보호를 위한 기준 검증 및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합품질관리체계 구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통합품질관리체계 구축 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5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리스크요소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추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리스크요소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추정 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1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2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건정의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시스템 구축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03~</a:t>
                      </a:r>
                    </a:p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4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생명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정보계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정보계 시스템 구축을 위한 정보전략계획 수립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2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생명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~</a:t>
                      </a:r>
                    </a:p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435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병행시스템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생명 분사에 따른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보험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시스템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업무계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병행구축 시스템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4~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8816032" y="4530328"/>
            <a:ext cx="320083" cy="288000"/>
            <a:chOff x="3109" y="1896"/>
            <a:chExt cx="369" cy="316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8816032" y="4987776"/>
            <a:ext cx="320083" cy="288000"/>
            <a:chOff x="3109" y="1896"/>
            <a:chExt cx="369" cy="316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0" name="Group 4"/>
          <p:cNvGrpSpPr>
            <a:grpSpLocks noChangeAspect="1"/>
          </p:cNvGrpSpPr>
          <p:nvPr/>
        </p:nvGrpSpPr>
        <p:grpSpPr bwMode="auto">
          <a:xfrm>
            <a:off x="8816032" y="5923880"/>
            <a:ext cx="320083" cy="288000"/>
            <a:chOff x="3109" y="1896"/>
            <a:chExt cx="369" cy="316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7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286328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4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640080"/>
              </p:ext>
            </p:extLst>
          </p:nvPr>
        </p:nvGraphicFramePr>
        <p:xfrm>
          <a:off x="379043" y="1299559"/>
          <a:ext cx="9147914" cy="5005846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보험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시스템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생명 분사에 따른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보험시스템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구축 지원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6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생명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회계관리제도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구축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내부회계관리제도 개선 요건 도출 및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재구축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손해보험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보험사 대출금리체계 합리화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험사 내 고객 대출금리체계 합리화 상세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9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4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캐피탈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국 합작법인 설립 타당성 검토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미국 내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ricing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 수립 및 재무타당성 검토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프라 구축 방안 검토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1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2</a:t>
                      </a:r>
                    </a:p>
                  </a:txBody>
                  <a:tcPr marL="10800" marR="10800" marT="1080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H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농협캐피탈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익성관리 및 신규취급 목표관리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H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농협캐피탈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수익성관리 및 목표관리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9~</a:t>
                      </a:r>
                    </a:p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6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출입은행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금리체계 개편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" pitchFamily="2" charset="2"/>
                        </a:rPr>
                        <a:t>여신 금리 산출 설계 및 금리 산출 시뮬레이션 설계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굴림" pitchFamily="50" charset="-127"/>
                        </a:rPr>
                        <a:t>2015.05~</a:t>
                      </a:r>
                      <a:b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굴림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굴림" pitchFamily="50" charset="-127"/>
                        </a:rPr>
                        <a:t>2015.07</a:t>
                      </a: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굴림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출입은행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지분석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리회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수지예측 시스템 구축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지분석 및 수지예측 시스템 구축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국민경제기여도 지표 산출 및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2~</a:t>
                      </a:r>
                    </a:p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을 위한 업무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PR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구축을 위한 업무 프로세스 혁신 및 개선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4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9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ore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유관시스템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4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40" name="Group 4"/>
          <p:cNvGrpSpPr>
            <a:grpSpLocks noChangeAspect="1"/>
          </p:cNvGrpSpPr>
          <p:nvPr/>
        </p:nvGrpSpPr>
        <p:grpSpPr bwMode="auto">
          <a:xfrm>
            <a:off x="8816032" y="5466432"/>
            <a:ext cx="320083" cy="288000"/>
            <a:chOff x="3109" y="1896"/>
            <a:chExt cx="369" cy="316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7" name="Group 4"/>
          <p:cNvGrpSpPr>
            <a:grpSpLocks noChangeAspect="1"/>
          </p:cNvGrpSpPr>
          <p:nvPr/>
        </p:nvGrpSpPr>
        <p:grpSpPr bwMode="auto">
          <a:xfrm>
            <a:off x="8816032" y="5923880"/>
            <a:ext cx="320083" cy="288000"/>
            <a:chOff x="3109" y="1896"/>
            <a:chExt cx="369" cy="316"/>
          </a:xfrm>
        </p:grpSpPr>
        <p:sp>
          <p:nvSpPr>
            <p:cNvPr id="4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4" name="Group 4"/>
          <p:cNvGrpSpPr>
            <a:grpSpLocks noChangeAspect="1"/>
          </p:cNvGrpSpPr>
          <p:nvPr/>
        </p:nvGrpSpPr>
        <p:grpSpPr bwMode="auto">
          <a:xfrm>
            <a:off x="8820224" y="2179464"/>
            <a:ext cx="320083" cy="288000"/>
            <a:chOff x="3109" y="1896"/>
            <a:chExt cx="369" cy="316"/>
          </a:xfrm>
        </p:grpSpPr>
        <p:sp>
          <p:nvSpPr>
            <p:cNvPr id="5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2317597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5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355030"/>
              </p:ext>
            </p:extLst>
          </p:nvPr>
        </p:nvGraphicFramePr>
        <p:xfrm>
          <a:off x="379043" y="1299559"/>
          <a:ext cx="9147914" cy="5005846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</a:t>
                      </a: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∙</a:t>
                      </a: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외환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통합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은행 합병에 따른 시스템 통합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I PMO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6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현재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자본시장 통합 시스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컨설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차세대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컨설팅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 2" pitchFamily="18" charset="2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0.09 ~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1.12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환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1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 3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건정의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 및 안정화 지원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1~</a:t>
                      </a:r>
                    </a:p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5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및 유관시스템 구축 전사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4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및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요건상세회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및 유관시스템 업무요건 상세화 및 프로세스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I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10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하나대투증권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 추진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구축을 위한 전사 정보전략계획 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2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아프로</a:t>
                      </a:r>
                      <a: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lang="en-US" altLang="ko-KR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서비스그룹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성과관리체계 고도화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부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저축은행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캐피탈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등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그룹사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성과관리체계 재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~</a:t>
                      </a:r>
                      <a:b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구은행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성과관리 시스템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구축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과관리 체계 고도화 및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3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현재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교직원공제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장기 재무추정 모형 설계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중장기 재무추정을 위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imulatio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모형 설계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02~</a:t>
                      </a: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5.</a:t>
                      </a:r>
                      <a:r>
                        <a:rPr lang="en-US" altLang="ko-KR" sz="1100" kern="12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04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47" name="Group 4"/>
          <p:cNvGrpSpPr>
            <a:grpSpLocks noChangeAspect="1"/>
          </p:cNvGrpSpPr>
          <p:nvPr/>
        </p:nvGrpSpPr>
        <p:grpSpPr bwMode="auto">
          <a:xfrm>
            <a:off x="8820224" y="2179464"/>
            <a:ext cx="320083" cy="288000"/>
            <a:chOff x="3109" y="1896"/>
            <a:chExt cx="369" cy="316"/>
          </a:xfrm>
        </p:grpSpPr>
        <p:sp>
          <p:nvSpPr>
            <p:cNvPr id="4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4" name="Group 4"/>
          <p:cNvGrpSpPr>
            <a:grpSpLocks noChangeAspect="1"/>
          </p:cNvGrpSpPr>
          <p:nvPr/>
        </p:nvGrpSpPr>
        <p:grpSpPr bwMode="auto">
          <a:xfrm>
            <a:off x="8820224" y="4509120"/>
            <a:ext cx="320083" cy="288000"/>
            <a:chOff x="3109" y="1896"/>
            <a:chExt cx="369" cy="316"/>
          </a:xfrm>
        </p:grpSpPr>
        <p:sp>
          <p:nvSpPr>
            <p:cNvPr id="5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1" name="Group 4"/>
          <p:cNvGrpSpPr>
            <a:grpSpLocks noChangeAspect="1"/>
          </p:cNvGrpSpPr>
          <p:nvPr/>
        </p:nvGrpSpPr>
        <p:grpSpPr bwMode="auto">
          <a:xfrm>
            <a:off x="8820224" y="4043188"/>
            <a:ext cx="320083" cy="288000"/>
            <a:chOff x="3109" y="1896"/>
            <a:chExt cx="369" cy="316"/>
          </a:xfrm>
        </p:grpSpPr>
        <p:sp>
          <p:nvSpPr>
            <p:cNvPr id="6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3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4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5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8" name="Group 4"/>
          <p:cNvGrpSpPr>
            <a:grpSpLocks noChangeAspect="1"/>
          </p:cNvGrpSpPr>
          <p:nvPr/>
        </p:nvGrpSpPr>
        <p:grpSpPr bwMode="auto">
          <a:xfrm>
            <a:off x="8820224" y="3577257"/>
            <a:ext cx="320083" cy="288000"/>
            <a:chOff x="3109" y="1896"/>
            <a:chExt cx="369" cy="316"/>
          </a:xfrm>
        </p:grpSpPr>
        <p:sp>
          <p:nvSpPr>
            <p:cNvPr id="69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90" name="Group 4"/>
          <p:cNvGrpSpPr>
            <a:grpSpLocks noChangeAspect="1"/>
          </p:cNvGrpSpPr>
          <p:nvPr/>
        </p:nvGrpSpPr>
        <p:grpSpPr bwMode="auto">
          <a:xfrm>
            <a:off x="8820224" y="2645395"/>
            <a:ext cx="320083" cy="288000"/>
            <a:chOff x="3109" y="1896"/>
            <a:chExt cx="369" cy="316"/>
          </a:xfrm>
        </p:grpSpPr>
        <p:sp>
          <p:nvSpPr>
            <p:cNvPr id="9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410734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6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672166"/>
              </p:ext>
            </p:extLst>
          </p:nvPr>
        </p:nvGraphicFramePr>
        <p:xfrm>
          <a:off x="379043" y="1299559"/>
          <a:ext cx="9147914" cy="5005846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리안리재보험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구축 사후평가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pen 1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년 후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직원 대상의 시스템 만족도 조사 및 결과 분석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리안리재보험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re-PMO/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 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비즈니스 과제 목표 관리체계 수립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GDA)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및 구축 업체 선정 및 우선협상 지원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8 ~ 2014.05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b="1" kern="120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Koscom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Governance 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인프라 통합 및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거버넌스 체계 진단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7~</a:t>
                      </a:r>
                      <a:b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4.09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oscom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영정보시스템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구축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ster Plan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립 컨설팅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IT Master Pla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수립 컨설팅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 2" pitchFamily="18" charset="2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9.08 ~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11.12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B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지주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량 진단 및 개선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국민은행 업무 진단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략 검토 및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os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필요성 검토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7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B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민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1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~ 3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건정의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 및 안정화 지원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7.01~</a:t>
                      </a:r>
                    </a:p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5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89535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부화재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T Governance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pe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후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T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조직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인력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 체계 진단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5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부화재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프라센터 효율화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구축 후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장비선정계획 및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C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반 비용효율성 분석 진단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부화재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플랫폼전환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구축 및 성공적 플랫폼 전환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7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2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68" name="Group 4"/>
          <p:cNvGrpSpPr>
            <a:grpSpLocks noChangeAspect="1"/>
          </p:cNvGrpSpPr>
          <p:nvPr/>
        </p:nvGrpSpPr>
        <p:grpSpPr bwMode="auto">
          <a:xfrm>
            <a:off x="8820224" y="2179464"/>
            <a:ext cx="320083" cy="288000"/>
            <a:chOff x="3109" y="1896"/>
            <a:chExt cx="369" cy="316"/>
          </a:xfrm>
        </p:grpSpPr>
        <p:sp>
          <p:nvSpPr>
            <p:cNvPr id="69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5" name="Group 4"/>
          <p:cNvGrpSpPr>
            <a:grpSpLocks noChangeAspect="1"/>
          </p:cNvGrpSpPr>
          <p:nvPr/>
        </p:nvGrpSpPr>
        <p:grpSpPr bwMode="auto">
          <a:xfrm>
            <a:off x="8820224" y="4509120"/>
            <a:ext cx="320083" cy="288000"/>
            <a:chOff x="3109" y="1896"/>
            <a:chExt cx="369" cy="316"/>
          </a:xfrm>
        </p:grpSpPr>
        <p:sp>
          <p:nvSpPr>
            <p:cNvPr id="7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1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82" name="Group 4"/>
          <p:cNvGrpSpPr>
            <a:grpSpLocks noChangeAspect="1"/>
          </p:cNvGrpSpPr>
          <p:nvPr/>
        </p:nvGrpSpPr>
        <p:grpSpPr bwMode="auto">
          <a:xfrm>
            <a:off x="8820224" y="4043188"/>
            <a:ext cx="320083" cy="288000"/>
            <a:chOff x="3109" y="1896"/>
            <a:chExt cx="369" cy="316"/>
          </a:xfrm>
        </p:grpSpPr>
        <p:sp>
          <p:nvSpPr>
            <p:cNvPr id="8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03" name="Group 4"/>
          <p:cNvGrpSpPr>
            <a:grpSpLocks noChangeAspect="1"/>
          </p:cNvGrpSpPr>
          <p:nvPr/>
        </p:nvGrpSpPr>
        <p:grpSpPr bwMode="auto">
          <a:xfrm>
            <a:off x="8820224" y="2645395"/>
            <a:ext cx="320083" cy="288000"/>
            <a:chOff x="3109" y="1896"/>
            <a:chExt cx="369" cy="316"/>
          </a:xfrm>
        </p:grpSpPr>
        <p:sp>
          <p:nvSpPr>
            <p:cNvPr id="10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0" name="Group 4"/>
          <p:cNvGrpSpPr>
            <a:grpSpLocks noChangeAspect="1"/>
          </p:cNvGrpSpPr>
          <p:nvPr/>
        </p:nvGrpSpPr>
        <p:grpSpPr bwMode="auto">
          <a:xfrm>
            <a:off x="8820224" y="4978500"/>
            <a:ext cx="320083" cy="288000"/>
            <a:chOff x="3109" y="1896"/>
            <a:chExt cx="369" cy="316"/>
          </a:xfrm>
        </p:grpSpPr>
        <p:sp>
          <p:nvSpPr>
            <p:cNvPr id="11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7" name="Group 4"/>
          <p:cNvGrpSpPr>
            <a:grpSpLocks noChangeAspect="1"/>
          </p:cNvGrpSpPr>
          <p:nvPr/>
        </p:nvGrpSpPr>
        <p:grpSpPr bwMode="auto">
          <a:xfrm>
            <a:off x="8820224" y="5910362"/>
            <a:ext cx="320083" cy="288000"/>
            <a:chOff x="3109" y="1896"/>
            <a:chExt cx="369" cy="316"/>
          </a:xfrm>
        </p:grpSpPr>
        <p:sp>
          <p:nvSpPr>
            <p:cNvPr id="1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24" name="Group 4"/>
          <p:cNvGrpSpPr>
            <a:grpSpLocks noChangeAspect="1"/>
          </p:cNvGrpSpPr>
          <p:nvPr/>
        </p:nvGrpSpPr>
        <p:grpSpPr bwMode="auto">
          <a:xfrm>
            <a:off x="8820224" y="5444431"/>
            <a:ext cx="320083" cy="288000"/>
            <a:chOff x="3109" y="1896"/>
            <a:chExt cx="369" cy="316"/>
          </a:xfrm>
        </p:grpSpPr>
        <p:sp>
          <p:nvSpPr>
            <p:cNvPr id="12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1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44227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7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934574"/>
              </p:ext>
            </p:extLst>
          </p:nvPr>
        </p:nvGraphicFramePr>
        <p:xfrm>
          <a:off x="379043" y="1299559"/>
          <a:ext cx="9147914" cy="5005846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래에셋증권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빅데이터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분석 기반 검토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사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빅데이터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활용 방향성 정의 및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빅데이터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분석 과제 설계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1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래에셋증권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정보계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정보계 시스템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2.12~</a:t>
                      </a:r>
                      <a:b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13.09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래에셋증권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정보계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SP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정보계 구축 정보전략계획 설계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6~</a:t>
                      </a:r>
                      <a:b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9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증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기술구조 적정성 검토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pen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 도입 적정 기술 검토 및 도입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oadmap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립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1~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.12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삼성증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4~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3.05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증권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지원 컨설팅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구축을 위한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re-PM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1~ 2011.04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현대캐피탈 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미국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사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RP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HCA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회계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Managerial P/L, ROA,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과관리 및 경영관리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5~</a:t>
                      </a:r>
                    </a:p>
                    <a:p>
                      <a:pPr algn="ctr" rtl="0" fontAlgn="ctr" latinLnBrk="0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</a:t>
                      </a:r>
                      <a:r>
                        <a:rPr lang="en-US" altLang="ko-KR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05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증권금융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종합수익관리시스템 구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종합수익관리시스템 </a:t>
                      </a: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재구축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APM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산출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7~</a:t>
                      </a:r>
                    </a:p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5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종합수익관리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목표관리 시스템 구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종합수익관리시스템 및 목표관리 시스템 구축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3</a:t>
                      </a:r>
                      <a:r>
                        <a:rPr lang="en-US" altLang="ko-KR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</a:p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4</a:t>
                      </a:r>
                    </a:p>
                  </a:txBody>
                  <a:tcPr marL="10800" marR="10800" marT="1080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8854132" y="2645420"/>
            <a:ext cx="320083" cy="288000"/>
            <a:chOff x="3109" y="1896"/>
            <a:chExt cx="369" cy="316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8854132" y="3114730"/>
            <a:ext cx="320083" cy="288000"/>
            <a:chOff x="3109" y="1896"/>
            <a:chExt cx="369" cy="316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8854132" y="3584040"/>
            <a:ext cx="320083" cy="288000"/>
            <a:chOff x="3109" y="1896"/>
            <a:chExt cx="369" cy="316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54132" y="4053350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0" name="Group 4"/>
          <p:cNvGrpSpPr>
            <a:grpSpLocks noChangeAspect="1"/>
          </p:cNvGrpSpPr>
          <p:nvPr/>
        </p:nvGrpSpPr>
        <p:grpSpPr bwMode="auto">
          <a:xfrm>
            <a:off x="8854132" y="4522660"/>
            <a:ext cx="320083" cy="288000"/>
            <a:chOff x="3109" y="1896"/>
            <a:chExt cx="369" cy="316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830560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KPMG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</a:t>
            </a:r>
            <a:r>
              <a:rPr lang="en-US" altLang="ko-KR" dirty="0"/>
              <a:t>8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KPMG</a:t>
            </a:r>
            <a:r>
              <a:rPr lang="ko-KR" altLang="en-US" dirty="0"/>
              <a:t>는 최근 </a:t>
            </a:r>
            <a:r>
              <a:rPr lang="en-US" altLang="ko-KR" dirty="0"/>
              <a:t>NH</a:t>
            </a:r>
            <a:r>
              <a:rPr lang="ko-KR" altLang="en-US" dirty="0"/>
              <a:t>농협카드 차세대 </a:t>
            </a:r>
            <a:r>
              <a:rPr lang="en-US" altLang="ko-KR" dirty="0"/>
              <a:t>MP, KB</a:t>
            </a:r>
            <a:r>
              <a:rPr lang="ko-KR" altLang="en-US" dirty="0"/>
              <a:t>카드 차세대</a:t>
            </a:r>
            <a:r>
              <a:rPr lang="en-US" altLang="ko-KR" dirty="0"/>
              <a:t> MP </a:t>
            </a:r>
            <a:r>
              <a:rPr lang="ko-KR" altLang="en-US" dirty="0"/>
              <a:t>및 </a:t>
            </a:r>
            <a:r>
              <a:rPr lang="en-US" altLang="ko-KR" dirty="0"/>
              <a:t>PI, BC</a:t>
            </a:r>
            <a:r>
              <a:rPr lang="ko-KR" altLang="en-US" dirty="0"/>
              <a:t>카드 차세대 </a:t>
            </a:r>
            <a:r>
              <a:rPr lang="en-US" altLang="ko-KR" dirty="0"/>
              <a:t>MP </a:t>
            </a:r>
            <a:r>
              <a:rPr lang="ko-KR" altLang="en-US" dirty="0"/>
              <a:t>등 금융권에서의 다양한 프로젝트 경험을 보유하고 </a:t>
            </a:r>
            <a:r>
              <a:rPr lang="ko-KR" altLang="en-US" dirty="0" smtClean="0"/>
              <a:t>있음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695663"/>
              </p:ext>
            </p:extLst>
          </p:nvPr>
        </p:nvGraphicFramePr>
        <p:xfrm>
          <a:off x="379043" y="1299559"/>
          <a:ext cx="9147914" cy="5005846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608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7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DB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업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외점포 관리회계시스템 구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국외지점 및 해외법인 관리회계시스템 구축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7~ 2012.03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DB</a:t>
                      </a:r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지주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지주사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관리회계시스템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축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금융지주사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관리회계 및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I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6~ 2012.02</a:t>
                      </a:r>
                    </a:p>
                  </a:txBody>
                  <a:tcPr marL="10800" marR="10800" marT="108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양종합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증권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관리회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무회계</a:t>
                      </a:r>
                      <a:r>
                        <a:rPr lang="ko-KR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  <a:r>
                        <a:rPr lang="ko-KR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구축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로젝트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관리회계 및 재무회계 시스템 구축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009.09~ 2011.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롯데손해보험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FRS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구축 컨설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S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구축 컨설팅</a:t>
                      </a:r>
                    </a:p>
                  </a:txBody>
                  <a:tcPr marL="108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0.10~  2011.07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솔로몬저축은행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시스템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7~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02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협은행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</a:t>
                      </a:r>
                      <a:r>
                        <a:rPr lang="en-US" altLang="ko-KR" sz="1100" kern="12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extro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IFRS PMO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 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차세대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컨설팅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 2" pitchFamily="18" charset="2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7~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12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투자증권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 구축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MO 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컨설팅 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차세대 구축 </a:t>
                      </a:r>
                      <a:r>
                        <a:rPr kumimoji="1" lang="en-US" altLang="ko-KR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PMO </a:t>
                      </a:r>
                      <a:r>
                        <a:rPr kumimoji="1" lang="ko-KR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  <a:sym typeface="Wingdings 2" pitchFamily="18" charset="2"/>
                        </a:rPr>
                        <a:t>컨설팅</a:t>
                      </a:r>
                      <a:endParaRPr kumimoji="1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  <a:sym typeface="Wingdings 2" pitchFamily="18" charset="2"/>
                      </a:endParaRPr>
                    </a:p>
                  </a:txBody>
                  <a:tcPr marL="108000" marR="36000" marT="36000" marB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09.04~</a:t>
                      </a: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1.12</a:t>
                      </a:r>
                      <a:endParaRPr lang="ko-KR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세대시스템을 위한 마스터 플랜 수립 컨설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을 위한 마스터플랜 수립 및 설계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9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B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ster Plan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 구축을 위한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P/PI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</a:t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8854132" y="5000476"/>
            <a:ext cx="320083" cy="288000"/>
            <a:chOff x="3109" y="1896"/>
            <a:chExt cx="369" cy="316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8854132" y="4533122"/>
            <a:ext cx="320083" cy="288000"/>
            <a:chOff x="3109" y="1896"/>
            <a:chExt cx="369" cy="316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8854132" y="4065769"/>
            <a:ext cx="320083" cy="288000"/>
            <a:chOff x="3109" y="1896"/>
            <a:chExt cx="369" cy="316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54132" y="3598416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0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41" name="Group 4"/>
          <p:cNvGrpSpPr>
            <a:grpSpLocks noChangeAspect="1"/>
          </p:cNvGrpSpPr>
          <p:nvPr/>
        </p:nvGrpSpPr>
        <p:grpSpPr bwMode="auto">
          <a:xfrm>
            <a:off x="8841432" y="5457288"/>
            <a:ext cx="320083" cy="288000"/>
            <a:chOff x="3109" y="1896"/>
            <a:chExt cx="369" cy="316"/>
          </a:xfrm>
        </p:grpSpPr>
        <p:sp>
          <p:nvSpPr>
            <p:cNvPr id="4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8" name="Group 4"/>
          <p:cNvGrpSpPr>
            <a:grpSpLocks noChangeAspect="1"/>
          </p:cNvGrpSpPr>
          <p:nvPr/>
        </p:nvGrpSpPr>
        <p:grpSpPr bwMode="auto">
          <a:xfrm>
            <a:off x="8829584" y="5949312"/>
            <a:ext cx="320083" cy="288000"/>
            <a:chOff x="3109" y="1896"/>
            <a:chExt cx="369" cy="316"/>
          </a:xfrm>
        </p:grpSpPr>
        <p:sp>
          <p:nvSpPr>
            <p:cNvPr id="49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455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PwC </a:t>
            </a:r>
            <a:r>
              <a:rPr lang="en-US" altLang="ko-KR" dirty="0"/>
              <a:t>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1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702891"/>
              </p:ext>
            </p:extLst>
          </p:nvPr>
        </p:nvGraphicFramePr>
        <p:xfrm>
          <a:off x="379043" y="1299559"/>
          <a:ext cx="9147914" cy="4992615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99626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317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합 간접원가 정산체계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축협 조합 간접원가 정산 체계 개선안 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8 ~ 2016.0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 가맹점 수수료 적용 전략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 가맹점 수수료 체계 대응 방안 수립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수료 산출 체계 정의 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2 ~ 2016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대행수수료 체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점 카드사업 수수료 정산체계 도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1 ~ 2015.0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도화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환 카드 통합 경영관리 체계 수립을 위한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개선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도출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Process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 ~ 2015.0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시스템 구축 단계의 경영관리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통합 정산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차세대 업무별 원장 설계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endParaRPr kumimoji="1" lang="ko-KR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3 ~ 2015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통합 손익 산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의 주요 사업 단위 별 손익 산출 체계 수립 및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사업손익 산출을 위한 차세대 요건 정의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1 ~ 2015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멤버스 차세대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을 위한 개선과제 도출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지원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8 ~ 2013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0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시스템 프로젝트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3 ~ 2013.1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56177" y="5408728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856177" y="5930540"/>
            <a:ext cx="320083" cy="288000"/>
            <a:chOff x="3109" y="1896"/>
            <a:chExt cx="369" cy="316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2" name="Group 4"/>
          <p:cNvGrpSpPr>
            <a:grpSpLocks noChangeAspect="1"/>
          </p:cNvGrpSpPr>
          <p:nvPr/>
        </p:nvGrpSpPr>
        <p:grpSpPr bwMode="auto">
          <a:xfrm>
            <a:off x="8856177" y="4886948"/>
            <a:ext cx="320083" cy="288000"/>
            <a:chOff x="3109" y="1896"/>
            <a:chExt cx="369" cy="316"/>
          </a:xfrm>
        </p:grpSpPr>
        <p:sp>
          <p:nvSpPr>
            <p:cNvPr id="2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9" name="Group 4"/>
          <p:cNvGrpSpPr>
            <a:grpSpLocks noChangeAspect="1"/>
          </p:cNvGrpSpPr>
          <p:nvPr/>
        </p:nvGrpSpPr>
        <p:grpSpPr bwMode="auto">
          <a:xfrm>
            <a:off x="8856177" y="4362642"/>
            <a:ext cx="320083" cy="288000"/>
            <a:chOff x="3109" y="1896"/>
            <a:chExt cx="369" cy="316"/>
          </a:xfrm>
        </p:grpSpPr>
        <p:sp>
          <p:nvSpPr>
            <p:cNvPr id="3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3" name="Group 4"/>
          <p:cNvGrpSpPr>
            <a:grpSpLocks noChangeAspect="1"/>
          </p:cNvGrpSpPr>
          <p:nvPr/>
        </p:nvGrpSpPr>
        <p:grpSpPr bwMode="auto">
          <a:xfrm>
            <a:off x="8856177" y="3844803"/>
            <a:ext cx="320083" cy="288000"/>
            <a:chOff x="3109" y="1896"/>
            <a:chExt cx="369" cy="316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52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2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646837"/>
              </p:ext>
            </p:extLst>
          </p:nvPr>
        </p:nvGraphicFramePr>
        <p:xfrm>
          <a:off x="379043" y="1299559"/>
          <a:ext cx="9147914" cy="4982449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65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27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재무관리회계요건 정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고도화를 위한 차세대 시스템 개선 요구사항 정의 및 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2 ~ 2013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 프로세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Transformation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관리운영체계를 지향하는 차세대 시스템 구축을 위한 업무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4 ~ 2012.0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 상시 혁신 체계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시 혁신 체계 구축을 위한 조직구성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분장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 및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oad-map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10 ~ 2012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핵심 영역 개선과제 도출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요건 도출 및 구축 지원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10 ~ 2012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 서비스 체계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 경쟁력 강화를 위한 상품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체계 정비 및 상품개발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3 ~ 2011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특별조사 지원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중단원인 조사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9 ~ 2011.1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손해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회계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회계 고도화 설계 및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6 ~ 2014.1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회계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개룰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권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무 설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1 ~ 2013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금융그룹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금융그룹 일류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금융그룹 경영관리 표준안 수립 및 경영관리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ycle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립을 위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fra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 ~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41432" y="3581926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64" name="Group 4"/>
          <p:cNvGrpSpPr>
            <a:grpSpLocks noChangeAspect="1"/>
          </p:cNvGrpSpPr>
          <p:nvPr/>
        </p:nvGrpSpPr>
        <p:grpSpPr bwMode="auto">
          <a:xfrm>
            <a:off x="8841432" y="4517998"/>
            <a:ext cx="320083" cy="288000"/>
            <a:chOff x="3109" y="1896"/>
            <a:chExt cx="369" cy="316"/>
          </a:xfrm>
        </p:grpSpPr>
        <p:sp>
          <p:nvSpPr>
            <p:cNvPr id="6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7" name="Group 4"/>
          <p:cNvGrpSpPr>
            <a:grpSpLocks noChangeAspect="1"/>
          </p:cNvGrpSpPr>
          <p:nvPr/>
        </p:nvGrpSpPr>
        <p:grpSpPr bwMode="auto">
          <a:xfrm>
            <a:off x="8841432" y="4041560"/>
            <a:ext cx="320083" cy="288000"/>
            <a:chOff x="3109" y="1896"/>
            <a:chExt cx="369" cy="316"/>
          </a:xfrm>
        </p:grpSpPr>
        <p:sp>
          <p:nvSpPr>
            <p:cNvPr id="2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8" name="Group 4"/>
          <p:cNvGrpSpPr>
            <a:grpSpLocks noChangeAspect="1"/>
          </p:cNvGrpSpPr>
          <p:nvPr/>
        </p:nvGrpSpPr>
        <p:grpSpPr bwMode="auto">
          <a:xfrm>
            <a:off x="8841432" y="2645790"/>
            <a:ext cx="320083" cy="288000"/>
            <a:chOff x="3109" y="1896"/>
            <a:chExt cx="369" cy="316"/>
          </a:xfrm>
        </p:grpSpPr>
        <p:sp>
          <p:nvSpPr>
            <p:cNvPr id="49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5" name="Group 4"/>
          <p:cNvGrpSpPr>
            <a:grpSpLocks noChangeAspect="1"/>
          </p:cNvGrpSpPr>
          <p:nvPr/>
        </p:nvGrpSpPr>
        <p:grpSpPr bwMode="auto">
          <a:xfrm>
            <a:off x="8841432" y="2168368"/>
            <a:ext cx="320083" cy="288000"/>
            <a:chOff x="3109" y="1896"/>
            <a:chExt cx="369" cy="316"/>
          </a:xfrm>
        </p:grpSpPr>
        <p:sp>
          <p:nvSpPr>
            <p:cNvPr id="5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6" name="Group 4"/>
          <p:cNvGrpSpPr>
            <a:grpSpLocks noChangeAspect="1"/>
          </p:cNvGrpSpPr>
          <p:nvPr/>
        </p:nvGrpSpPr>
        <p:grpSpPr bwMode="auto">
          <a:xfrm>
            <a:off x="8841432" y="5445256"/>
            <a:ext cx="320083" cy="288000"/>
            <a:chOff x="3109" y="1896"/>
            <a:chExt cx="369" cy="316"/>
          </a:xfrm>
        </p:grpSpPr>
        <p:sp>
          <p:nvSpPr>
            <p:cNvPr id="7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83" name="Group 4"/>
          <p:cNvGrpSpPr>
            <a:grpSpLocks noChangeAspect="1"/>
          </p:cNvGrpSpPr>
          <p:nvPr/>
        </p:nvGrpSpPr>
        <p:grpSpPr bwMode="auto">
          <a:xfrm>
            <a:off x="8841432" y="5913800"/>
            <a:ext cx="320083" cy="288000"/>
            <a:chOff x="3109" y="1896"/>
            <a:chExt cx="369" cy="316"/>
          </a:xfrm>
        </p:grpSpPr>
        <p:sp>
          <p:nvSpPr>
            <p:cNvPr id="8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529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3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83904"/>
              </p:ext>
            </p:extLst>
          </p:nvPr>
        </p:nvGraphicFramePr>
        <p:xfrm>
          <a:off x="379043" y="1299559"/>
          <a:ext cx="9147914" cy="4982449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65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27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보증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/ISP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GI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울보증 차세대정보계 구축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9 ~ 2015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대투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설계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4 ~ 2015.0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화재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사업별 정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완 프로젝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4 ~ 2014.1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A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A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BP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준비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A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IBP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3 ~ 2014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환펀드서비스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/ISP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프로젝트를 위한 업무별 개선 과제 도출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4 ~ 2014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멤버스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구축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1 ~ 2013.0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hai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ife</a:t>
                      </a:r>
                    </a:p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suran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래 모델 및 정보화 전략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이생명의 차세대 시스템 구축을 위한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0 ~ 2013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G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 구축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시스템구축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5 ~ 2013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장학재단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적 경영정보지원 시스템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구축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정보지원 시스템 구축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1 ~ 2013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  <p:grpSp>
        <p:nvGrpSpPr>
          <p:cNvPr id="42" name="Group 4"/>
          <p:cNvGrpSpPr>
            <a:grpSpLocks noChangeAspect="1"/>
          </p:cNvGrpSpPr>
          <p:nvPr/>
        </p:nvGrpSpPr>
        <p:grpSpPr bwMode="auto">
          <a:xfrm>
            <a:off x="8841432" y="4985558"/>
            <a:ext cx="320083" cy="288000"/>
            <a:chOff x="3109" y="1896"/>
            <a:chExt cx="369" cy="316"/>
          </a:xfrm>
        </p:grpSpPr>
        <p:sp>
          <p:nvSpPr>
            <p:cNvPr id="4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9" name="Group 4"/>
          <p:cNvGrpSpPr>
            <a:grpSpLocks noChangeAspect="1"/>
          </p:cNvGrpSpPr>
          <p:nvPr/>
        </p:nvGrpSpPr>
        <p:grpSpPr bwMode="auto">
          <a:xfrm>
            <a:off x="8841432" y="4517998"/>
            <a:ext cx="320083" cy="288000"/>
            <a:chOff x="3109" y="1896"/>
            <a:chExt cx="369" cy="316"/>
          </a:xfrm>
        </p:grpSpPr>
        <p:sp>
          <p:nvSpPr>
            <p:cNvPr id="50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6" name="Group 4"/>
          <p:cNvGrpSpPr>
            <a:grpSpLocks noChangeAspect="1"/>
          </p:cNvGrpSpPr>
          <p:nvPr/>
        </p:nvGrpSpPr>
        <p:grpSpPr bwMode="auto">
          <a:xfrm>
            <a:off x="8841432" y="4041560"/>
            <a:ext cx="320083" cy="288000"/>
            <a:chOff x="3109" y="1896"/>
            <a:chExt cx="369" cy="316"/>
          </a:xfrm>
        </p:grpSpPr>
        <p:sp>
          <p:nvSpPr>
            <p:cNvPr id="5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3" name="Group 4"/>
          <p:cNvGrpSpPr>
            <a:grpSpLocks noChangeAspect="1"/>
          </p:cNvGrpSpPr>
          <p:nvPr/>
        </p:nvGrpSpPr>
        <p:grpSpPr bwMode="auto">
          <a:xfrm>
            <a:off x="8841432" y="3115351"/>
            <a:ext cx="320083" cy="288000"/>
            <a:chOff x="3109" y="1896"/>
            <a:chExt cx="369" cy="316"/>
          </a:xfrm>
        </p:grpSpPr>
        <p:sp>
          <p:nvSpPr>
            <p:cNvPr id="6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0" name="Group 4"/>
          <p:cNvGrpSpPr>
            <a:grpSpLocks noChangeAspect="1"/>
          </p:cNvGrpSpPr>
          <p:nvPr/>
        </p:nvGrpSpPr>
        <p:grpSpPr bwMode="auto">
          <a:xfrm>
            <a:off x="8841432" y="2645790"/>
            <a:ext cx="320083" cy="288000"/>
            <a:chOff x="3109" y="1896"/>
            <a:chExt cx="369" cy="316"/>
          </a:xfrm>
        </p:grpSpPr>
        <p:sp>
          <p:nvSpPr>
            <p:cNvPr id="7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5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6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7" name="Group 4"/>
          <p:cNvGrpSpPr>
            <a:grpSpLocks noChangeAspect="1"/>
          </p:cNvGrpSpPr>
          <p:nvPr/>
        </p:nvGrpSpPr>
        <p:grpSpPr bwMode="auto">
          <a:xfrm>
            <a:off x="8841432" y="2168368"/>
            <a:ext cx="320083" cy="288000"/>
            <a:chOff x="3109" y="1896"/>
            <a:chExt cx="369" cy="316"/>
          </a:xfrm>
        </p:grpSpPr>
        <p:sp>
          <p:nvSpPr>
            <p:cNvPr id="7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1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3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84" name="Group 4"/>
          <p:cNvGrpSpPr>
            <a:grpSpLocks noChangeAspect="1"/>
          </p:cNvGrpSpPr>
          <p:nvPr/>
        </p:nvGrpSpPr>
        <p:grpSpPr bwMode="auto">
          <a:xfrm>
            <a:off x="8841432" y="5445256"/>
            <a:ext cx="320083" cy="288000"/>
            <a:chOff x="3109" y="1896"/>
            <a:chExt cx="369" cy="316"/>
          </a:xfrm>
        </p:grpSpPr>
        <p:sp>
          <p:nvSpPr>
            <p:cNvPr id="8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6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99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시장 및 </a:t>
            </a:r>
            <a:r>
              <a:rPr lang="ko-KR" altLang="en-US" dirty="0" smtClean="0"/>
              <a:t>규제 환경 </a:t>
            </a:r>
            <a:r>
              <a:rPr lang="en-US" altLang="ko-KR" dirty="0"/>
              <a:t>– </a:t>
            </a:r>
            <a:r>
              <a:rPr lang="ko-KR" altLang="en-US" dirty="0"/>
              <a:t>국내 카드사 </a:t>
            </a:r>
            <a:r>
              <a:rPr lang="en-US" altLang="ko-KR" dirty="0"/>
              <a:t>IT</a:t>
            </a:r>
            <a:r>
              <a:rPr lang="ko-KR" altLang="en-US" dirty="0"/>
              <a:t>투자 확대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카드산업은 타 금융 산업에 비해 고객 니즈 변화 및 인프라 의존도가 높으며</a:t>
            </a:r>
            <a:r>
              <a:rPr lang="en-US" altLang="ko-KR" dirty="0"/>
              <a:t>, </a:t>
            </a:r>
            <a:r>
              <a:rPr lang="ko-KR" altLang="en-US" dirty="0"/>
              <a:t>이에 따라 주요 </a:t>
            </a:r>
            <a:r>
              <a:rPr lang="ko-KR" altLang="en-US" dirty="0" smtClean="0"/>
              <a:t>카드사는 차세대 </a:t>
            </a:r>
            <a:r>
              <a:rPr lang="ko-KR" altLang="en-US" dirty="0"/>
              <a:t>시스템 </a:t>
            </a:r>
            <a:r>
              <a:rPr lang="ko-KR" altLang="en-US" dirty="0" smtClean="0"/>
              <a:t>구축을 기 완료 또는 </a:t>
            </a:r>
            <a:r>
              <a:rPr lang="en-US" altLang="ko-KR" dirty="0" smtClean="0"/>
              <a:t>Digitalization</a:t>
            </a:r>
            <a:r>
              <a:rPr lang="ko-KR" altLang="en-US" dirty="0" smtClean="0"/>
              <a:t>을 고려하여 진행하고 있음</a:t>
            </a:r>
            <a:endParaRPr lang="ko-KR" altLang="en-US" dirty="0"/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560512" y="2060848"/>
            <a:ext cx="4238502" cy="3991904"/>
            <a:chOff x="560512" y="2060848"/>
            <a:chExt cx="4238502" cy="3757381"/>
          </a:xfrm>
        </p:grpSpPr>
        <p:sp>
          <p:nvSpPr>
            <p:cNvPr id="97" name="AutoShape 25"/>
            <p:cNvSpPr>
              <a:spLocks noChangeArrowheads="1"/>
            </p:cNvSpPr>
            <p:nvPr/>
          </p:nvSpPr>
          <p:spPr bwMode="auto">
            <a:xfrm rot="7452582" flipH="1" flipV="1">
              <a:off x="3498510" y="2716069"/>
              <a:ext cx="685800" cy="508000"/>
            </a:xfrm>
            <a:prstGeom prst="rightArrow">
              <a:avLst>
                <a:gd name="adj1" fmla="val 48231"/>
                <a:gd name="adj2" fmla="val 31206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006699"/>
                </a:gs>
              </a:gsLst>
              <a:lin ang="0" scaled="1"/>
            </a:gradFill>
            <a:ln w="12700">
              <a:noFill/>
              <a:miter lim="800000"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8" name="Oval 26"/>
            <p:cNvSpPr>
              <a:spLocks noChangeArrowheads="1"/>
            </p:cNvSpPr>
            <p:nvPr/>
          </p:nvSpPr>
          <p:spPr bwMode="auto">
            <a:xfrm>
              <a:off x="1803061" y="2395392"/>
              <a:ext cx="677863" cy="519112"/>
            </a:xfrm>
            <a:prstGeom prst="ellipse">
              <a:avLst/>
            </a:prstGeom>
            <a:solidFill>
              <a:srgbClr val="408CB3"/>
            </a:solidFill>
            <a:ln w="28575" algn="ctr">
              <a:solidFill>
                <a:srgbClr val="00669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증권</a:t>
              </a:r>
            </a:p>
          </p:txBody>
        </p:sp>
        <p:sp>
          <p:nvSpPr>
            <p:cNvPr id="99" name="Line 27"/>
            <p:cNvSpPr>
              <a:spLocks noChangeShapeType="1"/>
            </p:cNvSpPr>
            <p:nvPr/>
          </p:nvSpPr>
          <p:spPr bwMode="auto">
            <a:xfrm>
              <a:off x="1468099" y="4744892"/>
              <a:ext cx="3303587" cy="0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Text Box 28"/>
            <p:cNvSpPr txBox="1">
              <a:spLocks noChangeArrowheads="1"/>
            </p:cNvSpPr>
            <p:nvPr/>
          </p:nvSpPr>
          <p:spPr bwMode="auto">
            <a:xfrm>
              <a:off x="2513638" y="4591877"/>
              <a:ext cx="1214092" cy="262778"/>
            </a:xfrm>
            <a:prstGeom prst="rect">
              <a:avLst/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정보 수집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1" name="Text Box 29"/>
            <p:cNvSpPr txBox="1">
              <a:spLocks noChangeArrowheads="1"/>
            </p:cNvSpPr>
            <p:nvPr/>
          </p:nvSpPr>
          <p:spPr bwMode="auto">
            <a:xfrm>
              <a:off x="1425984" y="4333733"/>
              <a:ext cx="438238" cy="24829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ow</a:t>
              </a:r>
            </a:p>
          </p:txBody>
        </p:sp>
        <p:sp>
          <p:nvSpPr>
            <p:cNvPr id="102" name="Text Box 30"/>
            <p:cNvSpPr txBox="1">
              <a:spLocks noChangeArrowheads="1"/>
            </p:cNvSpPr>
            <p:nvPr/>
          </p:nvSpPr>
          <p:spPr bwMode="auto">
            <a:xfrm>
              <a:off x="4285633" y="4333733"/>
              <a:ext cx="486328" cy="24829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igh</a:t>
              </a:r>
            </a:p>
          </p:txBody>
        </p:sp>
        <p:sp>
          <p:nvSpPr>
            <p:cNvPr id="103" name="Line 31"/>
            <p:cNvSpPr>
              <a:spLocks noChangeShapeType="1"/>
            </p:cNvSpPr>
            <p:nvPr/>
          </p:nvSpPr>
          <p:spPr bwMode="auto">
            <a:xfrm rot="5400000" flipV="1">
              <a:off x="-286883" y="3221686"/>
              <a:ext cx="2293937" cy="0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4" name="Text Box 32"/>
            <p:cNvSpPr txBox="1">
              <a:spLocks noChangeArrowheads="1"/>
            </p:cNvSpPr>
            <p:nvPr/>
          </p:nvSpPr>
          <p:spPr bwMode="auto">
            <a:xfrm rot="5400000" flipH="1" flipV="1">
              <a:off x="284955" y="3055110"/>
              <a:ext cx="1142765" cy="279180"/>
            </a:xfrm>
            <a:prstGeom prst="rect">
              <a:avLst/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채널 특징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5" name="Text Box 33"/>
            <p:cNvSpPr txBox="1">
              <a:spLocks noChangeArrowheads="1"/>
            </p:cNvSpPr>
            <p:nvPr/>
          </p:nvSpPr>
          <p:spPr bwMode="auto">
            <a:xfrm rot="10800000" flipV="1">
              <a:off x="944052" y="3897851"/>
              <a:ext cx="463886" cy="5669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면</a:t>
              </a:r>
              <a:b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</a:t>
              </a:r>
              <a:b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중심</a:t>
              </a:r>
            </a:p>
          </p:txBody>
        </p:sp>
        <p:sp>
          <p:nvSpPr>
            <p:cNvPr id="106" name="Text Box 34"/>
            <p:cNvSpPr txBox="1">
              <a:spLocks noChangeArrowheads="1"/>
            </p:cNvSpPr>
            <p:nvPr/>
          </p:nvSpPr>
          <p:spPr bwMode="auto">
            <a:xfrm>
              <a:off x="867173" y="2060848"/>
              <a:ext cx="604951" cy="5669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비대면</a:t>
              </a:r>
              <a:b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널</a:t>
              </a:r>
              <a:b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1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중심</a:t>
              </a:r>
            </a:p>
          </p:txBody>
        </p:sp>
        <p:grpSp>
          <p:nvGrpSpPr>
            <p:cNvPr id="107" name="Group 35"/>
            <p:cNvGrpSpPr>
              <a:grpSpLocks/>
            </p:cNvGrpSpPr>
            <p:nvPr/>
          </p:nvGrpSpPr>
          <p:grpSpPr bwMode="auto">
            <a:xfrm>
              <a:off x="1456986" y="2081067"/>
              <a:ext cx="3306763" cy="2259012"/>
              <a:chOff x="653" y="1440"/>
              <a:chExt cx="2160" cy="1927"/>
            </a:xfrm>
          </p:grpSpPr>
          <p:grpSp>
            <p:nvGrpSpPr>
              <p:cNvPr id="108" name="Group 36"/>
              <p:cNvGrpSpPr>
                <a:grpSpLocks/>
              </p:cNvGrpSpPr>
              <p:nvPr/>
            </p:nvGrpSpPr>
            <p:grpSpPr bwMode="auto">
              <a:xfrm>
                <a:off x="653" y="1440"/>
                <a:ext cx="2160" cy="1927"/>
                <a:chOff x="653" y="1440"/>
                <a:chExt cx="2160" cy="1927"/>
              </a:xfrm>
            </p:grpSpPr>
            <p:sp>
              <p:nvSpPr>
                <p:cNvPr id="110" name="Rectangle 37"/>
                <p:cNvSpPr>
                  <a:spLocks noChangeArrowheads="1"/>
                </p:cNvSpPr>
                <p:nvPr/>
              </p:nvSpPr>
              <p:spPr bwMode="auto">
                <a:xfrm>
                  <a:off x="653" y="1441"/>
                  <a:ext cx="2160" cy="1926"/>
                </a:xfrm>
                <a:prstGeom prst="rect">
                  <a:avLst/>
                </a:prstGeom>
                <a:noFill/>
                <a:ln w="12700" algn="ctr">
                  <a:solidFill>
                    <a:srgbClr val="808080"/>
                  </a:solidFill>
                  <a:miter lim="800000"/>
                  <a:headEnd/>
                  <a:tailEnd/>
                </a:ln>
              </p:spPr>
              <p:txBody>
                <a:bodyPr wrap="none" lIns="90000" tIns="46800" rIns="90000" bIns="46800" anchor="ctr"/>
                <a:lstStyle/>
                <a:p>
                  <a:pPr fontAlgn="auto" latinLnBrk="0">
                    <a:spcBef>
                      <a:spcPct val="50000"/>
                    </a:spcBef>
                    <a:spcAft>
                      <a:spcPts val="0"/>
                    </a:spcAft>
                    <a:defRPr/>
                  </a:pPr>
                  <a:endParaRPr lang="en-US" sz="1400" b="0" kern="0" dirty="0" smtClean="0">
                    <a:solidFill>
                      <a:srgbClr val="CC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111" name="Line 38"/>
                <p:cNvSpPr>
                  <a:spLocks noChangeShapeType="1"/>
                </p:cNvSpPr>
                <p:nvPr/>
              </p:nvSpPr>
              <p:spPr bwMode="auto">
                <a:xfrm>
                  <a:off x="1733" y="1440"/>
                  <a:ext cx="0" cy="1927"/>
                </a:xfrm>
                <a:prstGeom prst="line">
                  <a:avLst/>
                </a:prstGeom>
                <a:noFill/>
                <a:ln w="12700">
                  <a:solidFill>
                    <a:srgbClr val="808080"/>
                  </a:solidFill>
                  <a:prstDash val="dash"/>
                  <a:round/>
                  <a:headEnd/>
                  <a:tailEnd/>
                </a:ln>
              </p:spPr>
              <p:txBody>
                <a:bodyPr lIns="90000" tIns="46800" rIns="90000" bIns="46800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400" b="0" kern="0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sp>
            <p:nvSpPr>
              <p:cNvPr id="109" name="Line 39"/>
              <p:cNvSpPr>
                <a:spLocks noChangeShapeType="1"/>
              </p:cNvSpPr>
              <p:nvPr/>
            </p:nvSpPr>
            <p:spPr bwMode="auto">
              <a:xfrm rot="-5400000">
                <a:off x="1730" y="1327"/>
                <a:ext cx="0" cy="2154"/>
              </a:xfrm>
              <a:prstGeom prst="line">
                <a:avLst/>
              </a:prstGeom>
              <a:noFill/>
              <a:ln w="12700">
                <a:solidFill>
                  <a:srgbClr val="808080"/>
                </a:solidFill>
                <a:prstDash val="dash"/>
                <a:round/>
                <a:headEnd/>
                <a:tailEnd/>
              </a:ln>
            </p:spPr>
            <p:txBody>
              <a:bodyPr lIns="90000" tIns="46800" rIns="90000" bIns="46800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12" name="Oval 40"/>
            <p:cNvSpPr>
              <a:spLocks noChangeArrowheads="1"/>
            </p:cNvSpPr>
            <p:nvPr/>
          </p:nvSpPr>
          <p:spPr bwMode="auto">
            <a:xfrm>
              <a:off x="3963648" y="2168383"/>
              <a:ext cx="677862" cy="519113"/>
            </a:xfrm>
            <a:prstGeom prst="ellipse">
              <a:avLst/>
            </a:prstGeom>
            <a:solidFill>
              <a:srgbClr val="BFD9E6"/>
            </a:solidFill>
            <a:ln w="28575" algn="ctr">
              <a:solidFill>
                <a:srgbClr val="00669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20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</a:t>
              </a:r>
            </a:p>
          </p:txBody>
        </p:sp>
        <p:sp>
          <p:nvSpPr>
            <p:cNvPr id="113" name="Oval 41"/>
            <p:cNvSpPr>
              <a:spLocks noChangeArrowheads="1"/>
            </p:cNvSpPr>
            <p:nvPr/>
          </p:nvSpPr>
          <p:spPr bwMode="auto">
            <a:xfrm>
              <a:off x="3296898" y="2971657"/>
              <a:ext cx="674687" cy="517525"/>
            </a:xfrm>
            <a:prstGeom prst="ellipse">
              <a:avLst/>
            </a:prstGeom>
            <a:solidFill>
              <a:srgbClr val="FFFFFF"/>
            </a:solidFill>
            <a:ln w="28575" algn="ctr">
              <a:solidFill>
                <a:srgbClr val="006699"/>
              </a:solidFill>
              <a:prstDash val="sysDot"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C0C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</a:t>
              </a:r>
            </a:p>
          </p:txBody>
        </p:sp>
        <p:sp>
          <p:nvSpPr>
            <p:cNvPr id="114" name="AutoShape 42"/>
            <p:cNvSpPr>
              <a:spLocks noChangeArrowheads="1"/>
            </p:cNvSpPr>
            <p:nvPr/>
          </p:nvSpPr>
          <p:spPr bwMode="auto">
            <a:xfrm rot="6194762" flipH="1" flipV="1">
              <a:off x="1756228" y="2916885"/>
              <a:ext cx="476250" cy="471488"/>
            </a:xfrm>
            <a:prstGeom prst="rightArrow">
              <a:avLst>
                <a:gd name="adj1" fmla="val 50630"/>
                <a:gd name="adj2" fmla="val 28797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006699"/>
                </a:gs>
              </a:gsLst>
              <a:lin ang="0" scaled="1"/>
            </a:gradFill>
            <a:ln w="12700">
              <a:noFill/>
              <a:miter lim="800000"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Oval 43"/>
            <p:cNvSpPr>
              <a:spLocks noChangeArrowheads="1"/>
            </p:cNvSpPr>
            <p:nvPr/>
          </p:nvSpPr>
          <p:spPr bwMode="auto">
            <a:xfrm>
              <a:off x="1569697" y="3249471"/>
              <a:ext cx="679450" cy="517525"/>
            </a:xfrm>
            <a:prstGeom prst="ellipse">
              <a:avLst/>
            </a:prstGeom>
            <a:solidFill>
              <a:srgbClr val="FFFFFF"/>
            </a:solidFill>
            <a:ln w="28575" algn="ctr">
              <a:solidFill>
                <a:srgbClr val="006699"/>
              </a:solidFill>
              <a:prstDash val="sysDot"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C0C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증권</a:t>
              </a:r>
            </a:p>
          </p:txBody>
        </p:sp>
        <p:sp>
          <p:nvSpPr>
            <p:cNvPr id="116" name="AutoShape 44"/>
            <p:cNvSpPr>
              <a:spLocks noChangeArrowheads="1"/>
            </p:cNvSpPr>
            <p:nvPr/>
          </p:nvSpPr>
          <p:spPr bwMode="auto">
            <a:xfrm rot="5400000" flipH="1" flipV="1">
              <a:off x="2858747" y="3374879"/>
              <a:ext cx="474662" cy="471488"/>
            </a:xfrm>
            <a:prstGeom prst="rightArrow">
              <a:avLst>
                <a:gd name="adj1" fmla="val 50630"/>
                <a:gd name="adj2" fmla="val 28701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006699"/>
                </a:gs>
              </a:gsLst>
              <a:lin ang="0" scaled="1"/>
            </a:gradFill>
            <a:ln w="12700">
              <a:noFill/>
              <a:miter lim="800000"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Oval 45"/>
            <p:cNvSpPr>
              <a:spLocks noChangeArrowheads="1"/>
            </p:cNvSpPr>
            <p:nvPr/>
          </p:nvSpPr>
          <p:spPr bwMode="auto">
            <a:xfrm>
              <a:off x="2757147" y="3633643"/>
              <a:ext cx="677862" cy="517525"/>
            </a:xfrm>
            <a:prstGeom prst="ellipse">
              <a:avLst/>
            </a:prstGeom>
            <a:solidFill>
              <a:srgbClr val="FFFFFF"/>
            </a:solidFill>
            <a:ln w="28575" algn="ctr">
              <a:solidFill>
                <a:srgbClr val="006699"/>
              </a:solidFill>
              <a:prstDash val="sysDot"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C0C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험</a:t>
              </a:r>
            </a:p>
          </p:txBody>
        </p:sp>
        <p:sp>
          <p:nvSpPr>
            <p:cNvPr id="118" name="AutoShape 46"/>
            <p:cNvSpPr>
              <a:spLocks noChangeArrowheads="1"/>
            </p:cNvSpPr>
            <p:nvPr/>
          </p:nvSpPr>
          <p:spPr bwMode="auto">
            <a:xfrm rot="6103674" flipH="1" flipV="1">
              <a:off x="2198348" y="3238355"/>
              <a:ext cx="473075" cy="469900"/>
            </a:xfrm>
            <a:prstGeom prst="rightArrow">
              <a:avLst>
                <a:gd name="adj1" fmla="val 50630"/>
                <a:gd name="adj2" fmla="val 28702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006699"/>
                </a:gs>
              </a:gsLst>
              <a:lin ang="0" scaled="1"/>
            </a:gradFill>
            <a:ln w="12700">
              <a:noFill/>
              <a:miter lim="800000"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 sz="1400" b="0" kern="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Oval 47"/>
            <p:cNvSpPr>
              <a:spLocks noChangeArrowheads="1"/>
            </p:cNvSpPr>
            <p:nvPr/>
          </p:nvSpPr>
          <p:spPr bwMode="auto">
            <a:xfrm>
              <a:off x="2030074" y="3455842"/>
              <a:ext cx="677862" cy="519112"/>
            </a:xfrm>
            <a:prstGeom prst="ellipse">
              <a:avLst/>
            </a:prstGeom>
            <a:solidFill>
              <a:srgbClr val="FFFFFF"/>
            </a:solidFill>
            <a:ln w="28575" algn="ctr">
              <a:solidFill>
                <a:srgbClr val="006699"/>
              </a:solidFill>
              <a:prstDash val="sysDot"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C0C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은행</a:t>
              </a:r>
            </a:p>
          </p:txBody>
        </p:sp>
        <p:sp>
          <p:nvSpPr>
            <p:cNvPr id="120" name="Oval 48"/>
            <p:cNvSpPr>
              <a:spLocks noChangeArrowheads="1"/>
            </p:cNvSpPr>
            <p:nvPr/>
          </p:nvSpPr>
          <p:spPr bwMode="auto">
            <a:xfrm>
              <a:off x="2230099" y="2720833"/>
              <a:ext cx="676275" cy="517525"/>
            </a:xfrm>
            <a:prstGeom prst="ellipse">
              <a:avLst/>
            </a:prstGeom>
            <a:solidFill>
              <a:srgbClr val="408CB3"/>
            </a:solidFill>
            <a:ln w="28575" algn="ctr">
              <a:solidFill>
                <a:srgbClr val="00669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은행</a:t>
              </a:r>
            </a:p>
          </p:txBody>
        </p:sp>
        <p:sp>
          <p:nvSpPr>
            <p:cNvPr id="121" name="Oval 49"/>
            <p:cNvSpPr>
              <a:spLocks noChangeArrowheads="1"/>
            </p:cNvSpPr>
            <p:nvPr/>
          </p:nvSpPr>
          <p:spPr bwMode="auto">
            <a:xfrm>
              <a:off x="2757147" y="2858942"/>
              <a:ext cx="677862" cy="520700"/>
            </a:xfrm>
            <a:prstGeom prst="ellipse">
              <a:avLst/>
            </a:prstGeom>
            <a:solidFill>
              <a:srgbClr val="408CB3"/>
            </a:solidFill>
            <a:ln w="28575" algn="ctr">
              <a:solidFill>
                <a:srgbClr val="00669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fontAlgn="auto" latinLnBrk="0">
                <a:lnSpc>
                  <a:spcPct val="120000"/>
                </a:lnSpc>
                <a:spcBef>
                  <a:spcPct val="3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r>
                <a:rPr lang="ko-KR" altLang="en-US" sz="110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험</a:t>
              </a:r>
            </a:p>
          </p:txBody>
        </p:sp>
        <p:sp>
          <p:nvSpPr>
            <p:cNvPr id="122" name="Rectangle 10"/>
            <p:cNvSpPr>
              <a:spLocks noChangeArrowheads="1"/>
            </p:cNvSpPr>
            <p:nvPr/>
          </p:nvSpPr>
          <p:spPr bwMode="auto">
            <a:xfrm>
              <a:off x="560512" y="4895443"/>
              <a:ext cx="915987" cy="922337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76200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altLang="ko-KR" sz="1100" b="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Text Box 13"/>
            <p:cNvSpPr txBox="1">
              <a:spLocks noChangeArrowheads="1"/>
            </p:cNvSpPr>
            <p:nvPr/>
          </p:nvSpPr>
          <p:spPr bwMode="auto">
            <a:xfrm>
              <a:off x="1578099" y="4895441"/>
              <a:ext cx="3095625" cy="69526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터치 카드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스마트폰을 이용한 채널이용 및 고객의 자발적 카드접촉이 증대함에 따라 </a:t>
              </a:r>
              <a:r>
                <a:rPr lang="ko-KR" altLang="en-US" sz="12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규 프로세스 개발 및 </a:t>
              </a:r>
              <a:r>
                <a:rPr lang="ko-KR" altLang="en-US" sz="1200" i="1" u="sng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의존도가 </a:t>
              </a:r>
              <a:r>
                <a:rPr lang="ko-KR" altLang="en-US" sz="1200" i="1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높아지고 있음</a:t>
              </a:r>
              <a:r>
                <a:rPr lang="en-US" altLang="ko-KR" sz="1200" b="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</p:txBody>
        </p:sp>
        <p:pic>
          <p:nvPicPr>
            <p:cNvPr id="124" name="Picture 5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41648" y="5316130"/>
              <a:ext cx="792163" cy="169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5" name="Text Box 13"/>
            <p:cNvSpPr txBox="1">
              <a:spLocks noChangeArrowheads="1"/>
            </p:cNvSpPr>
            <p:nvPr/>
          </p:nvSpPr>
          <p:spPr bwMode="auto">
            <a:xfrm>
              <a:off x="1565277" y="5644412"/>
              <a:ext cx="3233737" cy="17381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loomberg 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port</a:t>
              </a:r>
              <a:endPara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5144149" y="1974966"/>
            <a:ext cx="4407091" cy="4089312"/>
            <a:chOff x="5845559" y="2680826"/>
            <a:chExt cx="4533441" cy="4089312"/>
          </a:xfrm>
        </p:grpSpPr>
        <p:sp>
          <p:nvSpPr>
            <p:cNvPr id="243" name="object 5"/>
            <p:cNvSpPr txBox="1"/>
            <p:nvPr/>
          </p:nvSpPr>
          <p:spPr>
            <a:xfrm>
              <a:off x="5845559" y="2827247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1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3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4" name="object 6"/>
            <p:cNvSpPr txBox="1"/>
            <p:nvPr/>
          </p:nvSpPr>
          <p:spPr>
            <a:xfrm>
              <a:off x="5845559" y="3551782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‘12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5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5" name="object 7"/>
            <p:cNvSpPr txBox="1"/>
            <p:nvPr/>
          </p:nvSpPr>
          <p:spPr>
            <a:xfrm>
              <a:off x="5845559" y="3933417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‘12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1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6" name="object 8"/>
            <p:cNvSpPr txBox="1"/>
            <p:nvPr/>
          </p:nvSpPr>
          <p:spPr>
            <a:xfrm>
              <a:off x="5845559" y="4350358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‘13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1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2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7" name="object 9"/>
            <p:cNvSpPr txBox="1"/>
            <p:nvPr/>
          </p:nvSpPr>
          <p:spPr>
            <a:xfrm>
              <a:off x="5845559" y="4784063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4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8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8" name="object 10"/>
            <p:cNvSpPr txBox="1"/>
            <p:nvPr/>
          </p:nvSpPr>
          <p:spPr>
            <a:xfrm>
              <a:off x="5845559" y="5202528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4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1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49" name="object 11"/>
            <p:cNvSpPr txBox="1"/>
            <p:nvPr/>
          </p:nvSpPr>
          <p:spPr>
            <a:xfrm>
              <a:off x="5845559" y="5953225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‘15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7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50" name="object 12"/>
            <p:cNvSpPr txBox="1"/>
            <p:nvPr/>
          </p:nvSpPr>
          <p:spPr>
            <a:xfrm>
              <a:off x="5845559" y="6440651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6</a:t>
              </a:r>
              <a:r>
                <a:rPr sz="1200" b="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lang="en-US" sz="1200" b="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9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251" name="object 13"/>
            <p:cNvSpPr/>
            <p:nvPr/>
          </p:nvSpPr>
          <p:spPr>
            <a:xfrm>
              <a:off x="6361789" y="2876261"/>
              <a:ext cx="137160" cy="3096895"/>
            </a:xfrm>
            <a:custGeom>
              <a:avLst/>
              <a:gdLst/>
              <a:ahLst/>
              <a:cxnLst/>
              <a:rect l="l" t="t" r="r" b="b"/>
              <a:pathLst>
                <a:path w="137159" h="3096895">
                  <a:moveTo>
                    <a:pt x="0" y="2959608"/>
                  </a:moveTo>
                  <a:lnTo>
                    <a:pt x="68580" y="3096768"/>
                  </a:lnTo>
                  <a:lnTo>
                    <a:pt x="109728" y="3014472"/>
                  </a:lnTo>
                  <a:lnTo>
                    <a:pt x="54864" y="3014472"/>
                  </a:lnTo>
                  <a:lnTo>
                    <a:pt x="54864" y="3003499"/>
                  </a:lnTo>
                  <a:lnTo>
                    <a:pt x="0" y="2959608"/>
                  </a:lnTo>
                  <a:close/>
                </a:path>
                <a:path w="137159" h="3096895">
                  <a:moveTo>
                    <a:pt x="54864" y="3003499"/>
                  </a:moveTo>
                  <a:lnTo>
                    <a:pt x="54864" y="3014472"/>
                  </a:lnTo>
                  <a:lnTo>
                    <a:pt x="68580" y="3014472"/>
                  </a:lnTo>
                  <a:lnTo>
                    <a:pt x="54864" y="3003499"/>
                  </a:lnTo>
                  <a:close/>
                </a:path>
                <a:path w="137159" h="3096895">
                  <a:moveTo>
                    <a:pt x="82296" y="0"/>
                  </a:moveTo>
                  <a:lnTo>
                    <a:pt x="54864" y="0"/>
                  </a:lnTo>
                  <a:lnTo>
                    <a:pt x="54864" y="3003499"/>
                  </a:lnTo>
                  <a:lnTo>
                    <a:pt x="68580" y="3014472"/>
                  </a:lnTo>
                  <a:lnTo>
                    <a:pt x="82296" y="3003499"/>
                  </a:lnTo>
                  <a:lnTo>
                    <a:pt x="82296" y="0"/>
                  </a:lnTo>
                  <a:close/>
                </a:path>
                <a:path w="137159" h="3096895">
                  <a:moveTo>
                    <a:pt x="82296" y="3003499"/>
                  </a:moveTo>
                  <a:lnTo>
                    <a:pt x="68580" y="3014472"/>
                  </a:lnTo>
                  <a:lnTo>
                    <a:pt x="82296" y="3014472"/>
                  </a:lnTo>
                  <a:lnTo>
                    <a:pt x="82296" y="3003499"/>
                  </a:lnTo>
                  <a:close/>
                </a:path>
                <a:path w="137159" h="3096895">
                  <a:moveTo>
                    <a:pt x="137159" y="2959608"/>
                  </a:moveTo>
                  <a:lnTo>
                    <a:pt x="82296" y="3003499"/>
                  </a:lnTo>
                  <a:lnTo>
                    <a:pt x="82296" y="3014472"/>
                  </a:lnTo>
                  <a:lnTo>
                    <a:pt x="109728" y="3014472"/>
                  </a:lnTo>
                  <a:lnTo>
                    <a:pt x="137159" y="2959608"/>
                  </a:lnTo>
                  <a:close/>
                </a:path>
              </a:pathLst>
            </a:custGeom>
            <a:solidFill>
              <a:srgbClr val="787878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2" name="object 14"/>
            <p:cNvSpPr/>
            <p:nvPr/>
          </p:nvSpPr>
          <p:spPr>
            <a:xfrm>
              <a:off x="6570450" y="4621241"/>
              <a:ext cx="2696210" cy="329565"/>
            </a:xfrm>
            <a:custGeom>
              <a:avLst/>
              <a:gdLst/>
              <a:ahLst/>
              <a:cxnLst/>
              <a:rect l="l" t="t" r="r" b="b"/>
              <a:pathLst>
                <a:path w="2696210" h="329564">
                  <a:moveTo>
                    <a:pt x="138810" y="0"/>
                  </a:moveTo>
                  <a:lnTo>
                    <a:pt x="565022" y="0"/>
                  </a:lnTo>
                  <a:lnTo>
                    <a:pt x="1204341" y="0"/>
                  </a:lnTo>
                  <a:lnTo>
                    <a:pt x="2696083" y="0"/>
                  </a:lnTo>
                  <a:lnTo>
                    <a:pt x="2696083" y="192023"/>
                  </a:lnTo>
                  <a:lnTo>
                    <a:pt x="2696083" y="274319"/>
                  </a:lnTo>
                  <a:lnTo>
                    <a:pt x="2696083" y="329183"/>
                  </a:lnTo>
                  <a:lnTo>
                    <a:pt x="1204341" y="329183"/>
                  </a:lnTo>
                  <a:lnTo>
                    <a:pt x="565022" y="329183"/>
                  </a:lnTo>
                  <a:lnTo>
                    <a:pt x="138810" y="329183"/>
                  </a:lnTo>
                  <a:lnTo>
                    <a:pt x="138810" y="274319"/>
                  </a:lnTo>
                  <a:lnTo>
                    <a:pt x="0" y="217296"/>
                  </a:lnTo>
                  <a:lnTo>
                    <a:pt x="138810" y="192023"/>
                  </a:lnTo>
                  <a:lnTo>
                    <a:pt x="138810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4" name="object 16"/>
            <p:cNvSpPr/>
            <p:nvPr/>
          </p:nvSpPr>
          <p:spPr>
            <a:xfrm>
              <a:off x="6570195" y="4240241"/>
              <a:ext cx="2696845" cy="329565"/>
            </a:xfrm>
            <a:custGeom>
              <a:avLst/>
              <a:gdLst/>
              <a:ahLst/>
              <a:cxnLst/>
              <a:rect l="l" t="t" r="r" b="b"/>
              <a:pathLst>
                <a:path w="2696845" h="329564">
                  <a:moveTo>
                    <a:pt x="139065" y="0"/>
                  </a:moveTo>
                  <a:lnTo>
                    <a:pt x="565277" y="0"/>
                  </a:lnTo>
                  <a:lnTo>
                    <a:pt x="1204595" y="0"/>
                  </a:lnTo>
                  <a:lnTo>
                    <a:pt x="2696337" y="0"/>
                  </a:lnTo>
                  <a:lnTo>
                    <a:pt x="2696337" y="54863"/>
                  </a:lnTo>
                  <a:lnTo>
                    <a:pt x="2696337" y="137160"/>
                  </a:lnTo>
                  <a:lnTo>
                    <a:pt x="2696337" y="329184"/>
                  </a:lnTo>
                  <a:lnTo>
                    <a:pt x="1204595" y="329184"/>
                  </a:lnTo>
                  <a:lnTo>
                    <a:pt x="565277" y="329184"/>
                  </a:lnTo>
                  <a:lnTo>
                    <a:pt x="139065" y="329184"/>
                  </a:lnTo>
                  <a:lnTo>
                    <a:pt x="139065" y="137160"/>
                  </a:lnTo>
                  <a:lnTo>
                    <a:pt x="0" y="124587"/>
                  </a:lnTo>
                  <a:lnTo>
                    <a:pt x="139065" y="54863"/>
                  </a:lnTo>
                  <a:lnTo>
                    <a:pt x="139065" y="0"/>
                  </a:lnTo>
                  <a:close/>
                </a:path>
              </a:pathLst>
            </a:custGeom>
            <a:ln w="12191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6" name="object 18"/>
            <p:cNvSpPr/>
            <p:nvPr/>
          </p:nvSpPr>
          <p:spPr>
            <a:xfrm>
              <a:off x="6782412" y="3935442"/>
              <a:ext cx="740663" cy="18897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7" name="object 19"/>
            <p:cNvSpPr/>
            <p:nvPr/>
          </p:nvSpPr>
          <p:spPr>
            <a:xfrm>
              <a:off x="6560417" y="3862289"/>
              <a:ext cx="2706370" cy="329565"/>
            </a:xfrm>
            <a:custGeom>
              <a:avLst/>
              <a:gdLst/>
              <a:ahLst/>
              <a:cxnLst/>
              <a:rect l="l" t="t" r="r" b="b"/>
              <a:pathLst>
                <a:path w="2706370" h="329564">
                  <a:moveTo>
                    <a:pt x="148844" y="0"/>
                  </a:moveTo>
                  <a:lnTo>
                    <a:pt x="575056" y="0"/>
                  </a:lnTo>
                  <a:lnTo>
                    <a:pt x="1214374" y="0"/>
                  </a:lnTo>
                  <a:lnTo>
                    <a:pt x="2706116" y="0"/>
                  </a:lnTo>
                  <a:lnTo>
                    <a:pt x="2706116" y="54863"/>
                  </a:lnTo>
                  <a:lnTo>
                    <a:pt x="2706116" y="137160"/>
                  </a:lnTo>
                  <a:lnTo>
                    <a:pt x="2706116" y="329184"/>
                  </a:lnTo>
                  <a:lnTo>
                    <a:pt x="1214374" y="329184"/>
                  </a:lnTo>
                  <a:lnTo>
                    <a:pt x="575056" y="329184"/>
                  </a:lnTo>
                  <a:lnTo>
                    <a:pt x="148844" y="329184"/>
                  </a:lnTo>
                  <a:lnTo>
                    <a:pt x="148844" y="137160"/>
                  </a:lnTo>
                  <a:lnTo>
                    <a:pt x="0" y="111887"/>
                  </a:lnTo>
                  <a:lnTo>
                    <a:pt x="148844" y="54863"/>
                  </a:lnTo>
                  <a:lnTo>
                    <a:pt x="148844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9" name="object 21"/>
            <p:cNvSpPr/>
            <p:nvPr/>
          </p:nvSpPr>
          <p:spPr>
            <a:xfrm>
              <a:off x="6379125" y="2827494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0" name="object 22"/>
            <p:cNvSpPr/>
            <p:nvPr/>
          </p:nvSpPr>
          <p:spPr>
            <a:xfrm>
              <a:off x="6379125" y="2827494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1" name="object 23"/>
            <p:cNvSpPr/>
            <p:nvPr/>
          </p:nvSpPr>
          <p:spPr>
            <a:xfrm>
              <a:off x="6379125" y="3952205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2" name="object 24"/>
            <p:cNvSpPr/>
            <p:nvPr/>
          </p:nvSpPr>
          <p:spPr>
            <a:xfrm>
              <a:off x="6379125" y="3952205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3" name="object 25"/>
            <p:cNvSpPr/>
            <p:nvPr/>
          </p:nvSpPr>
          <p:spPr>
            <a:xfrm>
              <a:off x="6378560" y="3562061"/>
              <a:ext cx="106680" cy="109855"/>
            </a:xfrm>
            <a:custGeom>
              <a:avLst/>
              <a:gdLst/>
              <a:ahLst/>
              <a:cxnLst/>
              <a:rect l="l" t="t" r="r" b="b"/>
              <a:pathLst>
                <a:path w="106680" h="109855">
                  <a:moveTo>
                    <a:pt x="53332" y="0"/>
                  </a:moveTo>
                  <a:lnTo>
                    <a:pt x="15239" y="16561"/>
                  </a:lnTo>
                  <a:lnTo>
                    <a:pt x="0" y="55807"/>
                  </a:lnTo>
                  <a:lnTo>
                    <a:pt x="2098" y="70188"/>
                  </a:lnTo>
                  <a:lnTo>
                    <a:pt x="26859" y="102395"/>
                  </a:lnTo>
                  <a:lnTo>
                    <a:pt x="54013" y="109723"/>
                  </a:lnTo>
                  <a:lnTo>
                    <a:pt x="68035" y="107619"/>
                  </a:lnTo>
                  <a:lnTo>
                    <a:pt x="99497" y="82275"/>
                  </a:lnTo>
                  <a:lnTo>
                    <a:pt x="106671" y="54484"/>
                  </a:lnTo>
                  <a:lnTo>
                    <a:pt x="104688" y="39970"/>
                  </a:lnTo>
                  <a:lnTo>
                    <a:pt x="80157" y="7419"/>
                  </a:lnTo>
                  <a:lnTo>
                    <a:pt x="5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4" name="object 26"/>
            <p:cNvSpPr/>
            <p:nvPr/>
          </p:nvSpPr>
          <p:spPr>
            <a:xfrm>
              <a:off x="6378560" y="3562061"/>
              <a:ext cx="106680" cy="109855"/>
            </a:xfrm>
            <a:custGeom>
              <a:avLst/>
              <a:gdLst/>
              <a:ahLst/>
              <a:cxnLst/>
              <a:rect l="l" t="t" r="r" b="b"/>
              <a:pathLst>
                <a:path w="106680" h="109855">
                  <a:moveTo>
                    <a:pt x="53332" y="0"/>
                  </a:moveTo>
                  <a:lnTo>
                    <a:pt x="90930" y="15925"/>
                  </a:lnTo>
                  <a:lnTo>
                    <a:pt x="106671" y="54484"/>
                  </a:lnTo>
                  <a:lnTo>
                    <a:pt x="104795" y="69138"/>
                  </a:lnTo>
                  <a:lnTo>
                    <a:pt x="80621" y="102012"/>
                  </a:lnTo>
                  <a:lnTo>
                    <a:pt x="54013" y="109723"/>
                  </a:lnTo>
                  <a:lnTo>
                    <a:pt x="39688" y="107808"/>
                  </a:lnTo>
                  <a:lnTo>
                    <a:pt x="7591" y="83082"/>
                  </a:lnTo>
                  <a:lnTo>
                    <a:pt x="0" y="55807"/>
                  </a:lnTo>
                  <a:lnTo>
                    <a:pt x="1853" y="40992"/>
                  </a:lnTo>
                  <a:lnTo>
                    <a:pt x="25794" y="7891"/>
                  </a:lnTo>
                  <a:lnTo>
                    <a:pt x="53332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5" name="object 27"/>
            <p:cNvSpPr/>
            <p:nvPr/>
          </p:nvSpPr>
          <p:spPr>
            <a:xfrm>
              <a:off x="6379125" y="4796502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6" name="object 28"/>
            <p:cNvSpPr/>
            <p:nvPr/>
          </p:nvSpPr>
          <p:spPr>
            <a:xfrm>
              <a:off x="6379125" y="4796502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7" name="object 29"/>
            <p:cNvSpPr/>
            <p:nvPr/>
          </p:nvSpPr>
          <p:spPr>
            <a:xfrm>
              <a:off x="6379125" y="5214078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8" name="object 30"/>
            <p:cNvSpPr/>
            <p:nvPr/>
          </p:nvSpPr>
          <p:spPr>
            <a:xfrm>
              <a:off x="6379125" y="5214078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9" name="object 31"/>
            <p:cNvSpPr/>
            <p:nvPr/>
          </p:nvSpPr>
          <p:spPr>
            <a:xfrm>
              <a:off x="6378560" y="6463758"/>
              <a:ext cx="106680" cy="109855"/>
            </a:xfrm>
            <a:custGeom>
              <a:avLst/>
              <a:gdLst/>
              <a:ahLst/>
              <a:cxnLst/>
              <a:rect l="l" t="t" r="r" b="b"/>
              <a:pathLst>
                <a:path w="106680" h="109854">
                  <a:moveTo>
                    <a:pt x="53332" y="0"/>
                  </a:moveTo>
                  <a:lnTo>
                    <a:pt x="90930" y="15925"/>
                  </a:lnTo>
                  <a:lnTo>
                    <a:pt x="106671" y="54484"/>
                  </a:lnTo>
                  <a:lnTo>
                    <a:pt x="104795" y="69121"/>
                  </a:lnTo>
                  <a:lnTo>
                    <a:pt x="80621" y="102001"/>
                  </a:lnTo>
                  <a:lnTo>
                    <a:pt x="54013" y="109723"/>
                  </a:lnTo>
                  <a:lnTo>
                    <a:pt x="39688" y="107805"/>
                  </a:lnTo>
                  <a:lnTo>
                    <a:pt x="7591" y="83059"/>
                  </a:lnTo>
                  <a:lnTo>
                    <a:pt x="0" y="55805"/>
                  </a:lnTo>
                  <a:lnTo>
                    <a:pt x="1853" y="40991"/>
                  </a:lnTo>
                  <a:lnTo>
                    <a:pt x="25795" y="7891"/>
                  </a:lnTo>
                  <a:lnTo>
                    <a:pt x="53332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0" name="object 32"/>
            <p:cNvSpPr/>
            <p:nvPr/>
          </p:nvSpPr>
          <p:spPr>
            <a:xfrm>
              <a:off x="6379125" y="4372829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1" name="object 33"/>
            <p:cNvSpPr/>
            <p:nvPr/>
          </p:nvSpPr>
          <p:spPr>
            <a:xfrm>
              <a:off x="6379125" y="4372829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5" name="object 37"/>
            <p:cNvSpPr/>
            <p:nvPr/>
          </p:nvSpPr>
          <p:spPr>
            <a:xfrm>
              <a:off x="6552670" y="2713194"/>
              <a:ext cx="2713990" cy="396240"/>
            </a:xfrm>
            <a:custGeom>
              <a:avLst/>
              <a:gdLst/>
              <a:ahLst/>
              <a:cxnLst/>
              <a:rect l="l" t="t" r="r" b="b"/>
              <a:pathLst>
                <a:path w="2713990" h="396239">
                  <a:moveTo>
                    <a:pt x="156590" y="0"/>
                  </a:moveTo>
                  <a:lnTo>
                    <a:pt x="582803" y="0"/>
                  </a:lnTo>
                  <a:lnTo>
                    <a:pt x="1222121" y="0"/>
                  </a:lnTo>
                  <a:lnTo>
                    <a:pt x="2713863" y="0"/>
                  </a:lnTo>
                  <a:lnTo>
                    <a:pt x="2713863" y="66039"/>
                  </a:lnTo>
                  <a:lnTo>
                    <a:pt x="2713863" y="165100"/>
                  </a:lnTo>
                  <a:lnTo>
                    <a:pt x="2713863" y="396239"/>
                  </a:lnTo>
                  <a:lnTo>
                    <a:pt x="1222121" y="396239"/>
                  </a:lnTo>
                  <a:lnTo>
                    <a:pt x="582803" y="396239"/>
                  </a:lnTo>
                  <a:lnTo>
                    <a:pt x="156590" y="396239"/>
                  </a:lnTo>
                  <a:lnTo>
                    <a:pt x="156590" y="165100"/>
                  </a:lnTo>
                  <a:lnTo>
                    <a:pt x="0" y="146557"/>
                  </a:lnTo>
                  <a:lnTo>
                    <a:pt x="156590" y="66039"/>
                  </a:lnTo>
                  <a:lnTo>
                    <a:pt x="156590" y="0"/>
                  </a:lnTo>
                  <a:close/>
                </a:path>
              </a:pathLst>
            </a:custGeom>
            <a:ln w="12191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6" name="object 38"/>
            <p:cNvSpPr/>
            <p:nvPr/>
          </p:nvSpPr>
          <p:spPr>
            <a:xfrm>
              <a:off x="6733645" y="2816826"/>
              <a:ext cx="841248" cy="17678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7" name="object 39"/>
            <p:cNvSpPr/>
            <p:nvPr/>
          </p:nvSpPr>
          <p:spPr>
            <a:xfrm>
              <a:off x="6551019" y="5831297"/>
              <a:ext cx="2715895" cy="414655"/>
            </a:xfrm>
            <a:custGeom>
              <a:avLst/>
              <a:gdLst/>
              <a:ahLst/>
              <a:cxnLst/>
              <a:rect l="l" t="t" r="r" b="b"/>
              <a:pathLst>
                <a:path w="2715895" h="414654">
                  <a:moveTo>
                    <a:pt x="158241" y="0"/>
                  </a:moveTo>
                  <a:lnTo>
                    <a:pt x="584454" y="0"/>
                  </a:lnTo>
                  <a:lnTo>
                    <a:pt x="1223772" y="0"/>
                  </a:lnTo>
                  <a:lnTo>
                    <a:pt x="2715514" y="0"/>
                  </a:lnTo>
                  <a:lnTo>
                    <a:pt x="2715514" y="69087"/>
                  </a:lnTo>
                  <a:lnTo>
                    <a:pt x="2715514" y="172719"/>
                  </a:lnTo>
                  <a:lnTo>
                    <a:pt x="2715514" y="414527"/>
                  </a:lnTo>
                  <a:lnTo>
                    <a:pt x="1223772" y="414527"/>
                  </a:lnTo>
                  <a:lnTo>
                    <a:pt x="584454" y="414527"/>
                  </a:lnTo>
                  <a:lnTo>
                    <a:pt x="158241" y="414527"/>
                  </a:lnTo>
                  <a:lnTo>
                    <a:pt x="158241" y="172719"/>
                  </a:lnTo>
                  <a:lnTo>
                    <a:pt x="0" y="172338"/>
                  </a:lnTo>
                  <a:lnTo>
                    <a:pt x="158241" y="69087"/>
                  </a:lnTo>
                  <a:lnTo>
                    <a:pt x="158241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8" name="object 40"/>
            <p:cNvSpPr/>
            <p:nvPr/>
          </p:nvSpPr>
          <p:spPr>
            <a:xfrm>
              <a:off x="6803749" y="5944073"/>
              <a:ext cx="701039" cy="19507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9" name="object 41"/>
            <p:cNvSpPr/>
            <p:nvPr/>
          </p:nvSpPr>
          <p:spPr>
            <a:xfrm>
              <a:off x="6554956" y="3490433"/>
              <a:ext cx="2712085" cy="335280"/>
            </a:xfrm>
            <a:custGeom>
              <a:avLst/>
              <a:gdLst/>
              <a:ahLst/>
              <a:cxnLst/>
              <a:rect l="l" t="t" r="r" b="b"/>
              <a:pathLst>
                <a:path w="2712085" h="335280">
                  <a:moveTo>
                    <a:pt x="154304" y="0"/>
                  </a:moveTo>
                  <a:lnTo>
                    <a:pt x="580516" y="0"/>
                  </a:lnTo>
                  <a:lnTo>
                    <a:pt x="1219835" y="0"/>
                  </a:lnTo>
                  <a:lnTo>
                    <a:pt x="2711577" y="0"/>
                  </a:lnTo>
                  <a:lnTo>
                    <a:pt x="2711577" y="55879"/>
                  </a:lnTo>
                  <a:lnTo>
                    <a:pt x="2711577" y="139700"/>
                  </a:lnTo>
                  <a:lnTo>
                    <a:pt x="2711577" y="335279"/>
                  </a:lnTo>
                  <a:lnTo>
                    <a:pt x="1219835" y="335279"/>
                  </a:lnTo>
                  <a:lnTo>
                    <a:pt x="580516" y="335279"/>
                  </a:lnTo>
                  <a:lnTo>
                    <a:pt x="154304" y="335279"/>
                  </a:lnTo>
                  <a:lnTo>
                    <a:pt x="154304" y="139700"/>
                  </a:lnTo>
                  <a:lnTo>
                    <a:pt x="0" y="118237"/>
                  </a:lnTo>
                  <a:lnTo>
                    <a:pt x="154304" y="55879"/>
                  </a:lnTo>
                  <a:lnTo>
                    <a:pt x="154304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0" name="object 42"/>
            <p:cNvSpPr/>
            <p:nvPr/>
          </p:nvSpPr>
          <p:spPr>
            <a:xfrm>
              <a:off x="6788508" y="3578826"/>
              <a:ext cx="728472" cy="18897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2" name="object 44"/>
            <p:cNvSpPr/>
            <p:nvPr/>
          </p:nvSpPr>
          <p:spPr>
            <a:xfrm>
              <a:off x="6379125" y="5637750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3" name="object 45"/>
            <p:cNvSpPr/>
            <p:nvPr/>
          </p:nvSpPr>
          <p:spPr>
            <a:xfrm>
              <a:off x="6379125" y="5637750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4" name="object 46"/>
            <p:cNvSpPr/>
            <p:nvPr/>
          </p:nvSpPr>
          <p:spPr>
            <a:xfrm>
              <a:off x="6532731" y="5462490"/>
              <a:ext cx="2740025" cy="329565"/>
            </a:xfrm>
            <a:custGeom>
              <a:avLst/>
              <a:gdLst/>
              <a:ahLst/>
              <a:cxnLst/>
              <a:rect l="l" t="t" r="r" b="b"/>
              <a:pathLst>
                <a:path w="2740025" h="329564">
                  <a:moveTo>
                    <a:pt x="182625" y="0"/>
                  </a:moveTo>
                  <a:lnTo>
                    <a:pt x="608837" y="0"/>
                  </a:lnTo>
                  <a:lnTo>
                    <a:pt x="1248155" y="0"/>
                  </a:lnTo>
                  <a:lnTo>
                    <a:pt x="2739897" y="0"/>
                  </a:lnTo>
                  <a:lnTo>
                    <a:pt x="2739897" y="192024"/>
                  </a:lnTo>
                  <a:lnTo>
                    <a:pt x="2739897" y="274320"/>
                  </a:lnTo>
                  <a:lnTo>
                    <a:pt x="2739897" y="329184"/>
                  </a:lnTo>
                  <a:lnTo>
                    <a:pt x="1248155" y="329184"/>
                  </a:lnTo>
                  <a:lnTo>
                    <a:pt x="608837" y="329184"/>
                  </a:lnTo>
                  <a:lnTo>
                    <a:pt x="182625" y="329184"/>
                  </a:lnTo>
                  <a:lnTo>
                    <a:pt x="182625" y="274320"/>
                  </a:lnTo>
                  <a:lnTo>
                    <a:pt x="0" y="223901"/>
                  </a:lnTo>
                  <a:lnTo>
                    <a:pt x="182625" y="192024"/>
                  </a:lnTo>
                  <a:lnTo>
                    <a:pt x="182625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5" name="object 47"/>
            <p:cNvSpPr/>
            <p:nvPr/>
          </p:nvSpPr>
          <p:spPr>
            <a:xfrm>
              <a:off x="6858612" y="5532594"/>
              <a:ext cx="591312" cy="22250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6" name="object 48"/>
            <p:cNvSpPr/>
            <p:nvPr/>
          </p:nvSpPr>
          <p:spPr>
            <a:xfrm>
              <a:off x="6532731" y="4996146"/>
              <a:ext cx="2740025" cy="414655"/>
            </a:xfrm>
            <a:custGeom>
              <a:avLst/>
              <a:gdLst/>
              <a:ahLst/>
              <a:cxnLst/>
              <a:rect l="l" t="t" r="r" b="b"/>
              <a:pathLst>
                <a:path w="2740025" h="414654">
                  <a:moveTo>
                    <a:pt x="182625" y="0"/>
                  </a:moveTo>
                  <a:lnTo>
                    <a:pt x="608837" y="0"/>
                  </a:lnTo>
                  <a:lnTo>
                    <a:pt x="1248155" y="0"/>
                  </a:lnTo>
                  <a:lnTo>
                    <a:pt x="2739897" y="0"/>
                  </a:lnTo>
                  <a:lnTo>
                    <a:pt x="2739897" y="241807"/>
                  </a:lnTo>
                  <a:lnTo>
                    <a:pt x="2739897" y="345439"/>
                  </a:lnTo>
                  <a:lnTo>
                    <a:pt x="2739897" y="414527"/>
                  </a:lnTo>
                  <a:lnTo>
                    <a:pt x="1248155" y="414527"/>
                  </a:lnTo>
                  <a:lnTo>
                    <a:pt x="608837" y="414527"/>
                  </a:lnTo>
                  <a:lnTo>
                    <a:pt x="182625" y="414527"/>
                  </a:lnTo>
                  <a:lnTo>
                    <a:pt x="182625" y="345439"/>
                  </a:lnTo>
                  <a:lnTo>
                    <a:pt x="0" y="256920"/>
                  </a:lnTo>
                  <a:lnTo>
                    <a:pt x="182625" y="241807"/>
                  </a:lnTo>
                  <a:lnTo>
                    <a:pt x="182625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7" name="object 49"/>
            <p:cNvSpPr/>
            <p:nvPr/>
          </p:nvSpPr>
          <p:spPr>
            <a:xfrm>
              <a:off x="6767173" y="5118065"/>
              <a:ext cx="774192" cy="19811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8" name="object 50"/>
            <p:cNvSpPr/>
            <p:nvPr/>
          </p:nvSpPr>
          <p:spPr>
            <a:xfrm>
              <a:off x="6560544" y="6291546"/>
              <a:ext cx="2706370" cy="466725"/>
            </a:xfrm>
            <a:custGeom>
              <a:avLst/>
              <a:gdLst/>
              <a:ahLst/>
              <a:cxnLst/>
              <a:rect l="l" t="t" r="r" b="b"/>
              <a:pathLst>
                <a:path w="2706370" h="466725">
                  <a:moveTo>
                    <a:pt x="148716" y="0"/>
                  </a:moveTo>
                  <a:lnTo>
                    <a:pt x="574929" y="0"/>
                  </a:lnTo>
                  <a:lnTo>
                    <a:pt x="1214247" y="0"/>
                  </a:lnTo>
                  <a:lnTo>
                    <a:pt x="2705989" y="0"/>
                  </a:lnTo>
                  <a:lnTo>
                    <a:pt x="2705989" y="77723"/>
                  </a:lnTo>
                  <a:lnTo>
                    <a:pt x="2705989" y="194309"/>
                  </a:lnTo>
                  <a:lnTo>
                    <a:pt x="2705989" y="466343"/>
                  </a:lnTo>
                  <a:lnTo>
                    <a:pt x="1214247" y="466343"/>
                  </a:lnTo>
                  <a:lnTo>
                    <a:pt x="574929" y="466343"/>
                  </a:lnTo>
                  <a:lnTo>
                    <a:pt x="148716" y="466343"/>
                  </a:lnTo>
                  <a:lnTo>
                    <a:pt x="148716" y="194309"/>
                  </a:lnTo>
                  <a:lnTo>
                    <a:pt x="0" y="217804"/>
                  </a:lnTo>
                  <a:lnTo>
                    <a:pt x="148716" y="77723"/>
                  </a:lnTo>
                  <a:lnTo>
                    <a:pt x="148716" y="0"/>
                  </a:lnTo>
                  <a:close/>
                </a:path>
              </a:pathLst>
            </a:custGeom>
            <a:ln w="12192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9" name="object 51"/>
            <p:cNvSpPr/>
            <p:nvPr/>
          </p:nvSpPr>
          <p:spPr>
            <a:xfrm>
              <a:off x="6776317" y="6392129"/>
              <a:ext cx="752856" cy="11582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1" name="object 53"/>
            <p:cNvSpPr/>
            <p:nvPr/>
          </p:nvSpPr>
          <p:spPr>
            <a:xfrm>
              <a:off x="6361789" y="6076661"/>
              <a:ext cx="137160" cy="396240"/>
            </a:xfrm>
            <a:custGeom>
              <a:avLst/>
              <a:gdLst/>
              <a:ahLst/>
              <a:cxnLst/>
              <a:rect l="l" t="t" r="r" b="b"/>
              <a:pathLst>
                <a:path w="137159" h="396239">
                  <a:moveTo>
                    <a:pt x="82296" y="0"/>
                  </a:moveTo>
                  <a:lnTo>
                    <a:pt x="54864" y="0"/>
                  </a:lnTo>
                  <a:lnTo>
                    <a:pt x="54864" y="82295"/>
                  </a:lnTo>
                  <a:lnTo>
                    <a:pt x="82296" y="82295"/>
                  </a:lnTo>
                  <a:lnTo>
                    <a:pt x="82296" y="0"/>
                  </a:lnTo>
                  <a:close/>
                </a:path>
                <a:path w="137159" h="396239">
                  <a:moveTo>
                    <a:pt x="82296" y="109728"/>
                  </a:moveTo>
                  <a:lnTo>
                    <a:pt x="54864" y="109728"/>
                  </a:lnTo>
                  <a:lnTo>
                    <a:pt x="54864" y="192024"/>
                  </a:lnTo>
                  <a:lnTo>
                    <a:pt x="82296" y="192024"/>
                  </a:lnTo>
                  <a:lnTo>
                    <a:pt x="82296" y="109728"/>
                  </a:lnTo>
                  <a:close/>
                </a:path>
                <a:path w="137159" h="396239">
                  <a:moveTo>
                    <a:pt x="0" y="259079"/>
                  </a:moveTo>
                  <a:lnTo>
                    <a:pt x="68580" y="396240"/>
                  </a:lnTo>
                  <a:lnTo>
                    <a:pt x="109728" y="313944"/>
                  </a:lnTo>
                  <a:lnTo>
                    <a:pt x="68580" y="313944"/>
                  </a:lnTo>
                  <a:lnTo>
                    <a:pt x="0" y="259079"/>
                  </a:lnTo>
                  <a:close/>
                </a:path>
                <a:path w="137159" h="396239">
                  <a:moveTo>
                    <a:pt x="137159" y="259079"/>
                  </a:moveTo>
                  <a:lnTo>
                    <a:pt x="68580" y="313944"/>
                  </a:lnTo>
                  <a:lnTo>
                    <a:pt x="109728" y="313944"/>
                  </a:lnTo>
                  <a:lnTo>
                    <a:pt x="137159" y="259079"/>
                  </a:lnTo>
                  <a:close/>
                </a:path>
                <a:path w="137159" h="396239">
                  <a:moveTo>
                    <a:pt x="82296" y="219456"/>
                  </a:moveTo>
                  <a:lnTo>
                    <a:pt x="54864" y="219456"/>
                  </a:lnTo>
                  <a:lnTo>
                    <a:pt x="54864" y="301751"/>
                  </a:lnTo>
                  <a:lnTo>
                    <a:pt x="82296" y="301751"/>
                  </a:lnTo>
                  <a:lnTo>
                    <a:pt x="82296" y="219456"/>
                  </a:lnTo>
                  <a:close/>
                </a:path>
              </a:pathLst>
            </a:custGeom>
            <a:solidFill>
              <a:srgbClr val="787878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5" name="object 57"/>
            <p:cNvSpPr/>
            <p:nvPr/>
          </p:nvSpPr>
          <p:spPr>
            <a:xfrm>
              <a:off x="9405960" y="2755991"/>
              <a:ext cx="127000" cy="1036445"/>
            </a:xfrm>
            <a:custGeom>
              <a:avLst/>
              <a:gdLst/>
              <a:ahLst/>
              <a:cxnLst/>
              <a:rect l="l" t="t" r="r" b="b"/>
              <a:pathLst>
                <a:path w="127000" h="2160270">
                  <a:moveTo>
                    <a:pt x="54355" y="2083816"/>
                  </a:moveTo>
                  <a:lnTo>
                    <a:pt x="0" y="2083816"/>
                  </a:lnTo>
                  <a:lnTo>
                    <a:pt x="63500" y="2160016"/>
                  </a:lnTo>
                  <a:lnTo>
                    <a:pt x="116416" y="2096516"/>
                  </a:lnTo>
                  <a:lnTo>
                    <a:pt x="54355" y="2096516"/>
                  </a:lnTo>
                  <a:lnTo>
                    <a:pt x="54355" y="2083816"/>
                  </a:lnTo>
                  <a:close/>
                </a:path>
                <a:path w="127000" h="2160270">
                  <a:moveTo>
                    <a:pt x="72643" y="0"/>
                  </a:moveTo>
                  <a:lnTo>
                    <a:pt x="54355" y="0"/>
                  </a:lnTo>
                  <a:lnTo>
                    <a:pt x="54355" y="2096516"/>
                  </a:lnTo>
                  <a:lnTo>
                    <a:pt x="72643" y="2096516"/>
                  </a:lnTo>
                  <a:lnTo>
                    <a:pt x="72643" y="0"/>
                  </a:lnTo>
                  <a:close/>
                </a:path>
                <a:path w="127000" h="2160270">
                  <a:moveTo>
                    <a:pt x="127000" y="2083816"/>
                  </a:moveTo>
                  <a:lnTo>
                    <a:pt x="72643" y="2083816"/>
                  </a:lnTo>
                  <a:lnTo>
                    <a:pt x="72643" y="2096516"/>
                  </a:lnTo>
                  <a:lnTo>
                    <a:pt x="116416" y="2096516"/>
                  </a:lnTo>
                  <a:lnTo>
                    <a:pt x="127000" y="2083816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6" name="object 58"/>
            <p:cNvSpPr/>
            <p:nvPr/>
          </p:nvSpPr>
          <p:spPr>
            <a:xfrm>
              <a:off x="6379125" y="3168870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7" name="object 59"/>
            <p:cNvSpPr/>
            <p:nvPr/>
          </p:nvSpPr>
          <p:spPr>
            <a:xfrm>
              <a:off x="6379125" y="3168870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4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8" name="object 60"/>
            <p:cNvSpPr/>
            <p:nvPr/>
          </p:nvSpPr>
          <p:spPr>
            <a:xfrm>
              <a:off x="6554956" y="3155154"/>
              <a:ext cx="2712085" cy="287020"/>
            </a:xfrm>
            <a:custGeom>
              <a:avLst/>
              <a:gdLst/>
              <a:ahLst/>
              <a:cxnLst/>
              <a:rect l="l" t="t" r="r" b="b"/>
              <a:pathLst>
                <a:path w="2712085" h="287019">
                  <a:moveTo>
                    <a:pt x="154304" y="0"/>
                  </a:moveTo>
                  <a:lnTo>
                    <a:pt x="580516" y="0"/>
                  </a:lnTo>
                  <a:lnTo>
                    <a:pt x="1219835" y="0"/>
                  </a:lnTo>
                  <a:lnTo>
                    <a:pt x="2711577" y="0"/>
                  </a:lnTo>
                  <a:lnTo>
                    <a:pt x="2711577" y="47751"/>
                  </a:lnTo>
                  <a:lnTo>
                    <a:pt x="2711577" y="119380"/>
                  </a:lnTo>
                  <a:lnTo>
                    <a:pt x="2711577" y="286512"/>
                  </a:lnTo>
                  <a:lnTo>
                    <a:pt x="1219835" y="286512"/>
                  </a:lnTo>
                  <a:lnTo>
                    <a:pt x="580516" y="286512"/>
                  </a:lnTo>
                  <a:lnTo>
                    <a:pt x="154304" y="286512"/>
                  </a:lnTo>
                  <a:lnTo>
                    <a:pt x="154304" y="119380"/>
                  </a:lnTo>
                  <a:lnTo>
                    <a:pt x="0" y="55499"/>
                  </a:lnTo>
                  <a:lnTo>
                    <a:pt x="154304" y="47751"/>
                  </a:lnTo>
                  <a:lnTo>
                    <a:pt x="154304" y="0"/>
                  </a:lnTo>
                  <a:close/>
                </a:path>
              </a:pathLst>
            </a:custGeom>
            <a:ln w="12191">
              <a:solidFill>
                <a:srgbClr val="909090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2" name="object 64"/>
            <p:cNvSpPr txBox="1"/>
            <p:nvPr/>
          </p:nvSpPr>
          <p:spPr>
            <a:xfrm>
              <a:off x="5845559" y="5623533"/>
              <a:ext cx="46228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5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2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308" name="object 70"/>
            <p:cNvSpPr txBox="1"/>
            <p:nvPr/>
          </p:nvSpPr>
          <p:spPr>
            <a:xfrm>
              <a:off x="5845559" y="3151610"/>
              <a:ext cx="46291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’12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/</a:t>
              </a:r>
              <a:r>
                <a:rPr sz="1200" b="0" spc="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0</a:t>
              </a:r>
              <a:r>
                <a:rPr sz="1200" b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1</a:t>
              </a:r>
              <a:endParaRPr sz="1200" b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309" name="object 71"/>
            <p:cNvSpPr/>
            <p:nvPr/>
          </p:nvSpPr>
          <p:spPr>
            <a:xfrm>
              <a:off x="6779365" y="3240498"/>
              <a:ext cx="749807" cy="15849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0" name="object 72"/>
            <p:cNvSpPr/>
            <p:nvPr/>
          </p:nvSpPr>
          <p:spPr>
            <a:xfrm>
              <a:off x="6379125" y="5960838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13296" y="18730"/>
                  </a:lnTo>
                  <a:lnTo>
                    <a:pt x="0" y="61132"/>
                  </a:lnTo>
                  <a:lnTo>
                    <a:pt x="3494" y="73440"/>
                  </a:lnTo>
                  <a:lnTo>
                    <a:pt x="31497" y="100252"/>
                  </a:lnTo>
                  <a:lnTo>
                    <a:pt x="63099" y="105656"/>
                  </a:lnTo>
                  <a:lnTo>
                    <a:pt x="74767" y="101677"/>
                  </a:lnTo>
                  <a:lnTo>
                    <a:pt x="99798" y="72602"/>
                  </a:lnTo>
                  <a:lnTo>
                    <a:pt x="104387" y="39847"/>
                  </a:lnTo>
                  <a:lnTo>
                    <a:pt x="99105" y="26898"/>
                  </a:lnTo>
                  <a:lnTo>
                    <a:pt x="90779" y="15916"/>
                  </a:lnTo>
                  <a:lnTo>
                    <a:pt x="79931" y="7422"/>
                  </a:lnTo>
                  <a:lnTo>
                    <a:pt x="67086" y="1943"/>
                  </a:lnTo>
                  <a:lnTo>
                    <a:pt x="527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1" name="object 73"/>
            <p:cNvSpPr/>
            <p:nvPr/>
          </p:nvSpPr>
          <p:spPr>
            <a:xfrm>
              <a:off x="6379125" y="5960838"/>
              <a:ext cx="104775" cy="106045"/>
            </a:xfrm>
            <a:custGeom>
              <a:avLst/>
              <a:gdLst/>
              <a:ahLst/>
              <a:cxnLst/>
              <a:rect l="l" t="t" r="r" b="b"/>
              <a:pathLst>
                <a:path w="104775" h="106045">
                  <a:moveTo>
                    <a:pt x="52767" y="0"/>
                  </a:moveTo>
                  <a:lnTo>
                    <a:pt x="90779" y="15916"/>
                  </a:lnTo>
                  <a:lnTo>
                    <a:pt x="104387" y="39847"/>
                  </a:lnTo>
                  <a:lnTo>
                    <a:pt x="103555" y="57501"/>
                  </a:lnTo>
                  <a:lnTo>
                    <a:pt x="85026" y="94780"/>
                  </a:lnTo>
                  <a:lnTo>
                    <a:pt x="63099" y="105656"/>
                  </a:lnTo>
                  <a:lnTo>
                    <a:pt x="46116" y="104470"/>
                  </a:lnTo>
                  <a:lnTo>
                    <a:pt x="10019" y="84332"/>
                  </a:lnTo>
                  <a:lnTo>
                    <a:pt x="0" y="61132"/>
                  </a:lnTo>
                  <a:lnTo>
                    <a:pt x="1441" y="44732"/>
                  </a:lnTo>
                  <a:lnTo>
                    <a:pt x="22853" y="9606"/>
                  </a:lnTo>
                  <a:lnTo>
                    <a:pt x="52767" y="0"/>
                  </a:lnTo>
                  <a:close/>
                </a:path>
              </a:pathLst>
            </a:custGeom>
            <a:ln w="27432">
              <a:solidFill>
                <a:srgbClr val="787878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3" name="object 75"/>
            <p:cNvSpPr txBox="1"/>
            <p:nvPr/>
          </p:nvSpPr>
          <p:spPr>
            <a:xfrm>
              <a:off x="9288586" y="3106276"/>
              <a:ext cx="48260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spc="-5" dirty="0">
                  <a:solidFill>
                    <a:srgbClr val="31313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차세대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  <a:p>
              <a:pPr marL="2540"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spc="-10" dirty="0">
                  <a:solidFill>
                    <a:srgbClr val="31313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1기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323" name="object 87"/>
            <p:cNvSpPr/>
            <p:nvPr/>
          </p:nvSpPr>
          <p:spPr>
            <a:xfrm>
              <a:off x="6812893" y="4715729"/>
              <a:ext cx="661416" cy="143256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4" name="object 88"/>
            <p:cNvSpPr/>
            <p:nvPr/>
          </p:nvSpPr>
          <p:spPr>
            <a:xfrm>
              <a:off x="6785461" y="4359114"/>
              <a:ext cx="682751" cy="11887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" name="TextBox 5"/>
            <p:cNvSpPr txBox="1"/>
            <p:nvPr/>
          </p:nvSpPr>
          <p:spPr bwMode="auto">
            <a:xfrm>
              <a:off x="7582510" y="2680826"/>
              <a:ext cx="1684150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사 후 차세대 시스템 오픈</a:t>
              </a:r>
            </a:p>
          </p:txBody>
        </p:sp>
        <p:sp>
          <p:nvSpPr>
            <p:cNvPr id="482" name="TextBox 481"/>
            <p:cNvSpPr txBox="1"/>
            <p:nvPr/>
          </p:nvSpPr>
          <p:spPr bwMode="auto">
            <a:xfrm>
              <a:off x="7572987" y="3161940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3" name="TextBox 482"/>
            <p:cNvSpPr txBox="1"/>
            <p:nvPr/>
          </p:nvSpPr>
          <p:spPr bwMode="auto">
            <a:xfrm>
              <a:off x="7574240" y="3526680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4" name="TextBox 483"/>
            <p:cNvSpPr txBox="1"/>
            <p:nvPr/>
          </p:nvSpPr>
          <p:spPr bwMode="auto">
            <a:xfrm>
              <a:off x="7572987" y="3908044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5" name="TextBox 484"/>
            <p:cNvSpPr txBox="1"/>
            <p:nvPr/>
          </p:nvSpPr>
          <p:spPr bwMode="auto">
            <a:xfrm>
              <a:off x="7569956" y="4278270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6" name="TextBox 485"/>
            <p:cNvSpPr txBox="1"/>
            <p:nvPr/>
          </p:nvSpPr>
          <p:spPr bwMode="auto">
            <a:xfrm>
              <a:off x="7571209" y="4662060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7" name="TextBox 486"/>
            <p:cNvSpPr txBox="1"/>
            <p:nvPr/>
          </p:nvSpPr>
          <p:spPr bwMode="auto">
            <a:xfrm>
              <a:off x="7569956" y="5005324"/>
              <a:ext cx="1693674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ost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 포함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488" name="TextBox 487"/>
            <p:cNvSpPr txBox="1"/>
            <p:nvPr/>
          </p:nvSpPr>
          <p:spPr bwMode="auto">
            <a:xfrm>
              <a:off x="7579082" y="5499540"/>
              <a:ext cx="1693674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시스템 오픈</a:t>
              </a:r>
            </a:p>
          </p:txBody>
        </p:sp>
        <p:sp>
          <p:nvSpPr>
            <p:cNvPr id="489" name="TextBox 488"/>
            <p:cNvSpPr txBox="1"/>
            <p:nvPr/>
          </p:nvSpPr>
          <p:spPr bwMode="auto">
            <a:xfrm>
              <a:off x="7569956" y="5833839"/>
              <a:ext cx="1693674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하나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외환카드 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 시스템 오픈</a:t>
              </a:r>
            </a:p>
          </p:txBody>
        </p:sp>
        <p:sp>
          <p:nvSpPr>
            <p:cNvPr id="491" name="TextBox 490"/>
            <p:cNvSpPr txBox="1"/>
            <p:nvPr/>
          </p:nvSpPr>
          <p:spPr bwMode="auto">
            <a:xfrm>
              <a:off x="7569956" y="6328103"/>
              <a:ext cx="1693674" cy="4420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marL="87313" indent="-87313" latinLnBrk="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차세대 </a:t>
              </a:r>
              <a:r>
                <a:rPr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/MP</a:t>
              </a:r>
              <a:br>
                <a:rPr lang="en-US" altLang="ko-KR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ko-KR" altLang="en-US" sz="1200" b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진행 중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3" name="Rectangle 104"/>
            <p:cNvSpPr/>
            <p:nvPr/>
          </p:nvSpPr>
          <p:spPr>
            <a:xfrm>
              <a:off x="9745620" y="2722117"/>
              <a:ext cx="620680" cy="1103596"/>
            </a:xfrm>
            <a:prstGeom prst="rect">
              <a:avLst/>
            </a:prstGeom>
            <a:solidFill>
              <a:srgbClr val="EFEEEC">
                <a:lumMod val="90000"/>
              </a:srgb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15" rotWithShape="0">
                <a:srgbClr val="000000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영업</a:t>
              </a:r>
              <a:endPara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기반</a:t>
              </a:r>
              <a:endPara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구축</a:t>
              </a:r>
              <a:endParaRPr lang="en-US" sz="14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494" name="object 56"/>
            <p:cNvSpPr/>
            <p:nvPr/>
          </p:nvSpPr>
          <p:spPr>
            <a:xfrm>
              <a:off x="9435932" y="3923964"/>
              <a:ext cx="69215" cy="0"/>
            </a:xfrm>
            <a:custGeom>
              <a:avLst/>
              <a:gdLst/>
              <a:ahLst/>
              <a:cxnLst/>
              <a:rect l="l" t="t" r="r" b="b"/>
              <a:pathLst>
                <a:path w="69215">
                  <a:moveTo>
                    <a:pt x="68948" y="0"/>
                  </a:moveTo>
                  <a:lnTo>
                    <a:pt x="0" y="0"/>
                  </a:lnTo>
                </a:path>
              </a:pathLst>
            </a:custGeom>
            <a:ln w="18288">
              <a:solidFill>
                <a:srgbClr val="333333"/>
              </a:solidFill>
            </a:ln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5" name="object 57"/>
            <p:cNvSpPr/>
            <p:nvPr/>
          </p:nvSpPr>
          <p:spPr>
            <a:xfrm>
              <a:off x="9405960" y="3923964"/>
              <a:ext cx="127000" cy="2321988"/>
            </a:xfrm>
            <a:custGeom>
              <a:avLst/>
              <a:gdLst/>
              <a:ahLst/>
              <a:cxnLst/>
              <a:rect l="l" t="t" r="r" b="b"/>
              <a:pathLst>
                <a:path w="127000" h="2160270">
                  <a:moveTo>
                    <a:pt x="54355" y="2083816"/>
                  </a:moveTo>
                  <a:lnTo>
                    <a:pt x="0" y="2083816"/>
                  </a:lnTo>
                  <a:lnTo>
                    <a:pt x="63500" y="2160016"/>
                  </a:lnTo>
                  <a:lnTo>
                    <a:pt x="116416" y="2096516"/>
                  </a:lnTo>
                  <a:lnTo>
                    <a:pt x="54355" y="2096516"/>
                  </a:lnTo>
                  <a:lnTo>
                    <a:pt x="54355" y="2083816"/>
                  </a:lnTo>
                  <a:close/>
                </a:path>
                <a:path w="127000" h="2160270">
                  <a:moveTo>
                    <a:pt x="72643" y="0"/>
                  </a:moveTo>
                  <a:lnTo>
                    <a:pt x="54355" y="0"/>
                  </a:lnTo>
                  <a:lnTo>
                    <a:pt x="54355" y="2096516"/>
                  </a:lnTo>
                  <a:lnTo>
                    <a:pt x="72643" y="2096516"/>
                  </a:lnTo>
                  <a:lnTo>
                    <a:pt x="72643" y="0"/>
                  </a:lnTo>
                  <a:close/>
                </a:path>
                <a:path w="127000" h="2160270">
                  <a:moveTo>
                    <a:pt x="127000" y="2083816"/>
                  </a:moveTo>
                  <a:lnTo>
                    <a:pt x="72643" y="2083816"/>
                  </a:lnTo>
                  <a:lnTo>
                    <a:pt x="72643" y="2096516"/>
                  </a:lnTo>
                  <a:lnTo>
                    <a:pt x="116416" y="2096516"/>
                  </a:lnTo>
                  <a:lnTo>
                    <a:pt x="127000" y="2083816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sz="1800" b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6" name="object 75"/>
            <p:cNvSpPr txBox="1"/>
            <p:nvPr/>
          </p:nvSpPr>
          <p:spPr>
            <a:xfrm>
              <a:off x="9288586" y="4869160"/>
              <a:ext cx="48260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sz="1200" spc="-5" dirty="0">
                  <a:solidFill>
                    <a:srgbClr val="31313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차세대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  <a:p>
              <a:pPr marL="2540"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spc="-10" dirty="0" smtClean="0">
                  <a:solidFill>
                    <a:srgbClr val="31313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2</a:t>
              </a:r>
              <a:r>
                <a:rPr sz="1200" spc="-10" dirty="0" smtClean="0">
                  <a:solidFill>
                    <a:srgbClr val="31313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맑은 고딕"/>
                </a:rPr>
                <a:t>기</a:t>
              </a:r>
              <a:endParaRPr sz="1200" b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/>
              </a:endParaRPr>
            </a:p>
          </p:txBody>
        </p:sp>
        <p:sp>
          <p:nvSpPr>
            <p:cNvPr id="497" name="Rectangle 104"/>
            <p:cNvSpPr/>
            <p:nvPr/>
          </p:nvSpPr>
          <p:spPr>
            <a:xfrm>
              <a:off x="9758320" y="3890089"/>
              <a:ext cx="620680" cy="2296793"/>
            </a:xfrm>
            <a:prstGeom prst="rect">
              <a:avLst/>
            </a:prstGeom>
            <a:solidFill>
              <a:srgbClr val="EFEEEC">
                <a:lumMod val="90000"/>
              </a:srgb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15" rotWithShape="0">
                <a:srgbClr val="000000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영업</a:t>
              </a:r>
              <a:endPara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기반</a:t>
              </a:r>
              <a:endPara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</a:pPr>
              <a:r>
                <a:rPr lang="ko-KR" altLang="en-US" sz="14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고도화</a:t>
              </a:r>
              <a:endParaRPr lang="en-US" sz="1400" b="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498" name="Rectangle 104"/>
            <p:cNvSpPr/>
            <p:nvPr/>
          </p:nvSpPr>
          <p:spPr>
            <a:xfrm>
              <a:off x="9314424" y="6293203"/>
              <a:ext cx="1064576" cy="44524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15" rotWithShape="0">
                <a:srgbClr val="000000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0" tIns="73152" rIns="0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15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Digital</a:t>
              </a:r>
            </a:p>
            <a:p>
              <a:pPr algn="ctr" fontAlgn="auto" latinLnBrk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sz="1150" b="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Transformation</a:t>
              </a:r>
            </a:p>
          </p:txBody>
        </p:sp>
        <p:sp>
          <p:nvSpPr>
            <p:cNvPr id="499" name="bk object 18"/>
            <p:cNvSpPr/>
            <p:nvPr/>
          </p:nvSpPr>
          <p:spPr>
            <a:xfrm>
              <a:off x="6742184" y="6534054"/>
              <a:ext cx="870241" cy="20036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00" name="TextBox 85"/>
          <p:cNvSpPr txBox="1"/>
          <p:nvPr/>
        </p:nvSpPr>
        <p:spPr>
          <a:xfrm>
            <a:off x="5169025" y="1390620"/>
            <a:ext cx="4342202" cy="310156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타 카드사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겸영은행 포함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차세대 현황</a:t>
            </a:r>
          </a:p>
        </p:txBody>
      </p:sp>
      <p:sp>
        <p:nvSpPr>
          <p:cNvPr id="501" name="Line 27"/>
          <p:cNvSpPr>
            <a:spLocks noChangeShapeType="1"/>
          </p:cNvSpPr>
          <p:nvPr/>
        </p:nvSpPr>
        <p:spPr bwMode="auto">
          <a:xfrm>
            <a:off x="5169025" y="1703360"/>
            <a:ext cx="434220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3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2" name="TextBox 85"/>
          <p:cNvSpPr txBox="1"/>
          <p:nvPr/>
        </p:nvSpPr>
        <p:spPr>
          <a:xfrm>
            <a:off x="444233" y="1390621"/>
            <a:ext cx="4580775" cy="310218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사의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프라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의존도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03" name="Line 27"/>
          <p:cNvSpPr>
            <a:spLocks noChangeShapeType="1"/>
          </p:cNvSpPr>
          <p:nvPr/>
        </p:nvSpPr>
        <p:spPr bwMode="auto">
          <a:xfrm>
            <a:off x="478856" y="1703423"/>
            <a:ext cx="45807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3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34367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4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541668"/>
              </p:ext>
            </p:extLst>
          </p:nvPr>
        </p:nvGraphicFramePr>
        <p:xfrm>
          <a:off x="379043" y="1299559"/>
          <a:ext cx="9147914" cy="5030222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94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331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DB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이행계획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이행계획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07 ~ 2011.0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고도화를 위한 혁신 과제 도출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 별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시스템 요건 정의 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.02 ~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 수수료 재산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맹점수수료 재산정 및 마진정책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1 ~ 2016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 멤버스 분사지원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멤버스 분사 계획 수립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적분할 방향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사 후 신규 비즈니스 모델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 모델 등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9 ~ 2014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 여신금리결정체계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업 수익성 제고를 위한 여신 금리 결정 체계 개선 방안 수립 및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1 ~ 2014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 경영관리 선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체계 혁신을 위한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8 ~ 2014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가맹점 수수료 적용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 가맹점 수수료 체계 대응 방안 수립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수료 산출 체계 정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9 ~ 2013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신금융협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가맹점 수수료 개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가맹점 수수료 체제 개편방향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1 ~ 2012.0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3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 손익경영관리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관리 플랫폼 기반의 손익 관리 체계 설계 및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1.12 ~ 2012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8850286" y="2177246"/>
            <a:ext cx="320083" cy="288000"/>
            <a:chOff x="3109" y="1896"/>
            <a:chExt cx="369" cy="316"/>
          </a:xfrm>
        </p:grpSpPr>
        <p:sp>
          <p:nvSpPr>
            <p:cNvPr id="34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09" y="1896"/>
              <a:ext cx="369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126" y="1910"/>
              <a:ext cx="335" cy="288"/>
            </a:xfrm>
            <a:custGeom>
              <a:avLst/>
              <a:gdLst>
                <a:gd name="T0" fmla="*/ 211 w 5033"/>
                <a:gd name="T1" fmla="*/ 2036 h 3448"/>
                <a:gd name="T2" fmla="*/ 512 w 5033"/>
                <a:gd name="T3" fmla="*/ 2415 h 3448"/>
                <a:gd name="T4" fmla="*/ 876 w 5033"/>
                <a:gd name="T5" fmla="*/ 2969 h 3448"/>
                <a:gd name="T6" fmla="*/ 1038 w 5033"/>
                <a:gd name="T7" fmla="*/ 3128 h 3448"/>
                <a:gd name="T8" fmla="*/ 1213 w 5033"/>
                <a:gd name="T9" fmla="*/ 3204 h 3448"/>
                <a:gd name="T10" fmla="*/ 1395 w 5033"/>
                <a:gd name="T11" fmla="*/ 3275 h 3448"/>
                <a:gd name="T12" fmla="*/ 1732 w 5033"/>
                <a:gd name="T13" fmla="*/ 3392 h 3448"/>
                <a:gd name="T14" fmla="*/ 1879 w 5033"/>
                <a:gd name="T15" fmla="*/ 3434 h 3448"/>
                <a:gd name="T16" fmla="*/ 1922 w 5033"/>
                <a:gd name="T17" fmla="*/ 3323 h 3448"/>
                <a:gd name="T18" fmla="*/ 2083 w 5033"/>
                <a:gd name="T19" fmla="*/ 3085 h 3448"/>
                <a:gd name="T20" fmla="*/ 2225 w 5033"/>
                <a:gd name="T21" fmla="*/ 2695 h 3448"/>
                <a:gd name="T22" fmla="*/ 2422 w 5033"/>
                <a:gd name="T23" fmla="*/ 2378 h 3448"/>
                <a:gd name="T24" fmla="*/ 2552 w 5033"/>
                <a:gd name="T25" fmla="*/ 2199 h 3448"/>
                <a:gd name="T26" fmla="*/ 2687 w 5033"/>
                <a:gd name="T27" fmla="*/ 2110 h 3448"/>
                <a:gd name="T28" fmla="*/ 2780 w 5033"/>
                <a:gd name="T29" fmla="*/ 2006 h 3448"/>
                <a:gd name="T30" fmla="*/ 3045 w 5033"/>
                <a:gd name="T31" fmla="*/ 1730 h 3448"/>
                <a:gd name="T32" fmla="*/ 3418 w 5033"/>
                <a:gd name="T33" fmla="*/ 1374 h 3448"/>
                <a:gd name="T34" fmla="*/ 3840 w 5033"/>
                <a:gd name="T35" fmla="*/ 1068 h 3448"/>
                <a:gd name="T36" fmla="*/ 4056 w 5033"/>
                <a:gd name="T37" fmla="*/ 949 h 3448"/>
                <a:gd name="T38" fmla="*/ 4251 w 5033"/>
                <a:gd name="T39" fmla="*/ 795 h 3448"/>
                <a:gd name="T40" fmla="*/ 4363 w 5033"/>
                <a:gd name="T41" fmla="*/ 740 h 3448"/>
                <a:gd name="T42" fmla="*/ 4543 w 5033"/>
                <a:gd name="T43" fmla="*/ 585 h 3448"/>
                <a:gd name="T44" fmla="*/ 4690 w 5033"/>
                <a:gd name="T45" fmla="*/ 431 h 3448"/>
                <a:gd name="T46" fmla="*/ 4841 w 5033"/>
                <a:gd name="T47" fmla="*/ 339 h 3448"/>
                <a:gd name="T48" fmla="*/ 4972 w 5033"/>
                <a:gd name="T49" fmla="*/ 278 h 3448"/>
                <a:gd name="T50" fmla="*/ 4947 w 5033"/>
                <a:gd name="T51" fmla="*/ 244 h 3448"/>
                <a:gd name="T52" fmla="*/ 4858 w 5033"/>
                <a:gd name="T53" fmla="*/ 281 h 3448"/>
                <a:gd name="T54" fmla="*/ 4756 w 5033"/>
                <a:gd name="T55" fmla="*/ 360 h 3448"/>
                <a:gd name="T56" fmla="*/ 4531 w 5033"/>
                <a:gd name="T57" fmla="*/ 513 h 3448"/>
                <a:gd name="T58" fmla="*/ 4401 w 5033"/>
                <a:gd name="T59" fmla="*/ 542 h 3448"/>
                <a:gd name="T60" fmla="*/ 4018 w 5033"/>
                <a:gd name="T61" fmla="*/ 810 h 3448"/>
                <a:gd name="T62" fmla="*/ 4096 w 5033"/>
                <a:gd name="T63" fmla="*/ 702 h 3448"/>
                <a:gd name="T64" fmla="*/ 4196 w 5033"/>
                <a:gd name="T65" fmla="*/ 621 h 3448"/>
                <a:gd name="T66" fmla="*/ 4319 w 5033"/>
                <a:gd name="T67" fmla="*/ 501 h 3448"/>
                <a:gd name="T68" fmla="*/ 4342 w 5033"/>
                <a:gd name="T69" fmla="*/ 423 h 3448"/>
                <a:gd name="T70" fmla="*/ 4478 w 5033"/>
                <a:gd name="T71" fmla="*/ 286 h 3448"/>
                <a:gd name="T72" fmla="*/ 4289 w 5033"/>
                <a:gd name="T73" fmla="*/ 341 h 3448"/>
                <a:gd name="T74" fmla="*/ 4455 w 5033"/>
                <a:gd name="T75" fmla="*/ 198 h 3448"/>
                <a:gd name="T76" fmla="*/ 4410 w 5033"/>
                <a:gd name="T77" fmla="*/ 167 h 3448"/>
                <a:gd name="T78" fmla="*/ 4293 w 5033"/>
                <a:gd name="T79" fmla="*/ 277 h 3448"/>
                <a:gd name="T80" fmla="*/ 4288 w 5033"/>
                <a:gd name="T81" fmla="*/ 162 h 3448"/>
                <a:gd name="T82" fmla="*/ 4376 w 5033"/>
                <a:gd name="T83" fmla="*/ 48 h 3448"/>
                <a:gd name="T84" fmla="*/ 4276 w 5033"/>
                <a:gd name="T85" fmla="*/ 25 h 3448"/>
                <a:gd name="T86" fmla="*/ 4168 w 5033"/>
                <a:gd name="T87" fmla="*/ 135 h 3448"/>
                <a:gd name="T88" fmla="*/ 3906 w 5033"/>
                <a:gd name="T89" fmla="*/ 284 h 3448"/>
                <a:gd name="T90" fmla="*/ 3186 w 5033"/>
                <a:gd name="T91" fmla="*/ 777 h 3448"/>
                <a:gd name="T92" fmla="*/ 3188 w 5033"/>
                <a:gd name="T93" fmla="*/ 733 h 3448"/>
                <a:gd name="T94" fmla="*/ 3235 w 5033"/>
                <a:gd name="T95" fmla="*/ 671 h 3448"/>
                <a:gd name="T96" fmla="*/ 3941 w 5033"/>
                <a:gd name="T97" fmla="*/ 219 h 3448"/>
                <a:gd name="T98" fmla="*/ 3992 w 5033"/>
                <a:gd name="T99" fmla="*/ 140 h 3448"/>
                <a:gd name="T100" fmla="*/ 3743 w 5033"/>
                <a:gd name="T101" fmla="*/ 240 h 3448"/>
                <a:gd name="T102" fmla="*/ 3290 w 5033"/>
                <a:gd name="T103" fmla="*/ 525 h 3448"/>
                <a:gd name="T104" fmla="*/ 2837 w 5033"/>
                <a:gd name="T105" fmla="*/ 830 h 3448"/>
                <a:gd name="T106" fmla="*/ 2197 w 5033"/>
                <a:gd name="T107" fmla="*/ 1270 h 3448"/>
                <a:gd name="T108" fmla="*/ 1903 w 5033"/>
                <a:gd name="T109" fmla="*/ 1608 h 3448"/>
                <a:gd name="T110" fmla="*/ 1609 w 5033"/>
                <a:gd name="T111" fmla="*/ 1914 h 3448"/>
                <a:gd name="T112" fmla="*/ 1327 w 5033"/>
                <a:gd name="T113" fmla="*/ 1996 h 3448"/>
                <a:gd name="T114" fmla="*/ 1057 w 5033"/>
                <a:gd name="T115" fmla="*/ 1475 h 3448"/>
                <a:gd name="T116" fmla="*/ 755 w 5033"/>
                <a:gd name="T117" fmla="*/ 1501 h 3448"/>
                <a:gd name="T118" fmla="*/ 523 w 5033"/>
                <a:gd name="T119" fmla="*/ 1595 h 3448"/>
                <a:gd name="T120" fmla="*/ 242 w 5033"/>
                <a:gd name="T121" fmla="*/ 1683 h 3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33" h="3448">
                  <a:moveTo>
                    <a:pt x="0" y="1824"/>
                  </a:moveTo>
                  <a:lnTo>
                    <a:pt x="12" y="1840"/>
                  </a:lnTo>
                  <a:lnTo>
                    <a:pt x="25" y="1855"/>
                  </a:lnTo>
                  <a:lnTo>
                    <a:pt x="39" y="1870"/>
                  </a:lnTo>
                  <a:lnTo>
                    <a:pt x="54" y="1886"/>
                  </a:lnTo>
                  <a:lnTo>
                    <a:pt x="69" y="1900"/>
                  </a:lnTo>
                  <a:lnTo>
                    <a:pt x="85" y="1917"/>
                  </a:lnTo>
                  <a:lnTo>
                    <a:pt x="102" y="1931"/>
                  </a:lnTo>
                  <a:lnTo>
                    <a:pt x="119" y="1945"/>
                  </a:lnTo>
                  <a:lnTo>
                    <a:pt x="134" y="1961"/>
                  </a:lnTo>
                  <a:lnTo>
                    <a:pt x="151" y="1975"/>
                  </a:lnTo>
                  <a:lnTo>
                    <a:pt x="166" y="1990"/>
                  </a:lnTo>
                  <a:lnTo>
                    <a:pt x="183" y="2006"/>
                  </a:lnTo>
                  <a:lnTo>
                    <a:pt x="197" y="2020"/>
                  </a:lnTo>
                  <a:lnTo>
                    <a:pt x="211" y="2036"/>
                  </a:lnTo>
                  <a:lnTo>
                    <a:pt x="224" y="2050"/>
                  </a:lnTo>
                  <a:lnTo>
                    <a:pt x="236" y="2067"/>
                  </a:lnTo>
                  <a:lnTo>
                    <a:pt x="250" y="2094"/>
                  </a:lnTo>
                  <a:lnTo>
                    <a:pt x="267" y="2117"/>
                  </a:lnTo>
                  <a:lnTo>
                    <a:pt x="287" y="2135"/>
                  </a:lnTo>
                  <a:lnTo>
                    <a:pt x="308" y="2152"/>
                  </a:lnTo>
                  <a:lnTo>
                    <a:pt x="329" y="2167"/>
                  </a:lnTo>
                  <a:lnTo>
                    <a:pt x="350" y="2186"/>
                  </a:lnTo>
                  <a:lnTo>
                    <a:pt x="368" y="2207"/>
                  </a:lnTo>
                  <a:lnTo>
                    <a:pt x="384" y="2234"/>
                  </a:lnTo>
                  <a:lnTo>
                    <a:pt x="400" y="2263"/>
                  </a:lnTo>
                  <a:lnTo>
                    <a:pt x="424" y="2297"/>
                  </a:lnTo>
                  <a:lnTo>
                    <a:pt x="452" y="2335"/>
                  </a:lnTo>
                  <a:lnTo>
                    <a:pt x="482" y="2375"/>
                  </a:lnTo>
                  <a:lnTo>
                    <a:pt x="512" y="2415"/>
                  </a:lnTo>
                  <a:lnTo>
                    <a:pt x="540" y="2452"/>
                  </a:lnTo>
                  <a:lnTo>
                    <a:pt x="564" y="2486"/>
                  </a:lnTo>
                  <a:lnTo>
                    <a:pt x="582" y="2514"/>
                  </a:lnTo>
                  <a:lnTo>
                    <a:pt x="594" y="2536"/>
                  </a:lnTo>
                  <a:lnTo>
                    <a:pt x="611" y="2564"/>
                  </a:lnTo>
                  <a:lnTo>
                    <a:pt x="631" y="2598"/>
                  </a:lnTo>
                  <a:lnTo>
                    <a:pt x="653" y="2633"/>
                  </a:lnTo>
                  <a:lnTo>
                    <a:pt x="679" y="2673"/>
                  </a:lnTo>
                  <a:lnTo>
                    <a:pt x="705" y="2714"/>
                  </a:lnTo>
                  <a:lnTo>
                    <a:pt x="734" y="2757"/>
                  </a:lnTo>
                  <a:lnTo>
                    <a:pt x="765" y="2801"/>
                  </a:lnTo>
                  <a:lnTo>
                    <a:pt x="793" y="2844"/>
                  </a:lnTo>
                  <a:lnTo>
                    <a:pt x="822" y="2889"/>
                  </a:lnTo>
                  <a:lnTo>
                    <a:pt x="850" y="2930"/>
                  </a:lnTo>
                  <a:lnTo>
                    <a:pt x="876" y="2969"/>
                  </a:lnTo>
                  <a:lnTo>
                    <a:pt x="899" y="3005"/>
                  </a:lnTo>
                  <a:lnTo>
                    <a:pt x="919" y="3036"/>
                  </a:lnTo>
                  <a:lnTo>
                    <a:pt x="935" y="3065"/>
                  </a:lnTo>
                  <a:lnTo>
                    <a:pt x="948" y="3087"/>
                  </a:lnTo>
                  <a:lnTo>
                    <a:pt x="959" y="3089"/>
                  </a:lnTo>
                  <a:lnTo>
                    <a:pt x="969" y="3090"/>
                  </a:lnTo>
                  <a:lnTo>
                    <a:pt x="979" y="3092"/>
                  </a:lnTo>
                  <a:lnTo>
                    <a:pt x="989" y="3094"/>
                  </a:lnTo>
                  <a:lnTo>
                    <a:pt x="1000" y="3094"/>
                  </a:lnTo>
                  <a:lnTo>
                    <a:pt x="1011" y="3097"/>
                  </a:lnTo>
                  <a:lnTo>
                    <a:pt x="1020" y="3098"/>
                  </a:lnTo>
                  <a:lnTo>
                    <a:pt x="1031" y="3100"/>
                  </a:lnTo>
                  <a:lnTo>
                    <a:pt x="1033" y="3109"/>
                  </a:lnTo>
                  <a:lnTo>
                    <a:pt x="1036" y="3119"/>
                  </a:lnTo>
                  <a:lnTo>
                    <a:pt x="1038" y="3128"/>
                  </a:lnTo>
                  <a:lnTo>
                    <a:pt x="1040" y="3138"/>
                  </a:lnTo>
                  <a:lnTo>
                    <a:pt x="1050" y="3138"/>
                  </a:lnTo>
                  <a:lnTo>
                    <a:pt x="1058" y="3140"/>
                  </a:lnTo>
                  <a:lnTo>
                    <a:pt x="1067" y="3141"/>
                  </a:lnTo>
                  <a:lnTo>
                    <a:pt x="1077" y="3142"/>
                  </a:lnTo>
                  <a:lnTo>
                    <a:pt x="1085" y="3145"/>
                  </a:lnTo>
                  <a:lnTo>
                    <a:pt x="1095" y="3146"/>
                  </a:lnTo>
                  <a:lnTo>
                    <a:pt x="1105" y="3147"/>
                  </a:lnTo>
                  <a:lnTo>
                    <a:pt x="1113" y="3148"/>
                  </a:lnTo>
                  <a:lnTo>
                    <a:pt x="1130" y="3159"/>
                  </a:lnTo>
                  <a:lnTo>
                    <a:pt x="1148" y="3169"/>
                  </a:lnTo>
                  <a:lnTo>
                    <a:pt x="1164" y="3177"/>
                  </a:lnTo>
                  <a:lnTo>
                    <a:pt x="1179" y="3186"/>
                  </a:lnTo>
                  <a:lnTo>
                    <a:pt x="1196" y="3196"/>
                  </a:lnTo>
                  <a:lnTo>
                    <a:pt x="1213" y="3204"/>
                  </a:lnTo>
                  <a:lnTo>
                    <a:pt x="1231" y="3213"/>
                  </a:lnTo>
                  <a:lnTo>
                    <a:pt x="1246" y="3221"/>
                  </a:lnTo>
                  <a:lnTo>
                    <a:pt x="1258" y="3222"/>
                  </a:lnTo>
                  <a:lnTo>
                    <a:pt x="1269" y="3223"/>
                  </a:lnTo>
                  <a:lnTo>
                    <a:pt x="1281" y="3225"/>
                  </a:lnTo>
                  <a:lnTo>
                    <a:pt x="1292" y="3227"/>
                  </a:lnTo>
                  <a:lnTo>
                    <a:pt x="1304" y="3227"/>
                  </a:lnTo>
                  <a:lnTo>
                    <a:pt x="1315" y="3228"/>
                  </a:lnTo>
                  <a:lnTo>
                    <a:pt x="1328" y="3229"/>
                  </a:lnTo>
                  <a:lnTo>
                    <a:pt x="1340" y="3229"/>
                  </a:lnTo>
                  <a:lnTo>
                    <a:pt x="1348" y="3240"/>
                  </a:lnTo>
                  <a:lnTo>
                    <a:pt x="1357" y="3252"/>
                  </a:lnTo>
                  <a:lnTo>
                    <a:pt x="1367" y="3264"/>
                  </a:lnTo>
                  <a:lnTo>
                    <a:pt x="1375" y="3273"/>
                  </a:lnTo>
                  <a:lnTo>
                    <a:pt x="1395" y="3275"/>
                  </a:lnTo>
                  <a:lnTo>
                    <a:pt x="1416" y="3277"/>
                  </a:lnTo>
                  <a:lnTo>
                    <a:pt x="1436" y="3279"/>
                  </a:lnTo>
                  <a:lnTo>
                    <a:pt x="1456" y="3279"/>
                  </a:lnTo>
                  <a:lnTo>
                    <a:pt x="1478" y="3281"/>
                  </a:lnTo>
                  <a:lnTo>
                    <a:pt x="1497" y="3281"/>
                  </a:lnTo>
                  <a:lnTo>
                    <a:pt x="1518" y="3282"/>
                  </a:lnTo>
                  <a:lnTo>
                    <a:pt x="1537" y="3283"/>
                  </a:lnTo>
                  <a:lnTo>
                    <a:pt x="1562" y="3296"/>
                  </a:lnTo>
                  <a:lnTo>
                    <a:pt x="1584" y="3310"/>
                  </a:lnTo>
                  <a:lnTo>
                    <a:pt x="1609" y="3323"/>
                  </a:lnTo>
                  <a:lnTo>
                    <a:pt x="1633" y="3336"/>
                  </a:lnTo>
                  <a:lnTo>
                    <a:pt x="1658" y="3352"/>
                  </a:lnTo>
                  <a:lnTo>
                    <a:pt x="1682" y="3365"/>
                  </a:lnTo>
                  <a:lnTo>
                    <a:pt x="1707" y="3379"/>
                  </a:lnTo>
                  <a:lnTo>
                    <a:pt x="1732" y="3392"/>
                  </a:lnTo>
                  <a:lnTo>
                    <a:pt x="1742" y="3392"/>
                  </a:lnTo>
                  <a:lnTo>
                    <a:pt x="1752" y="3392"/>
                  </a:lnTo>
                  <a:lnTo>
                    <a:pt x="1762" y="3392"/>
                  </a:lnTo>
                  <a:lnTo>
                    <a:pt x="1773" y="3392"/>
                  </a:lnTo>
                  <a:lnTo>
                    <a:pt x="1784" y="3392"/>
                  </a:lnTo>
                  <a:lnTo>
                    <a:pt x="1793" y="3392"/>
                  </a:lnTo>
                  <a:lnTo>
                    <a:pt x="1803" y="3392"/>
                  </a:lnTo>
                  <a:lnTo>
                    <a:pt x="1814" y="3392"/>
                  </a:lnTo>
                  <a:lnTo>
                    <a:pt x="1822" y="3400"/>
                  </a:lnTo>
                  <a:lnTo>
                    <a:pt x="1833" y="3406"/>
                  </a:lnTo>
                  <a:lnTo>
                    <a:pt x="1842" y="3412"/>
                  </a:lnTo>
                  <a:lnTo>
                    <a:pt x="1852" y="3419"/>
                  </a:lnTo>
                  <a:lnTo>
                    <a:pt x="1860" y="3425"/>
                  </a:lnTo>
                  <a:lnTo>
                    <a:pt x="1869" y="3429"/>
                  </a:lnTo>
                  <a:lnTo>
                    <a:pt x="1879" y="3434"/>
                  </a:lnTo>
                  <a:lnTo>
                    <a:pt x="1887" y="3439"/>
                  </a:lnTo>
                  <a:lnTo>
                    <a:pt x="1915" y="3446"/>
                  </a:lnTo>
                  <a:lnTo>
                    <a:pt x="1934" y="3448"/>
                  </a:lnTo>
                  <a:lnTo>
                    <a:pt x="1946" y="3445"/>
                  </a:lnTo>
                  <a:lnTo>
                    <a:pt x="1950" y="3438"/>
                  </a:lnTo>
                  <a:lnTo>
                    <a:pt x="1950" y="3429"/>
                  </a:lnTo>
                  <a:lnTo>
                    <a:pt x="1944" y="3416"/>
                  </a:lnTo>
                  <a:lnTo>
                    <a:pt x="1936" y="3401"/>
                  </a:lnTo>
                  <a:lnTo>
                    <a:pt x="1928" y="3387"/>
                  </a:lnTo>
                  <a:lnTo>
                    <a:pt x="1921" y="3371"/>
                  </a:lnTo>
                  <a:lnTo>
                    <a:pt x="1912" y="3357"/>
                  </a:lnTo>
                  <a:lnTo>
                    <a:pt x="1908" y="3345"/>
                  </a:lnTo>
                  <a:lnTo>
                    <a:pt x="1907" y="3333"/>
                  </a:lnTo>
                  <a:lnTo>
                    <a:pt x="1911" y="3327"/>
                  </a:lnTo>
                  <a:lnTo>
                    <a:pt x="1922" y="3323"/>
                  </a:lnTo>
                  <a:lnTo>
                    <a:pt x="1941" y="3325"/>
                  </a:lnTo>
                  <a:lnTo>
                    <a:pt x="1968" y="3332"/>
                  </a:lnTo>
                  <a:lnTo>
                    <a:pt x="1981" y="3310"/>
                  </a:lnTo>
                  <a:lnTo>
                    <a:pt x="1993" y="3289"/>
                  </a:lnTo>
                  <a:lnTo>
                    <a:pt x="2003" y="3271"/>
                  </a:lnTo>
                  <a:lnTo>
                    <a:pt x="2012" y="3251"/>
                  </a:lnTo>
                  <a:lnTo>
                    <a:pt x="2022" y="3233"/>
                  </a:lnTo>
                  <a:lnTo>
                    <a:pt x="2032" y="3211"/>
                  </a:lnTo>
                  <a:lnTo>
                    <a:pt x="2042" y="3191"/>
                  </a:lnTo>
                  <a:lnTo>
                    <a:pt x="2055" y="3167"/>
                  </a:lnTo>
                  <a:lnTo>
                    <a:pt x="2056" y="3154"/>
                  </a:lnTo>
                  <a:lnTo>
                    <a:pt x="2061" y="3138"/>
                  </a:lnTo>
                  <a:lnTo>
                    <a:pt x="2067" y="3122"/>
                  </a:lnTo>
                  <a:lnTo>
                    <a:pt x="2075" y="3103"/>
                  </a:lnTo>
                  <a:lnTo>
                    <a:pt x="2083" y="3085"/>
                  </a:lnTo>
                  <a:lnTo>
                    <a:pt x="2089" y="3067"/>
                  </a:lnTo>
                  <a:lnTo>
                    <a:pt x="2093" y="3052"/>
                  </a:lnTo>
                  <a:lnTo>
                    <a:pt x="2095" y="3039"/>
                  </a:lnTo>
                  <a:lnTo>
                    <a:pt x="2108" y="3019"/>
                  </a:lnTo>
                  <a:lnTo>
                    <a:pt x="2121" y="2998"/>
                  </a:lnTo>
                  <a:lnTo>
                    <a:pt x="2134" y="2980"/>
                  </a:lnTo>
                  <a:lnTo>
                    <a:pt x="2146" y="2960"/>
                  </a:lnTo>
                  <a:lnTo>
                    <a:pt x="2157" y="2942"/>
                  </a:lnTo>
                  <a:lnTo>
                    <a:pt x="2169" y="2923"/>
                  </a:lnTo>
                  <a:lnTo>
                    <a:pt x="2180" y="2905"/>
                  </a:lnTo>
                  <a:lnTo>
                    <a:pt x="2193" y="2885"/>
                  </a:lnTo>
                  <a:lnTo>
                    <a:pt x="2199" y="2832"/>
                  </a:lnTo>
                  <a:lnTo>
                    <a:pt x="2211" y="2790"/>
                  </a:lnTo>
                  <a:lnTo>
                    <a:pt x="2222" y="2749"/>
                  </a:lnTo>
                  <a:lnTo>
                    <a:pt x="2225" y="2695"/>
                  </a:lnTo>
                  <a:lnTo>
                    <a:pt x="2239" y="2687"/>
                  </a:lnTo>
                  <a:lnTo>
                    <a:pt x="2254" y="2675"/>
                  </a:lnTo>
                  <a:lnTo>
                    <a:pt x="2269" y="2662"/>
                  </a:lnTo>
                  <a:lnTo>
                    <a:pt x="2285" y="2649"/>
                  </a:lnTo>
                  <a:lnTo>
                    <a:pt x="2301" y="2636"/>
                  </a:lnTo>
                  <a:lnTo>
                    <a:pt x="2317" y="2622"/>
                  </a:lnTo>
                  <a:lnTo>
                    <a:pt x="2330" y="2611"/>
                  </a:lnTo>
                  <a:lnTo>
                    <a:pt x="2344" y="2602"/>
                  </a:lnTo>
                  <a:lnTo>
                    <a:pt x="2353" y="2549"/>
                  </a:lnTo>
                  <a:lnTo>
                    <a:pt x="2358" y="2508"/>
                  </a:lnTo>
                  <a:lnTo>
                    <a:pt x="2364" y="2467"/>
                  </a:lnTo>
                  <a:lnTo>
                    <a:pt x="2375" y="2413"/>
                  </a:lnTo>
                  <a:lnTo>
                    <a:pt x="2386" y="2403"/>
                  </a:lnTo>
                  <a:lnTo>
                    <a:pt x="2402" y="2391"/>
                  </a:lnTo>
                  <a:lnTo>
                    <a:pt x="2422" y="2378"/>
                  </a:lnTo>
                  <a:lnTo>
                    <a:pt x="2445" y="2364"/>
                  </a:lnTo>
                  <a:lnTo>
                    <a:pt x="2469" y="2348"/>
                  </a:lnTo>
                  <a:lnTo>
                    <a:pt x="2489" y="2335"/>
                  </a:lnTo>
                  <a:lnTo>
                    <a:pt x="2506" y="2324"/>
                  </a:lnTo>
                  <a:lnTo>
                    <a:pt x="2515" y="2314"/>
                  </a:lnTo>
                  <a:lnTo>
                    <a:pt x="2513" y="2300"/>
                  </a:lnTo>
                  <a:lnTo>
                    <a:pt x="2513" y="2286"/>
                  </a:lnTo>
                  <a:lnTo>
                    <a:pt x="2518" y="2274"/>
                  </a:lnTo>
                  <a:lnTo>
                    <a:pt x="2521" y="2261"/>
                  </a:lnTo>
                  <a:lnTo>
                    <a:pt x="2526" y="2247"/>
                  </a:lnTo>
                  <a:lnTo>
                    <a:pt x="2529" y="2234"/>
                  </a:lnTo>
                  <a:lnTo>
                    <a:pt x="2531" y="2219"/>
                  </a:lnTo>
                  <a:lnTo>
                    <a:pt x="2529" y="2205"/>
                  </a:lnTo>
                  <a:lnTo>
                    <a:pt x="2541" y="2203"/>
                  </a:lnTo>
                  <a:lnTo>
                    <a:pt x="2552" y="2199"/>
                  </a:lnTo>
                  <a:lnTo>
                    <a:pt x="2564" y="2196"/>
                  </a:lnTo>
                  <a:lnTo>
                    <a:pt x="2576" y="2192"/>
                  </a:lnTo>
                  <a:lnTo>
                    <a:pt x="2588" y="2188"/>
                  </a:lnTo>
                  <a:lnTo>
                    <a:pt x="2598" y="2185"/>
                  </a:lnTo>
                  <a:lnTo>
                    <a:pt x="2610" y="2180"/>
                  </a:lnTo>
                  <a:lnTo>
                    <a:pt x="2621" y="2177"/>
                  </a:lnTo>
                  <a:lnTo>
                    <a:pt x="2626" y="2156"/>
                  </a:lnTo>
                  <a:lnTo>
                    <a:pt x="2634" y="2136"/>
                  </a:lnTo>
                  <a:lnTo>
                    <a:pt x="2641" y="2117"/>
                  </a:lnTo>
                  <a:lnTo>
                    <a:pt x="2651" y="2095"/>
                  </a:lnTo>
                  <a:lnTo>
                    <a:pt x="2659" y="2100"/>
                  </a:lnTo>
                  <a:lnTo>
                    <a:pt x="2665" y="2102"/>
                  </a:lnTo>
                  <a:lnTo>
                    <a:pt x="2673" y="2105"/>
                  </a:lnTo>
                  <a:lnTo>
                    <a:pt x="2680" y="2107"/>
                  </a:lnTo>
                  <a:lnTo>
                    <a:pt x="2687" y="2110"/>
                  </a:lnTo>
                  <a:lnTo>
                    <a:pt x="2697" y="2112"/>
                  </a:lnTo>
                  <a:lnTo>
                    <a:pt x="2705" y="2115"/>
                  </a:lnTo>
                  <a:lnTo>
                    <a:pt x="2713" y="2117"/>
                  </a:lnTo>
                  <a:lnTo>
                    <a:pt x="2721" y="2100"/>
                  </a:lnTo>
                  <a:lnTo>
                    <a:pt x="2727" y="2082"/>
                  </a:lnTo>
                  <a:lnTo>
                    <a:pt x="2731" y="2065"/>
                  </a:lnTo>
                  <a:lnTo>
                    <a:pt x="2736" y="2048"/>
                  </a:lnTo>
                  <a:lnTo>
                    <a:pt x="2742" y="2043"/>
                  </a:lnTo>
                  <a:lnTo>
                    <a:pt x="2747" y="2038"/>
                  </a:lnTo>
                  <a:lnTo>
                    <a:pt x="2753" y="2034"/>
                  </a:lnTo>
                  <a:lnTo>
                    <a:pt x="2758" y="2027"/>
                  </a:lnTo>
                  <a:lnTo>
                    <a:pt x="2765" y="2022"/>
                  </a:lnTo>
                  <a:lnTo>
                    <a:pt x="2770" y="2017"/>
                  </a:lnTo>
                  <a:lnTo>
                    <a:pt x="2776" y="2011"/>
                  </a:lnTo>
                  <a:lnTo>
                    <a:pt x="2780" y="2006"/>
                  </a:lnTo>
                  <a:lnTo>
                    <a:pt x="2791" y="1990"/>
                  </a:lnTo>
                  <a:lnTo>
                    <a:pt x="2801" y="1974"/>
                  </a:lnTo>
                  <a:lnTo>
                    <a:pt x="2813" y="1958"/>
                  </a:lnTo>
                  <a:lnTo>
                    <a:pt x="2825" y="1942"/>
                  </a:lnTo>
                  <a:lnTo>
                    <a:pt x="2837" y="1926"/>
                  </a:lnTo>
                  <a:lnTo>
                    <a:pt x="2849" y="1910"/>
                  </a:lnTo>
                  <a:lnTo>
                    <a:pt x="2864" y="1893"/>
                  </a:lnTo>
                  <a:lnTo>
                    <a:pt x="2878" y="1877"/>
                  </a:lnTo>
                  <a:lnTo>
                    <a:pt x="2902" y="1857"/>
                  </a:lnTo>
                  <a:lnTo>
                    <a:pt x="2927" y="1836"/>
                  </a:lnTo>
                  <a:lnTo>
                    <a:pt x="2951" y="1815"/>
                  </a:lnTo>
                  <a:lnTo>
                    <a:pt x="2975" y="1795"/>
                  </a:lnTo>
                  <a:lnTo>
                    <a:pt x="2999" y="1774"/>
                  </a:lnTo>
                  <a:lnTo>
                    <a:pt x="3023" y="1752"/>
                  </a:lnTo>
                  <a:lnTo>
                    <a:pt x="3045" y="1730"/>
                  </a:lnTo>
                  <a:lnTo>
                    <a:pt x="3069" y="1708"/>
                  </a:lnTo>
                  <a:lnTo>
                    <a:pt x="3091" y="1685"/>
                  </a:lnTo>
                  <a:lnTo>
                    <a:pt x="3115" y="1664"/>
                  </a:lnTo>
                  <a:lnTo>
                    <a:pt x="3140" y="1640"/>
                  </a:lnTo>
                  <a:lnTo>
                    <a:pt x="3163" y="1617"/>
                  </a:lnTo>
                  <a:lnTo>
                    <a:pt x="3186" y="1593"/>
                  </a:lnTo>
                  <a:lnTo>
                    <a:pt x="3210" y="1569"/>
                  </a:lnTo>
                  <a:lnTo>
                    <a:pt x="3235" y="1547"/>
                  </a:lnTo>
                  <a:lnTo>
                    <a:pt x="3259" y="1522"/>
                  </a:lnTo>
                  <a:lnTo>
                    <a:pt x="3284" y="1496"/>
                  </a:lnTo>
                  <a:lnTo>
                    <a:pt x="3310" y="1474"/>
                  </a:lnTo>
                  <a:lnTo>
                    <a:pt x="3336" y="1449"/>
                  </a:lnTo>
                  <a:lnTo>
                    <a:pt x="3363" y="1425"/>
                  </a:lnTo>
                  <a:lnTo>
                    <a:pt x="3390" y="1399"/>
                  </a:lnTo>
                  <a:lnTo>
                    <a:pt x="3418" y="1374"/>
                  </a:lnTo>
                  <a:lnTo>
                    <a:pt x="3448" y="1350"/>
                  </a:lnTo>
                  <a:lnTo>
                    <a:pt x="3478" y="1325"/>
                  </a:lnTo>
                  <a:lnTo>
                    <a:pt x="3509" y="1299"/>
                  </a:lnTo>
                  <a:lnTo>
                    <a:pt x="3541" y="1274"/>
                  </a:lnTo>
                  <a:lnTo>
                    <a:pt x="3572" y="1249"/>
                  </a:lnTo>
                  <a:lnTo>
                    <a:pt x="3607" y="1222"/>
                  </a:lnTo>
                  <a:lnTo>
                    <a:pt x="3641" y="1199"/>
                  </a:lnTo>
                  <a:lnTo>
                    <a:pt x="3677" y="1172"/>
                  </a:lnTo>
                  <a:lnTo>
                    <a:pt x="3714" y="1147"/>
                  </a:lnTo>
                  <a:lnTo>
                    <a:pt x="3753" y="1121"/>
                  </a:lnTo>
                  <a:lnTo>
                    <a:pt x="3770" y="1110"/>
                  </a:lnTo>
                  <a:lnTo>
                    <a:pt x="3788" y="1099"/>
                  </a:lnTo>
                  <a:lnTo>
                    <a:pt x="3805" y="1089"/>
                  </a:lnTo>
                  <a:lnTo>
                    <a:pt x="3822" y="1077"/>
                  </a:lnTo>
                  <a:lnTo>
                    <a:pt x="3840" y="1068"/>
                  </a:lnTo>
                  <a:lnTo>
                    <a:pt x="3858" y="1057"/>
                  </a:lnTo>
                  <a:lnTo>
                    <a:pt x="3876" y="1046"/>
                  </a:lnTo>
                  <a:lnTo>
                    <a:pt x="3896" y="1037"/>
                  </a:lnTo>
                  <a:lnTo>
                    <a:pt x="3905" y="1031"/>
                  </a:lnTo>
                  <a:lnTo>
                    <a:pt x="3916" y="1027"/>
                  </a:lnTo>
                  <a:lnTo>
                    <a:pt x="3927" y="1022"/>
                  </a:lnTo>
                  <a:lnTo>
                    <a:pt x="3937" y="1018"/>
                  </a:lnTo>
                  <a:lnTo>
                    <a:pt x="3948" y="1012"/>
                  </a:lnTo>
                  <a:lnTo>
                    <a:pt x="3958" y="1007"/>
                  </a:lnTo>
                  <a:lnTo>
                    <a:pt x="3969" y="1000"/>
                  </a:lnTo>
                  <a:lnTo>
                    <a:pt x="3980" y="995"/>
                  </a:lnTo>
                  <a:lnTo>
                    <a:pt x="3999" y="984"/>
                  </a:lnTo>
                  <a:lnTo>
                    <a:pt x="4018" y="972"/>
                  </a:lnTo>
                  <a:lnTo>
                    <a:pt x="4037" y="962"/>
                  </a:lnTo>
                  <a:lnTo>
                    <a:pt x="4056" y="949"/>
                  </a:lnTo>
                  <a:lnTo>
                    <a:pt x="4075" y="939"/>
                  </a:lnTo>
                  <a:lnTo>
                    <a:pt x="4093" y="925"/>
                  </a:lnTo>
                  <a:lnTo>
                    <a:pt x="4112" y="915"/>
                  </a:lnTo>
                  <a:lnTo>
                    <a:pt x="4131" y="903"/>
                  </a:lnTo>
                  <a:lnTo>
                    <a:pt x="4144" y="894"/>
                  </a:lnTo>
                  <a:lnTo>
                    <a:pt x="4156" y="884"/>
                  </a:lnTo>
                  <a:lnTo>
                    <a:pt x="4168" y="875"/>
                  </a:lnTo>
                  <a:lnTo>
                    <a:pt x="4182" y="866"/>
                  </a:lnTo>
                  <a:lnTo>
                    <a:pt x="4195" y="856"/>
                  </a:lnTo>
                  <a:lnTo>
                    <a:pt x="4209" y="847"/>
                  </a:lnTo>
                  <a:lnTo>
                    <a:pt x="4221" y="839"/>
                  </a:lnTo>
                  <a:lnTo>
                    <a:pt x="4235" y="829"/>
                  </a:lnTo>
                  <a:lnTo>
                    <a:pt x="4240" y="816"/>
                  </a:lnTo>
                  <a:lnTo>
                    <a:pt x="4245" y="805"/>
                  </a:lnTo>
                  <a:lnTo>
                    <a:pt x="4251" y="795"/>
                  </a:lnTo>
                  <a:lnTo>
                    <a:pt x="4255" y="786"/>
                  </a:lnTo>
                  <a:lnTo>
                    <a:pt x="4264" y="777"/>
                  </a:lnTo>
                  <a:lnTo>
                    <a:pt x="4271" y="772"/>
                  </a:lnTo>
                  <a:lnTo>
                    <a:pt x="4280" y="764"/>
                  </a:lnTo>
                  <a:lnTo>
                    <a:pt x="4289" y="758"/>
                  </a:lnTo>
                  <a:lnTo>
                    <a:pt x="4298" y="751"/>
                  </a:lnTo>
                  <a:lnTo>
                    <a:pt x="4307" y="744"/>
                  </a:lnTo>
                  <a:lnTo>
                    <a:pt x="4315" y="737"/>
                  </a:lnTo>
                  <a:lnTo>
                    <a:pt x="4325" y="731"/>
                  </a:lnTo>
                  <a:lnTo>
                    <a:pt x="4328" y="737"/>
                  </a:lnTo>
                  <a:lnTo>
                    <a:pt x="4331" y="743"/>
                  </a:lnTo>
                  <a:lnTo>
                    <a:pt x="4334" y="750"/>
                  </a:lnTo>
                  <a:lnTo>
                    <a:pt x="4336" y="756"/>
                  </a:lnTo>
                  <a:lnTo>
                    <a:pt x="4350" y="746"/>
                  </a:lnTo>
                  <a:lnTo>
                    <a:pt x="4363" y="740"/>
                  </a:lnTo>
                  <a:lnTo>
                    <a:pt x="4377" y="731"/>
                  </a:lnTo>
                  <a:lnTo>
                    <a:pt x="4391" y="723"/>
                  </a:lnTo>
                  <a:lnTo>
                    <a:pt x="4404" y="716"/>
                  </a:lnTo>
                  <a:lnTo>
                    <a:pt x="4419" y="706"/>
                  </a:lnTo>
                  <a:lnTo>
                    <a:pt x="4433" y="699"/>
                  </a:lnTo>
                  <a:lnTo>
                    <a:pt x="4444" y="692"/>
                  </a:lnTo>
                  <a:lnTo>
                    <a:pt x="4455" y="678"/>
                  </a:lnTo>
                  <a:lnTo>
                    <a:pt x="4464" y="660"/>
                  </a:lnTo>
                  <a:lnTo>
                    <a:pt x="4474" y="644"/>
                  </a:lnTo>
                  <a:lnTo>
                    <a:pt x="4482" y="629"/>
                  </a:lnTo>
                  <a:lnTo>
                    <a:pt x="4493" y="619"/>
                  </a:lnTo>
                  <a:lnTo>
                    <a:pt x="4506" y="610"/>
                  </a:lnTo>
                  <a:lnTo>
                    <a:pt x="4519" y="602"/>
                  </a:lnTo>
                  <a:lnTo>
                    <a:pt x="4531" y="593"/>
                  </a:lnTo>
                  <a:lnTo>
                    <a:pt x="4543" y="585"/>
                  </a:lnTo>
                  <a:lnTo>
                    <a:pt x="4555" y="576"/>
                  </a:lnTo>
                  <a:lnTo>
                    <a:pt x="4566" y="566"/>
                  </a:lnTo>
                  <a:lnTo>
                    <a:pt x="4576" y="557"/>
                  </a:lnTo>
                  <a:lnTo>
                    <a:pt x="4581" y="543"/>
                  </a:lnTo>
                  <a:lnTo>
                    <a:pt x="4586" y="528"/>
                  </a:lnTo>
                  <a:lnTo>
                    <a:pt x="4590" y="513"/>
                  </a:lnTo>
                  <a:lnTo>
                    <a:pt x="4597" y="497"/>
                  </a:lnTo>
                  <a:lnTo>
                    <a:pt x="4608" y="489"/>
                  </a:lnTo>
                  <a:lnTo>
                    <a:pt x="4621" y="480"/>
                  </a:lnTo>
                  <a:lnTo>
                    <a:pt x="4633" y="473"/>
                  </a:lnTo>
                  <a:lnTo>
                    <a:pt x="4645" y="464"/>
                  </a:lnTo>
                  <a:lnTo>
                    <a:pt x="4657" y="456"/>
                  </a:lnTo>
                  <a:lnTo>
                    <a:pt x="4669" y="446"/>
                  </a:lnTo>
                  <a:lnTo>
                    <a:pt x="4680" y="439"/>
                  </a:lnTo>
                  <a:lnTo>
                    <a:pt x="4690" y="431"/>
                  </a:lnTo>
                  <a:lnTo>
                    <a:pt x="4705" y="427"/>
                  </a:lnTo>
                  <a:lnTo>
                    <a:pt x="4719" y="423"/>
                  </a:lnTo>
                  <a:lnTo>
                    <a:pt x="4732" y="419"/>
                  </a:lnTo>
                  <a:lnTo>
                    <a:pt x="4745" y="415"/>
                  </a:lnTo>
                  <a:lnTo>
                    <a:pt x="4758" y="409"/>
                  </a:lnTo>
                  <a:lnTo>
                    <a:pt x="4771" y="406"/>
                  </a:lnTo>
                  <a:lnTo>
                    <a:pt x="4783" y="401"/>
                  </a:lnTo>
                  <a:lnTo>
                    <a:pt x="4797" y="398"/>
                  </a:lnTo>
                  <a:lnTo>
                    <a:pt x="4803" y="390"/>
                  </a:lnTo>
                  <a:lnTo>
                    <a:pt x="4810" y="381"/>
                  </a:lnTo>
                  <a:lnTo>
                    <a:pt x="4816" y="374"/>
                  </a:lnTo>
                  <a:lnTo>
                    <a:pt x="4822" y="364"/>
                  </a:lnTo>
                  <a:lnTo>
                    <a:pt x="4829" y="356"/>
                  </a:lnTo>
                  <a:lnTo>
                    <a:pt x="4835" y="347"/>
                  </a:lnTo>
                  <a:lnTo>
                    <a:pt x="4841" y="339"/>
                  </a:lnTo>
                  <a:lnTo>
                    <a:pt x="4847" y="329"/>
                  </a:lnTo>
                  <a:lnTo>
                    <a:pt x="4858" y="323"/>
                  </a:lnTo>
                  <a:lnTo>
                    <a:pt x="4868" y="316"/>
                  </a:lnTo>
                  <a:lnTo>
                    <a:pt x="4878" y="310"/>
                  </a:lnTo>
                  <a:lnTo>
                    <a:pt x="4887" y="303"/>
                  </a:lnTo>
                  <a:lnTo>
                    <a:pt x="4898" y="295"/>
                  </a:lnTo>
                  <a:lnTo>
                    <a:pt x="4907" y="288"/>
                  </a:lnTo>
                  <a:lnTo>
                    <a:pt x="4916" y="281"/>
                  </a:lnTo>
                  <a:lnTo>
                    <a:pt x="4925" y="273"/>
                  </a:lnTo>
                  <a:lnTo>
                    <a:pt x="4931" y="278"/>
                  </a:lnTo>
                  <a:lnTo>
                    <a:pt x="4938" y="283"/>
                  </a:lnTo>
                  <a:lnTo>
                    <a:pt x="4946" y="289"/>
                  </a:lnTo>
                  <a:lnTo>
                    <a:pt x="4950" y="294"/>
                  </a:lnTo>
                  <a:lnTo>
                    <a:pt x="4960" y="286"/>
                  </a:lnTo>
                  <a:lnTo>
                    <a:pt x="4972" y="278"/>
                  </a:lnTo>
                  <a:lnTo>
                    <a:pt x="4981" y="270"/>
                  </a:lnTo>
                  <a:lnTo>
                    <a:pt x="4992" y="262"/>
                  </a:lnTo>
                  <a:lnTo>
                    <a:pt x="5001" y="251"/>
                  </a:lnTo>
                  <a:lnTo>
                    <a:pt x="5012" y="242"/>
                  </a:lnTo>
                  <a:lnTo>
                    <a:pt x="5023" y="234"/>
                  </a:lnTo>
                  <a:lnTo>
                    <a:pt x="5033" y="226"/>
                  </a:lnTo>
                  <a:lnTo>
                    <a:pt x="5021" y="231"/>
                  </a:lnTo>
                  <a:lnTo>
                    <a:pt x="5010" y="237"/>
                  </a:lnTo>
                  <a:lnTo>
                    <a:pt x="4997" y="244"/>
                  </a:lnTo>
                  <a:lnTo>
                    <a:pt x="4983" y="248"/>
                  </a:lnTo>
                  <a:lnTo>
                    <a:pt x="4972" y="254"/>
                  </a:lnTo>
                  <a:lnTo>
                    <a:pt x="4960" y="259"/>
                  </a:lnTo>
                  <a:lnTo>
                    <a:pt x="4948" y="265"/>
                  </a:lnTo>
                  <a:lnTo>
                    <a:pt x="4936" y="270"/>
                  </a:lnTo>
                  <a:lnTo>
                    <a:pt x="4947" y="244"/>
                  </a:lnTo>
                  <a:lnTo>
                    <a:pt x="4956" y="221"/>
                  </a:lnTo>
                  <a:lnTo>
                    <a:pt x="4963" y="197"/>
                  </a:lnTo>
                  <a:lnTo>
                    <a:pt x="4968" y="173"/>
                  </a:lnTo>
                  <a:lnTo>
                    <a:pt x="4959" y="180"/>
                  </a:lnTo>
                  <a:lnTo>
                    <a:pt x="4950" y="190"/>
                  </a:lnTo>
                  <a:lnTo>
                    <a:pt x="4941" y="198"/>
                  </a:lnTo>
                  <a:lnTo>
                    <a:pt x="4930" y="206"/>
                  </a:lnTo>
                  <a:lnTo>
                    <a:pt x="4921" y="214"/>
                  </a:lnTo>
                  <a:lnTo>
                    <a:pt x="4910" y="223"/>
                  </a:lnTo>
                  <a:lnTo>
                    <a:pt x="4899" y="231"/>
                  </a:lnTo>
                  <a:lnTo>
                    <a:pt x="4889" y="240"/>
                  </a:lnTo>
                  <a:lnTo>
                    <a:pt x="4882" y="250"/>
                  </a:lnTo>
                  <a:lnTo>
                    <a:pt x="4872" y="259"/>
                  </a:lnTo>
                  <a:lnTo>
                    <a:pt x="4865" y="270"/>
                  </a:lnTo>
                  <a:lnTo>
                    <a:pt x="4858" y="281"/>
                  </a:lnTo>
                  <a:lnTo>
                    <a:pt x="4850" y="292"/>
                  </a:lnTo>
                  <a:lnTo>
                    <a:pt x="4842" y="303"/>
                  </a:lnTo>
                  <a:lnTo>
                    <a:pt x="4835" y="314"/>
                  </a:lnTo>
                  <a:lnTo>
                    <a:pt x="4827" y="325"/>
                  </a:lnTo>
                  <a:lnTo>
                    <a:pt x="4820" y="329"/>
                  </a:lnTo>
                  <a:lnTo>
                    <a:pt x="4813" y="334"/>
                  </a:lnTo>
                  <a:lnTo>
                    <a:pt x="4805" y="341"/>
                  </a:lnTo>
                  <a:lnTo>
                    <a:pt x="4799" y="346"/>
                  </a:lnTo>
                  <a:lnTo>
                    <a:pt x="4791" y="351"/>
                  </a:lnTo>
                  <a:lnTo>
                    <a:pt x="4785" y="356"/>
                  </a:lnTo>
                  <a:lnTo>
                    <a:pt x="4778" y="360"/>
                  </a:lnTo>
                  <a:lnTo>
                    <a:pt x="4771" y="365"/>
                  </a:lnTo>
                  <a:lnTo>
                    <a:pt x="4766" y="364"/>
                  </a:lnTo>
                  <a:lnTo>
                    <a:pt x="4760" y="363"/>
                  </a:lnTo>
                  <a:lnTo>
                    <a:pt x="4756" y="360"/>
                  </a:lnTo>
                  <a:lnTo>
                    <a:pt x="4752" y="359"/>
                  </a:lnTo>
                  <a:lnTo>
                    <a:pt x="4747" y="358"/>
                  </a:lnTo>
                  <a:lnTo>
                    <a:pt x="4743" y="356"/>
                  </a:lnTo>
                  <a:lnTo>
                    <a:pt x="4736" y="354"/>
                  </a:lnTo>
                  <a:lnTo>
                    <a:pt x="4732" y="354"/>
                  </a:lnTo>
                  <a:lnTo>
                    <a:pt x="4709" y="371"/>
                  </a:lnTo>
                  <a:lnTo>
                    <a:pt x="4688" y="390"/>
                  </a:lnTo>
                  <a:lnTo>
                    <a:pt x="4666" y="408"/>
                  </a:lnTo>
                  <a:lnTo>
                    <a:pt x="4644" y="427"/>
                  </a:lnTo>
                  <a:lnTo>
                    <a:pt x="4621" y="445"/>
                  </a:lnTo>
                  <a:lnTo>
                    <a:pt x="4597" y="464"/>
                  </a:lnTo>
                  <a:lnTo>
                    <a:pt x="4575" y="483"/>
                  </a:lnTo>
                  <a:lnTo>
                    <a:pt x="4551" y="502"/>
                  </a:lnTo>
                  <a:lnTo>
                    <a:pt x="4541" y="507"/>
                  </a:lnTo>
                  <a:lnTo>
                    <a:pt x="4531" y="513"/>
                  </a:lnTo>
                  <a:lnTo>
                    <a:pt x="4521" y="517"/>
                  </a:lnTo>
                  <a:lnTo>
                    <a:pt x="4511" y="524"/>
                  </a:lnTo>
                  <a:lnTo>
                    <a:pt x="4501" y="528"/>
                  </a:lnTo>
                  <a:lnTo>
                    <a:pt x="4492" y="533"/>
                  </a:lnTo>
                  <a:lnTo>
                    <a:pt x="4482" y="539"/>
                  </a:lnTo>
                  <a:lnTo>
                    <a:pt x="4474" y="544"/>
                  </a:lnTo>
                  <a:lnTo>
                    <a:pt x="4467" y="542"/>
                  </a:lnTo>
                  <a:lnTo>
                    <a:pt x="4461" y="539"/>
                  </a:lnTo>
                  <a:lnTo>
                    <a:pt x="4455" y="537"/>
                  </a:lnTo>
                  <a:lnTo>
                    <a:pt x="4451" y="533"/>
                  </a:lnTo>
                  <a:lnTo>
                    <a:pt x="4443" y="531"/>
                  </a:lnTo>
                  <a:lnTo>
                    <a:pt x="4439" y="528"/>
                  </a:lnTo>
                  <a:lnTo>
                    <a:pt x="4433" y="526"/>
                  </a:lnTo>
                  <a:lnTo>
                    <a:pt x="4427" y="524"/>
                  </a:lnTo>
                  <a:lnTo>
                    <a:pt x="4401" y="542"/>
                  </a:lnTo>
                  <a:lnTo>
                    <a:pt x="4376" y="558"/>
                  </a:lnTo>
                  <a:lnTo>
                    <a:pt x="4350" y="577"/>
                  </a:lnTo>
                  <a:lnTo>
                    <a:pt x="4325" y="594"/>
                  </a:lnTo>
                  <a:lnTo>
                    <a:pt x="4301" y="612"/>
                  </a:lnTo>
                  <a:lnTo>
                    <a:pt x="4274" y="630"/>
                  </a:lnTo>
                  <a:lnTo>
                    <a:pt x="4248" y="648"/>
                  </a:lnTo>
                  <a:lnTo>
                    <a:pt x="4223" y="665"/>
                  </a:lnTo>
                  <a:lnTo>
                    <a:pt x="4197" y="683"/>
                  </a:lnTo>
                  <a:lnTo>
                    <a:pt x="4172" y="702"/>
                  </a:lnTo>
                  <a:lnTo>
                    <a:pt x="4147" y="719"/>
                  </a:lnTo>
                  <a:lnTo>
                    <a:pt x="4121" y="737"/>
                  </a:lnTo>
                  <a:lnTo>
                    <a:pt x="4096" y="755"/>
                  </a:lnTo>
                  <a:lnTo>
                    <a:pt x="4069" y="773"/>
                  </a:lnTo>
                  <a:lnTo>
                    <a:pt x="4044" y="792"/>
                  </a:lnTo>
                  <a:lnTo>
                    <a:pt x="4018" y="810"/>
                  </a:lnTo>
                  <a:lnTo>
                    <a:pt x="4012" y="802"/>
                  </a:lnTo>
                  <a:lnTo>
                    <a:pt x="4005" y="795"/>
                  </a:lnTo>
                  <a:lnTo>
                    <a:pt x="3999" y="784"/>
                  </a:lnTo>
                  <a:lnTo>
                    <a:pt x="3995" y="774"/>
                  </a:lnTo>
                  <a:lnTo>
                    <a:pt x="4005" y="767"/>
                  </a:lnTo>
                  <a:lnTo>
                    <a:pt x="4014" y="760"/>
                  </a:lnTo>
                  <a:lnTo>
                    <a:pt x="4024" y="751"/>
                  </a:lnTo>
                  <a:lnTo>
                    <a:pt x="4033" y="742"/>
                  </a:lnTo>
                  <a:lnTo>
                    <a:pt x="4043" y="733"/>
                  </a:lnTo>
                  <a:lnTo>
                    <a:pt x="4053" y="725"/>
                  </a:lnTo>
                  <a:lnTo>
                    <a:pt x="4063" y="716"/>
                  </a:lnTo>
                  <a:lnTo>
                    <a:pt x="4074" y="707"/>
                  </a:lnTo>
                  <a:lnTo>
                    <a:pt x="4081" y="705"/>
                  </a:lnTo>
                  <a:lnTo>
                    <a:pt x="4088" y="702"/>
                  </a:lnTo>
                  <a:lnTo>
                    <a:pt x="4096" y="702"/>
                  </a:lnTo>
                  <a:lnTo>
                    <a:pt x="4105" y="699"/>
                  </a:lnTo>
                  <a:lnTo>
                    <a:pt x="4112" y="696"/>
                  </a:lnTo>
                  <a:lnTo>
                    <a:pt x="4120" y="694"/>
                  </a:lnTo>
                  <a:lnTo>
                    <a:pt x="4129" y="691"/>
                  </a:lnTo>
                  <a:lnTo>
                    <a:pt x="4136" y="689"/>
                  </a:lnTo>
                  <a:lnTo>
                    <a:pt x="4141" y="682"/>
                  </a:lnTo>
                  <a:lnTo>
                    <a:pt x="4146" y="675"/>
                  </a:lnTo>
                  <a:lnTo>
                    <a:pt x="4151" y="668"/>
                  </a:lnTo>
                  <a:lnTo>
                    <a:pt x="4156" y="661"/>
                  </a:lnTo>
                  <a:lnTo>
                    <a:pt x="4160" y="654"/>
                  </a:lnTo>
                  <a:lnTo>
                    <a:pt x="4166" y="647"/>
                  </a:lnTo>
                  <a:lnTo>
                    <a:pt x="4172" y="639"/>
                  </a:lnTo>
                  <a:lnTo>
                    <a:pt x="4177" y="631"/>
                  </a:lnTo>
                  <a:lnTo>
                    <a:pt x="4188" y="627"/>
                  </a:lnTo>
                  <a:lnTo>
                    <a:pt x="4196" y="621"/>
                  </a:lnTo>
                  <a:lnTo>
                    <a:pt x="4207" y="616"/>
                  </a:lnTo>
                  <a:lnTo>
                    <a:pt x="4217" y="610"/>
                  </a:lnTo>
                  <a:lnTo>
                    <a:pt x="4225" y="605"/>
                  </a:lnTo>
                  <a:lnTo>
                    <a:pt x="4235" y="600"/>
                  </a:lnTo>
                  <a:lnTo>
                    <a:pt x="4245" y="593"/>
                  </a:lnTo>
                  <a:lnTo>
                    <a:pt x="4255" y="588"/>
                  </a:lnTo>
                  <a:lnTo>
                    <a:pt x="4262" y="575"/>
                  </a:lnTo>
                  <a:lnTo>
                    <a:pt x="4269" y="562"/>
                  </a:lnTo>
                  <a:lnTo>
                    <a:pt x="4276" y="548"/>
                  </a:lnTo>
                  <a:lnTo>
                    <a:pt x="4284" y="533"/>
                  </a:lnTo>
                  <a:lnTo>
                    <a:pt x="4290" y="526"/>
                  </a:lnTo>
                  <a:lnTo>
                    <a:pt x="4298" y="519"/>
                  </a:lnTo>
                  <a:lnTo>
                    <a:pt x="4305" y="513"/>
                  </a:lnTo>
                  <a:lnTo>
                    <a:pt x="4311" y="507"/>
                  </a:lnTo>
                  <a:lnTo>
                    <a:pt x="4319" y="501"/>
                  </a:lnTo>
                  <a:lnTo>
                    <a:pt x="4327" y="495"/>
                  </a:lnTo>
                  <a:lnTo>
                    <a:pt x="4335" y="489"/>
                  </a:lnTo>
                  <a:lnTo>
                    <a:pt x="4343" y="482"/>
                  </a:lnTo>
                  <a:lnTo>
                    <a:pt x="4336" y="480"/>
                  </a:lnTo>
                  <a:lnTo>
                    <a:pt x="4331" y="477"/>
                  </a:lnTo>
                  <a:lnTo>
                    <a:pt x="4325" y="475"/>
                  </a:lnTo>
                  <a:lnTo>
                    <a:pt x="4319" y="471"/>
                  </a:lnTo>
                  <a:lnTo>
                    <a:pt x="4313" y="469"/>
                  </a:lnTo>
                  <a:lnTo>
                    <a:pt x="4307" y="465"/>
                  </a:lnTo>
                  <a:lnTo>
                    <a:pt x="4302" y="462"/>
                  </a:lnTo>
                  <a:lnTo>
                    <a:pt x="4296" y="458"/>
                  </a:lnTo>
                  <a:lnTo>
                    <a:pt x="4307" y="450"/>
                  </a:lnTo>
                  <a:lnTo>
                    <a:pt x="4318" y="440"/>
                  </a:lnTo>
                  <a:lnTo>
                    <a:pt x="4329" y="432"/>
                  </a:lnTo>
                  <a:lnTo>
                    <a:pt x="4342" y="423"/>
                  </a:lnTo>
                  <a:lnTo>
                    <a:pt x="4353" y="415"/>
                  </a:lnTo>
                  <a:lnTo>
                    <a:pt x="4365" y="406"/>
                  </a:lnTo>
                  <a:lnTo>
                    <a:pt x="4376" y="398"/>
                  </a:lnTo>
                  <a:lnTo>
                    <a:pt x="4388" y="389"/>
                  </a:lnTo>
                  <a:lnTo>
                    <a:pt x="4393" y="383"/>
                  </a:lnTo>
                  <a:lnTo>
                    <a:pt x="4401" y="378"/>
                  </a:lnTo>
                  <a:lnTo>
                    <a:pt x="4410" y="371"/>
                  </a:lnTo>
                  <a:lnTo>
                    <a:pt x="4415" y="364"/>
                  </a:lnTo>
                  <a:lnTo>
                    <a:pt x="4424" y="354"/>
                  </a:lnTo>
                  <a:lnTo>
                    <a:pt x="4435" y="343"/>
                  </a:lnTo>
                  <a:lnTo>
                    <a:pt x="4442" y="331"/>
                  </a:lnTo>
                  <a:lnTo>
                    <a:pt x="4451" y="320"/>
                  </a:lnTo>
                  <a:lnTo>
                    <a:pt x="4460" y="309"/>
                  </a:lnTo>
                  <a:lnTo>
                    <a:pt x="4468" y="298"/>
                  </a:lnTo>
                  <a:lnTo>
                    <a:pt x="4478" y="286"/>
                  </a:lnTo>
                  <a:lnTo>
                    <a:pt x="4486" y="275"/>
                  </a:lnTo>
                  <a:lnTo>
                    <a:pt x="4464" y="285"/>
                  </a:lnTo>
                  <a:lnTo>
                    <a:pt x="4444" y="294"/>
                  </a:lnTo>
                  <a:lnTo>
                    <a:pt x="4423" y="304"/>
                  </a:lnTo>
                  <a:lnTo>
                    <a:pt x="4403" y="313"/>
                  </a:lnTo>
                  <a:lnTo>
                    <a:pt x="4381" y="323"/>
                  </a:lnTo>
                  <a:lnTo>
                    <a:pt x="4360" y="332"/>
                  </a:lnTo>
                  <a:lnTo>
                    <a:pt x="4338" y="344"/>
                  </a:lnTo>
                  <a:lnTo>
                    <a:pt x="4318" y="354"/>
                  </a:lnTo>
                  <a:lnTo>
                    <a:pt x="4313" y="351"/>
                  </a:lnTo>
                  <a:lnTo>
                    <a:pt x="4309" y="348"/>
                  </a:lnTo>
                  <a:lnTo>
                    <a:pt x="4304" y="347"/>
                  </a:lnTo>
                  <a:lnTo>
                    <a:pt x="4300" y="345"/>
                  </a:lnTo>
                  <a:lnTo>
                    <a:pt x="4293" y="344"/>
                  </a:lnTo>
                  <a:lnTo>
                    <a:pt x="4289" y="341"/>
                  </a:lnTo>
                  <a:lnTo>
                    <a:pt x="4285" y="341"/>
                  </a:lnTo>
                  <a:lnTo>
                    <a:pt x="4280" y="340"/>
                  </a:lnTo>
                  <a:lnTo>
                    <a:pt x="4286" y="333"/>
                  </a:lnTo>
                  <a:lnTo>
                    <a:pt x="4293" y="327"/>
                  </a:lnTo>
                  <a:lnTo>
                    <a:pt x="4300" y="321"/>
                  </a:lnTo>
                  <a:lnTo>
                    <a:pt x="4305" y="314"/>
                  </a:lnTo>
                  <a:lnTo>
                    <a:pt x="4311" y="308"/>
                  </a:lnTo>
                  <a:lnTo>
                    <a:pt x="4318" y="302"/>
                  </a:lnTo>
                  <a:lnTo>
                    <a:pt x="4325" y="295"/>
                  </a:lnTo>
                  <a:lnTo>
                    <a:pt x="4333" y="289"/>
                  </a:lnTo>
                  <a:lnTo>
                    <a:pt x="4352" y="275"/>
                  </a:lnTo>
                  <a:lnTo>
                    <a:pt x="4374" y="256"/>
                  </a:lnTo>
                  <a:lnTo>
                    <a:pt x="4399" y="237"/>
                  </a:lnTo>
                  <a:lnTo>
                    <a:pt x="4427" y="217"/>
                  </a:lnTo>
                  <a:lnTo>
                    <a:pt x="4455" y="198"/>
                  </a:lnTo>
                  <a:lnTo>
                    <a:pt x="4480" y="179"/>
                  </a:lnTo>
                  <a:lnTo>
                    <a:pt x="4503" y="164"/>
                  </a:lnTo>
                  <a:lnTo>
                    <a:pt x="4520" y="149"/>
                  </a:lnTo>
                  <a:lnTo>
                    <a:pt x="4524" y="125"/>
                  </a:lnTo>
                  <a:lnTo>
                    <a:pt x="4521" y="114"/>
                  </a:lnTo>
                  <a:lnTo>
                    <a:pt x="4513" y="114"/>
                  </a:lnTo>
                  <a:lnTo>
                    <a:pt x="4504" y="120"/>
                  </a:lnTo>
                  <a:lnTo>
                    <a:pt x="4491" y="128"/>
                  </a:lnTo>
                  <a:lnTo>
                    <a:pt x="4480" y="136"/>
                  </a:lnTo>
                  <a:lnTo>
                    <a:pt x="4471" y="141"/>
                  </a:lnTo>
                  <a:lnTo>
                    <a:pt x="4464" y="140"/>
                  </a:lnTo>
                  <a:lnTo>
                    <a:pt x="4455" y="148"/>
                  </a:lnTo>
                  <a:lnTo>
                    <a:pt x="4441" y="154"/>
                  </a:lnTo>
                  <a:lnTo>
                    <a:pt x="4425" y="162"/>
                  </a:lnTo>
                  <a:lnTo>
                    <a:pt x="4410" y="167"/>
                  </a:lnTo>
                  <a:lnTo>
                    <a:pt x="4393" y="175"/>
                  </a:lnTo>
                  <a:lnTo>
                    <a:pt x="4377" y="180"/>
                  </a:lnTo>
                  <a:lnTo>
                    <a:pt x="4363" y="190"/>
                  </a:lnTo>
                  <a:lnTo>
                    <a:pt x="4352" y="197"/>
                  </a:lnTo>
                  <a:lnTo>
                    <a:pt x="4348" y="206"/>
                  </a:lnTo>
                  <a:lnTo>
                    <a:pt x="4345" y="216"/>
                  </a:lnTo>
                  <a:lnTo>
                    <a:pt x="4342" y="227"/>
                  </a:lnTo>
                  <a:lnTo>
                    <a:pt x="4338" y="237"/>
                  </a:lnTo>
                  <a:lnTo>
                    <a:pt x="4333" y="242"/>
                  </a:lnTo>
                  <a:lnTo>
                    <a:pt x="4328" y="248"/>
                  </a:lnTo>
                  <a:lnTo>
                    <a:pt x="4322" y="254"/>
                  </a:lnTo>
                  <a:lnTo>
                    <a:pt x="4315" y="259"/>
                  </a:lnTo>
                  <a:lnTo>
                    <a:pt x="4307" y="266"/>
                  </a:lnTo>
                  <a:lnTo>
                    <a:pt x="4302" y="271"/>
                  </a:lnTo>
                  <a:lnTo>
                    <a:pt x="4293" y="277"/>
                  </a:lnTo>
                  <a:lnTo>
                    <a:pt x="4286" y="282"/>
                  </a:lnTo>
                  <a:lnTo>
                    <a:pt x="4280" y="275"/>
                  </a:lnTo>
                  <a:lnTo>
                    <a:pt x="4276" y="268"/>
                  </a:lnTo>
                  <a:lnTo>
                    <a:pt x="4269" y="262"/>
                  </a:lnTo>
                  <a:lnTo>
                    <a:pt x="4262" y="254"/>
                  </a:lnTo>
                  <a:lnTo>
                    <a:pt x="4257" y="247"/>
                  </a:lnTo>
                  <a:lnTo>
                    <a:pt x="4248" y="241"/>
                  </a:lnTo>
                  <a:lnTo>
                    <a:pt x="4242" y="235"/>
                  </a:lnTo>
                  <a:lnTo>
                    <a:pt x="4237" y="229"/>
                  </a:lnTo>
                  <a:lnTo>
                    <a:pt x="4245" y="215"/>
                  </a:lnTo>
                  <a:lnTo>
                    <a:pt x="4253" y="203"/>
                  </a:lnTo>
                  <a:lnTo>
                    <a:pt x="4260" y="190"/>
                  </a:lnTo>
                  <a:lnTo>
                    <a:pt x="4269" y="175"/>
                  </a:lnTo>
                  <a:lnTo>
                    <a:pt x="4280" y="169"/>
                  </a:lnTo>
                  <a:lnTo>
                    <a:pt x="4288" y="162"/>
                  </a:lnTo>
                  <a:lnTo>
                    <a:pt x="4297" y="154"/>
                  </a:lnTo>
                  <a:lnTo>
                    <a:pt x="4305" y="146"/>
                  </a:lnTo>
                  <a:lnTo>
                    <a:pt x="4314" y="138"/>
                  </a:lnTo>
                  <a:lnTo>
                    <a:pt x="4323" y="131"/>
                  </a:lnTo>
                  <a:lnTo>
                    <a:pt x="4331" y="124"/>
                  </a:lnTo>
                  <a:lnTo>
                    <a:pt x="4338" y="117"/>
                  </a:lnTo>
                  <a:lnTo>
                    <a:pt x="4346" y="107"/>
                  </a:lnTo>
                  <a:lnTo>
                    <a:pt x="4350" y="100"/>
                  </a:lnTo>
                  <a:lnTo>
                    <a:pt x="4356" y="91"/>
                  </a:lnTo>
                  <a:lnTo>
                    <a:pt x="4362" y="83"/>
                  </a:lnTo>
                  <a:lnTo>
                    <a:pt x="4368" y="74"/>
                  </a:lnTo>
                  <a:lnTo>
                    <a:pt x="4373" y="65"/>
                  </a:lnTo>
                  <a:lnTo>
                    <a:pt x="4379" y="55"/>
                  </a:lnTo>
                  <a:lnTo>
                    <a:pt x="4386" y="47"/>
                  </a:lnTo>
                  <a:lnTo>
                    <a:pt x="4376" y="48"/>
                  </a:lnTo>
                  <a:lnTo>
                    <a:pt x="4366" y="50"/>
                  </a:lnTo>
                  <a:lnTo>
                    <a:pt x="4356" y="52"/>
                  </a:lnTo>
                  <a:lnTo>
                    <a:pt x="4346" y="52"/>
                  </a:lnTo>
                  <a:lnTo>
                    <a:pt x="4335" y="55"/>
                  </a:lnTo>
                  <a:lnTo>
                    <a:pt x="4325" y="56"/>
                  </a:lnTo>
                  <a:lnTo>
                    <a:pt x="4314" y="59"/>
                  </a:lnTo>
                  <a:lnTo>
                    <a:pt x="4304" y="60"/>
                  </a:lnTo>
                  <a:lnTo>
                    <a:pt x="4307" y="44"/>
                  </a:lnTo>
                  <a:lnTo>
                    <a:pt x="4311" y="29"/>
                  </a:lnTo>
                  <a:lnTo>
                    <a:pt x="4313" y="15"/>
                  </a:lnTo>
                  <a:lnTo>
                    <a:pt x="4315" y="0"/>
                  </a:lnTo>
                  <a:lnTo>
                    <a:pt x="4305" y="6"/>
                  </a:lnTo>
                  <a:lnTo>
                    <a:pt x="4296" y="12"/>
                  </a:lnTo>
                  <a:lnTo>
                    <a:pt x="4285" y="18"/>
                  </a:lnTo>
                  <a:lnTo>
                    <a:pt x="4276" y="25"/>
                  </a:lnTo>
                  <a:lnTo>
                    <a:pt x="4266" y="32"/>
                  </a:lnTo>
                  <a:lnTo>
                    <a:pt x="4257" y="41"/>
                  </a:lnTo>
                  <a:lnTo>
                    <a:pt x="4248" y="48"/>
                  </a:lnTo>
                  <a:lnTo>
                    <a:pt x="4238" y="55"/>
                  </a:lnTo>
                  <a:lnTo>
                    <a:pt x="4233" y="63"/>
                  </a:lnTo>
                  <a:lnTo>
                    <a:pt x="4227" y="74"/>
                  </a:lnTo>
                  <a:lnTo>
                    <a:pt x="4221" y="83"/>
                  </a:lnTo>
                  <a:lnTo>
                    <a:pt x="4217" y="93"/>
                  </a:lnTo>
                  <a:lnTo>
                    <a:pt x="4211" y="103"/>
                  </a:lnTo>
                  <a:lnTo>
                    <a:pt x="4205" y="114"/>
                  </a:lnTo>
                  <a:lnTo>
                    <a:pt x="4199" y="124"/>
                  </a:lnTo>
                  <a:lnTo>
                    <a:pt x="4195" y="135"/>
                  </a:lnTo>
                  <a:lnTo>
                    <a:pt x="4186" y="135"/>
                  </a:lnTo>
                  <a:lnTo>
                    <a:pt x="4177" y="135"/>
                  </a:lnTo>
                  <a:lnTo>
                    <a:pt x="4168" y="135"/>
                  </a:lnTo>
                  <a:lnTo>
                    <a:pt x="4160" y="135"/>
                  </a:lnTo>
                  <a:lnTo>
                    <a:pt x="4151" y="135"/>
                  </a:lnTo>
                  <a:lnTo>
                    <a:pt x="4144" y="135"/>
                  </a:lnTo>
                  <a:lnTo>
                    <a:pt x="4134" y="135"/>
                  </a:lnTo>
                  <a:lnTo>
                    <a:pt x="4126" y="134"/>
                  </a:lnTo>
                  <a:lnTo>
                    <a:pt x="4111" y="144"/>
                  </a:lnTo>
                  <a:lnTo>
                    <a:pt x="4096" y="156"/>
                  </a:lnTo>
                  <a:lnTo>
                    <a:pt x="4081" y="167"/>
                  </a:lnTo>
                  <a:lnTo>
                    <a:pt x="4066" y="177"/>
                  </a:lnTo>
                  <a:lnTo>
                    <a:pt x="4051" y="189"/>
                  </a:lnTo>
                  <a:lnTo>
                    <a:pt x="4035" y="200"/>
                  </a:lnTo>
                  <a:lnTo>
                    <a:pt x="4021" y="210"/>
                  </a:lnTo>
                  <a:lnTo>
                    <a:pt x="4003" y="221"/>
                  </a:lnTo>
                  <a:lnTo>
                    <a:pt x="3955" y="254"/>
                  </a:lnTo>
                  <a:lnTo>
                    <a:pt x="3906" y="284"/>
                  </a:lnTo>
                  <a:lnTo>
                    <a:pt x="3858" y="312"/>
                  </a:lnTo>
                  <a:lnTo>
                    <a:pt x="3809" y="337"/>
                  </a:lnTo>
                  <a:lnTo>
                    <a:pt x="3759" y="362"/>
                  </a:lnTo>
                  <a:lnTo>
                    <a:pt x="3711" y="387"/>
                  </a:lnTo>
                  <a:lnTo>
                    <a:pt x="3662" y="412"/>
                  </a:lnTo>
                  <a:lnTo>
                    <a:pt x="3614" y="435"/>
                  </a:lnTo>
                  <a:lnTo>
                    <a:pt x="3566" y="463"/>
                  </a:lnTo>
                  <a:lnTo>
                    <a:pt x="3518" y="493"/>
                  </a:lnTo>
                  <a:lnTo>
                    <a:pt x="3469" y="525"/>
                  </a:lnTo>
                  <a:lnTo>
                    <a:pt x="3421" y="558"/>
                  </a:lnTo>
                  <a:lnTo>
                    <a:pt x="3374" y="600"/>
                  </a:lnTo>
                  <a:lnTo>
                    <a:pt x="3327" y="644"/>
                  </a:lnTo>
                  <a:lnTo>
                    <a:pt x="3279" y="693"/>
                  </a:lnTo>
                  <a:lnTo>
                    <a:pt x="3231" y="749"/>
                  </a:lnTo>
                  <a:lnTo>
                    <a:pt x="3186" y="777"/>
                  </a:lnTo>
                  <a:lnTo>
                    <a:pt x="3151" y="800"/>
                  </a:lnTo>
                  <a:lnTo>
                    <a:pt x="3125" y="816"/>
                  </a:lnTo>
                  <a:lnTo>
                    <a:pt x="3108" y="826"/>
                  </a:lnTo>
                  <a:lnTo>
                    <a:pt x="3100" y="829"/>
                  </a:lnTo>
                  <a:lnTo>
                    <a:pt x="3098" y="828"/>
                  </a:lnTo>
                  <a:lnTo>
                    <a:pt x="3100" y="822"/>
                  </a:lnTo>
                  <a:lnTo>
                    <a:pt x="3107" y="813"/>
                  </a:lnTo>
                  <a:lnTo>
                    <a:pt x="3116" y="804"/>
                  </a:lnTo>
                  <a:lnTo>
                    <a:pt x="3128" y="792"/>
                  </a:lnTo>
                  <a:lnTo>
                    <a:pt x="3143" y="779"/>
                  </a:lnTo>
                  <a:lnTo>
                    <a:pt x="3156" y="767"/>
                  </a:lnTo>
                  <a:lnTo>
                    <a:pt x="3168" y="756"/>
                  </a:lnTo>
                  <a:lnTo>
                    <a:pt x="3178" y="744"/>
                  </a:lnTo>
                  <a:lnTo>
                    <a:pt x="3186" y="737"/>
                  </a:lnTo>
                  <a:lnTo>
                    <a:pt x="3188" y="733"/>
                  </a:lnTo>
                  <a:lnTo>
                    <a:pt x="3211" y="722"/>
                  </a:lnTo>
                  <a:lnTo>
                    <a:pt x="3230" y="712"/>
                  </a:lnTo>
                  <a:lnTo>
                    <a:pt x="3242" y="702"/>
                  </a:lnTo>
                  <a:lnTo>
                    <a:pt x="3251" y="696"/>
                  </a:lnTo>
                  <a:lnTo>
                    <a:pt x="3256" y="693"/>
                  </a:lnTo>
                  <a:lnTo>
                    <a:pt x="3259" y="689"/>
                  </a:lnTo>
                  <a:lnTo>
                    <a:pt x="3256" y="687"/>
                  </a:lnTo>
                  <a:lnTo>
                    <a:pt x="3253" y="686"/>
                  </a:lnTo>
                  <a:lnTo>
                    <a:pt x="3248" y="686"/>
                  </a:lnTo>
                  <a:lnTo>
                    <a:pt x="3244" y="686"/>
                  </a:lnTo>
                  <a:lnTo>
                    <a:pt x="3239" y="685"/>
                  </a:lnTo>
                  <a:lnTo>
                    <a:pt x="3235" y="683"/>
                  </a:lnTo>
                  <a:lnTo>
                    <a:pt x="3233" y="681"/>
                  </a:lnTo>
                  <a:lnTo>
                    <a:pt x="3233" y="678"/>
                  </a:lnTo>
                  <a:lnTo>
                    <a:pt x="3235" y="671"/>
                  </a:lnTo>
                  <a:lnTo>
                    <a:pt x="3240" y="665"/>
                  </a:lnTo>
                  <a:lnTo>
                    <a:pt x="3248" y="656"/>
                  </a:lnTo>
                  <a:lnTo>
                    <a:pt x="3261" y="644"/>
                  </a:lnTo>
                  <a:lnTo>
                    <a:pt x="3279" y="630"/>
                  </a:lnTo>
                  <a:lnTo>
                    <a:pt x="3302" y="613"/>
                  </a:lnTo>
                  <a:lnTo>
                    <a:pt x="3330" y="593"/>
                  </a:lnTo>
                  <a:lnTo>
                    <a:pt x="3366" y="570"/>
                  </a:lnTo>
                  <a:lnTo>
                    <a:pt x="3407" y="542"/>
                  </a:lnTo>
                  <a:lnTo>
                    <a:pt x="3456" y="511"/>
                  </a:lnTo>
                  <a:lnTo>
                    <a:pt x="3513" y="473"/>
                  </a:lnTo>
                  <a:lnTo>
                    <a:pt x="3578" y="433"/>
                  </a:lnTo>
                  <a:lnTo>
                    <a:pt x="3654" y="389"/>
                  </a:lnTo>
                  <a:lnTo>
                    <a:pt x="3738" y="337"/>
                  </a:lnTo>
                  <a:lnTo>
                    <a:pt x="3833" y="282"/>
                  </a:lnTo>
                  <a:lnTo>
                    <a:pt x="3941" y="219"/>
                  </a:lnTo>
                  <a:lnTo>
                    <a:pt x="4057" y="152"/>
                  </a:lnTo>
                  <a:lnTo>
                    <a:pt x="4084" y="134"/>
                  </a:lnTo>
                  <a:lnTo>
                    <a:pt x="4107" y="117"/>
                  </a:lnTo>
                  <a:lnTo>
                    <a:pt x="4125" y="100"/>
                  </a:lnTo>
                  <a:lnTo>
                    <a:pt x="4138" y="85"/>
                  </a:lnTo>
                  <a:lnTo>
                    <a:pt x="4147" y="71"/>
                  </a:lnTo>
                  <a:lnTo>
                    <a:pt x="4151" y="61"/>
                  </a:lnTo>
                  <a:lnTo>
                    <a:pt x="4151" y="54"/>
                  </a:lnTo>
                  <a:lnTo>
                    <a:pt x="4147" y="52"/>
                  </a:lnTo>
                  <a:lnTo>
                    <a:pt x="4121" y="56"/>
                  </a:lnTo>
                  <a:lnTo>
                    <a:pt x="4093" y="69"/>
                  </a:lnTo>
                  <a:lnTo>
                    <a:pt x="4066" y="89"/>
                  </a:lnTo>
                  <a:lnTo>
                    <a:pt x="4038" y="107"/>
                  </a:lnTo>
                  <a:lnTo>
                    <a:pt x="4014" y="127"/>
                  </a:lnTo>
                  <a:lnTo>
                    <a:pt x="3992" y="140"/>
                  </a:lnTo>
                  <a:lnTo>
                    <a:pt x="3975" y="144"/>
                  </a:lnTo>
                  <a:lnTo>
                    <a:pt x="3963" y="134"/>
                  </a:lnTo>
                  <a:lnTo>
                    <a:pt x="3949" y="156"/>
                  </a:lnTo>
                  <a:lnTo>
                    <a:pt x="3947" y="164"/>
                  </a:lnTo>
                  <a:lnTo>
                    <a:pt x="3949" y="162"/>
                  </a:lnTo>
                  <a:lnTo>
                    <a:pt x="3952" y="153"/>
                  </a:lnTo>
                  <a:lnTo>
                    <a:pt x="3950" y="144"/>
                  </a:lnTo>
                  <a:lnTo>
                    <a:pt x="3936" y="144"/>
                  </a:lnTo>
                  <a:lnTo>
                    <a:pt x="3904" y="154"/>
                  </a:lnTo>
                  <a:lnTo>
                    <a:pt x="3848" y="179"/>
                  </a:lnTo>
                  <a:lnTo>
                    <a:pt x="3831" y="190"/>
                  </a:lnTo>
                  <a:lnTo>
                    <a:pt x="3811" y="200"/>
                  </a:lnTo>
                  <a:lnTo>
                    <a:pt x="3790" y="211"/>
                  </a:lnTo>
                  <a:lnTo>
                    <a:pt x="3766" y="226"/>
                  </a:lnTo>
                  <a:lnTo>
                    <a:pt x="3743" y="240"/>
                  </a:lnTo>
                  <a:lnTo>
                    <a:pt x="3716" y="254"/>
                  </a:lnTo>
                  <a:lnTo>
                    <a:pt x="3689" y="271"/>
                  </a:lnTo>
                  <a:lnTo>
                    <a:pt x="3662" y="288"/>
                  </a:lnTo>
                  <a:lnTo>
                    <a:pt x="3633" y="306"/>
                  </a:lnTo>
                  <a:lnTo>
                    <a:pt x="3603" y="323"/>
                  </a:lnTo>
                  <a:lnTo>
                    <a:pt x="3574" y="343"/>
                  </a:lnTo>
                  <a:lnTo>
                    <a:pt x="3543" y="362"/>
                  </a:lnTo>
                  <a:lnTo>
                    <a:pt x="3512" y="381"/>
                  </a:lnTo>
                  <a:lnTo>
                    <a:pt x="3481" y="401"/>
                  </a:lnTo>
                  <a:lnTo>
                    <a:pt x="3448" y="422"/>
                  </a:lnTo>
                  <a:lnTo>
                    <a:pt x="3417" y="442"/>
                  </a:lnTo>
                  <a:lnTo>
                    <a:pt x="3386" y="463"/>
                  </a:lnTo>
                  <a:lnTo>
                    <a:pt x="3352" y="483"/>
                  </a:lnTo>
                  <a:lnTo>
                    <a:pt x="3322" y="504"/>
                  </a:lnTo>
                  <a:lnTo>
                    <a:pt x="3290" y="525"/>
                  </a:lnTo>
                  <a:lnTo>
                    <a:pt x="3260" y="544"/>
                  </a:lnTo>
                  <a:lnTo>
                    <a:pt x="3230" y="566"/>
                  </a:lnTo>
                  <a:lnTo>
                    <a:pt x="3201" y="583"/>
                  </a:lnTo>
                  <a:lnTo>
                    <a:pt x="3172" y="604"/>
                  </a:lnTo>
                  <a:lnTo>
                    <a:pt x="3145" y="621"/>
                  </a:lnTo>
                  <a:lnTo>
                    <a:pt x="3119" y="639"/>
                  </a:lnTo>
                  <a:lnTo>
                    <a:pt x="3093" y="656"/>
                  </a:lnTo>
                  <a:lnTo>
                    <a:pt x="3069" y="671"/>
                  </a:lnTo>
                  <a:lnTo>
                    <a:pt x="3045" y="689"/>
                  </a:lnTo>
                  <a:lnTo>
                    <a:pt x="3025" y="702"/>
                  </a:lnTo>
                  <a:lnTo>
                    <a:pt x="3005" y="716"/>
                  </a:lnTo>
                  <a:lnTo>
                    <a:pt x="2988" y="727"/>
                  </a:lnTo>
                  <a:lnTo>
                    <a:pt x="2937" y="762"/>
                  </a:lnTo>
                  <a:lnTo>
                    <a:pt x="2886" y="797"/>
                  </a:lnTo>
                  <a:lnTo>
                    <a:pt x="2837" y="830"/>
                  </a:lnTo>
                  <a:lnTo>
                    <a:pt x="2788" y="862"/>
                  </a:lnTo>
                  <a:lnTo>
                    <a:pt x="2738" y="894"/>
                  </a:lnTo>
                  <a:lnTo>
                    <a:pt x="2690" y="925"/>
                  </a:lnTo>
                  <a:lnTo>
                    <a:pt x="2642" y="956"/>
                  </a:lnTo>
                  <a:lnTo>
                    <a:pt x="2596" y="987"/>
                  </a:lnTo>
                  <a:lnTo>
                    <a:pt x="2550" y="1018"/>
                  </a:lnTo>
                  <a:lnTo>
                    <a:pt x="2505" y="1049"/>
                  </a:lnTo>
                  <a:lnTo>
                    <a:pt x="2459" y="1078"/>
                  </a:lnTo>
                  <a:lnTo>
                    <a:pt x="2415" y="1108"/>
                  </a:lnTo>
                  <a:lnTo>
                    <a:pt x="2371" y="1137"/>
                  </a:lnTo>
                  <a:lnTo>
                    <a:pt x="2327" y="1168"/>
                  </a:lnTo>
                  <a:lnTo>
                    <a:pt x="2285" y="1199"/>
                  </a:lnTo>
                  <a:lnTo>
                    <a:pt x="2243" y="1227"/>
                  </a:lnTo>
                  <a:lnTo>
                    <a:pt x="2219" y="1249"/>
                  </a:lnTo>
                  <a:lnTo>
                    <a:pt x="2197" y="1270"/>
                  </a:lnTo>
                  <a:lnTo>
                    <a:pt x="2175" y="1293"/>
                  </a:lnTo>
                  <a:lnTo>
                    <a:pt x="2154" y="1316"/>
                  </a:lnTo>
                  <a:lnTo>
                    <a:pt x="2134" y="1339"/>
                  </a:lnTo>
                  <a:lnTo>
                    <a:pt x="2114" y="1362"/>
                  </a:lnTo>
                  <a:lnTo>
                    <a:pt x="2097" y="1385"/>
                  </a:lnTo>
                  <a:lnTo>
                    <a:pt x="2078" y="1408"/>
                  </a:lnTo>
                  <a:lnTo>
                    <a:pt x="2058" y="1432"/>
                  </a:lnTo>
                  <a:lnTo>
                    <a:pt x="2041" y="1455"/>
                  </a:lnTo>
                  <a:lnTo>
                    <a:pt x="2022" y="1479"/>
                  </a:lnTo>
                  <a:lnTo>
                    <a:pt x="2003" y="1501"/>
                  </a:lnTo>
                  <a:lnTo>
                    <a:pt x="1985" y="1524"/>
                  </a:lnTo>
                  <a:lnTo>
                    <a:pt x="1966" y="1545"/>
                  </a:lnTo>
                  <a:lnTo>
                    <a:pt x="1946" y="1566"/>
                  </a:lnTo>
                  <a:lnTo>
                    <a:pt x="1926" y="1587"/>
                  </a:lnTo>
                  <a:lnTo>
                    <a:pt x="1903" y="1608"/>
                  </a:lnTo>
                  <a:lnTo>
                    <a:pt x="1879" y="1635"/>
                  </a:lnTo>
                  <a:lnTo>
                    <a:pt x="1854" y="1666"/>
                  </a:lnTo>
                  <a:lnTo>
                    <a:pt x="1829" y="1701"/>
                  </a:lnTo>
                  <a:lnTo>
                    <a:pt x="1803" y="1734"/>
                  </a:lnTo>
                  <a:lnTo>
                    <a:pt x="1779" y="1765"/>
                  </a:lnTo>
                  <a:lnTo>
                    <a:pt x="1757" y="1791"/>
                  </a:lnTo>
                  <a:lnTo>
                    <a:pt x="1737" y="1811"/>
                  </a:lnTo>
                  <a:lnTo>
                    <a:pt x="1709" y="1831"/>
                  </a:lnTo>
                  <a:lnTo>
                    <a:pt x="1690" y="1846"/>
                  </a:lnTo>
                  <a:lnTo>
                    <a:pt x="1677" y="1855"/>
                  </a:lnTo>
                  <a:lnTo>
                    <a:pt x="1667" y="1862"/>
                  </a:lnTo>
                  <a:lnTo>
                    <a:pt x="1657" y="1868"/>
                  </a:lnTo>
                  <a:lnTo>
                    <a:pt x="1645" y="1879"/>
                  </a:lnTo>
                  <a:lnTo>
                    <a:pt x="1631" y="1892"/>
                  </a:lnTo>
                  <a:lnTo>
                    <a:pt x="1609" y="1914"/>
                  </a:lnTo>
                  <a:lnTo>
                    <a:pt x="1587" y="1947"/>
                  </a:lnTo>
                  <a:lnTo>
                    <a:pt x="1568" y="1981"/>
                  </a:lnTo>
                  <a:lnTo>
                    <a:pt x="1550" y="2018"/>
                  </a:lnTo>
                  <a:lnTo>
                    <a:pt x="1534" y="2057"/>
                  </a:lnTo>
                  <a:lnTo>
                    <a:pt x="1518" y="2093"/>
                  </a:lnTo>
                  <a:lnTo>
                    <a:pt x="1501" y="2130"/>
                  </a:lnTo>
                  <a:lnTo>
                    <a:pt x="1486" y="2166"/>
                  </a:lnTo>
                  <a:lnTo>
                    <a:pt x="1469" y="2199"/>
                  </a:lnTo>
                  <a:lnTo>
                    <a:pt x="1454" y="2170"/>
                  </a:lnTo>
                  <a:lnTo>
                    <a:pt x="1435" y="2142"/>
                  </a:lnTo>
                  <a:lnTo>
                    <a:pt x="1416" y="2112"/>
                  </a:lnTo>
                  <a:lnTo>
                    <a:pt x="1395" y="2082"/>
                  </a:lnTo>
                  <a:lnTo>
                    <a:pt x="1372" y="2054"/>
                  </a:lnTo>
                  <a:lnTo>
                    <a:pt x="1350" y="2025"/>
                  </a:lnTo>
                  <a:lnTo>
                    <a:pt x="1327" y="1996"/>
                  </a:lnTo>
                  <a:lnTo>
                    <a:pt x="1304" y="1967"/>
                  </a:lnTo>
                  <a:lnTo>
                    <a:pt x="1281" y="1937"/>
                  </a:lnTo>
                  <a:lnTo>
                    <a:pt x="1259" y="1907"/>
                  </a:lnTo>
                  <a:lnTo>
                    <a:pt x="1239" y="1880"/>
                  </a:lnTo>
                  <a:lnTo>
                    <a:pt x="1220" y="1850"/>
                  </a:lnTo>
                  <a:lnTo>
                    <a:pt x="1202" y="1821"/>
                  </a:lnTo>
                  <a:lnTo>
                    <a:pt x="1187" y="1792"/>
                  </a:lnTo>
                  <a:lnTo>
                    <a:pt x="1173" y="1763"/>
                  </a:lnTo>
                  <a:lnTo>
                    <a:pt x="1164" y="1735"/>
                  </a:lnTo>
                  <a:lnTo>
                    <a:pt x="1148" y="1695"/>
                  </a:lnTo>
                  <a:lnTo>
                    <a:pt x="1131" y="1653"/>
                  </a:lnTo>
                  <a:lnTo>
                    <a:pt x="1112" y="1608"/>
                  </a:lnTo>
                  <a:lnTo>
                    <a:pt x="1093" y="1564"/>
                  </a:lnTo>
                  <a:lnTo>
                    <a:pt x="1075" y="1519"/>
                  </a:lnTo>
                  <a:lnTo>
                    <a:pt x="1057" y="1475"/>
                  </a:lnTo>
                  <a:lnTo>
                    <a:pt x="1040" y="1432"/>
                  </a:lnTo>
                  <a:lnTo>
                    <a:pt x="1026" y="1391"/>
                  </a:lnTo>
                  <a:lnTo>
                    <a:pt x="1002" y="1400"/>
                  </a:lnTo>
                  <a:lnTo>
                    <a:pt x="980" y="1410"/>
                  </a:lnTo>
                  <a:lnTo>
                    <a:pt x="957" y="1418"/>
                  </a:lnTo>
                  <a:lnTo>
                    <a:pt x="935" y="1428"/>
                  </a:lnTo>
                  <a:lnTo>
                    <a:pt x="912" y="1436"/>
                  </a:lnTo>
                  <a:lnTo>
                    <a:pt x="890" y="1443"/>
                  </a:lnTo>
                  <a:lnTo>
                    <a:pt x="867" y="1451"/>
                  </a:lnTo>
                  <a:lnTo>
                    <a:pt x="844" y="1460"/>
                  </a:lnTo>
                  <a:lnTo>
                    <a:pt x="828" y="1469"/>
                  </a:lnTo>
                  <a:lnTo>
                    <a:pt x="809" y="1476"/>
                  </a:lnTo>
                  <a:lnTo>
                    <a:pt x="791" y="1485"/>
                  </a:lnTo>
                  <a:lnTo>
                    <a:pt x="773" y="1493"/>
                  </a:lnTo>
                  <a:lnTo>
                    <a:pt x="755" y="1501"/>
                  </a:lnTo>
                  <a:lnTo>
                    <a:pt x="739" y="1510"/>
                  </a:lnTo>
                  <a:lnTo>
                    <a:pt x="721" y="1517"/>
                  </a:lnTo>
                  <a:lnTo>
                    <a:pt x="703" y="1525"/>
                  </a:lnTo>
                  <a:lnTo>
                    <a:pt x="685" y="1533"/>
                  </a:lnTo>
                  <a:lnTo>
                    <a:pt x="667" y="1542"/>
                  </a:lnTo>
                  <a:lnTo>
                    <a:pt x="651" y="1549"/>
                  </a:lnTo>
                  <a:lnTo>
                    <a:pt x="634" y="1558"/>
                  </a:lnTo>
                  <a:lnTo>
                    <a:pt x="616" y="1564"/>
                  </a:lnTo>
                  <a:lnTo>
                    <a:pt x="600" y="1573"/>
                  </a:lnTo>
                  <a:lnTo>
                    <a:pt x="582" y="1581"/>
                  </a:lnTo>
                  <a:lnTo>
                    <a:pt x="566" y="1589"/>
                  </a:lnTo>
                  <a:lnTo>
                    <a:pt x="563" y="1589"/>
                  </a:lnTo>
                  <a:lnTo>
                    <a:pt x="554" y="1589"/>
                  </a:lnTo>
                  <a:lnTo>
                    <a:pt x="540" y="1591"/>
                  </a:lnTo>
                  <a:lnTo>
                    <a:pt x="523" y="1595"/>
                  </a:lnTo>
                  <a:lnTo>
                    <a:pt x="503" y="1599"/>
                  </a:lnTo>
                  <a:lnTo>
                    <a:pt x="480" y="1605"/>
                  </a:lnTo>
                  <a:lnTo>
                    <a:pt x="456" y="1613"/>
                  </a:lnTo>
                  <a:lnTo>
                    <a:pt x="431" y="1620"/>
                  </a:lnTo>
                  <a:lnTo>
                    <a:pt x="406" y="1626"/>
                  </a:lnTo>
                  <a:lnTo>
                    <a:pt x="381" y="1633"/>
                  </a:lnTo>
                  <a:lnTo>
                    <a:pt x="359" y="1640"/>
                  </a:lnTo>
                  <a:lnTo>
                    <a:pt x="341" y="1644"/>
                  </a:lnTo>
                  <a:lnTo>
                    <a:pt x="323" y="1648"/>
                  </a:lnTo>
                  <a:lnTo>
                    <a:pt x="311" y="1653"/>
                  </a:lnTo>
                  <a:lnTo>
                    <a:pt x="304" y="1653"/>
                  </a:lnTo>
                  <a:lnTo>
                    <a:pt x="301" y="1651"/>
                  </a:lnTo>
                  <a:lnTo>
                    <a:pt x="281" y="1662"/>
                  </a:lnTo>
                  <a:lnTo>
                    <a:pt x="262" y="1672"/>
                  </a:lnTo>
                  <a:lnTo>
                    <a:pt x="242" y="1683"/>
                  </a:lnTo>
                  <a:lnTo>
                    <a:pt x="224" y="1695"/>
                  </a:lnTo>
                  <a:lnTo>
                    <a:pt x="203" y="1705"/>
                  </a:lnTo>
                  <a:lnTo>
                    <a:pt x="185" y="1715"/>
                  </a:lnTo>
                  <a:lnTo>
                    <a:pt x="165" y="1726"/>
                  </a:lnTo>
                  <a:lnTo>
                    <a:pt x="146" y="1737"/>
                  </a:lnTo>
                  <a:lnTo>
                    <a:pt x="127" y="1748"/>
                  </a:lnTo>
                  <a:lnTo>
                    <a:pt x="108" y="1759"/>
                  </a:lnTo>
                  <a:lnTo>
                    <a:pt x="89" y="1770"/>
                  </a:lnTo>
                  <a:lnTo>
                    <a:pt x="72" y="1781"/>
                  </a:lnTo>
                  <a:lnTo>
                    <a:pt x="54" y="1791"/>
                  </a:lnTo>
                  <a:lnTo>
                    <a:pt x="36" y="1803"/>
                  </a:lnTo>
                  <a:lnTo>
                    <a:pt x="18" y="1813"/>
                  </a:lnTo>
                  <a:lnTo>
                    <a:pt x="0" y="1824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3376" y="1976"/>
              <a:ext cx="16" cy="16"/>
            </a:xfrm>
            <a:custGeom>
              <a:avLst/>
              <a:gdLst>
                <a:gd name="T0" fmla="*/ 242 w 242"/>
                <a:gd name="T1" fmla="*/ 0 h 195"/>
                <a:gd name="T2" fmla="*/ 213 w 242"/>
                <a:gd name="T3" fmla="*/ 19 h 195"/>
                <a:gd name="T4" fmla="*/ 190 w 242"/>
                <a:gd name="T5" fmla="*/ 37 h 195"/>
                <a:gd name="T6" fmla="*/ 170 w 242"/>
                <a:gd name="T7" fmla="*/ 52 h 195"/>
                <a:gd name="T8" fmla="*/ 152 w 242"/>
                <a:gd name="T9" fmla="*/ 66 h 195"/>
                <a:gd name="T10" fmla="*/ 134 w 242"/>
                <a:gd name="T11" fmla="*/ 83 h 195"/>
                <a:gd name="T12" fmla="*/ 115 w 242"/>
                <a:gd name="T13" fmla="*/ 98 h 195"/>
                <a:gd name="T14" fmla="*/ 92 w 242"/>
                <a:gd name="T15" fmla="*/ 116 h 195"/>
                <a:gd name="T16" fmla="*/ 62 w 242"/>
                <a:gd name="T17" fmla="*/ 133 h 195"/>
                <a:gd name="T18" fmla="*/ 60 w 242"/>
                <a:gd name="T19" fmla="*/ 139 h 195"/>
                <a:gd name="T20" fmla="*/ 52 w 242"/>
                <a:gd name="T21" fmla="*/ 142 h 195"/>
                <a:gd name="T22" fmla="*/ 39 w 242"/>
                <a:gd name="T23" fmla="*/ 146 h 195"/>
                <a:gd name="T24" fmla="*/ 26 w 242"/>
                <a:gd name="T25" fmla="*/ 150 h 195"/>
                <a:gd name="T26" fmla="*/ 11 w 242"/>
                <a:gd name="T27" fmla="*/ 157 h 195"/>
                <a:gd name="T28" fmla="*/ 4 w 242"/>
                <a:gd name="T29" fmla="*/ 165 h 195"/>
                <a:gd name="T30" fmla="*/ 0 w 242"/>
                <a:gd name="T31" fmla="*/ 177 h 195"/>
                <a:gd name="T32" fmla="*/ 7 w 242"/>
                <a:gd name="T33" fmla="*/ 195 h 195"/>
                <a:gd name="T34" fmla="*/ 21 w 242"/>
                <a:gd name="T35" fmla="*/ 185 h 195"/>
                <a:gd name="T36" fmla="*/ 36 w 242"/>
                <a:gd name="T37" fmla="*/ 175 h 195"/>
                <a:gd name="T38" fmla="*/ 51 w 242"/>
                <a:gd name="T39" fmla="*/ 165 h 195"/>
                <a:gd name="T40" fmla="*/ 64 w 242"/>
                <a:gd name="T41" fmla="*/ 154 h 195"/>
                <a:gd name="T42" fmla="*/ 80 w 242"/>
                <a:gd name="T43" fmla="*/ 144 h 195"/>
                <a:gd name="T44" fmla="*/ 95 w 242"/>
                <a:gd name="T45" fmla="*/ 134 h 195"/>
                <a:gd name="T46" fmla="*/ 108 w 242"/>
                <a:gd name="T47" fmla="*/ 125 h 195"/>
                <a:gd name="T48" fmla="*/ 123 w 242"/>
                <a:gd name="T49" fmla="*/ 115 h 195"/>
                <a:gd name="T50" fmla="*/ 139 w 242"/>
                <a:gd name="T51" fmla="*/ 105 h 195"/>
                <a:gd name="T52" fmla="*/ 152 w 242"/>
                <a:gd name="T53" fmla="*/ 95 h 195"/>
                <a:gd name="T54" fmla="*/ 168 w 242"/>
                <a:gd name="T55" fmla="*/ 85 h 195"/>
                <a:gd name="T56" fmla="*/ 183 w 242"/>
                <a:gd name="T57" fmla="*/ 75 h 195"/>
                <a:gd name="T58" fmla="*/ 197 w 242"/>
                <a:gd name="T59" fmla="*/ 65 h 195"/>
                <a:gd name="T60" fmla="*/ 213 w 242"/>
                <a:gd name="T61" fmla="*/ 55 h 195"/>
                <a:gd name="T62" fmla="*/ 228 w 242"/>
                <a:gd name="T63" fmla="*/ 44 h 195"/>
                <a:gd name="T64" fmla="*/ 242 w 242"/>
                <a:gd name="T65" fmla="*/ 35 h 195"/>
                <a:gd name="T66" fmla="*/ 242 w 242"/>
                <a:gd name="T67" fmla="*/ 26 h 195"/>
                <a:gd name="T68" fmla="*/ 242 w 242"/>
                <a:gd name="T69" fmla="*/ 17 h 195"/>
                <a:gd name="T70" fmla="*/ 242 w 242"/>
                <a:gd name="T71" fmla="*/ 9 h 195"/>
                <a:gd name="T72" fmla="*/ 242 w 242"/>
                <a:gd name="T7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95">
                  <a:moveTo>
                    <a:pt x="242" y="0"/>
                  </a:moveTo>
                  <a:lnTo>
                    <a:pt x="213" y="19"/>
                  </a:lnTo>
                  <a:lnTo>
                    <a:pt x="190" y="37"/>
                  </a:lnTo>
                  <a:lnTo>
                    <a:pt x="170" y="52"/>
                  </a:lnTo>
                  <a:lnTo>
                    <a:pt x="152" y="66"/>
                  </a:lnTo>
                  <a:lnTo>
                    <a:pt x="134" y="83"/>
                  </a:lnTo>
                  <a:lnTo>
                    <a:pt x="115" y="98"/>
                  </a:lnTo>
                  <a:lnTo>
                    <a:pt x="92" y="116"/>
                  </a:lnTo>
                  <a:lnTo>
                    <a:pt x="62" y="133"/>
                  </a:lnTo>
                  <a:lnTo>
                    <a:pt x="60" y="139"/>
                  </a:lnTo>
                  <a:lnTo>
                    <a:pt x="52" y="142"/>
                  </a:lnTo>
                  <a:lnTo>
                    <a:pt x="39" y="146"/>
                  </a:lnTo>
                  <a:lnTo>
                    <a:pt x="26" y="150"/>
                  </a:lnTo>
                  <a:lnTo>
                    <a:pt x="11" y="157"/>
                  </a:lnTo>
                  <a:lnTo>
                    <a:pt x="4" y="165"/>
                  </a:lnTo>
                  <a:lnTo>
                    <a:pt x="0" y="177"/>
                  </a:lnTo>
                  <a:lnTo>
                    <a:pt x="7" y="195"/>
                  </a:lnTo>
                  <a:lnTo>
                    <a:pt x="21" y="185"/>
                  </a:lnTo>
                  <a:lnTo>
                    <a:pt x="36" y="175"/>
                  </a:lnTo>
                  <a:lnTo>
                    <a:pt x="51" y="165"/>
                  </a:lnTo>
                  <a:lnTo>
                    <a:pt x="64" y="154"/>
                  </a:lnTo>
                  <a:lnTo>
                    <a:pt x="80" y="144"/>
                  </a:lnTo>
                  <a:lnTo>
                    <a:pt x="95" y="134"/>
                  </a:lnTo>
                  <a:lnTo>
                    <a:pt x="108" y="125"/>
                  </a:lnTo>
                  <a:lnTo>
                    <a:pt x="123" y="115"/>
                  </a:lnTo>
                  <a:lnTo>
                    <a:pt x="139" y="105"/>
                  </a:lnTo>
                  <a:lnTo>
                    <a:pt x="152" y="95"/>
                  </a:lnTo>
                  <a:lnTo>
                    <a:pt x="168" y="85"/>
                  </a:lnTo>
                  <a:lnTo>
                    <a:pt x="183" y="75"/>
                  </a:lnTo>
                  <a:lnTo>
                    <a:pt x="197" y="65"/>
                  </a:lnTo>
                  <a:lnTo>
                    <a:pt x="213" y="55"/>
                  </a:lnTo>
                  <a:lnTo>
                    <a:pt x="228" y="44"/>
                  </a:lnTo>
                  <a:lnTo>
                    <a:pt x="242" y="35"/>
                  </a:lnTo>
                  <a:lnTo>
                    <a:pt x="242" y="26"/>
                  </a:lnTo>
                  <a:lnTo>
                    <a:pt x="242" y="17"/>
                  </a:lnTo>
                  <a:lnTo>
                    <a:pt x="242" y="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3437" y="1945"/>
              <a:ext cx="9" cy="10"/>
            </a:xfrm>
            <a:custGeom>
              <a:avLst/>
              <a:gdLst>
                <a:gd name="T0" fmla="*/ 137 w 141"/>
                <a:gd name="T1" fmla="*/ 0 h 109"/>
                <a:gd name="T2" fmla="*/ 128 w 141"/>
                <a:gd name="T3" fmla="*/ 5 h 109"/>
                <a:gd name="T4" fmla="*/ 120 w 141"/>
                <a:gd name="T5" fmla="*/ 11 h 109"/>
                <a:gd name="T6" fmla="*/ 112 w 141"/>
                <a:gd name="T7" fmla="*/ 16 h 109"/>
                <a:gd name="T8" fmla="*/ 106 w 141"/>
                <a:gd name="T9" fmla="*/ 22 h 109"/>
                <a:gd name="T10" fmla="*/ 98 w 141"/>
                <a:gd name="T11" fmla="*/ 28 h 109"/>
                <a:gd name="T12" fmla="*/ 90 w 141"/>
                <a:gd name="T13" fmla="*/ 32 h 109"/>
                <a:gd name="T14" fmla="*/ 83 w 141"/>
                <a:gd name="T15" fmla="*/ 38 h 109"/>
                <a:gd name="T16" fmla="*/ 76 w 141"/>
                <a:gd name="T17" fmla="*/ 42 h 109"/>
                <a:gd name="T18" fmla="*/ 67 w 141"/>
                <a:gd name="T19" fmla="*/ 51 h 109"/>
                <a:gd name="T20" fmla="*/ 57 w 141"/>
                <a:gd name="T21" fmla="*/ 59 h 109"/>
                <a:gd name="T22" fmla="*/ 46 w 141"/>
                <a:gd name="T23" fmla="*/ 69 h 109"/>
                <a:gd name="T24" fmla="*/ 36 w 141"/>
                <a:gd name="T25" fmla="*/ 77 h 109"/>
                <a:gd name="T26" fmla="*/ 27 w 141"/>
                <a:gd name="T27" fmla="*/ 85 h 109"/>
                <a:gd name="T28" fmla="*/ 18 w 141"/>
                <a:gd name="T29" fmla="*/ 92 h 109"/>
                <a:gd name="T30" fmla="*/ 8 w 141"/>
                <a:gd name="T31" fmla="*/ 102 h 109"/>
                <a:gd name="T32" fmla="*/ 0 w 141"/>
                <a:gd name="T33" fmla="*/ 109 h 109"/>
                <a:gd name="T34" fmla="*/ 18 w 141"/>
                <a:gd name="T35" fmla="*/ 97 h 109"/>
                <a:gd name="T36" fmla="*/ 36 w 141"/>
                <a:gd name="T37" fmla="*/ 88 h 109"/>
                <a:gd name="T38" fmla="*/ 52 w 141"/>
                <a:gd name="T39" fmla="*/ 77 h 109"/>
                <a:gd name="T40" fmla="*/ 70 w 141"/>
                <a:gd name="T41" fmla="*/ 67 h 109"/>
                <a:gd name="T42" fmla="*/ 88 w 141"/>
                <a:gd name="T43" fmla="*/ 57 h 109"/>
                <a:gd name="T44" fmla="*/ 106 w 141"/>
                <a:gd name="T45" fmla="*/ 47 h 109"/>
                <a:gd name="T46" fmla="*/ 124 w 141"/>
                <a:gd name="T47" fmla="*/ 36 h 109"/>
                <a:gd name="T48" fmla="*/ 141 w 141"/>
                <a:gd name="T49" fmla="*/ 27 h 109"/>
                <a:gd name="T50" fmla="*/ 141 w 141"/>
                <a:gd name="T51" fmla="*/ 20 h 109"/>
                <a:gd name="T52" fmla="*/ 140 w 141"/>
                <a:gd name="T53" fmla="*/ 12 h 109"/>
                <a:gd name="T54" fmla="*/ 139 w 141"/>
                <a:gd name="T55" fmla="*/ 7 h 109"/>
                <a:gd name="T56" fmla="*/ 137 w 141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09">
                  <a:moveTo>
                    <a:pt x="137" y="0"/>
                  </a:moveTo>
                  <a:lnTo>
                    <a:pt x="128" y="5"/>
                  </a:lnTo>
                  <a:lnTo>
                    <a:pt x="120" y="11"/>
                  </a:lnTo>
                  <a:lnTo>
                    <a:pt x="112" y="16"/>
                  </a:lnTo>
                  <a:lnTo>
                    <a:pt x="106" y="22"/>
                  </a:lnTo>
                  <a:lnTo>
                    <a:pt x="98" y="28"/>
                  </a:lnTo>
                  <a:lnTo>
                    <a:pt x="90" y="32"/>
                  </a:lnTo>
                  <a:lnTo>
                    <a:pt x="83" y="38"/>
                  </a:lnTo>
                  <a:lnTo>
                    <a:pt x="76" y="42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46" y="69"/>
                  </a:lnTo>
                  <a:lnTo>
                    <a:pt x="36" y="77"/>
                  </a:lnTo>
                  <a:lnTo>
                    <a:pt x="27" y="85"/>
                  </a:lnTo>
                  <a:lnTo>
                    <a:pt x="18" y="92"/>
                  </a:lnTo>
                  <a:lnTo>
                    <a:pt x="8" y="102"/>
                  </a:lnTo>
                  <a:lnTo>
                    <a:pt x="0" y="109"/>
                  </a:lnTo>
                  <a:lnTo>
                    <a:pt x="18" y="97"/>
                  </a:lnTo>
                  <a:lnTo>
                    <a:pt x="36" y="88"/>
                  </a:lnTo>
                  <a:lnTo>
                    <a:pt x="52" y="77"/>
                  </a:lnTo>
                  <a:lnTo>
                    <a:pt x="70" y="67"/>
                  </a:lnTo>
                  <a:lnTo>
                    <a:pt x="88" y="57"/>
                  </a:lnTo>
                  <a:lnTo>
                    <a:pt x="106" y="47"/>
                  </a:lnTo>
                  <a:lnTo>
                    <a:pt x="124" y="36"/>
                  </a:lnTo>
                  <a:lnTo>
                    <a:pt x="141" y="27"/>
                  </a:lnTo>
                  <a:lnTo>
                    <a:pt x="141" y="20"/>
                  </a:lnTo>
                  <a:lnTo>
                    <a:pt x="140" y="12"/>
                  </a:lnTo>
                  <a:lnTo>
                    <a:pt x="139" y="7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3393" y="1942"/>
              <a:ext cx="18" cy="17"/>
            </a:xfrm>
            <a:custGeom>
              <a:avLst/>
              <a:gdLst>
                <a:gd name="T0" fmla="*/ 238 w 269"/>
                <a:gd name="T1" fmla="*/ 0 h 205"/>
                <a:gd name="T2" fmla="*/ 226 w 269"/>
                <a:gd name="T3" fmla="*/ 9 h 205"/>
                <a:gd name="T4" fmla="*/ 206 w 269"/>
                <a:gd name="T5" fmla="*/ 22 h 205"/>
                <a:gd name="T6" fmla="*/ 182 w 269"/>
                <a:gd name="T7" fmla="*/ 40 h 205"/>
                <a:gd name="T8" fmla="*/ 155 w 269"/>
                <a:gd name="T9" fmla="*/ 59 h 205"/>
                <a:gd name="T10" fmla="*/ 128 w 269"/>
                <a:gd name="T11" fmla="*/ 78 h 205"/>
                <a:gd name="T12" fmla="*/ 103 w 269"/>
                <a:gd name="T13" fmla="*/ 95 h 205"/>
                <a:gd name="T14" fmla="*/ 83 w 269"/>
                <a:gd name="T15" fmla="*/ 110 h 205"/>
                <a:gd name="T16" fmla="*/ 69 w 269"/>
                <a:gd name="T17" fmla="*/ 118 h 205"/>
                <a:gd name="T18" fmla="*/ 69 w 269"/>
                <a:gd name="T19" fmla="*/ 122 h 205"/>
                <a:gd name="T20" fmla="*/ 65 w 269"/>
                <a:gd name="T21" fmla="*/ 129 h 205"/>
                <a:gd name="T22" fmla="*/ 56 w 269"/>
                <a:gd name="T23" fmla="*/ 136 h 205"/>
                <a:gd name="T24" fmla="*/ 48 w 269"/>
                <a:gd name="T25" fmla="*/ 147 h 205"/>
                <a:gd name="T26" fmla="*/ 41 w 269"/>
                <a:gd name="T27" fmla="*/ 155 h 205"/>
                <a:gd name="T28" fmla="*/ 33 w 269"/>
                <a:gd name="T29" fmla="*/ 164 h 205"/>
                <a:gd name="T30" fmla="*/ 29 w 269"/>
                <a:gd name="T31" fmla="*/ 170 h 205"/>
                <a:gd name="T32" fmla="*/ 30 w 269"/>
                <a:gd name="T33" fmla="*/ 174 h 205"/>
                <a:gd name="T34" fmla="*/ 10 w 269"/>
                <a:gd name="T35" fmla="*/ 192 h 205"/>
                <a:gd name="T36" fmla="*/ 2 w 269"/>
                <a:gd name="T37" fmla="*/ 201 h 205"/>
                <a:gd name="T38" fmla="*/ 0 w 269"/>
                <a:gd name="T39" fmla="*/ 205 h 205"/>
                <a:gd name="T40" fmla="*/ 8 w 269"/>
                <a:gd name="T41" fmla="*/ 201 h 205"/>
                <a:gd name="T42" fmla="*/ 22 w 269"/>
                <a:gd name="T43" fmla="*/ 193 h 205"/>
                <a:gd name="T44" fmla="*/ 41 w 269"/>
                <a:gd name="T45" fmla="*/ 180 h 205"/>
                <a:gd name="T46" fmla="*/ 65 w 269"/>
                <a:gd name="T47" fmla="*/ 165 h 205"/>
                <a:gd name="T48" fmla="*/ 91 w 269"/>
                <a:gd name="T49" fmla="*/ 146 h 205"/>
                <a:gd name="T50" fmla="*/ 118 w 269"/>
                <a:gd name="T51" fmla="*/ 126 h 205"/>
                <a:gd name="T52" fmla="*/ 148 w 269"/>
                <a:gd name="T53" fmla="*/ 104 h 205"/>
                <a:gd name="T54" fmla="*/ 177 w 269"/>
                <a:gd name="T55" fmla="*/ 84 h 205"/>
                <a:gd name="T56" fmla="*/ 202 w 269"/>
                <a:gd name="T57" fmla="*/ 64 h 205"/>
                <a:gd name="T58" fmla="*/ 226 w 269"/>
                <a:gd name="T59" fmla="*/ 45 h 205"/>
                <a:gd name="T60" fmla="*/ 247 w 269"/>
                <a:gd name="T61" fmla="*/ 30 h 205"/>
                <a:gd name="T62" fmla="*/ 261 w 269"/>
                <a:gd name="T63" fmla="*/ 20 h 205"/>
                <a:gd name="T64" fmla="*/ 269 w 269"/>
                <a:gd name="T65" fmla="*/ 13 h 205"/>
                <a:gd name="T66" fmla="*/ 261 w 269"/>
                <a:gd name="T67" fmla="*/ 11 h 205"/>
                <a:gd name="T68" fmla="*/ 251 w 269"/>
                <a:gd name="T69" fmla="*/ 9 h 205"/>
                <a:gd name="T70" fmla="*/ 244 w 269"/>
                <a:gd name="T71" fmla="*/ 5 h 205"/>
                <a:gd name="T72" fmla="*/ 238 w 269"/>
                <a:gd name="T7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9" h="205">
                  <a:moveTo>
                    <a:pt x="238" y="0"/>
                  </a:moveTo>
                  <a:lnTo>
                    <a:pt x="226" y="9"/>
                  </a:lnTo>
                  <a:lnTo>
                    <a:pt x="206" y="22"/>
                  </a:lnTo>
                  <a:lnTo>
                    <a:pt x="182" y="40"/>
                  </a:lnTo>
                  <a:lnTo>
                    <a:pt x="155" y="59"/>
                  </a:lnTo>
                  <a:lnTo>
                    <a:pt x="128" y="78"/>
                  </a:lnTo>
                  <a:lnTo>
                    <a:pt x="103" y="95"/>
                  </a:lnTo>
                  <a:lnTo>
                    <a:pt x="83" y="110"/>
                  </a:lnTo>
                  <a:lnTo>
                    <a:pt x="69" y="118"/>
                  </a:lnTo>
                  <a:lnTo>
                    <a:pt x="69" y="122"/>
                  </a:lnTo>
                  <a:lnTo>
                    <a:pt x="65" y="129"/>
                  </a:lnTo>
                  <a:lnTo>
                    <a:pt x="56" y="136"/>
                  </a:lnTo>
                  <a:lnTo>
                    <a:pt x="48" y="147"/>
                  </a:lnTo>
                  <a:lnTo>
                    <a:pt x="41" y="155"/>
                  </a:lnTo>
                  <a:lnTo>
                    <a:pt x="33" y="164"/>
                  </a:lnTo>
                  <a:lnTo>
                    <a:pt x="29" y="170"/>
                  </a:lnTo>
                  <a:lnTo>
                    <a:pt x="30" y="174"/>
                  </a:lnTo>
                  <a:lnTo>
                    <a:pt x="10" y="192"/>
                  </a:lnTo>
                  <a:lnTo>
                    <a:pt x="2" y="201"/>
                  </a:lnTo>
                  <a:lnTo>
                    <a:pt x="0" y="205"/>
                  </a:lnTo>
                  <a:lnTo>
                    <a:pt x="8" y="201"/>
                  </a:lnTo>
                  <a:lnTo>
                    <a:pt x="22" y="193"/>
                  </a:lnTo>
                  <a:lnTo>
                    <a:pt x="41" y="180"/>
                  </a:lnTo>
                  <a:lnTo>
                    <a:pt x="65" y="165"/>
                  </a:lnTo>
                  <a:lnTo>
                    <a:pt x="91" y="146"/>
                  </a:lnTo>
                  <a:lnTo>
                    <a:pt x="118" y="126"/>
                  </a:lnTo>
                  <a:lnTo>
                    <a:pt x="148" y="104"/>
                  </a:lnTo>
                  <a:lnTo>
                    <a:pt x="177" y="84"/>
                  </a:lnTo>
                  <a:lnTo>
                    <a:pt x="202" y="64"/>
                  </a:lnTo>
                  <a:lnTo>
                    <a:pt x="226" y="45"/>
                  </a:lnTo>
                  <a:lnTo>
                    <a:pt x="247" y="30"/>
                  </a:lnTo>
                  <a:lnTo>
                    <a:pt x="261" y="20"/>
                  </a:lnTo>
                  <a:lnTo>
                    <a:pt x="269" y="13"/>
                  </a:lnTo>
                  <a:lnTo>
                    <a:pt x="261" y="11"/>
                  </a:lnTo>
                  <a:lnTo>
                    <a:pt x="251" y="9"/>
                  </a:lnTo>
                  <a:lnTo>
                    <a:pt x="244" y="5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374" y="1933"/>
              <a:ext cx="32" cy="28"/>
            </a:xfrm>
            <a:custGeom>
              <a:avLst/>
              <a:gdLst>
                <a:gd name="T0" fmla="*/ 480 w 481"/>
                <a:gd name="T1" fmla="*/ 0 h 333"/>
                <a:gd name="T2" fmla="*/ 471 w 481"/>
                <a:gd name="T3" fmla="*/ 6 h 333"/>
                <a:gd name="T4" fmla="*/ 464 w 481"/>
                <a:gd name="T5" fmla="*/ 12 h 333"/>
                <a:gd name="T6" fmla="*/ 458 w 481"/>
                <a:gd name="T7" fmla="*/ 17 h 333"/>
                <a:gd name="T8" fmla="*/ 450 w 481"/>
                <a:gd name="T9" fmla="*/ 23 h 333"/>
                <a:gd name="T10" fmla="*/ 443 w 481"/>
                <a:gd name="T11" fmla="*/ 29 h 333"/>
                <a:gd name="T12" fmla="*/ 437 w 481"/>
                <a:gd name="T13" fmla="*/ 33 h 333"/>
                <a:gd name="T14" fmla="*/ 429 w 481"/>
                <a:gd name="T15" fmla="*/ 39 h 333"/>
                <a:gd name="T16" fmla="*/ 422 w 481"/>
                <a:gd name="T17" fmla="*/ 43 h 333"/>
                <a:gd name="T18" fmla="*/ 409 w 481"/>
                <a:gd name="T19" fmla="*/ 54 h 333"/>
                <a:gd name="T20" fmla="*/ 395 w 481"/>
                <a:gd name="T21" fmla="*/ 66 h 333"/>
                <a:gd name="T22" fmla="*/ 383 w 481"/>
                <a:gd name="T23" fmla="*/ 77 h 333"/>
                <a:gd name="T24" fmla="*/ 370 w 481"/>
                <a:gd name="T25" fmla="*/ 89 h 333"/>
                <a:gd name="T26" fmla="*/ 356 w 481"/>
                <a:gd name="T27" fmla="*/ 101 h 333"/>
                <a:gd name="T28" fmla="*/ 343 w 481"/>
                <a:gd name="T29" fmla="*/ 112 h 333"/>
                <a:gd name="T30" fmla="*/ 332 w 481"/>
                <a:gd name="T31" fmla="*/ 123 h 333"/>
                <a:gd name="T32" fmla="*/ 318 w 481"/>
                <a:gd name="T33" fmla="*/ 135 h 333"/>
                <a:gd name="T34" fmla="*/ 301 w 481"/>
                <a:gd name="T35" fmla="*/ 153 h 333"/>
                <a:gd name="T36" fmla="*/ 277 w 481"/>
                <a:gd name="T37" fmla="*/ 172 h 333"/>
                <a:gd name="T38" fmla="*/ 247 w 481"/>
                <a:gd name="T39" fmla="*/ 193 h 333"/>
                <a:gd name="T40" fmla="*/ 213 w 481"/>
                <a:gd name="T41" fmla="*/ 215 h 333"/>
                <a:gd name="T42" fmla="*/ 176 w 481"/>
                <a:gd name="T43" fmla="*/ 235 h 333"/>
                <a:gd name="T44" fmla="*/ 138 w 481"/>
                <a:gd name="T45" fmla="*/ 255 h 333"/>
                <a:gd name="T46" fmla="*/ 102 w 481"/>
                <a:gd name="T47" fmla="*/ 275 h 333"/>
                <a:gd name="T48" fmla="*/ 69 w 481"/>
                <a:gd name="T49" fmla="*/ 293 h 333"/>
                <a:gd name="T50" fmla="*/ 40 w 481"/>
                <a:gd name="T51" fmla="*/ 306 h 333"/>
                <a:gd name="T52" fmla="*/ 18 w 481"/>
                <a:gd name="T53" fmla="*/ 319 h 333"/>
                <a:gd name="T54" fmla="*/ 4 w 481"/>
                <a:gd name="T55" fmla="*/ 328 h 333"/>
                <a:gd name="T56" fmla="*/ 0 w 481"/>
                <a:gd name="T57" fmla="*/ 333 h 333"/>
                <a:gd name="T58" fmla="*/ 7 w 481"/>
                <a:gd name="T59" fmla="*/ 333 h 333"/>
                <a:gd name="T60" fmla="*/ 28 w 481"/>
                <a:gd name="T61" fmla="*/ 327 h 333"/>
                <a:gd name="T62" fmla="*/ 64 w 481"/>
                <a:gd name="T63" fmla="*/ 315 h 333"/>
                <a:gd name="T64" fmla="*/ 116 w 481"/>
                <a:gd name="T65" fmla="*/ 298 h 333"/>
                <a:gd name="T66" fmla="*/ 127 w 481"/>
                <a:gd name="T67" fmla="*/ 291 h 333"/>
                <a:gd name="T68" fmla="*/ 143 w 481"/>
                <a:gd name="T69" fmla="*/ 279 h 333"/>
                <a:gd name="T70" fmla="*/ 161 w 481"/>
                <a:gd name="T71" fmla="*/ 268 h 333"/>
                <a:gd name="T72" fmla="*/ 185 w 481"/>
                <a:gd name="T73" fmla="*/ 252 h 333"/>
                <a:gd name="T74" fmla="*/ 210 w 481"/>
                <a:gd name="T75" fmla="*/ 234 h 333"/>
                <a:gd name="T76" fmla="*/ 239 w 481"/>
                <a:gd name="T77" fmla="*/ 218 h 333"/>
                <a:gd name="T78" fmla="*/ 269 w 481"/>
                <a:gd name="T79" fmla="*/ 197 h 333"/>
                <a:gd name="T80" fmla="*/ 298 w 481"/>
                <a:gd name="T81" fmla="*/ 178 h 333"/>
                <a:gd name="T82" fmla="*/ 329 w 481"/>
                <a:gd name="T83" fmla="*/ 158 h 333"/>
                <a:gd name="T84" fmla="*/ 358 w 481"/>
                <a:gd name="T85" fmla="*/ 139 h 333"/>
                <a:gd name="T86" fmla="*/ 385 w 481"/>
                <a:gd name="T87" fmla="*/ 120 h 333"/>
                <a:gd name="T88" fmla="*/ 412 w 481"/>
                <a:gd name="T89" fmla="*/ 103 h 333"/>
                <a:gd name="T90" fmla="*/ 435 w 481"/>
                <a:gd name="T91" fmla="*/ 87 h 333"/>
                <a:gd name="T92" fmla="*/ 454 w 481"/>
                <a:gd name="T93" fmla="*/ 74 h 333"/>
                <a:gd name="T94" fmla="*/ 471 w 481"/>
                <a:gd name="T95" fmla="*/ 64 h 333"/>
                <a:gd name="T96" fmla="*/ 481 w 481"/>
                <a:gd name="T97" fmla="*/ 55 h 333"/>
                <a:gd name="T98" fmla="*/ 480 w 481"/>
                <a:gd name="T99" fmla="*/ 42 h 333"/>
                <a:gd name="T100" fmla="*/ 479 w 481"/>
                <a:gd name="T101" fmla="*/ 28 h 333"/>
                <a:gd name="T102" fmla="*/ 479 w 481"/>
                <a:gd name="T103" fmla="*/ 13 h 333"/>
                <a:gd name="T104" fmla="*/ 480 w 481"/>
                <a:gd name="T10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1" h="333">
                  <a:moveTo>
                    <a:pt x="480" y="0"/>
                  </a:moveTo>
                  <a:lnTo>
                    <a:pt x="471" y="6"/>
                  </a:lnTo>
                  <a:lnTo>
                    <a:pt x="464" y="12"/>
                  </a:lnTo>
                  <a:lnTo>
                    <a:pt x="458" y="17"/>
                  </a:lnTo>
                  <a:lnTo>
                    <a:pt x="450" y="23"/>
                  </a:lnTo>
                  <a:lnTo>
                    <a:pt x="443" y="29"/>
                  </a:lnTo>
                  <a:lnTo>
                    <a:pt x="437" y="33"/>
                  </a:lnTo>
                  <a:lnTo>
                    <a:pt x="429" y="39"/>
                  </a:lnTo>
                  <a:lnTo>
                    <a:pt x="422" y="43"/>
                  </a:lnTo>
                  <a:lnTo>
                    <a:pt x="409" y="54"/>
                  </a:lnTo>
                  <a:lnTo>
                    <a:pt x="395" y="66"/>
                  </a:lnTo>
                  <a:lnTo>
                    <a:pt x="383" y="77"/>
                  </a:lnTo>
                  <a:lnTo>
                    <a:pt x="370" y="89"/>
                  </a:lnTo>
                  <a:lnTo>
                    <a:pt x="356" y="101"/>
                  </a:lnTo>
                  <a:lnTo>
                    <a:pt x="343" y="112"/>
                  </a:lnTo>
                  <a:lnTo>
                    <a:pt x="332" y="123"/>
                  </a:lnTo>
                  <a:lnTo>
                    <a:pt x="318" y="135"/>
                  </a:lnTo>
                  <a:lnTo>
                    <a:pt x="301" y="153"/>
                  </a:lnTo>
                  <a:lnTo>
                    <a:pt x="277" y="172"/>
                  </a:lnTo>
                  <a:lnTo>
                    <a:pt x="247" y="193"/>
                  </a:lnTo>
                  <a:lnTo>
                    <a:pt x="213" y="215"/>
                  </a:lnTo>
                  <a:lnTo>
                    <a:pt x="176" y="235"/>
                  </a:lnTo>
                  <a:lnTo>
                    <a:pt x="138" y="255"/>
                  </a:lnTo>
                  <a:lnTo>
                    <a:pt x="102" y="275"/>
                  </a:lnTo>
                  <a:lnTo>
                    <a:pt x="69" y="293"/>
                  </a:lnTo>
                  <a:lnTo>
                    <a:pt x="40" y="306"/>
                  </a:lnTo>
                  <a:lnTo>
                    <a:pt x="18" y="319"/>
                  </a:lnTo>
                  <a:lnTo>
                    <a:pt x="4" y="328"/>
                  </a:lnTo>
                  <a:lnTo>
                    <a:pt x="0" y="333"/>
                  </a:lnTo>
                  <a:lnTo>
                    <a:pt x="7" y="333"/>
                  </a:lnTo>
                  <a:lnTo>
                    <a:pt x="28" y="327"/>
                  </a:lnTo>
                  <a:lnTo>
                    <a:pt x="64" y="315"/>
                  </a:lnTo>
                  <a:lnTo>
                    <a:pt x="116" y="298"/>
                  </a:lnTo>
                  <a:lnTo>
                    <a:pt x="127" y="291"/>
                  </a:lnTo>
                  <a:lnTo>
                    <a:pt x="143" y="279"/>
                  </a:lnTo>
                  <a:lnTo>
                    <a:pt x="161" y="268"/>
                  </a:lnTo>
                  <a:lnTo>
                    <a:pt x="185" y="252"/>
                  </a:lnTo>
                  <a:lnTo>
                    <a:pt x="210" y="234"/>
                  </a:lnTo>
                  <a:lnTo>
                    <a:pt x="239" y="218"/>
                  </a:lnTo>
                  <a:lnTo>
                    <a:pt x="269" y="197"/>
                  </a:lnTo>
                  <a:lnTo>
                    <a:pt x="298" y="178"/>
                  </a:lnTo>
                  <a:lnTo>
                    <a:pt x="329" y="158"/>
                  </a:lnTo>
                  <a:lnTo>
                    <a:pt x="358" y="139"/>
                  </a:lnTo>
                  <a:lnTo>
                    <a:pt x="385" y="120"/>
                  </a:lnTo>
                  <a:lnTo>
                    <a:pt x="412" y="103"/>
                  </a:lnTo>
                  <a:lnTo>
                    <a:pt x="435" y="87"/>
                  </a:lnTo>
                  <a:lnTo>
                    <a:pt x="454" y="74"/>
                  </a:lnTo>
                  <a:lnTo>
                    <a:pt x="471" y="64"/>
                  </a:lnTo>
                  <a:lnTo>
                    <a:pt x="481" y="55"/>
                  </a:lnTo>
                  <a:lnTo>
                    <a:pt x="480" y="42"/>
                  </a:lnTo>
                  <a:lnTo>
                    <a:pt x="479" y="28"/>
                  </a:lnTo>
                  <a:lnTo>
                    <a:pt x="479" y="13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52314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/>
              <a:t>(5/8)</a:t>
            </a:r>
            <a:endParaRPr lang="ko-KR" altLang="en-US" dirty="0"/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8065156"/>
              </p:ext>
            </p:extLst>
          </p:nvPr>
        </p:nvGraphicFramePr>
        <p:xfrm>
          <a:off x="379043" y="1299559"/>
          <a:ext cx="9147914" cy="5030218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94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331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 플랫폼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통합 마케팅 전략 수립 및 마케팅 플랫폼 관련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9 ~ 2011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 전사혁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프로세스 표준화 및 잡일 제거를 통한 창의적인 업무 수행을 위한 혁신 과제 수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2 ~ 2011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플랫폼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카드 경영관리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fra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보를 위한 재무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플랫폼 구축 관련 컨설팅을 수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9.09 ~ 2011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한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한카드 예산관리체계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비용 절감을 위한 업무 별 개선 포인트 도출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절감 로드맵 수립 및 가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.05 ~ 2011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1107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구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대출금리체계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업 수익성 제고를 위한 대출 금리 체계 개선 방안 수립 및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10 ~ 2014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시스템 구축 프로젝트 관리용역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0 ~ 2016.0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자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PR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시스템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과제 상세화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화관리 전략수립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 현행화 및 시스템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건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3 ~ 2015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리 시스템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 금리요소 설계 현황 분석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 ~ 2014.1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ster Plan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아비바생명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 마스터플랜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7 ~ 2015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45117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/>
          </p:nvPr>
        </p:nvGraphicFramePr>
        <p:xfrm>
          <a:off x="379043" y="1299559"/>
          <a:ext cx="9147914" cy="5030218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94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331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투자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을 위한 사전대응전략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 통합 사전대응전략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2 ~ 2014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관리시스템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pgrade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수익관리시스템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1 ~ 2015.1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금융지주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금융지주 생산성지표 검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금융지주 효율성관리를 위한 생산성 지표 검토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10 ~ 2012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보험 외화유가증권결산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생명보험의 외가유가증권 결산 개선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8 ~ 2013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1107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M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부채종합관리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LM)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개선 및 고도화구축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9 ~ 2013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H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중앙회 자금관리체계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농협중앙회 자금관리체계 설계 및 구축 프로젝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.01 ~ 2012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중심의 온라인 채널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X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중심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X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별화 및 서비스 설계 및 서비스 기능 요건 도출 및 구현 관리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7 ~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회계 시스템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 관리회계시스템 전면 재구축 및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6.0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gital BPR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gital BPR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5 ~ 2016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53220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7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있음 </a:t>
            </a:r>
            <a:r>
              <a:rPr lang="en-US" altLang="ko-KR" dirty="0"/>
              <a:t>(</a:t>
            </a:r>
            <a:r>
              <a:rPr lang="ko-KR" altLang="en-US" dirty="0"/>
              <a:t>계속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/>
          </p:nvPr>
        </p:nvGraphicFramePr>
        <p:xfrm>
          <a:off x="379043" y="1299559"/>
          <a:ext cx="9147914" cy="5030218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94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331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화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빅데이터 기반의 경쟁력 강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화생명 </a:t>
                      </a:r>
                      <a:r>
                        <a:rPr lang="ko-KR" alt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빅데이터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의 경쟁력강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6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 선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증권 경영관리체계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6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흥국화재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 리스크 측정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흥국화재 시장신용리스크 내부모형 구축 프로젝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6.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구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바젤 유동성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바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Ⅲ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성관리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8 ~ 2016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1107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손해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M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전략 및 운영 모델 설계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M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 마케팅 프로그램 설계 및 실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6.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tLife Asia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dvanced Data Analytics 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율 모델링 및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10 ~ 2015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화투자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관리체계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차원수익성분석 및 전사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본부별 경영지표 설계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6 ~ 2015.09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카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통제 및 컴플라이언스 체계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nal Control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mpliance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체계 구축 컨설팅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2 ~ 2015.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멤버스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표준운영체계 및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체계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회원제 운영모델 및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기반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3 ~ 2015.0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1505446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wC – </a:t>
            </a:r>
            <a:r>
              <a:rPr lang="ko-KR" altLang="en-US" dirty="0"/>
              <a:t>최근 금융권 프로젝트 수행 </a:t>
            </a:r>
            <a:r>
              <a:rPr lang="ko-KR" altLang="en-US" dirty="0" smtClean="0"/>
              <a:t>실적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8/8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8" name="내용 개체 틀 25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PwC</a:t>
            </a:r>
            <a:r>
              <a:rPr lang="ko-KR" altLang="en-US" dirty="0"/>
              <a:t>는 삼성카드 차세대</a:t>
            </a:r>
            <a:r>
              <a:rPr lang="en-US" altLang="ko-KR" dirty="0"/>
              <a:t>, </a:t>
            </a:r>
            <a:r>
              <a:rPr lang="ko-KR" altLang="en-US" dirty="0" err="1"/>
              <a:t>롯데카드</a:t>
            </a:r>
            <a:r>
              <a:rPr lang="ko-KR" altLang="en-US" dirty="0"/>
              <a:t> 차세대</a:t>
            </a:r>
            <a:r>
              <a:rPr lang="en-US" altLang="ko-KR" dirty="0"/>
              <a:t>, </a:t>
            </a:r>
            <a:r>
              <a:rPr lang="ko-KR" altLang="en-US" dirty="0"/>
              <a:t>하나</a:t>
            </a:r>
            <a:r>
              <a:rPr lang="en-US" altLang="ko-KR" dirty="0"/>
              <a:t>SK</a:t>
            </a:r>
            <a:r>
              <a:rPr lang="ko-KR" altLang="en-US" dirty="0"/>
              <a:t>카드 </a:t>
            </a:r>
            <a:r>
              <a:rPr lang="en-US" altLang="ko-KR" dirty="0"/>
              <a:t>PI </a:t>
            </a:r>
            <a:r>
              <a:rPr lang="ko-KR" altLang="en-US" dirty="0"/>
              <a:t>등 금융권에서 다양한 프로젝트 경험을 보유하고 </a:t>
            </a:r>
            <a:r>
              <a:rPr lang="ko-KR" altLang="en-US" dirty="0" smtClean="0"/>
              <a:t>있음</a:t>
            </a:r>
            <a:endParaRPr lang="ko-KR" altLang="en-US" dirty="0"/>
          </a:p>
        </p:txBody>
      </p:sp>
      <p:graphicFrame>
        <p:nvGraphicFramePr>
          <p:cNvPr id="131" name="Group 82"/>
          <p:cNvGraphicFramePr>
            <a:graphicFrameLocks noGrp="1"/>
          </p:cNvGraphicFramePr>
          <p:nvPr>
            <p:extLst/>
          </p:nvPr>
        </p:nvGraphicFramePr>
        <p:xfrm>
          <a:off x="379043" y="1299559"/>
          <a:ext cx="9147914" cy="5030218"/>
        </p:xfrm>
        <a:graphic>
          <a:graphicData uri="http://schemas.openxmlformats.org/drawingml/2006/table">
            <a:tbl>
              <a:tblPr/>
              <a:tblGrid>
                <a:gridCol w="1245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1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29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77941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실적 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331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발주처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명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젝트 내용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업기간</a:t>
                      </a: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세대 관련 여부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tLife Japan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험사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 모델링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험사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모델링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2 ~ 2015.0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화재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aim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심사자 분석을 통한 손해조사 고도화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기손사 보상 관련 데이터 분석 및 분배 프로세스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.01 ~ 2015.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리은행 여신금리체계진단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리 체계의 적정성 리뷰 및 시스템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2 ~ 2013.10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0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투자증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 관리 시스템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리스크관리 시스템 재구축 개발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10 ~ 2014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100" dirty="0"/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1107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손해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손해보험 경영계획 및 손익분석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 관리 체계 설계 및 구축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8 ~ 2014.1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금융지주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환은행 통합 시너지 검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나은행 외환은행 통합 시너지 검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8 ~ 2014.0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HY견고딕"/>
                        </a:defRPr>
                      </a:lvl9pPr>
                    </a:lstStyle>
                    <a:p>
                      <a:pPr latinLnBrk="0"/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손해보험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손해보험 조직별 손익계획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직별 손익 관리 체계 계획 수립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5 ~ 2014.07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남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남은행 차세대 관리회계자문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세대 대응 관리회계 시스템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.01 ~ 2014.0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8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북은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신금리체계 개선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리요소 설계 현황 분석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-Be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행 금리영향도 분석 수행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.08 ~ 2014.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컨설팅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II. </a:t>
            </a:r>
            <a:r>
              <a:rPr lang="ko-KR" altLang="en-US" sz="1400" dirty="0">
                <a:solidFill>
                  <a:srgbClr val="FFFFFF"/>
                </a:solidFill>
              </a:rPr>
              <a:t>제안 업체 현황</a:t>
            </a:r>
            <a:endParaRPr lang="en-US" altLang="ko-KR" sz="1400" dirty="0">
              <a:solidFill>
                <a:srgbClr val="FFFFFF"/>
              </a:solidFill>
            </a:endParaRPr>
          </a:p>
          <a:p>
            <a:pPr algn="r"/>
            <a:r>
              <a:rPr lang="en-US" altLang="ko-KR" sz="1400" dirty="0">
                <a:solidFill>
                  <a:srgbClr val="FFFFFF"/>
                </a:solidFill>
              </a:rPr>
              <a:t>3. </a:t>
            </a:r>
            <a:r>
              <a:rPr lang="ko-KR" altLang="en-US" sz="1400" dirty="0">
                <a:solidFill>
                  <a:srgbClr val="FFFFFF"/>
                </a:solidFill>
              </a:rPr>
              <a:t>영업현황</a:t>
            </a:r>
          </a:p>
        </p:txBody>
      </p:sp>
    </p:spTree>
    <p:extLst>
      <p:ext uri="{BB962C8B-B14F-4D97-AF65-F5344CB8AC3E}">
        <p14:creationId xmlns:p14="http://schemas.microsoft.com/office/powerpoint/2010/main" val="41139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 bwMode="auto">
          <a:xfrm>
            <a:off x="4746295" y="337478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gray">
          <a:xfrm>
            <a:off x="4944745" y="2097427"/>
            <a:ext cx="4783138" cy="42473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개요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업체 현황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관리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제안 가격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별도제출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444500" indent="-444500">
              <a:lnSpc>
                <a:spcPct val="150000"/>
              </a:lnSpc>
              <a:spcBef>
                <a:spcPts val="1200"/>
              </a:spcBef>
              <a:buFontTx/>
              <a:buAutoNum type="romanU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투입인력 </a:t>
            </a:r>
            <a:r>
              <a:rPr lang="en-US" altLang="ko-KR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</a:p>
        </p:txBody>
      </p:sp>
    </p:spTree>
    <p:extLst>
      <p:ext uri="{BB962C8B-B14F-4D97-AF65-F5344CB8AC3E}">
        <p14:creationId xmlns:p14="http://schemas.microsoft.com/office/powerpoint/2010/main" val="193932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 bwMode="auto">
          <a:xfrm>
            <a:off x="5211405" y="2678725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5569423" y="2631494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과제 및 설계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리스크 및 대응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5304797" y="2008753"/>
            <a:ext cx="3896795" cy="534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59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MG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글로벌 방법론과 카드 차세대 시스템 구축 경험을 바탕으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H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농협카드에 최적화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 을 정의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75" name="TextBox 74"/>
          <p:cNvSpPr txBox="1"/>
          <p:nvPr>
            <p:custDataLst>
              <p:tags r:id="rId1"/>
            </p:custDataLst>
          </p:nvPr>
        </p:nvSpPr>
        <p:spPr>
          <a:xfrm>
            <a:off x="273049" y="5545711"/>
            <a:ext cx="684564" cy="622668"/>
          </a:xfrm>
          <a:prstGeom prst="rect">
            <a:avLst/>
          </a:prstGeom>
          <a:solidFill>
            <a:srgbClr val="800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Mile-</a:t>
            </a:r>
            <a:br>
              <a:rPr lang="en-US" altLang="ko-KR" dirty="0"/>
            </a:br>
            <a:r>
              <a:rPr lang="en-US" altLang="ko-KR" dirty="0"/>
              <a:t>stone</a:t>
            </a:r>
            <a:endParaRPr lang="ko-KR" altLang="en-US" dirty="0"/>
          </a:p>
        </p:txBody>
      </p:sp>
      <p:sp>
        <p:nvSpPr>
          <p:cNvPr id="76" name="TextBox 75"/>
          <p:cNvSpPr txBox="1"/>
          <p:nvPr>
            <p:custDataLst>
              <p:tags r:id="rId2"/>
            </p:custDataLst>
          </p:nvPr>
        </p:nvSpPr>
        <p:spPr>
          <a:xfrm>
            <a:off x="273049" y="1899889"/>
            <a:ext cx="684564" cy="2843548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kumimoji="1" sz="14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/>
              <a:t>Biz</a:t>
            </a:r>
            <a:endParaRPr lang="ko-KR" altLang="en-US" dirty="0"/>
          </a:p>
        </p:txBody>
      </p:sp>
      <p:sp>
        <p:nvSpPr>
          <p:cNvPr id="77" name="TextBox 76"/>
          <p:cNvSpPr txBox="1"/>
          <p:nvPr>
            <p:custDataLst>
              <p:tags r:id="rId3"/>
            </p:custDataLst>
          </p:nvPr>
        </p:nvSpPr>
        <p:spPr>
          <a:xfrm>
            <a:off x="273049" y="4788634"/>
            <a:ext cx="684564" cy="711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>
            <a:defPPr>
              <a:defRPr lang="en-US"/>
            </a:defPPr>
            <a:lvl1pPr algn="ctr" latinLnBrk="0">
              <a:spcBef>
                <a:spcPct val="50000"/>
              </a:spcBef>
              <a:buClr>
                <a:srgbClr val="C0C0C0"/>
              </a:buClr>
              <a:defRPr kumimoji="1"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/>
              <a:t>IT</a:t>
            </a:r>
            <a:endParaRPr lang="ko-KR" altLang="en-US" dirty="0"/>
          </a:p>
        </p:txBody>
      </p:sp>
      <p:sp>
        <p:nvSpPr>
          <p:cNvPr id="78" name="TextBox 77"/>
          <p:cNvSpPr txBox="1"/>
          <p:nvPr>
            <p:custDataLst>
              <p:tags r:id="rId4"/>
            </p:custDataLst>
          </p:nvPr>
        </p:nvSpPr>
        <p:spPr>
          <a:xfrm>
            <a:off x="1033087" y="5545710"/>
            <a:ext cx="8536944" cy="622669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-17780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 Box 25"/>
          <p:cNvSpPr txBox="1">
            <a:spLocks noChangeArrowheads="1"/>
          </p:cNvSpPr>
          <p:nvPr/>
        </p:nvSpPr>
        <p:spPr bwMode="auto">
          <a:xfrm>
            <a:off x="848544" y="5748692"/>
            <a:ext cx="917308" cy="4015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ick-off</a:t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고</a:t>
            </a:r>
          </a:p>
        </p:txBody>
      </p:sp>
      <p:sp>
        <p:nvSpPr>
          <p:cNvPr id="80" name="AutoShape 69"/>
          <p:cNvSpPr>
            <a:spLocks noChangeArrowheads="1"/>
          </p:cNvSpPr>
          <p:nvPr/>
        </p:nvSpPr>
        <p:spPr bwMode="auto">
          <a:xfrm>
            <a:off x="1232252" y="5599281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Text Box 25"/>
          <p:cNvSpPr txBox="1">
            <a:spLocks noChangeArrowheads="1"/>
          </p:cNvSpPr>
          <p:nvPr/>
        </p:nvSpPr>
        <p:spPr bwMode="auto">
          <a:xfrm>
            <a:off x="3806968" y="5748692"/>
            <a:ext cx="917308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 결과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AutoShape 69"/>
          <p:cNvSpPr>
            <a:spLocks noChangeArrowheads="1"/>
          </p:cNvSpPr>
          <p:nvPr/>
        </p:nvSpPr>
        <p:spPr bwMode="auto">
          <a:xfrm>
            <a:off x="4190676" y="5599281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Text Box 25"/>
          <p:cNvSpPr txBox="1">
            <a:spLocks noChangeArrowheads="1"/>
          </p:cNvSpPr>
          <p:nvPr/>
        </p:nvSpPr>
        <p:spPr bwMode="auto">
          <a:xfrm>
            <a:off x="5265766" y="5748692"/>
            <a:ext cx="1512834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AutoShape 69"/>
          <p:cNvSpPr>
            <a:spLocks noChangeArrowheads="1"/>
          </p:cNvSpPr>
          <p:nvPr/>
        </p:nvSpPr>
        <p:spPr bwMode="auto">
          <a:xfrm>
            <a:off x="5947388" y="5599281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Text Box 25"/>
          <p:cNvSpPr txBox="1">
            <a:spLocks noChangeArrowheads="1"/>
          </p:cNvSpPr>
          <p:nvPr/>
        </p:nvSpPr>
        <p:spPr bwMode="auto">
          <a:xfrm>
            <a:off x="6781350" y="5748692"/>
            <a:ext cx="2000774" cy="428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차 보고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To-Be 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</a:t>
            </a:r>
            <a:r>
              <a:rPr lang="en-US" altLang="ko-KR" sz="1050" i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AutoShape 69"/>
          <p:cNvSpPr>
            <a:spLocks noChangeArrowheads="1"/>
          </p:cNvSpPr>
          <p:nvPr/>
        </p:nvSpPr>
        <p:spPr bwMode="auto">
          <a:xfrm>
            <a:off x="7760885" y="5599281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AutoShape 69"/>
          <p:cNvSpPr>
            <a:spLocks noChangeArrowheads="1"/>
          </p:cNvSpPr>
          <p:nvPr/>
        </p:nvSpPr>
        <p:spPr bwMode="auto">
          <a:xfrm>
            <a:off x="9221286" y="5599281"/>
            <a:ext cx="160286" cy="131928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 w="1270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lIns="90000" tIns="46800" rIns="90000" bIns="46800" anchor="ctr"/>
          <a:lstStyle/>
          <a:p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TextBox 132"/>
          <p:cNvSpPr txBox="1"/>
          <p:nvPr>
            <p:custDataLst>
              <p:tags r:id="rId5"/>
            </p:custDataLst>
          </p:nvPr>
        </p:nvSpPr>
        <p:spPr>
          <a:xfrm>
            <a:off x="1037798" y="1899890"/>
            <a:ext cx="3136659" cy="360062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Chevron 21"/>
          <p:cNvSpPr/>
          <p:nvPr>
            <p:custDataLst>
              <p:tags r:id="rId6"/>
            </p:custDataLst>
          </p:nvPr>
        </p:nvSpPr>
        <p:spPr>
          <a:xfrm>
            <a:off x="1023965" y="1412776"/>
            <a:ext cx="3245662" cy="432540"/>
          </a:xfrm>
          <a:prstGeom prst="homePlate">
            <a:avLst>
              <a:gd name="adj" fmla="val 2845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en-US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Rectangle 4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9063" y="2024080"/>
            <a:ext cx="2475137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분류</a:t>
            </a:r>
          </a:p>
        </p:txBody>
      </p:sp>
      <p:sp>
        <p:nvSpPr>
          <p:cNvPr id="136" name="Rectangle 4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69149" y="3635063"/>
            <a:ext cx="1125051" cy="9011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슈 및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기회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cxnSp>
        <p:nvCxnSpPr>
          <p:cNvPr id="137" name="직선 화살표 연결선 136"/>
          <p:cNvCxnSpPr>
            <a:stCxn id="135" idx="2"/>
            <a:endCxn id="172" idx="0"/>
          </p:cNvCxnSpPr>
          <p:nvPr/>
        </p:nvCxnSpPr>
        <p:spPr bwMode="auto">
          <a:xfrm>
            <a:off x="2556632" y="2492664"/>
            <a:ext cx="0" cy="20311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8" name="직선 화살표 연결선 211"/>
          <p:cNvCxnSpPr>
            <a:endCxn id="136" idx="0"/>
          </p:cNvCxnSpPr>
          <p:nvPr/>
        </p:nvCxnSpPr>
        <p:spPr bwMode="auto">
          <a:xfrm>
            <a:off x="3231675" y="2930583"/>
            <a:ext cx="0" cy="70448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39" name="Rectangle 4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9063" y="3635063"/>
            <a:ext cx="1125051" cy="9011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타사 사례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토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0" name="직선 화살표 연결선 139"/>
          <p:cNvCxnSpPr>
            <a:stCxn id="139" idx="3"/>
            <a:endCxn id="136" idx="1"/>
          </p:cNvCxnSpPr>
          <p:nvPr/>
        </p:nvCxnSpPr>
        <p:spPr bwMode="auto">
          <a:xfrm>
            <a:off x="2444114" y="4085627"/>
            <a:ext cx="225035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1" name="TextBox 140"/>
          <p:cNvSpPr txBox="1"/>
          <p:nvPr>
            <p:custDataLst>
              <p:tags r:id="rId10"/>
            </p:custDataLst>
          </p:nvPr>
        </p:nvSpPr>
        <p:spPr>
          <a:xfrm>
            <a:off x="4342239" y="4789047"/>
            <a:ext cx="1610829" cy="723951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Chevron 21"/>
          <p:cNvSpPr/>
          <p:nvPr>
            <p:custDataLst>
              <p:tags r:id="rId11"/>
            </p:custDataLst>
          </p:nvPr>
        </p:nvSpPr>
        <p:spPr>
          <a:xfrm>
            <a:off x="4327795" y="1412776"/>
            <a:ext cx="1666808" cy="432540"/>
          </a:xfrm>
          <a:prstGeom prst="homePlate">
            <a:avLst>
              <a:gd name="adj" fmla="val 2338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과제 상세화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TextBox 142"/>
          <p:cNvSpPr txBox="1"/>
          <p:nvPr>
            <p:custDataLst>
              <p:tags r:id="rId12"/>
            </p:custDataLst>
          </p:nvPr>
        </p:nvSpPr>
        <p:spPr>
          <a:xfrm>
            <a:off x="4340556" y="1899890"/>
            <a:ext cx="1610829" cy="284395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Rectangle 4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10424" y="1974878"/>
            <a:ext cx="1271092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iz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</a:p>
        </p:txBody>
      </p:sp>
      <p:sp>
        <p:nvSpPr>
          <p:cNvPr id="145" name="Rectangle 4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10424" y="3238808"/>
            <a:ext cx="1271092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iz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완</a:t>
            </a:r>
          </a:p>
        </p:txBody>
      </p:sp>
      <p:cxnSp>
        <p:nvCxnSpPr>
          <p:cNvPr id="146" name="직선 화살표 연결선 145"/>
          <p:cNvCxnSpPr>
            <a:stCxn id="144" idx="2"/>
            <a:endCxn id="145" idx="0"/>
          </p:cNvCxnSpPr>
          <p:nvPr/>
        </p:nvCxnSpPr>
        <p:spPr bwMode="auto">
          <a:xfrm>
            <a:off x="5145970" y="2541866"/>
            <a:ext cx="0" cy="6969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7" name="Rectangle 4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97016" y="4876750"/>
            <a:ext cx="789248" cy="56388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선과제</a:t>
            </a: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IT)</a:t>
            </a:r>
          </a:p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확정 및 상세화</a:t>
            </a:r>
            <a:endParaRPr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8" name="연결선: 꺾임 180"/>
          <p:cNvCxnSpPr>
            <a:stCxn id="136" idx="3"/>
            <a:endCxn id="147" idx="0"/>
          </p:cNvCxnSpPr>
          <p:nvPr/>
        </p:nvCxnSpPr>
        <p:spPr bwMode="auto">
          <a:xfrm>
            <a:off x="3794200" y="4085627"/>
            <a:ext cx="1697440" cy="791123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9" name="TextBox 148"/>
          <p:cNvSpPr txBox="1"/>
          <p:nvPr>
            <p:custDataLst>
              <p:tags r:id="rId16"/>
            </p:custDataLst>
          </p:nvPr>
        </p:nvSpPr>
        <p:spPr>
          <a:xfrm>
            <a:off x="6085355" y="4788634"/>
            <a:ext cx="1706872" cy="711882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Chevron 21"/>
          <p:cNvSpPr/>
          <p:nvPr>
            <p:custDataLst>
              <p:tags r:id="rId17"/>
            </p:custDataLst>
          </p:nvPr>
        </p:nvSpPr>
        <p:spPr>
          <a:xfrm>
            <a:off x="6064053" y="1412776"/>
            <a:ext cx="3505974" cy="432540"/>
          </a:xfrm>
          <a:prstGeom prst="homePlate">
            <a:avLst>
              <a:gd name="adj" fmla="val 28453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kumimoji="1" lang="en-US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4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설계 및 </a:t>
            </a:r>
            <a:r>
              <a:rPr kumimoji="1" lang="ko-KR" altLang="en-US" sz="140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발계획 수립</a:t>
            </a:r>
            <a:endParaRPr kumimoji="1" lang="en-US" altLang="en-US" sz="140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TextBox 150"/>
          <p:cNvSpPr txBox="1"/>
          <p:nvPr>
            <p:custDataLst>
              <p:tags r:id="rId18"/>
            </p:custDataLst>
          </p:nvPr>
        </p:nvSpPr>
        <p:spPr>
          <a:xfrm>
            <a:off x="6083572" y="1899889"/>
            <a:ext cx="3486454" cy="2843955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TextBox 151"/>
          <p:cNvSpPr txBox="1"/>
          <p:nvPr>
            <p:custDataLst>
              <p:tags r:id="rId19"/>
            </p:custDataLst>
          </p:nvPr>
        </p:nvSpPr>
        <p:spPr>
          <a:xfrm>
            <a:off x="7863155" y="4546174"/>
            <a:ext cx="1706872" cy="954342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1" lang="ko-KR" alt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3" name="Rectangle 4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243160" y="1974878"/>
            <a:ext cx="1346879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계 정의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4" name="Rectangle 4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243160" y="3238808"/>
            <a:ext cx="1346879" cy="5669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작성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기술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Rectangle 4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815826" y="2656044"/>
            <a:ext cx="1542914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건 정의</a:t>
            </a:r>
          </a:p>
        </p:txBody>
      </p:sp>
      <p:cxnSp>
        <p:nvCxnSpPr>
          <p:cNvPr id="156" name="직선 화살표 연결선 155"/>
          <p:cNvCxnSpPr>
            <a:stCxn id="153" idx="2"/>
            <a:endCxn id="154" idx="0"/>
          </p:cNvCxnSpPr>
          <p:nvPr/>
        </p:nvCxnSpPr>
        <p:spPr bwMode="auto">
          <a:xfrm>
            <a:off x="6916600" y="2541866"/>
            <a:ext cx="0" cy="69694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57" name="연결선: 꺾임 173"/>
          <p:cNvCxnSpPr>
            <a:stCxn id="145" idx="3"/>
            <a:endCxn id="153" idx="1"/>
          </p:cNvCxnSpPr>
          <p:nvPr/>
        </p:nvCxnSpPr>
        <p:spPr bwMode="auto">
          <a:xfrm flipV="1">
            <a:off x="5781516" y="2258372"/>
            <a:ext cx="461644" cy="126393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58" name="Rectangle 4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43161" y="5185089"/>
            <a:ext cx="1346879" cy="29095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10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요소 검토</a:t>
            </a:r>
            <a:endParaRPr lang="en-US" altLang="ko-KR" sz="110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Rectangle 4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45174" y="4815171"/>
            <a:ext cx="1346879" cy="29095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kern="0" spc="-15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 설계</a:t>
            </a:r>
            <a: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50" kern="0" spc="-15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AA/DA/TA/SA)</a:t>
            </a:r>
            <a:endParaRPr lang="ko-KR" altLang="en-US" sz="1050" kern="0" spc="-15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0" name="연결선: 꺾임 188"/>
          <p:cNvCxnSpPr>
            <a:stCxn id="155" idx="2"/>
            <a:endCxn id="162" idx="0"/>
          </p:cNvCxnSpPr>
          <p:nvPr/>
        </p:nvCxnSpPr>
        <p:spPr bwMode="auto">
          <a:xfrm>
            <a:off x="8587283" y="3124630"/>
            <a:ext cx="1" cy="26079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61" name="Rectangle 4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051593" y="4455858"/>
            <a:ext cx="1071381" cy="3566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프라 용량산정</a:t>
            </a:r>
            <a:endParaRPr lang="en-US" altLang="ko-KR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Rectangle 4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051593" y="3385425"/>
            <a:ext cx="1071381" cy="35664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범위 정의</a:t>
            </a:r>
          </a:p>
        </p:txBody>
      </p:sp>
      <p:sp>
        <p:nvSpPr>
          <p:cNvPr id="163" name="Rectangle 4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051593" y="3920642"/>
            <a:ext cx="1071381" cy="35664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일정 수립</a:t>
            </a:r>
          </a:p>
        </p:txBody>
      </p:sp>
      <p:sp>
        <p:nvSpPr>
          <p:cNvPr id="164" name="Rectangle 4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051593" y="4991073"/>
            <a:ext cx="1071381" cy="3566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비용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산정</a:t>
            </a:r>
          </a:p>
        </p:txBody>
      </p:sp>
      <p:sp>
        <p:nvSpPr>
          <p:cNvPr id="165" name="Rectangle 4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9196097" y="3385426"/>
            <a:ext cx="262608" cy="196229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발계획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립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6" name="직선 화살표 연결선 165"/>
          <p:cNvCxnSpPr>
            <a:stCxn id="162" idx="2"/>
            <a:endCxn id="163" idx="0"/>
          </p:cNvCxnSpPr>
          <p:nvPr/>
        </p:nvCxnSpPr>
        <p:spPr bwMode="auto">
          <a:xfrm>
            <a:off x="8587284" y="3742068"/>
            <a:ext cx="0" cy="1785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67" name="직선 화살표 연결선 166"/>
          <p:cNvCxnSpPr>
            <a:stCxn id="163" idx="2"/>
            <a:endCxn id="161" idx="0"/>
          </p:cNvCxnSpPr>
          <p:nvPr/>
        </p:nvCxnSpPr>
        <p:spPr bwMode="auto">
          <a:xfrm>
            <a:off x="8587284" y="4277284"/>
            <a:ext cx="0" cy="17857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68" name="직선 화살표 연결선 167"/>
          <p:cNvCxnSpPr>
            <a:stCxn id="161" idx="2"/>
            <a:endCxn id="164" idx="0"/>
          </p:cNvCxnSpPr>
          <p:nvPr/>
        </p:nvCxnSpPr>
        <p:spPr bwMode="auto">
          <a:xfrm>
            <a:off x="8587284" y="4812500"/>
            <a:ext cx="0" cy="17857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69" name="직선 화살표 연결선 168"/>
          <p:cNvCxnSpPr>
            <a:stCxn id="159" idx="2"/>
            <a:endCxn id="158" idx="0"/>
          </p:cNvCxnSpPr>
          <p:nvPr/>
        </p:nvCxnSpPr>
        <p:spPr bwMode="auto">
          <a:xfrm flipH="1">
            <a:off x="6916601" y="5106126"/>
            <a:ext cx="2013" cy="7896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0" name="연결선: 꺾임 196"/>
          <p:cNvCxnSpPr>
            <a:stCxn id="158" idx="3"/>
            <a:endCxn id="161" idx="1"/>
          </p:cNvCxnSpPr>
          <p:nvPr/>
        </p:nvCxnSpPr>
        <p:spPr bwMode="auto">
          <a:xfrm flipV="1">
            <a:off x="7590040" y="4634179"/>
            <a:ext cx="461553" cy="69638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1" name="연결선: 꺾임 172"/>
          <p:cNvCxnSpPr>
            <a:stCxn id="136" idx="3"/>
            <a:endCxn id="144" idx="1"/>
          </p:cNvCxnSpPr>
          <p:nvPr/>
        </p:nvCxnSpPr>
        <p:spPr bwMode="auto">
          <a:xfrm flipV="1">
            <a:off x="3794200" y="2258372"/>
            <a:ext cx="716224" cy="1827255"/>
          </a:xfrm>
          <a:prstGeom prst="bentConnector3">
            <a:avLst>
              <a:gd name="adj1" fmla="val 61102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72" name="Rectangle 4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319063" y="2695782"/>
            <a:ext cx="2475137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작성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기술서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3" name="Rectangle 4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224808" y="4924399"/>
            <a:ext cx="1690552" cy="46858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lIns="72000" rIns="72000" anchor="ctr"/>
          <a:lstStyle/>
          <a:p>
            <a:pPr algn="ctr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아키텍처 분석</a:t>
            </a:r>
          </a:p>
        </p:txBody>
      </p:sp>
      <p:cxnSp>
        <p:nvCxnSpPr>
          <p:cNvPr id="174" name="연결선: 꺾임 180"/>
          <p:cNvCxnSpPr>
            <a:stCxn id="154" idx="3"/>
            <a:endCxn id="155" idx="1"/>
          </p:cNvCxnSpPr>
          <p:nvPr/>
        </p:nvCxnSpPr>
        <p:spPr bwMode="auto">
          <a:xfrm flipV="1">
            <a:off x="7590039" y="2890337"/>
            <a:ext cx="225787" cy="63196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5" name="직선 화살표 연결선 174"/>
          <p:cNvCxnSpPr>
            <a:stCxn id="173" idx="3"/>
            <a:endCxn id="147" idx="1"/>
          </p:cNvCxnSpPr>
          <p:nvPr/>
        </p:nvCxnSpPr>
        <p:spPr bwMode="auto">
          <a:xfrm>
            <a:off x="4915360" y="5158692"/>
            <a:ext cx="181656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76" name="Text Box 25"/>
          <p:cNvSpPr txBox="1">
            <a:spLocks noChangeArrowheads="1"/>
          </p:cNvSpPr>
          <p:nvPr/>
        </p:nvSpPr>
        <p:spPr bwMode="auto">
          <a:xfrm>
            <a:off x="8864937" y="5748692"/>
            <a:ext cx="771385" cy="23436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 defTabSz="939800" fontAlgn="b">
              <a:lnSpc>
                <a:spcPts val="1260"/>
              </a:lnSpc>
            </a:pPr>
            <a:r>
              <a:rPr lang="ko-KR" altLang="en-US" sz="105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종 보고</a:t>
            </a:r>
            <a:endParaRPr lang="ko-KR" altLang="en-US" sz="1050" i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7" name="직선 화살표 연결선 176"/>
          <p:cNvCxnSpPr>
            <a:endCxn id="159" idx="1"/>
          </p:cNvCxnSpPr>
          <p:nvPr/>
        </p:nvCxnSpPr>
        <p:spPr bwMode="auto">
          <a:xfrm>
            <a:off x="5886264" y="4960648"/>
            <a:ext cx="358910" cy="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24238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44488" y="1913703"/>
            <a:ext cx="4647600" cy="4251600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방법론 차별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세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d-to-End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험을 토대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공적인 차세대 개발의 초석을 다지기 위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무별 공통 요소 식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경험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효율화를 고려한 설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Biz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와의 연계를 고려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5401127" y="1907903"/>
            <a:ext cx="4196391" cy="945033"/>
            <a:chOff x="5401127" y="3889352"/>
            <a:chExt cx="4196391" cy="901678"/>
          </a:xfrm>
        </p:grpSpPr>
        <p:sp>
          <p:nvSpPr>
            <p:cNvPr id="51" name="Rectangle 15"/>
            <p:cNvSpPr>
              <a:spLocks noChangeArrowheads="1"/>
            </p:cNvSpPr>
            <p:nvPr/>
          </p:nvSpPr>
          <p:spPr bwMode="auto">
            <a:xfrm>
              <a:off x="5409907" y="3891030"/>
              <a:ext cx="4187611" cy="900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2060"/>
              </a:solidFill>
              <a:prstDash val="sysDot"/>
              <a:miter lim="800000"/>
              <a:headEnd/>
              <a:tailEnd/>
            </a:ln>
            <a:effectLst>
              <a:outerShdw dist="35921" dir="2700000" algn="ctr" rotWithShape="0">
                <a:srgbClr val="002060">
                  <a:alpha val="50000"/>
                </a:srgbClr>
              </a:outerShdw>
            </a:effectLst>
          </p:spPr>
          <p:txBody>
            <a:bodyPr lIns="90000" tIns="46800" rIns="90000" bIns="46800"/>
            <a:lstStyle/>
            <a:p>
              <a:pPr marL="266700" indent="-174625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   </a:t>
              </a:r>
              <a:r>
                <a:rPr lang="en-US" altLang="ko-KR" sz="1300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End-To-End</a:t>
              </a:r>
              <a:r>
                <a:rPr lang="ko-KR" altLang="en-US" sz="1300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통합 관점의 </a:t>
              </a:r>
              <a:r>
                <a:rPr lang="ko-KR" altLang="en-US" sz="1300" u="sng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완성도 </a:t>
              </a:r>
              <a:r>
                <a:rPr lang="ko-KR" altLang="en-US" sz="1300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확보</a:t>
              </a:r>
            </a:p>
            <a:p>
              <a:pPr marL="541338" indent="-182563" fontAlgn="auto" latinLnBrk="0">
                <a:spcBef>
                  <a:spcPct val="500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별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업무 프로세스 모델 중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공통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업무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및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기준정보 등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프로세스 공통화 요소를 단일 기준으로 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ntegration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관리 수행</a:t>
              </a:r>
            </a:p>
          </p:txBody>
        </p:sp>
        <p:sp>
          <p:nvSpPr>
            <p:cNvPr id="52" name="Rectangle 16"/>
            <p:cNvSpPr>
              <a:spLocks noChangeArrowheads="1"/>
            </p:cNvSpPr>
            <p:nvPr/>
          </p:nvSpPr>
          <p:spPr bwMode="auto">
            <a:xfrm>
              <a:off x="5401127" y="3889352"/>
              <a:ext cx="252000" cy="252000"/>
            </a:xfrm>
            <a:prstGeom prst="rect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</a:p>
          </p:txBody>
        </p:sp>
      </p:grpSp>
      <p:grpSp>
        <p:nvGrpSpPr>
          <p:cNvPr id="8" name="그룹 7"/>
          <p:cNvGrpSpPr/>
          <p:nvPr/>
        </p:nvGrpSpPr>
        <p:grpSpPr>
          <a:xfrm>
            <a:off x="5401127" y="5189833"/>
            <a:ext cx="4196391" cy="945031"/>
            <a:chOff x="5401127" y="4852636"/>
            <a:chExt cx="4196391" cy="901676"/>
          </a:xfrm>
        </p:grpSpPr>
        <p:sp>
          <p:nvSpPr>
            <p:cNvPr id="53" name="Rectangle 15"/>
            <p:cNvSpPr>
              <a:spLocks noChangeArrowheads="1"/>
            </p:cNvSpPr>
            <p:nvPr/>
          </p:nvSpPr>
          <p:spPr bwMode="auto">
            <a:xfrm>
              <a:off x="5409907" y="4854312"/>
              <a:ext cx="4187611" cy="900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2060"/>
              </a:solidFill>
              <a:prstDash val="sysDot"/>
              <a:miter lim="800000"/>
              <a:headEnd/>
              <a:tailEnd/>
            </a:ln>
            <a:effectLst>
              <a:outerShdw dist="35921" dir="2700000" algn="ctr" rotWithShape="0">
                <a:srgbClr val="002060">
                  <a:alpha val="50000"/>
                </a:srgbClr>
              </a:outerShdw>
            </a:effectLst>
          </p:spPr>
          <p:txBody>
            <a:bodyPr lIns="90000" tIns="46800" rIns="90000" bIns="46800"/>
            <a:lstStyle/>
            <a:p>
              <a:pPr marL="266700" indent="-174625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   </a:t>
              </a:r>
              <a:r>
                <a:rPr lang="en-US" altLang="ko-KR" sz="1300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lang="ko-KR" altLang="en-US" sz="1300" u="sng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발 </a:t>
              </a:r>
              <a:r>
                <a:rPr lang="ko-KR" altLang="en-US" sz="1300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관점의 프로젝트 실행력 확보</a:t>
              </a:r>
            </a:p>
            <a:p>
              <a:pPr marL="541338" indent="-182563" fontAlgn="auto" latinLnBrk="0">
                <a:spcBef>
                  <a:spcPct val="500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Biz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선과제 및 기능요건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구현과제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및 차세대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기술요소 등을 종합하여 차세대 개발 범위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일정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예산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확정</a:t>
              </a:r>
              <a:r>
                <a:rPr lang="en-US" altLang="ko-KR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, </a:t>
              </a:r>
              <a:r>
                <a:rPr lang="ko-KR" altLang="en-US" sz="1100" b="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인프라 도입 방안을 수립함</a:t>
              </a:r>
            </a:p>
          </p:txBody>
        </p:sp>
        <p:sp>
          <p:nvSpPr>
            <p:cNvPr id="54" name="Rectangle 16"/>
            <p:cNvSpPr>
              <a:spLocks noChangeArrowheads="1"/>
            </p:cNvSpPr>
            <p:nvPr/>
          </p:nvSpPr>
          <p:spPr bwMode="auto">
            <a:xfrm>
              <a:off x="5401127" y="4852636"/>
              <a:ext cx="252000" cy="252000"/>
            </a:xfrm>
            <a:prstGeom prst="rect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4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5401127" y="4097619"/>
            <a:ext cx="4196391" cy="945033"/>
            <a:chOff x="5401127" y="1904540"/>
            <a:chExt cx="4196391" cy="901678"/>
          </a:xfrm>
        </p:grpSpPr>
        <p:sp>
          <p:nvSpPr>
            <p:cNvPr id="55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409907" y="1906218"/>
              <a:ext cx="4187611" cy="900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2060"/>
              </a:solidFill>
              <a:prstDash val="sysDot"/>
              <a:miter lim="800000"/>
              <a:headEnd/>
              <a:tailEnd/>
            </a:ln>
            <a:effectLst>
              <a:outerShdw dist="35921" dir="2700000" algn="ctr" rotWithShape="0">
                <a:srgbClr val="002060">
                  <a:alpha val="50000"/>
                </a:srgbClr>
              </a:outerShdw>
            </a:effectLst>
          </p:spPr>
          <p:txBody>
            <a:bodyPr lIns="90000" tIns="46800" rIns="90000" bIns="46800"/>
            <a:lstStyle/>
            <a:p>
              <a:pPr marL="266700" indent="-174625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   </a:t>
              </a:r>
              <a:r>
                <a:rPr lang="en-US" altLang="ko-KR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Biz/IT </a:t>
              </a:r>
              <a:r>
                <a:rPr lang="ko-KR" altLang="en-US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선 </a:t>
              </a:r>
              <a:r>
                <a:rPr lang="ko-KR" altLang="en-US" sz="1300" u="sng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과제와의 유기적 </a:t>
              </a:r>
              <a:r>
                <a:rPr lang="ko-KR" altLang="en-US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연</a:t>
              </a:r>
              <a:r>
                <a:rPr lang="ko-KR" altLang="en-US" sz="1300" u="sng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  <a:endParaRPr lang="ko-KR" altLang="en-US" sz="13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541338" indent="-182563" fontAlgn="auto" latinLnBrk="0">
                <a:spcBef>
                  <a:spcPct val="500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전체 개발을 고려한 관점에서 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Biz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선과제를 조망하고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추가로 필요한 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개선과제 정의 및 연계</a:t>
              </a:r>
              <a:endParaRPr lang="ko-KR" altLang="en-US" sz="11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Rectangle 16"/>
            <p:cNvSpPr>
              <a:spLocks noChangeArrowheads="1"/>
            </p:cNvSpPr>
            <p:nvPr/>
          </p:nvSpPr>
          <p:spPr bwMode="auto">
            <a:xfrm>
              <a:off x="5401127" y="1904540"/>
              <a:ext cx="252000" cy="252000"/>
            </a:xfrm>
            <a:prstGeom prst="rect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5401127" y="3007833"/>
            <a:ext cx="4196391" cy="945031"/>
            <a:chOff x="5401127" y="2867824"/>
            <a:chExt cx="4196391" cy="901676"/>
          </a:xfrm>
        </p:grpSpPr>
        <p:sp>
          <p:nvSpPr>
            <p:cNvPr id="57" name="Rectangle 1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409907" y="2869500"/>
              <a:ext cx="4187611" cy="900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2060"/>
              </a:solidFill>
              <a:prstDash val="sysDot"/>
              <a:miter lim="800000"/>
              <a:headEnd/>
              <a:tailEnd/>
            </a:ln>
            <a:effectLst>
              <a:outerShdw dist="35921" dir="2700000" algn="ctr" rotWithShape="0">
                <a:srgbClr val="002060">
                  <a:alpha val="50000"/>
                </a:srgbClr>
              </a:outerShdw>
            </a:effectLst>
          </p:spPr>
          <p:txBody>
            <a:bodyPr lIns="90000" tIns="46800" rIns="90000" bIns="46800"/>
            <a:lstStyle/>
            <a:p>
              <a:pPr marL="266700" indent="-174625"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ko-KR" altLang="en-US" sz="1100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   </a:t>
              </a:r>
              <a:r>
                <a:rPr lang="ko-KR" altLang="en-US" sz="1300" u="sng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경험 </a:t>
              </a:r>
              <a:r>
                <a:rPr lang="ko-KR" altLang="en-US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반</a:t>
              </a:r>
              <a:r>
                <a:rPr lang="en-US" altLang="ko-KR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300" u="sng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무 효율화 관점 모델 </a:t>
              </a:r>
              <a:r>
                <a:rPr lang="ko-KR" altLang="en-US" sz="1300" u="sng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설계</a:t>
              </a:r>
            </a:p>
            <a:p>
              <a:pPr marL="541338" indent="-182563" fontAlgn="auto" latinLnBrk="0">
                <a:spcBef>
                  <a:spcPct val="500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대 고객 관련 업무에 대해서는 고객 경험 관점에서의 설계</a:t>
              </a:r>
              <a:endParaRPr lang="en-US" altLang="ko-KR" sz="11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541338" indent="-182563" fontAlgn="auto" latinLnBrk="0">
                <a:spcBef>
                  <a:spcPct val="500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부 업무에 대해서는 효율화</a:t>
              </a:r>
              <a:r>
                <a:rPr lang="en-US" altLang="ko-KR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100" b="0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자동화 요소 식별</a:t>
              </a:r>
              <a:endParaRPr lang="ko-KR" altLang="en-US" sz="11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401127" y="2867824"/>
              <a:ext cx="252000" cy="252000"/>
            </a:xfrm>
            <a:prstGeom prst="rect">
              <a:avLst/>
            </a:prstGeom>
            <a:solidFill>
              <a:srgbClr val="1B3A87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</a:p>
          </p:txBody>
        </p:sp>
      </p:grpSp>
      <p:sp>
        <p:nvSpPr>
          <p:cNvPr id="14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347586" y="1391568"/>
            <a:ext cx="4644008" cy="307777"/>
            <a:chOff x="308992" y="1391568"/>
            <a:chExt cx="4644008" cy="307777"/>
          </a:xfrm>
        </p:grpSpPr>
        <p:sp>
          <p:nvSpPr>
            <p:cNvPr id="28" name="Text Box 18"/>
            <p:cNvSpPr txBox="1">
              <a:spLocks noChangeArrowheads="1"/>
            </p:cNvSpPr>
            <p:nvPr/>
          </p:nvSpPr>
          <p:spPr bwMode="auto">
            <a:xfrm>
              <a:off x="308992" y="1391568"/>
              <a:ext cx="4644008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NH</a:t>
              </a:r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농협카드 </a:t>
              </a:r>
              <a:r>
                <a:rPr kumimoji="1" lang="en-US" altLang="ko-KR" sz="14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I </a:t>
              </a:r>
              <a:r>
                <a:rPr kumimoji="1" lang="ko-KR" altLang="en-US" sz="14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컨설팅 프로젝트 수행 방법론</a:t>
              </a:r>
              <a:endParaRPr kumimoji="1" lang="ko-KR" altLang="en-US" sz="14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29" name="직선 연결선 28"/>
            <p:cNvCxnSpPr/>
            <p:nvPr/>
          </p:nvCxnSpPr>
          <p:spPr bwMode="auto">
            <a:xfrm>
              <a:off x="308992" y="1693739"/>
              <a:ext cx="464400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1" name="Text Box 18"/>
          <p:cNvSpPr txBox="1">
            <a:spLocks noChangeArrowheads="1"/>
          </p:cNvSpPr>
          <p:nvPr/>
        </p:nvSpPr>
        <p:spPr bwMode="auto">
          <a:xfrm>
            <a:off x="5401127" y="1391568"/>
            <a:ext cx="423239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kumimoji="1" lang="ko-KR" altLang="en-US" sz="1400" dirty="0" smtClean="0">
                <a:solidFill>
                  <a:srgbClr val="000000"/>
                </a:solidFill>
                <a:latin typeface="맑은 고딕"/>
                <a:ea typeface="맑은 고딕"/>
              </a:rPr>
              <a:t>프로젝트 수행 방법론 차별화 요소</a:t>
            </a:r>
            <a:endParaRPr kumimoji="1" lang="ko-KR" altLang="en-US" sz="14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cxnSp>
        <p:nvCxnSpPr>
          <p:cNvPr id="32" name="직선 연결선 31"/>
          <p:cNvCxnSpPr/>
          <p:nvPr/>
        </p:nvCxnSpPr>
        <p:spPr bwMode="auto">
          <a:xfrm>
            <a:off x="5401127" y="1693739"/>
            <a:ext cx="423239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med" len="med"/>
          </a:ln>
          <a:effectLst/>
        </p:spPr>
      </p:cxnSp>
      <p:sp>
        <p:nvSpPr>
          <p:cNvPr id="35" name="Rectangle 10"/>
          <p:cNvSpPr>
            <a:spLocks noChangeArrowheads="1"/>
          </p:cNvSpPr>
          <p:nvPr/>
        </p:nvSpPr>
        <p:spPr bwMode="auto">
          <a:xfrm rot="5400000">
            <a:off x="2895159" y="4484590"/>
            <a:ext cx="652964" cy="1488519"/>
          </a:xfrm>
          <a:prstGeom prst="corner">
            <a:avLst>
              <a:gd name="adj1" fmla="val 93968"/>
              <a:gd name="adj2" fmla="val 58888"/>
            </a:avLst>
          </a:prstGeom>
          <a:solidFill>
            <a:srgbClr val="FF6600">
              <a:alpha val="30196"/>
            </a:srgbClr>
          </a:solidFill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1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16"/>
          <p:cNvSpPr>
            <a:spLocks noChangeArrowheads="1"/>
          </p:cNvSpPr>
          <p:nvPr/>
        </p:nvSpPr>
        <p:spPr bwMode="auto">
          <a:xfrm>
            <a:off x="2477382" y="4902367"/>
            <a:ext cx="180000" cy="204405"/>
          </a:xfrm>
          <a:prstGeom prst="rect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7" name="Rectangle 10"/>
          <p:cNvSpPr>
            <a:spLocks noChangeArrowheads="1"/>
          </p:cNvSpPr>
          <p:nvPr/>
        </p:nvSpPr>
        <p:spPr bwMode="auto">
          <a:xfrm>
            <a:off x="2178675" y="2383292"/>
            <a:ext cx="1844833" cy="1713370"/>
          </a:xfrm>
          <a:prstGeom prst="rect">
            <a:avLst/>
          </a:prstGeom>
          <a:solidFill>
            <a:srgbClr val="FF6600">
              <a:alpha val="30196"/>
            </a:srgbClr>
          </a:solidFill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1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2178675" y="2383292"/>
            <a:ext cx="180000" cy="204405"/>
          </a:xfrm>
          <a:prstGeom prst="rect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39" name="Rectangle 10"/>
          <p:cNvSpPr>
            <a:spLocks noChangeArrowheads="1"/>
          </p:cNvSpPr>
          <p:nvPr/>
        </p:nvSpPr>
        <p:spPr bwMode="auto">
          <a:xfrm>
            <a:off x="4138179" y="3585476"/>
            <a:ext cx="622158" cy="1950371"/>
          </a:xfrm>
          <a:prstGeom prst="rect">
            <a:avLst/>
          </a:prstGeom>
          <a:solidFill>
            <a:srgbClr val="FF6600">
              <a:alpha val="30196"/>
            </a:srgbClr>
          </a:solidFill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1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Rectangle 16"/>
          <p:cNvSpPr>
            <a:spLocks noChangeArrowheads="1"/>
          </p:cNvSpPr>
          <p:nvPr/>
        </p:nvSpPr>
        <p:spPr bwMode="auto">
          <a:xfrm>
            <a:off x="4138179" y="3585476"/>
            <a:ext cx="180000" cy="204405"/>
          </a:xfrm>
          <a:prstGeom prst="rect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41" name="Rectangle 10"/>
          <p:cNvSpPr>
            <a:spLocks noChangeArrowheads="1"/>
          </p:cNvSpPr>
          <p:nvPr/>
        </p:nvSpPr>
        <p:spPr bwMode="auto">
          <a:xfrm>
            <a:off x="326740" y="1878732"/>
            <a:ext cx="4654016" cy="464928"/>
          </a:xfrm>
          <a:prstGeom prst="rect">
            <a:avLst/>
          </a:prstGeom>
          <a:solidFill>
            <a:srgbClr val="FF6600">
              <a:alpha val="30196"/>
            </a:srgbClr>
          </a:solidFill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100" b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Rectangle 16"/>
          <p:cNvSpPr>
            <a:spLocks noChangeArrowheads="1"/>
          </p:cNvSpPr>
          <p:nvPr/>
        </p:nvSpPr>
        <p:spPr bwMode="auto">
          <a:xfrm>
            <a:off x="326740" y="1878732"/>
            <a:ext cx="180000" cy="204405"/>
          </a:xfrm>
          <a:prstGeom prst="rect">
            <a:avLst/>
          </a:prstGeom>
          <a:solidFill>
            <a:srgbClr val="1B3A87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2972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젝트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 차별화 요소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업무 그룹별 프로세스 설계 시 전체 프로세스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lignment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공통성 과제의 효과적 진행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위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Integration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활동을 수행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286043" y="1412776"/>
            <a:ext cx="9346907" cy="432048"/>
          </a:xfrm>
          <a:prstGeom prst="rect">
            <a:avLst/>
          </a:prstGeom>
          <a:solidFill>
            <a:srgbClr val="00206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방법론 </a:t>
            </a: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특징 </a:t>
            </a:r>
            <a:r>
              <a:rPr lang="ko-KR" altLang="en-US" sz="1400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0" lang="en-US" altLang="ko-KR" sz="1400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nd-To-End</a:t>
            </a:r>
            <a:r>
              <a:rPr kumimoji="0" lang="ko-KR" altLang="en-US" sz="1400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통합 관점의 </a:t>
            </a:r>
            <a:r>
              <a:rPr kumimoji="0" lang="ko-KR" altLang="en-US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완성도 </a:t>
            </a:r>
            <a:r>
              <a:rPr kumimoji="0" lang="ko-KR" altLang="en-US" sz="1400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확보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직사각형 70"/>
          <p:cNvSpPr/>
          <p:nvPr/>
        </p:nvSpPr>
        <p:spPr bwMode="auto">
          <a:xfrm>
            <a:off x="488506" y="1993828"/>
            <a:ext cx="9093376" cy="2608327"/>
          </a:xfrm>
          <a:prstGeom prst="homePlate">
            <a:avLst>
              <a:gd name="adj" fmla="val 4374"/>
            </a:avLst>
          </a:prstGeom>
          <a:solidFill>
            <a:srgbClr val="BFD9E6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kumimoji="0" lang="en-US" altLang="ko-KR" sz="13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ntegration</a:t>
            </a:r>
            <a:endParaRPr kumimoji="0" lang="en-US" sz="13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직사각형 70"/>
          <p:cNvSpPr/>
          <p:nvPr/>
        </p:nvSpPr>
        <p:spPr bwMode="auto">
          <a:xfrm>
            <a:off x="488506" y="5632670"/>
            <a:ext cx="3219894" cy="609600"/>
          </a:xfrm>
          <a:prstGeom prst="homePlate">
            <a:avLst>
              <a:gd name="adj" fmla="val 13397"/>
            </a:avLst>
          </a:prstGeom>
          <a:solidFill>
            <a:srgbClr val="BFD9E6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13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0" lang="ko-KR" altLang="en-US" sz="13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 설계</a:t>
            </a:r>
            <a:endParaRPr kumimoji="0" lang="en-US" altLang="en-US" sz="13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직사각형 70"/>
          <p:cNvSpPr/>
          <p:nvPr/>
        </p:nvSpPr>
        <p:spPr bwMode="auto">
          <a:xfrm>
            <a:off x="4031806" y="5632670"/>
            <a:ext cx="1937194" cy="609600"/>
          </a:xfrm>
          <a:prstGeom prst="homePlate">
            <a:avLst>
              <a:gd name="adj" fmla="val 13397"/>
            </a:avLst>
          </a:prstGeom>
          <a:solidFill>
            <a:srgbClr val="BFD9E6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3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개선과제 연계강화</a:t>
            </a:r>
            <a:endParaRPr kumimoji="0" lang="en-US" altLang="en-US" sz="13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직사각형 70"/>
          <p:cNvSpPr/>
          <p:nvPr/>
        </p:nvSpPr>
        <p:spPr bwMode="auto">
          <a:xfrm>
            <a:off x="6216206" y="5632670"/>
            <a:ext cx="3219894" cy="609600"/>
          </a:xfrm>
          <a:prstGeom prst="homePlate">
            <a:avLst>
              <a:gd name="adj" fmla="val 13397"/>
            </a:avLst>
          </a:prstGeom>
          <a:solidFill>
            <a:srgbClr val="BFD9E6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13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3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건 정의</a:t>
            </a:r>
            <a:endParaRPr kumimoji="0" lang="en-US" altLang="en-US" sz="13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Up-Down Arrow 94"/>
          <p:cNvSpPr/>
          <p:nvPr/>
        </p:nvSpPr>
        <p:spPr bwMode="auto">
          <a:xfrm>
            <a:off x="1937061" y="4500556"/>
            <a:ext cx="322784" cy="1233713"/>
          </a:xfrm>
          <a:prstGeom prst="upDownArrow">
            <a:avLst>
              <a:gd name="adj1" fmla="val 46663"/>
              <a:gd name="adj2" fmla="val 61386"/>
            </a:avLst>
          </a:prstGeom>
          <a:solidFill>
            <a:srgbClr val="C0000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Up-Down Arrow 95"/>
          <p:cNvSpPr/>
          <p:nvPr/>
        </p:nvSpPr>
        <p:spPr bwMode="auto">
          <a:xfrm>
            <a:off x="4839011" y="4500556"/>
            <a:ext cx="322784" cy="1233713"/>
          </a:xfrm>
          <a:prstGeom prst="upDownArrow">
            <a:avLst>
              <a:gd name="adj1" fmla="val 46663"/>
              <a:gd name="adj2" fmla="val 61386"/>
            </a:avLst>
          </a:prstGeom>
          <a:solidFill>
            <a:srgbClr val="C0000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Up-Down Arrow 96"/>
          <p:cNvSpPr/>
          <p:nvPr/>
        </p:nvSpPr>
        <p:spPr bwMode="auto">
          <a:xfrm>
            <a:off x="7664761" y="4500556"/>
            <a:ext cx="322784" cy="1233713"/>
          </a:xfrm>
          <a:prstGeom prst="upDownArrow">
            <a:avLst>
              <a:gd name="adj1" fmla="val 46663"/>
              <a:gd name="adj2" fmla="val 61386"/>
            </a:avLst>
          </a:prstGeom>
          <a:solidFill>
            <a:srgbClr val="C0000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직사각형 70"/>
          <p:cNvSpPr/>
          <p:nvPr/>
        </p:nvSpPr>
        <p:spPr bwMode="auto">
          <a:xfrm>
            <a:off x="648223" y="2400111"/>
            <a:ext cx="2094747" cy="200099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 통합관리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7800" marR="0" lvl="0" indent="-17780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List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통합 관리</a:t>
            </a:r>
          </a:p>
          <a:p>
            <a:pPr marL="266700" marR="0" lvl="0" indent="-179388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맑은 고딕" pitchFamily="50" charset="-127"/>
              <a:buChar char="–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체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에 대한 통합 변경 관리</a:t>
            </a:r>
          </a:p>
          <a:p>
            <a:pPr marL="177800" marR="0" lvl="0" indent="-177800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프로세스 간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lignment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</a:t>
            </a:r>
          </a:p>
          <a:p>
            <a:pPr marL="266700" indent="-179388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맑은 고딕" pitchFamily="50" charset="-127"/>
              <a:buChar char="–"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간 연계 수행 관리</a:t>
            </a:r>
          </a:p>
        </p:txBody>
      </p:sp>
      <p:sp>
        <p:nvSpPr>
          <p:cNvPr id="28" name="직사각형 71"/>
          <p:cNvSpPr/>
          <p:nvPr/>
        </p:nvSpPr>
        <p:spPr bwMode="auto">
          <a:xfrm>
            <a:off x="2831828" y="2400111"/>
            <a:ext cx="2094747" cy="200099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경험 최적화 관리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경험 기반 프로세스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적화 관리 지원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6700" indent="-179388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맑은 고딕" pitchFamily="50" charset="-127"/>
              <a:buChar char="–"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경험 향상을 위한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경영관점</a:t>
            </a: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개선 통합 관리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72"/>
          <p:cNvSpPr/>
          <p:nvPr/>
        </p:nvSpPr>
        <p:spPr bwMode="auto">
          <a:xfrm>
            <a:off x="5015433" y="2400111"/>
            <a:ext cx="2094747" cy="200099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준정보</a:t>
            </a:r>
            <a:r>
              <a:rPr kumimoji="0" lang="en-US" altLang="ko-KR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Rule </a:t>
            </a: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정보 통합 관리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상 업무에 대한 통합 관리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eal-Tim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상 업무 통합 관리</a:t>
            </a:r>
          </a:p>
        </p:txBody>
      </p:sp>
      <p:sp>
        <p:nvSpPr>
          <p:cNvPr id="30" name="직사각형 52"/>
          <p:cNvSpPr/>
          <p:nvPr/>
        </p:nvSpPr>
        <p:spPr bwMode="auto">
          <a:xfrm>
            <a:off x="7199037" y="2400110"/>
            <a:ext cx="2094749" cy="20009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도 및 조직 </a:t>
            </a: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검토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혁신을 위한 관련 업무요건 정의 통합관리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eaLnBrk="0" fontAlgn="auto" latinLnBrk="0" hangingPunct="0"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 구성 및 역할 </a:t>
            </a:r>
            <a:r>
              <a:rPr lang="ko-KR" altLang="en-US" sz="12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토 </a:t>
            </a:r>
            <a:r>
              <a:rPr lang="ko-KR" altLang="en-US" sz="12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 관리</a:t>
            </a:r>
            <a:endParaRPr lang="en-US" altLang="ko-KR" sz="12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209046" y="4724847"/>
            <a:ext cx="24199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간 연계를 고려한 설계 가이드라인 제시</a:t>
            </a:r>
            <a:endParaRPr 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111903" y="4724847"/>
            <a:ext cx="25528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세스 검토 및 워크샵을 통한 </a:t>
            </a:r>
            <a:r>
              <a:rPr lang="en-US" altLang="ko-KR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Value Chain </a:t>
            </a: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별 일관성 확보 및 연계성 강화</a:t>
            </a:r>
            <a:endParaRPr 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26740" y="4724847"/>
            <a:ext cx="1706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세 프로세스 간 연계성에 대한 통합 관리</a:t>
            </a:r>
            <a:endParaRPr lang="en-US" sz="1200" b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78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규제 환경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제환경 변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2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수익성 정체에 직면한 국내 신용카드 업계 요구에 따라 신규사업 인가 및 </a:t>
            </a:r>
            <a:r>
              <a:rPr lang="en-US" altLang="ko-KR" dirty="0" err="1"/>
              <a:t>FinTech</a:t>
            </a:r>
            <a:r>
              <a:rPr lang="ko-KR" altLang="en-US" dirty="0"/>
              <a:t> 출자 규제가 완화되고 있음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487544" y="5968330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137160" indent="-13716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 업종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문화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생활 편의 업종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통신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차량 판매 업종 등 허용</a:t>
            </a:r>
          </a:p>
          <a:p>
            <a:pPr marL="137160" indent="-13716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자금융업 및 보조업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전산업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데이터 분석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소프트웨어 개발</a:t>
            </a: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 플랫폼 운영을 출자 가능 대상에 포함</a:t>
            </a:r>
            <a:endParaRPr lang="en-US" altLang="ko-KR" sz="7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7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ource: </a:t>
            </a:r>
            <a:r>
              <a:rPr lang="ko-KR" altLang="en-US" sz="700" b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위원회</a:t>
            </a:r>
            <a:endParaRPr lang="ko-KR" altLang="en-US" sz="7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6908" y="1856747"/>
            <a:ext cx="8786572" cy="4164541"/>
            <a:chOff x="486908" y="1856747"/>
            <a:chExt cx="8786572" cy="4285611"/>
          </a:xfrm>
        </p:grpSpPr>
        <p:sp>
          <p:nvSpPr>
            <p:cNvPr id="257" name="직사각형 256"/>
            <p:cNvSpPr/>
            <p:nvPr/>
          </p:nvSpPr>
          <p:spPr>
            <a:xfrm>
              <a:off x="3266262" y="1856747"/>
              <a:ext cx="2700000" cy="3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기존 관련 규제</a:t>
              </a:r>
            </a:p>
          </p:txBody>
        </p:sp>
        <p:sp>
          <p:nvSpPr>
            <p:cNvPr id="258" name="직사각형 257"/>
            <p:cNvSpPr/>
            <p:nvPr/>
          </p:nvSpPr>
          <p:spPr>
            <a:xfrm>
              <a:off x="6609480" y="1856747"/>
              <a:ext cx="2664000" cy="360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rgbClr val="C0C0C0"/>
                </a:buClr>
              </a:pP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규제 전환</a:t>
              </a:r>
              <a:r>
                <a:rPr lang="en-US" altLang="ko-KR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완화 방향성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493954" y="1995148"/>
              <a:ext cx="2664000" cy="19953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auto" latinLnBrk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</a:pPr>
              <a:r>
                <a:rPr lang="ko-KR" altLang="en-US" sz="14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카드사 해당 규제 범위</a:t>
              </a:r>
            </a:p>
          </p:txBody>
        </p:sp>
        <p:sp>
          <p:nvSpPr>
            <p:cNvPr id="261" name="직사각형 260"/>
            <p:cNvSpPr/>
            <p:nvPr/>
          </p:nvSpPr>
          <p:spPr>
            <a:xfrm>
              <a:off x="486908" y="2295686"/>
              <a:ext cx="1080000" cy="18828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카드사 부수업무 네거티브 化 전환</a:t>
              </a:r>
            </a:p>
          </p:txBody>
        </p:sp>
        <p:sp>
          <p:nvSpPr>
            <p:cNvPr id="262" name="직사각형 261"/>
            <p:cNvSpPr/>
            <p:nvPr/>
          </p:nvSpPr>
          <p:spPr>
            <a:xfrm>
              <a:off x="486908" y="4259558"/>
              <a:ext cx="1080000" cy="18828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</a:pPr>
              <a:r>
                <a:rPr lang="ko-KR" altLang="en-US" sz="14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금융사의 </a:t>
              </a:r>
              <a:r>
                <a:rPr lang="ko-KR" altLang="en-US" sz="1400" kern="0" dirty="0" err="1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핀테크</a:t>
              </a:r>
              <a:r>
                <a:rPr lang="ko-KR" altLang="en-US" sz="1400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 사업 규제 완화</a:t>
              </a:r>
            </a:p>
          </p:txBody>
        </p:sp>
        <p:sp>
          <p:nvSpPr>
            <p:cNvPr id="263" name="직사각형 262"/>
            <p:cNvSpPr/>
            <p:nvPr/>
          </p:nvSpPr>
          <p:spPr>
            <a:xfrm>
              <a:off x="1655598" y="4259558"/>
              <a:ext cx="1512000" cy="9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ko-KR" altLang="en-US" sz="1200" kern="0" dirty="0" err="1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핀테크</a:t>
              </a: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 기업 출자</a:t>
              </a:r>
              <a: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/</a:t>
              </a: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지배</a:t>
              </a:r>
              <a: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/>
              </a:r>
              <a:b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</a:b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 허용 여부</a:t>
              </a:r>
            </a:p>
          </p:txBody>
        </p:sp>
        <p:sp>
          <p:nvSpPr>
            <p:cNvPr id="264" name="직사각형 263"/>
            <p:cNvSpPr/>
            <p:nvPr/>
          </p:nvSpPr>
          <p:spPr>
            <a:xfrm>
              <a:off x="1655598" y="5241496"/>
              <a:ext cx="1512000" cy="9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출자</a:t>
              </a:r>
              <a: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/</a:t>
              </a: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지배 </a:t>
              </a:r>
              <a: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/>
              </a:r>
              <a:b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</a:b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승인 절차</a:t>
              </a:r>
            </a:p>
          </p:txBody>
        </p:sp>
        <p:sp>
          <p:nvSpPr>
            <p:cNvPr id="265" name="직사각형 264"/>
            <p:cNvSpPr/>
            <p:nvPr/>
          </p:nvSpPr>
          <p:spPr>
            <a:xfrm>
              <a:off x="1655598" y="2295686"/>
              <a:ext cx="1512000" cy="9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부수업무 </a:t>
              </a:r>
              <a:b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</a:b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허용 범위</a:t>
              </a:r>
            </a:p>
          </p:txBody>
        </p:sp>
        <p:sp>
          <p:nvSpPr>
            <p:cNvPr id="266" name="직사각형 265"/>
            <p:cNvSpPr/>
            <p:nvPr/>
          </p:nvSpPr>
          <p:spPr>
            <a:xfrm>
              <a:off x="1655598" y="3277622"/>
              <a:ext cx="1512000" cy="9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 latinLnBrk="0">
                <a:spcBef>
                  <a:spcPts val="900"/>
                </a:spcBef>
                <a:spcAft>
                  <a:spcPts val="0"/>
                </a:spcAft>
                <a:defRPr/>
              </a:pP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부수업무</a:t>
              </a:r>
              <a:b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</a:b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신고</a:t>
              </a:r>
              <a:r>
                <a:rPr lang="en-US" altLang="ko-KR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/</a:t>
              </a:r>
              <a:r>
                <a:rPr lang="ko-KR" altLang="en-US" sz="1200" kern="0" dirty="0" smtClea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rPr>
                <a:t>등록 절차</a:t>
              </a:r>
            </a:p>
          </p:txBody>
        </p:sp>
        <p:cxnSp>
          <p:nvCxnSpPr>
            <p:cNvPr id="267" name="직선 연결선 266"/>
            <p:cNvCxnSpPr/>
            <p:nvPr/>
          </p:nvCxnSpPr>
          <p:spPr>
            <a:xfrm>
              <a:off x="3167598" y="3236654"/>
              <a:ext cx="5957579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68" name="직선 연결선 267"/>
            <p:cNvCxnSpPr/>
            <p:nvPr/>
          </p:nvCxnSpPr>
          <p:spPr>
            <a:xfrm>
              <a:off x="3167598" y="5200526"/>
              <a:ext cx="5957579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69" name="직선 연결선 268"/>
            <p:cNvCxnSpPr/>
            <p:nvPr/>
          </p:nvCxnSpPr>
          <p:spPr>
            <a:xfrm>
              <a:off x="6576084" y="4218590"/>
              <a:ext cx="2664000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270" name="TextBox 269"/>
            <p:cNvSpPr txBox="1"/>
            <p:nvPr/>
          </p:nvSpPr>
          <p:spPr bwMode="gray">
            <a:xfrm>
              <a:off x="6609480" y="2295686"/>
              <a:ext cx="2664000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네거티브 방식의 지정 외 모두 허용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중소기업 적합 업종 </a:t>
              </a:r>
              <a:r>
                <a:rPr lang="en-US" altLang="ko-KR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 제외한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든 업종에 대해 부수업무 허용 전환</a:t>
              </a:r>
              <a:r>
                <a:rPr lang="en-US" altLang="ko-KR" sz="1200" b="0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endParaRPr lang="en-US" altLang="ko-KR" sz="1200" u="sng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1" name="TextBox 270"/>
            <p:cNvSpPr txBox="1"/>
            <p:nvPr/>
          </p:nvSpPr>
          <p:spPr bwMode="gray">
            <a:xfrm>
              <a:off x="6609480" y="3277623"/>
              <a:ext cx="2664000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업무 인가 절차 간소화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규 업무 개시 </a:t>
              </a:r>
              <a:r>
                <a:rPr lang="en-US" altLang="ko-KR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</a:t>
              </a:r>
              <a:r>
                <a:rPr lang="ko-KR" altLang="en-US" sz="1200" u="sng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 전까지 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고</a:t>
              </a:r>
              <a:endPara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旣 허용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및 타 카드사의 旣 신고 업무는 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별도 절차 없이 영위 가능</a:t>
              </a:r>
              <a:endPara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2" name="TextBox 271"/>
            <p:cNvSpPr txBox="1"/>
            <p:nvPr/>
          </p:nvSpPr>
          <p:spPr bwMode="gray">
            <a:xfrm>
              <a:off x="6609480" y="4259560"/>
              <a:ext cx="2664000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융사의 </a:t>
              </a:r>
              <a:r>
                <a:rPr lang="ko-KR" altLang="en-US" sz="1200" i="1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핀테크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출자 허용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기업의 경우 </a:t>
              </a:r>
              <a:r>
                <a:rPr lang="ko-KR" altLang="en-US" sz="1200" u="sng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핀테크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사업 부문의 매출</a:t>
              </a:r>
              <a:r>
                <a:rPr lang="en-US" altLang="ko-KR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산 </a:t>
              </a:r>
              <a:r>
                <a:rPr lang="en-US" altLang="ko-KR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5% 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상인 경우에 허용</a:t>
              </a:r>
              <a:r>
                <a:rPr lang="en-US" altLang="ko-KR" sz="1200" u="sng" baseline="30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  <p:sp>
          <p:nvSpPr>
            <p:cNvPr id="273" name="TextBox 272"/>
            <p:cNvSpPr txBox="1"/>
            <p:nvPr/>
          </p:nvSpPr>
          <p:spPr bwMode="gray">
            <a:xfrm>
              <a:off x="6609480" y="5241496"/>
              <a:ext cx="2664000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후적 승인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 전환 계획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u="sng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핀테크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기업 출자 절차 간소화의 목적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으로 사후 승인으로 변경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4" name="TextBox 273"/>
            <p:cNvSpPr txBox="1"/>
            <p:nvPr/>
          </p:nvSpPr>
          <p:spPr bwMode="gray">
            <a:xfrm>
              <a:off x="3266262" y="5241496"/>
              <a:ext cx="2700000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전적 승인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 절차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종적 출자 완료 시점까지 승인이 보류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되는 사전적 승인 절차 제도</a:t>
              </a:r>
              <a:endParaRPr lang="en-US" altLang="ko-KR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5" name="TextBox 274"/>
            <p:cNvSpPr txBox="1"/>
            <p:nvPr/>
          </p:nvSpPr>
          <p:spPr bwMode="gray">
            <a:xfrm>
              <a:off x="3228162" y="4250078"/>
              <a:ext cx="2838866" cy="900000"/>
            </a:xfrm>
            <a:prstGeom prst="rect">
              <a:avLst/>
            </a:prstGeom>
            <a:noFill/>
            <a:ln w="12700" algn="ctr">
              <a:noFill/>
              <a:prstDash val="sysDot"/>
              <a:miter lim="800000"/>
              <a:headEnd/>
              <a:tailEnd/>
            </a:ln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산분리에 따른 원칙적 출자 불가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b="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산법</a:t>
              </a:r>
              <a:r>
                <a:rPr lang="en-US" altLang="ko-KR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b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등 금융 관련 법률 상 </a:t>
              </a:r>
              <a:r>
                <a:rPr lang="ko-KR" altLang="en-US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융기관은 금융업 및 금융기관과 직접 관련이 있는 회사에만 출자 가능</a:t>
              </a:r>
              <a:endPara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7" name="오른쪽 화살표 276"/>
            <p:cNvSpPr>
              <a:spLocks noChangeArrowheads="1"/>
            </p:cNvSpPr>
            <p:nvPr/>
          </p:nvSpPr>
          <p:spPr bwMode="auto">
            <a:xfrm>
              <a:off x="6045820" y="1906356"/>
              <a:ext cx="504000" cy="297656"/>
            </a:xfrm>
            <a:prstGeom prst="rightArrow">
              <a:avLst>
                <a:gd name="adj1" fmla="val 56741"/>
                <a:gd name="adj2" fmla="val 28815"/>
              </a:avLst>
            </a:prstGeom>
            <a:solidFill>
              <a:schemeClr val="bg1">
                <a:lumMod val="85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ko-KR" altLang="en-US" sz="1300" b="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8" name="오른쪽 화살표 277"/>
            <p:cNvSpPr>
              <a:spLocks noChangeArrowheads="1"/>
            </p:cNvSpPr>
            <p:nvPr/>
          </p:nvSpPr>
          <p:spPr bwMode="auto">
            <a:xfrm>
              <a:off x="6045820" y="2989840"/>
              <a:ext cx="504000" cy="487019"/>
            </a:xfrm>
            <a:prstGeom prst="rightArrow">
              <a:avLst>
                <a:gd name="adj1" fmla="val 56741"/>
                <a:gd name="adj2" fmla="val 28815"/>
              </a:avLst>
            </a:prstGeom>
            <a:solidFill>
              <a:schemeClr val="bg1">
                <a:lumMod val="85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ko-KR" altLang="en-US" sz="1300" b="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9" name="오른쪽 화살표 278"/>
            <p:cNvSpPr>
              <a:spLocks noChangeArrowheads="1"/>
            </p:cNvSpPr>
            <p:nvPr/>
          </p:nvSpPr>
          <p:spPr bwMode="auto">
            <a:xfrm>
              <a:off x="6045820" y="5447987"/>
              <a:ext cx="504000" cy="487019"/>
            </a:xfrm>
            <a:prstGeom prst="rightArrow">
              <a:avLst>
                <a:gd name="adj1" fmla="val 56741"/>
                <a:gd name="adj2" fmla="val 28815"/>
              </a:avLst>
            </a:prstGeom>
            <a:solidFill>
              <a:schemeClr val="bg1">
                <a:lumMod val="85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ko-KR" altLang="en-US" sz="1300" b="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0" name="오른쪽 화살표 279"/>
            <p:cNvSpPr>
              <a:spLocks noChangeArrowheads="1"/>
            </p:cNvSpPr>
            <p:nvPr/>
          </p:nvSpPr>
          <p:spPr bwMode="auto">
            <a:xfrm>
              <a:off x="6045820" y="4459505"/>
              <a:ext cx="504000" cy="487019"/>
            </a:xfrm>
            <a:prstGeom prst="rightArrow">
              <a:avLst>
                <a:gd name="adj1" fmla="val 56741"/>
                <a:gd name="adj2" fmla="val 28815"/>
              </a:avLst>
            </a:prstGeom>
            <a:solidFill>
              <a:schemeClr val="bg1">
                <a:lumMod val="85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ko-KR" altLang="en-US" sz="1300" b="0" kern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1" name="TextBox 280"/>
            <p:cNvSpPr txBox="1"/>
            <p:nvPr/>
          </p:nvSpPr>
          <p:spPr bwMode="gray">
            <a:xfrm>
              <a:off x="3266262" y="2289068"/>
              <a:ext cx="2700000" cy="1865590"/>
            </a:xfrm>
            <a:prstGeom prst="roundRect">
              <a:avLst>
                <a:gd name="adj" fmla="val 6770"/>
              </a:avLst>
            </a:prstGeom>
            <a:solidFill>
              <a:srgbClr val="FFFFFF"/>
            </a:solidFill>
            <a:ln w="9525" algn="ctr">
              <a:solidFill>
                <a:srgbClr val="ADABA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algn="ctr" fontAlgn="auto" latinLnBrk="0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포지티브 방식의 해당 사업만 가능</a:t>
              </a:r>
              <a:r>
                <a:rPr lang="en-US" altLang="ko-KR" sz="1200" i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”</a:t>
              </a:r>
            </a:p>
            <a:p>
              <a:pPr marL="90488" indent="-90488" fontAlgn="auto" latinLnBrk="0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ko-KR" altLang="en-US" sz="1200" b="0" u="sng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감독규정에 旣 열거된 제한적 영역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 사업 영위 가능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360363" indent="-171450" fontAlgn="auto" latinLnBrk="0">
                <a:spcBef>
                  <a:spcPts val="300"/>
                </a:spcBef>
                <a:spcAft>
                  <a:spcPts val="0"/>
                </a:spcAft>
                <a:buFont typeface="Arial" panose="020B0604020202020204" pitchFamily="34" charset="0"/>
                <a:buChar char="−"/>
                <a:defRPr/>
              </a:pPr>
              <a:r>
                <a:rPr lang="ko-KR" altLang="en-US" sz="1200" b="0" kern="0" spc="-2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신 판매</a:t>
              </a:r>
              <a:r>
                <a:rPr lang="en-US" altLang="ko-KR" sz="1200" b="0" kern="0" spc="-2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kern="0" spc="-2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여행</a:t>
              </a:r>
              <a:r>
                <a:rPr lang="en-US" altLang="ko-KR" sz="1200" b="0" kern="0" spc="-2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0" kern="0" spc="-2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험대리점 등 </a:t>
              </a:r>
              <a:endParaRPr lang="en-US" altLang="ko-KR" sz="1200" b="0" kern="0" spc="-2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360363" indent="-171450" fontAlgn="auto" latinLnBrk="0">
                <a:spcBef>
                  <a:spcPts val="300"/>
                </a:spcBef>
                <a:spcAft>
                  <a:spcPts val="0"/>
                </a:spcAft>
                <a:buFont typeface="Arial" panose="020B0604020202020204" pitchFamily="34" charset="0"/>
                <a:buChar char="−"/>
                <a:defRPr/>
              </a:pP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수적 신고</a:t>
              </a:r>
              <a:r>
                <a:rPr lang="en-US" altLang="ko-KR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등록 불필요</a:t>
              </a:r>
              <a:endParaRPr lang="en-US" altLang="ko-KR" sz="12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4" name="Line 75"/>
          <p:cNvSpPr>
            <a:spLocks noChangeShapeType="1"/>
          </p:cNvSpPr>
          <p:nvPr/>
        </p:nvSpPr>
        <p:spPr bwMode="auto">
          <a:xfrm>
            <a:off x="453000" y="1742723"/>
            <a:ext cx="9000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5" name="Rectangle 76"/>
          <p:cNvSpPr>
            <a:spLocks noChangeArrowheads="1"/>
          </p:cNvSpPr>
          <p:nvPr/>
        </p:nvSpPr>
        <p:spPr bwMode="auto">
          <a:xfrm>
            <a:off x="2727605" y="1414996"/>
            <a:ext cx="4638055" cy="28814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marL="88900" indent="-88900" algn="ctr" fontAlgn="auto" latinLnBrk="0">
              <a:spcBef>
                <a:spcPct val="5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카드사 부수업무 및 </a:t>
            </a:r>
            <a:r>
              <a:rPr lang="ko-KR" altLang="en-US" sz="14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금융사</a:t>
            </a:r>
            <a:r>
              <a:rPr lang="ko-KR" altLang="en-US" sz="14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4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FinTech</a:t>
            </a:r>
            <a:r>
              <a:rPr lang="ko-KR" altLang="en-US" sz="14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사업 </a:t>
            </a:r>
            <a:r>
              <a:rPr lang="ko-KR" altLang="en-US" sz="14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규제 </a:t>
            </a: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완화 동향</a:t>
            </a:r>
          </a:p>
        </p:txBody>
      </p:sp>
      <p:sp>
        <p:nvSpPr>
          <p:cNvPr id="33" name="직사각형 32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86129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별화 요소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고객 경험 관점에서 현재 업무에 대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Gap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분석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통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고객 경험 관점 개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요인을 도출하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선 포인트를 식별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Rectangle 26"/>
          <p:cNvSpPr>
            <a:spLocks noChangeArrowheads="1"/>
          </p:cNvSpPr>
          <p:nvPr/>
        </p:nvSpPr>
        <p:spPr bwMode="auto">
          <a:xfrm>
            <a:off x="273050" y="1935155"/>
            <a:ext cx="9359899" cy="231708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99"/>
            </a:solidFill>
            <a:miter lim="800000"/>
            <a:headEnd/>
            <a:tailEnd/>
          </a:ln>
          <a:effectLst>
            <a:outerShdw dist="63500" dir="2212194" algn="ctr" rotWithShape="0">
              <a:srgbClr val="808080">
                <a:alpha val="50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AutoShape 32"/>
          <p:cNvSpPr>
            <a:spLocks noChangeArrowheads="1"/>
          </p:cNvSpPr>
          <p:nvPr/>
        </p:nvSpPr>
        <p:spPr bwMode="auto">
          <a:xfrm>
            <a:off x="634170" y="3259795"/>
            <a:ext cx="8758853" cy="749848"/>
          </a:xfrm>
          <a:prstGeom prst="rightArrow">
            <a:avLst>
              <a:gd name="adj1" fmla="val 55907"/>
              <a:gd name="adj2" fmla="val 41767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AutoShape 31"/>
          <p:cNvSpPr>
            <a:spLocks noChangeArrowheads="1"/>
          </p:cNvSpPr>
          <p:nvPr/>
        </p:nvSpPr>
        <p:spPr bwMode="auto">
          <a:xfrm>
            <a:off x="619367" y="2376242"/>
            <a:ext cx="8758853" cy="749848"/>
          </a:xfrm>
          <a:prstGeom prst="rightArrow">
            <a:avLst>
              <a:gd name="adj1" fmla="val 55907"/>
              <a:gd name="adj2" fmla="val 41767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273050" y="1412776"/>
            <a:ext cx="9359900" cy="432048"/>
          </a:xfrm>
          <a:prstGeom prst="rect">
            <a:avLst/>
          </a:prstGeom>
          <a:solidFill>
            <a:srgbClr val="00206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방법론 특징 ② 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0" lang="ko-KR" altLang="en-US" sz="1400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 경험 </a:t>
            </a:r>
            <a:r>
              <a:rPr kumimoji="0" lang="ko-KR" altLang="en-US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반</a:t>
            </a:r>
            <a:r>
              <a:rPr kumimoji="0" lang="en-US" altLang="ko-KR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업무 효율화 관점 모델 </a:t>
            </a:r>
            <a:r>
              <a:rPr kumimoji="0" lang="ko-KR" altLang="en-US" sz="1400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설계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Rectangle 66"/>
          <p:cNvSpPr>
            <a:spLocks noChangeArrowheads="1"/>
          </p:cNvSpPr>
          <p:nvPr/>
        </p:nvSpPr>
        <p:spPr bwMode="auto">
          <a:xfrm>
            <a:off x="2994012" y="1937912"/>
            <a:ext cx="4263244" cy="311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algn="ctr" fontAlgn="auto" latinLnBrk="0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경험 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반</a:t>
            </a:r>
            <a:r>
              <a:rPr lang="en-US" altLang="ko-KR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효율화 관점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혁신</a:t>
            </a: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2399941" y="2395539"/>
            <a:ext cx="965569" cy="1572751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경험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효율화</a:t>
            </a: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Vs. As-Is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Gap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42" name="Rectangle 19"/>
          <p:cNvSpPr>
            <a:spLocks noChangeArrowheads="1"/>
          </p:cNvSpPr>
          <p:nvPr/>
        </p:nvSpPr>
        <p:spPr bwMode="auto">
          <a:xfrm>
            <a:off x="3836876" y="2406426"/>
            <a:ext cx="965569" cy="1542588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 경험 관점 개선요인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</a:p>
        </p:txBody>
      </p:sp>
      <p:sp>
        <p:nvSpPr>
          <p:cNvPr id="43" name="Rectangle 19"/>
          <p:cNvSpPr>
            <a:spLocks noChangeArrowheads="1"/>
          </p:cNvSpPr>
          <p:nvPr/>
        </p:nvSpPr>
        <p:spPr bwMode="auto">
          <a:xfrm>
            <a:off x="5297256" y="2395539"/>
            <a:ext cx="2320040" cy="385389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개선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5297256" y="2892286"/>
            <a:ext cx="2320040" cy="385389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도 및 조직 변화방향 수립</a:t>
            </a:r>
          </a:p>
        </p:txBody>
      </p:sp>
      <p:sp>
        <p:nvSpPr>
          <p:cNvPr id="45" name="Rectangle 19"/>
          <p:cNvSpPr>
            <a:spLocks noChangeArrowheads="1"/>
          </p:cNvSpPr>
          <p:nvPr/>
        </p:nvSpPr>
        <p:spPr bwMode="auto">
          <a:xfrm>
            <a:off x="5297256" y="3582901"/>
            <a:ext cx="2320040" cy="385389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사항 도출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8049344" y="2395539"/>
            <a:ext cx="965569" cy="1572751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행계획 수립</a:t>
            </a:r>
          </a:p>
        </p:txBody>
      </p:sp>
      <p:sp>
        <p:nvSpPr>
          <p:cNvPr id="47" name="Rectangle 40"/>
          <p:cNvSpPr>
            <a:spLocks noChangeArrowheads="1"/>
          </p:cNvSpPr>
          <p:nvPr/>
        </p:nvSpPr>
        <p:spPr bwMode="auto">
          <a:xfrm>
            <a:off x="619367" y="2563704"/>
            <a:ext cx="1261786" cy="374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</a:t>
            </a:r>
          </a:p>
        </p:txBody>
      </p:sp>
      <p:sp>
        <p:nvSpPr>
          <p:cNvPr id="48" name="Rectangle 41"/>
          <p:cNvSpPr>
            <a:spLocks noChangeArrowheads="1"/>
          </p:cNvSpPr>
          <p:nvPr/>
        </p:nvSpPr>
        <p:spPr bwMode="auto">
          <a:xfrm>
            <a:off x="638583" y="3458284"/>
            <a:ext cx="1633284" cy="374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준비</a:t>
            </a:r>
          </a:p>
        </p:txBody>
      </p:sp>
      <p:sp>
        <p:nvSpPr>
          <p:cNvPr id="49" name="AutoShape 52"/>
          <p:cNvSpPr>
            <a:spLocks noChangeArrowheads="1"/>
          </p:cNvSpPr>
          <p:nvPr/>
        </p:nvSpPr>
        <p:spPr bwMode="auto">
          <a:xfrm>
            <a:off x="6350608" y="3284984"/>
            <a:ext cx="222572" cy="250868"/>
          </a:xfrm>
          <a:prstGeom prst="upDownArrow">
            <a:avLst>
              <a:gd name="adj1" fmla="val 50000"/>
              <a:gd name="adj2" fmla="val 26765"/>
            </a:avLst>
          </a:prstGeom>
          <a:solidFill>
            <a:srgbClr val="288FC8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오른쪽 화살표 1689"/>
          <p:cNvSpPr/>
          <p:nvPr/>
        </p:nvSpPr>
        <p:spPr bwMode="auto">
          <a:xfrm>
            <a:off x="3440121" y="2996952"/>
            <a:ext cx="324747" cy="354837"/>
          </a:xfrm>
          <a:prstGeom prst="rightArrow">
            <a:avLst/>
          </a:prstGeom>
          <a:solidFill>
            <a:srgbClr val="BFD9E6">
              <a:lumMod val="25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오른쪽 화살표 1690"/>
          <p:cNvSpPr/>
          <p:nvPr/>
        </p:nvSpPr>
        <p:spPr bwMode="auto">
          <a:xfrm>
            <a:off x="4878647" y="2996952"/>
            <a:ext cx="324747" cy="354837"/>
          </a:xfrm>
          <a:prstGeom prst="rightArrow">
            <a:avLst/>
          </a:prstGeom>
          <a:solidFill>
            <a:srgbClr val="BFD9E6">
              <a:lumMod val="25000"/>
            </a:srgbClr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2" name="꺾인 연결선 1692"/>
          <p:cNvCxnSpPr>
            <a:stCxn id="43" idx="3"/>
            <a:endCxn id="46" idx="1"/>
          </p:cNvCxnSpPr>
          <p:nvPr/>
        </p:nvCxnSpPr>
        <p:spPr bwMode="auto">
          <a:xfrm>
            <a:off x="7617296" y="2588234"/>
            <a:ext cx="432048" cy="593681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3" name="꺾인 연결선 1693"/>
          <p:cNvCxnSpPr>
            <a:stCxn id="44" idx="3"/>
            <a:endCxn id="46" idx="1"/>
          </p:cNvCxnSpPr>
          <p:nvPr/>
        </p:nvCxnSpPr>
        <p:spPr bwMode="auto">
          <a:xfrm>
            <a:off x="7617296" y="3084981"/>
            <a:ext cx="432048" cy="96934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4" name="꺾인 연결선 1696"/>
          <p:cNvCxnSpPr>
            <a:stCxn id="45" idx="3"/>
            <a:endCxn id="46" idx="1"/>
          </p:cNvCxnSpPr>
          <p:nvPr/>
        </p:nvCxnSpPr>
        <p:spPr bwMode="auto">
          <a:xfrm flipV="1">
            <a:off x="7617296" y="3181915"/>
            <a:ext cx="432048" cy="593681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5" name="Rectangle 29"/>
          <p:cNvSpPr>
            <a:spLocks noChangeArrowheads="1"/>
          </p:cNvSpPr>
          <p:nvPr/>
        </p:nvSpPr>
        <p:spPr bwMode="auto">
          <a:xfrm>
            <a:off x="418071" y="4869160"/>
            <a:ext cx="2746143" cy="1332148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주요 고객경험 불만현황 파악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VOC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등에서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수집된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불만 파악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altLang="ko-KR" sz="1200" u="sng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와의 </a:t>
            </a:r>
            <a:r>
              <a:rPr lang="en-US" altLang="ko-KR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Gap </a:t>
            </a: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국내외 우수사례와의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비교를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통한 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Gap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ko-KR" altLang="en-US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Rectangle 42"/>
          <p:cNvSpPr>
            <a:spLocks noChangeArrowheads="1"/>
          </p:cNvSpPr>
          <p:nvPr/>
        </p:nvSpPr>
        <p:spPr bwMode="auto">
          <a:xfrm>
            <a:off x="418071" y="4437676"/>
            <a:ext cx="2746143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고객경험 </a:t>
            </a:r>
            <a:r>
              <a:rPr lang="en-US" altLang="ko-KR" sz="1300" kern="0" dirty="0" smtClean="0">
                <a:latin typeface="맑은 고딕" pitchFamily="50" charset="-127"/>
                <a:ea typeface="맑은 고딕" pitchFamily="50" charset="-127"/>
              </a:rPr>
              <a:t>vs. As-Is </a:t>
            </a:r>
            <a:r>
              <a:rPr lang="en-US" altLang="ko-KR" sz="1300" kern="0" dirty="0">
                <a:latin typeface="맑은 고딕" pitchFamily="50" charset="-127"/>
                <a:ea typeface="맑은 고딕" pitchFamily="50" charset="-127"/>
              </a:rPr>
              <a:t>Gap </a:t>
            </a: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분석</a:t>
            </a:r>
          </a:p>
        </p:txBody>
      </p:sp>
      <p:sp>
        <p:nvSpPr>
          <p:cNvPr id="57" name="Rectangle 62"/>
          <p:cNvSpPr>
            <a:spLocks noChangeArrowheads="1"/>
          </p:cNvSpPr>
          <p:nvPr/>
        </p:nvSpPr>
        <p:spPr bwMode="auto">
          <a:xfrm>
            <a:off x="3543895" y="4869160"/>
            <a:ext cx="2746143" cy="1332148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 경험 개선 영역 도출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입회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발급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연체 등 각 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영역에서의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사항 도출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 영역별 우선순위 화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출된 개선영역별 기대효과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가능성 기반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우선순위화</a:t>
            </a:r>
            <a:endParaRPr lang="ko-KR" altLang="en-US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Rectangle 63"/>
          <p:cNvSpPr>
            <a:spLocks noChangeArrowheads="1"/>
          </p:cNvSpPr>
          <p:nvPr/>
        </p:nvSpPr>
        <p:spPr bwMode="auto">
          <a:xfrm>
            <a:off x="3543895" y="4437676"/>
            <a:ext cx="2746143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300" kern="0" dirty="0" smtClean="0">
                <a:latin typeface="맑은 고딕" pitchFamily="50" charset="-127"/>
                <a:ea typeface="맑은 고딕" pitchFamily="50" charset="-127"/>
              </a:rPr>
              <a:t>고객 경험 관점 개선요인 </a:t>
            </a: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도출</a:t>
            </a:r>
          </a:p>
        </p:txBody>
      </p:sp>
      <p:sp>
        <p:nvSpPr>
          <p:cNvPr id="59" name="Rectangle 64"/>
          <p:cNvSpPr>
            <a:spLocks noChangeArrowheads="1"/>
          </p:cNvSpPr>
          <p:nvPr/>
        </p:nvSpPr>
        <p:spPr bwMode="auto">
          <a:xfrm>
            <a:off x="6658263" y="4869160"/>
            <a:ext cx="2746143" cy="1332148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비즈니스 관점의 개선 모델 </a:t>
            </a:r>
            <a:r>
              <a:rPr lang="ko-KR" altLang="en-US" sz="1200" u="sng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반영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로세스 관점에서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경험 개선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포인트 반영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Rectangle 65"/>
          <p:cNvSpPr>
            <a:spLocks noChangeArrowheads="1"/>
          </p:cNvSpPr>
          <p:nvPr/>
        </p:nvSpPr>
        <p:spPr bwMode="auto">
          <a:xfrm>
            <a:off x="6658263" y="4437676"/>
            <a:ext cx="2746143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고객경험 개선 </a:t>
            </a:r>
            <a:r>
              <a:rPr lang="en-US" altLang="ko-KR" sz="1300" kern="0" dirty="0" smtClean="0"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모델 </a:t>
            </a:r>
            <a:r>
              <a:rPr lang="ko-KR" altLang="en-US" sz="1300" kern="0" dirty="0" smtClean="0">
                <a:latin typeface="맑은 고딕" pitchFamily="50" charset="-127"/>
                <a:ea typeface="맑은 고딕" pitchFamily="50" charset="-127"/>
              </a:rPr>
              <a:t>반영</a:t>
            </a:r>
            <a:endParaRPr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Rectangle 68"/>
          <p:cNvSpPr>
            <a:spLocks noChangeArrowheads="1"/>
          </p:cNvSpPr>
          <p:nvPr/>
        </p:nvSpPr>
        <p:spPr bwMode="auto">
          <a:xfrm>
            <a:off x="402772" y="4437535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62" name="Rectangle 69"/>
          <p:cNvSpPr>
            <a:spLocks noChangeArrowheads="1"/>
          </p:cNvSpPr>
          <p:nvPr/>
        </p:nvSpPr>
        <p:spPr bwMode="auto">
          <a:xfrm>
            <a:off x="3545518" y="4437394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63" name="Rectangle 70"/>
          <p:cNvSpPr>
            <a:spLocks noChangeArrowheads="1"/>
          </p:cNvSpPr>
          <p:nvPr/>
        </p:nvSpPr>
        <p:spPr bwMode="auto">
          <a:xfrm>
            <a:off x="6659440" y="4437112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</a:p>
        </p:txBody>
      </p:sp>
      <p:sp>
        <p:nvSpPr>
          <p:cNvPr id="64" name="Rectangle 68"/>
          <p:cNvSpPr>
            <a:spLocks noChangeArrowheads="1"/>
          </p:cNvSpPr>
          <p:nvPr/>
        </p:nvSpPr>
        <p:spPr bwMode="auto">
          <a:xfrm>
            <a:off x="2399941" y="2408234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65" name="Rectangle 68"/>
          <p:cNvSpPr>
            <a:spLocks noChangeArrowheads="1"/>
          </p:cNvSpPr>
          <p:nvPr/>
        </p:nvSpPr>
        <p:spPr bwMode="auto">
          <a:xfrm>
            <a:off x="3836876" y="2408234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5262804" y="2343150"/>
            <a:ext cx="2422510" cy="1692947"/>
          </a:xfrm>
          <a:prstGeom prst="rect">
            <a:avLst/>
          </a:prstGeom>
          <a:solidFill>
            <a:srgbClr val="FF6600">
              <a:alpha val="30196"/>
            </a:srgbClr>
          </a:solidFill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100" b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Rectangle 68"/>
          <p:cNvSpPr>
            <a:spLocks noChangeArrowheads="1"/>
          </p:cNvSpPr>
          <p:nvPr/>
        </p:nvSpPr>
        <p:spPr bwMode="auto">
          <a:xfrm>
            <a:off x="5258785" y="2342918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</a:p>
        </p:txBody>
      </p:sp>
      <p:sp>
        <p:nvSpPr>
          <p:cNvPr id="6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01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별화 요소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4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I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계에서 수행되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z/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정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 정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는 병행되기 때문에 기존 경험을 토대로 상호 검토를 진행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297750" y="1412776"/>
            <a:ext cx="9316150" cy="432048"/>
          </a:xfrm>
          <a:prstGeom prst="rect">
            <a:avLst/>
          </a:prstGeom>
          <a:solidFill>
            <a:srgbClr val="00206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방법론 특징 </a:t>
            </a:r>
            <a:r>
              <a:rPr lang="ko-KR" altLang="en-US" sz="1400" b="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kumimoji="0" lang="en-US" altLang="ko-KR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/IT </a:t>
            </a:r>
            <a:r>
              <a:rPr kumimoji="0" lang="ko-KR" altLang="en-US" sz="1400" i="0" u="sng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개선 과제와의 유기적 연계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Rectangle 26"/>
          <p:cNvSpPr>
            <a:spLocks noChangeArrowheads="1"/>
          </p:cNvSpPr>
          <p:nvPr/>
        </p:nvSpPr>
        <p:spPr bwMode="auto">
          <a:xfrm>
            <a:off x="273050" y="1935155"/>
            <a:ext cx="9340849" cy="231708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99"/>
            </a:solidFill>
            <a:miter lim="800000"/>
            <a:headEnd/>
            <a:tailEnd/>
          </a:ln>
          <a:effectLst>
            <a:outerShdw dist="63500" dir="2212194" algn="ctr" rotWithShape="0">
              <a:srgbClr val="808080">
                <a:alpha val="50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AutoShape 32"/>
          <p:cNvSpPr>
            <a:spLocks noChangeArrowheads="1"/>
          </p:cNvSpPr>
          <p:nvPr/>
        </p:nvSpPr>
        <p:spPr bwMode="auto">
          <a:xfrm>
            <a:off x="634170" y="3259795"/>
            <a:ext cx="8758853" cy="749848"/>
          </a:xfrm>
          <a:prstGeom prst="rightArrow">
            <a:avLst>
              <a:gd name="adj1" fmla="val 55907"/>
              <a:gd name="adj2" fmla="val 41767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AutoShape 31"/>
          <p:cNvSpPr>
            <a:spLocks noChangeArrowheads="1"/>
          </p:cNvSpPr>
          <p:nvPr/>
        </p:nvSpPr>
        <p:spPr bwMode="auto">
          <a:xfrm>
            <a:off x="619367" y="2376242"/>
            <a:ext cx="8758853" cy="749848"/>
          </a:xfrm>
          <a:prstGeom prst="rightArrow">
            <a:avLst>
              <a:gd name="adj1" fmla="val 55907"/>
              <a:gd name="adj2" fmla="val 41767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19"/>
          <p:cNvSpPr>
            <a:spLocks noChangeArrowheads="1"/>
          </p:cNvSpPr>
          <p:nvPr/>
        </p:nvSpPr>
        <p:spPr bwMode="auto">
          <a:xfrm>
            <a:off x="2399941" y="2395539"/>
            <a:ext cx="965569" cy="1572751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현황분석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</a:p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과제확정</a:t>
            </a:r>
          </a:p>
        </p:txBody>
      </p:sp>
      <p:sp>
        <p:nvSpPr>
          <p:cNvPr id="44" name="Rectangle 20"/>
          <p:cNvSpPr>
            <a:spLocks noChangeArrowheads="1"/>
          </p:cNvSpPr>
          <p:nvPr/>
        </p:nvSpPr>
        <p:spPr bwMode="auto">
          <a:xfrm>
            <a:off x="3737009" y="2395540"/>
            <a:ext cx="963932" cy="668522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과제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Biz)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도출 및 보완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22"/>
          <p:cNvSpPr>
            <a:spLocks noChangeArrowheads="1"/>
          </p:cNvSpPr>
          <p:nvPr/>
        </p:nvSpPr>
        <p:spPr bwMode="auto">
          <a:xfrm>
            <a:off x="3725518" y="3299769"/>
            <a:ext cx="975422" cy="668522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과제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IT)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5072439" y="3299769"/>
            <a:ext cx="3785356" cy="668522"/>
          </a:xfrm>
          <a:prstGeom prst="rect">
            <a:avLst/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아키텍처 설계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29"/>
          <p:cNvSpPr>
            <a:spLocks noChangeArrowheads="1"/>
          </p:cNvSpPr>
          <p:nvPr/>
        </p:nvSpPr>
        <p:spPr bwMode="auto">
          <a:xfrm>
            <a:off x="418070" y="5002089"/>
            <a:ext cx="4320000" cy="941511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현황분석을 통해 구조화 된 과제는 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/IT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과제로 분류</a:t>
            </a:r>
            <a:endParaRPr lang="en-US" altLang="ko-KR" sz="1200" b="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과제를 보완하면서 추가적인 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과제 검토</a:t>
            </a:r>
            <a:endParaRPr lang="ko-KR" altLang="en-US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Rectangle 40"/>
          <p:cNvSpPr>
            <a:spLocks noChangeArrowheads="1"/>
          </p:cNvSpPr>
          <p:nvPr/>
        </p:nvSpPr>
        <p:spPr bwMode="auto">
          <a:xfrm>
            <a:off x="619367" y="2563704"/>
            <a:ext cx="1261786" cy="374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계</a:t>
            </a:r>
          </a:p>
        </p:txBody>
      </p:sp>
      <p:sp>
        <p:nvSpPr>
          <p:cNvPr id="50" name="Rectangle 41"/>
          <p:cNvSpPr>
            <a:spLocks noChangeArrowheads="1"/>
          </p:cNvSpPr>
          <p:nvPr/>
        </p:nvSpPr>
        <p:spPr bwMode="auto">
          <a:xfrm>
            <a:off x="638583" y="3458284"/>
            <a:ext cx="1633284" cy="374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세대 시스템 준비</a:t>
            </a:r>
          </a:p>
        </p:txBody>
      </p:sp>
      <p:sp>
        <p:nvSpPr>
          <p:cNvPr id="51" name="Rectangle 42"/>
          <p:cNvSpPr>
            <a:spLocks noChangeArrowheads="1"/>
          </p:cNvSpPr>
          <p:nvPr/>
        </p:nvSpPr>
        <p:spPr bwMode="auto">
          <a:xfrm>
            <a:off x="418070" y="4512758"/>
            <a:ext cx="4320000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3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정의</a:t>
            </a:r>
            <a:endParaRPr lang="ko-KR" altLang="en-US" sz="13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AutoShape 21"/>
          <p:cNvSpPr>
            <a:spLocks noChangeArrowheads="1"/>
          </p:cNvSpPr>
          <p:nvPr/>
        </p:nvSpPr>
        <p:spPr bwMode="auto">
          <a:xfrm>
            <a:off x="5072439" y="2791139"/>
            <a:ext cx="3785356" cy="250868"/>
          </a:xfrm>
          <a:prstGeom prst="homePlate">
            <a:avLst>
              <a:gd name="adj" fmla="val 44481"/>
            </a:avLst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PI Model Integration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AutoShape 51"/>
          <p:cNvSpPr>
            <a:spLocks noChangeArrowheads="1"/>
          </p:cNvSpPr>
          <p:nvPr/>
        </p:nvSpPr>
        <p:spPr bwMode="auto">
          <a:xfrm>
            <a:off x="4033225" y="3064062"/>
            <a:ext cx="222572" cy="250868"/>
          </a:xfrm>
          <a:prstGeom prst="upDownArrow">
            <a:avLst>
              <a:gd name="adj1" fmla="val 50000"/>
              <a:gd name="adj2" fmla="val 26765"/>
            </a:avLst>
          </a:prstGeom>
          <a:solidFill>
            <a:srgbClr val="288FC8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AutoShape 52"/>
          <p:cNvSpPr>
            <a:spLocks noChangeArrowheads="1"/>
          </p:cNvSpPr>
          <p:nvPr/>
        </p:nvSpPr>
        <p:spPr bwMode="auto">
          <a:xfrm>
            <a:off x="7034684" y="3064062"/>
            <a:ext cx="222572" cy="250868"/>
          </a:xfrm>
          <a:prstGeom prst="upDownArrow">
            <a:avLst>
              <a:gd name="adj1" fmla="val 50000"/>
              <a:gd name="adj2" fmla="val 26765"/>
            </a:avLst>
          </a:prstGeom>
          <a:solidFill>
            <a:srgbClr val="288FC8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6" name="AutoShape 56"/>
          <p:cNvCxnSpPr>
            <a:cxnSpLocks noChangeShapeType="1"/>
            <a:stCxn id="45" idx="3"/>
            <a:endCxn id="46" idx="1"/>
          </p:cNvCxnSpPr>
          <p:nvPr/>
        </p:nvCxnSpPr>
        <p:spPr bwMode="auto">
          <a:xfrm>
            <a:off x="4700940" y="3634030"/>
            <a:ext cx="371499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57" name="Rectangle 62"/>
          <p:cNvSpPr>
            <a:spLocks noChangeArrowheads="1"/>
          </p:cNvSpPr>
          <p:nvPr/>
        </p:nvSpPr>
        <p:spPr bwMode="auto">
          <a:xfrm>
            <a:off x="5283564" y="5002089"/>
            <a:ext cx="4320000" cy="941511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비즈니스 프로세스를 정의하면서 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아키텍처 수립이 진행되므로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와 어플리케이션</a:t>
            </a:r>
            <a:r>
              <a:rPr lang="en-US" altLang="ko-KR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b="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데이터와의 상호 검토 진행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Rectangle 63"/>
          <p:cNvSpPr>
            <a:spLocks noChangeArrowheads="1"/>
          </p:cNvSpPr>
          <p:nvPr/>
        </p:nvSpPr>
        <p:spPr bwMode="auto">
          <a:xfrm>
            <a:off x="5283564" y="4512758"/>
            <a:ext cx="4320000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3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</a:t>
            </a:r>
            <a:r>
              <a:rPr lang="en-US" altLang="ko-KR" sz="13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lang="ko-KR" altLang="en-US" sz="13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설계</a:t>
            </a:r>
            <a:endParaRPr lang="ko-KR" altLang="en-US" sz="13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66"/>
          <p:cNvSpPr>
            <a:spLocks noChangeArrowheads="1"/>
          </p:cNvSpPr>
          <p:nvPr/>
        </p:nvSpPr>
        <p:spPr bwMode="auto">
          <a:xfrm>
            <a:off x="2994012" y="1937912"/>
            <a:ext cx="3934283" cy="311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algn="ctr" fontAlgn="auto" latinLnBrk="0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14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세화 흐름 및 연관도</a:t>
            </a:r>
          </a:p>
        </p:txBody>
      </p:sp>
      <p:sp>
        <p:nvSpPr>
          <p:cNvPr id="63" name="Rectangle 68"/>
          <p:cNvSpPr>
            <a:spLocks noChangeArrowheads="1"/>
          </p:cNvSpPr>
          <p:nvPr/>
        </p:nvSpPr>
        <p:spPr bwMode="auto">
          <a:xfrm>
            <a:off x="402772" y="4512617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64" name="Rectangle 69"/>
          <p:cNvSpPr>
            <a:spLocks noChangeArrowheads="1"/>
          </p:cNvSpPr>
          <p:nvPr/>
        </p:nvSpPr>
        <p:spPr bwMode="auto">
          <a:xfrm>
            <a:off x="5285188" y="4512476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66" name="AutoShape 71"/>
          <p:cNvSpPr>
            <a:spLocks noChangeArrowheads="1"/>
          </p:cNvSpPr>
          <p:nvPr/>
        </p:nvSpPr>
        <p:spPr bwMode="auto">
          <a:xfrm>
            <a:off x="5072439" y="2445162"/>
            <a:ext cx="3785356" cy="250868"/>
          </a:xfrm>
          <a:prstGeom prst="homePlate">
            <a:avLst>
              <a:gd name="adj" fmla="val 44481"/>
            </a:avLst>
          </a:prstGeom>
          <a:solidFill>
            <a:srgbClr val="D6EBF6"/>
          </a:solidFill>
          <a:ln w="9525" algn="ctr">
            <a:solidFill>
              <a:srgbClr val="006699"/>
            </a:solidFill>
            <a:prstDash val="sysDot"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및 기능요건정의</a:t>
            </a:r>
          </a:p>
        </p:txBody>
      </p:sp>
      <p:cxnSp>
        <p:nvCxnSpPr>
          <p:cNvPr id="67" name="AutoShape 72"/>
          <p:cNvCxnSpPr>
            <a:cxnSpLocks noChangeShapeType="1"/>
            <a:stCxn id="44" idx="3"/>
            <a:endCxn id="66" idx="1"/>
          </p:cNvCxnSpPr>
          <p:nvPr/>
        </p:nvCxnSpPr>
        <p:spPr bwMode="auto">
          <a:xfrm flipV="1">
            <a:off x="4700940" y="2570596"/>
            <a:ext cx="371499" cy="159894"/>
          </a:xfrm>
          <a:prstGeom prst="bentConnector3">
            <a:avLst>
              <a:gd name="adj1" fmla="val 49778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</p:spPr>
      </p:cxnSp>
      <p:cxnSp>
        <p:nvCxnSpPr>
          <p:cNvPr id="68" name="AutoShape 73"/>
          <p:cNvCxnSpPr>
            <a:cxnSpLocks noChangeShapeType="1"/>
            <a:stCxn id="44" idx="3"/>
            <a:endCxn id="52" idx="1"/>
          </p:cNvCxnSpPr>
          <p:nvPr/>
        </p:nvCxnSpPr>
        <p:spPr bwMode="auto">
          <a:xfrm>
            <a:off x="4700940" y="2730490"/>
            <a:ext cx="371499" cy="186084"/>
          </a:xfrm>
          <a:prstGeom prst="bentConnector3">
            <a:avLst>
              <a:gd name="adj1" fmla="val 49778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69" name="Rectangle 68"/>
          <p:cNvSpPr>
            <a:spLocks noChangeArrowheads="1"/>
          </p:cNvSpPr>
          <p:nvPr/>
        </p:nvSpPr>
        <p:spPr bwMode="auto">
          <a:xfrm>
            <a:off x="3842339" y="3097997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70" name="Rectangle 68"/>
          <p:cNvSpPr>
            <a:spLocks noChangeArrowheads="1"/>
          </p:cNvSpPr>
          <p:nvPr/>
        </p:nvSpPr>
        <p:spPr bwMode="auto">
          <a:xfrm>
            <a:off x="6854684" y="3097997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cxnSp>
        <p:nvCxnSpPr>
          <p:cNvPr id="72" name="꺾인 연결선 968"/>
          <p:cNvCxnSpPr>
            <a:stCxn id="43" idx="3"/>
            <a:endCxn id="44" idx="1"/>
          </p:cNvCxnSpPr>
          <p:nvPr/>
        </p:nvCxnSpPr>
        <p:spPr bwMode="auto">
          <a:xfrm flipV="1">
            <a:off x="3365510" y="2729801"/>
            <a:ext cx="371499" cy="452114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꺾인 연결선 969"/>
          <p:cNvCxnSpPr>
            <a:stCxn id="43" idx="3"/>
            <a:endCxn id="45" idx="1"/>
          </p:cNvCxnSpPr>
          <p:nvPr/>
        </p:nvCxnSpPr>
        <p:spPr bwMode="auto">
          <a:xfrm>
            <a:off x="3365510" y="3181915"/>
            <a:ext cx="360008" cy="452115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75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[Back-up]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연계성 확보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산출물과 아키텍처 항목간 연관관계를 사전 정의하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IT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계성을 확보함</a:t>
            </a:r>
          </a:p>
        </p:txBody>
      </p:sp>
      <p:cxnSp>
        <p:nvCxnSpPr>
          <p:cNvPr id="4" name="직선 연결선 3"/>
          <p:cNvCxnSpPr/>
          <p:nvPr/>
        </p:nvCxnSpPr>
        <p:spPr bwMode="auto">
          <a:xfrm>
            <a:off x="1499391" y="2894802"/>
            <a:ext cx="78424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hevron 21"/>
          <p:cNvSpPr/>
          <p:nvPr>
            <p:custDataLst>
              <p:tags r:id="rId1"/>
            </p:custDataLst>
          </p:nvPr>
        </p:nvSpPr>
        <p:spPr>
          <a:xfrm>
            <a:off x="1524901" y="1543861"/>
            <a:ext cx="1111813" cy="320907"/>
          </a:xfrm>
          <a:prstGeom prst="homePlate">
            <a:avLst>
              <a:gd name="adj" fmla="val 19911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114711" tIns="66470" rIns="66470" bIns="66470" rtlCol="0" anchor="ctr" anchorCtr="0">
            <a:noAutofit/>
          </a:bodyPr>
          <a:lstStyle/>
          <a:p>
            <a:pPr algn="ctr">
              <a:defRPr/>
            </a:pP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선</a:t>
            </a:r>
            <a:r>
              <a:rPr lang="en-US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방향</a:t>
            </a:r>
            <a:endParaRPr lang="en-US" altLang="en-US" sz="120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" name="위쪽/아래쪽 화살표 50"/>
          <p:cNvSpPr/>
          <p:nvPr/>
        </p:nvSpPr>
        <p:spPr bwMode="auto">
          <a:xfrm>
            <a:off x="8522482" y="2285285"/>
            <a:ext cx="764308" cy="3437043"/>
          </a:xfrm>
          <a:prstGeom prst="upDownArrow">
            <a:avLst>
              <a:gd name="adj1" fmla="val 50000"/>
              <a:gd name="adj2" fmla="val 29166"/>
            </a:avLst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8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" name="위쪽/아래쪽 화살표 51"/>
          <p:cNvSpPr/>
          <p:nvPr/>
        </p:nvSpPr>
        <p:spPr bwMode="auto">
          <a:xfrm>
            <a:off x="7604122" y="3158167"/>
            <a:ext cx="764308" cy="2505416"/>
          </a:xfrm>
          <a:prstGeom prst="upDownArrow">
            <a:avLst>
              <a:gd name="adj1" fmla="val 50000"/>
              <a:gd name="adj2" fmla="val 2291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8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7463941" y="4160381"/>
            <a:ext cx="13054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b="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항목 연계성 확보</a:t>
            </a:r>
            <a:endParaRPr lang="en-US" altLang="ko-KR" sz="1200" b="1" i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Chevron 21"/>
          <p:cNvSpPr/>
          <p:nvPr>
            <p:custDataLst>
              <p:tags r:id="rId2"/>
            </p:custDataLst>
          </p:nvPr>
        </p:nvSpPr>
        <p:spPr>
          <a:xfrm>
            <a:off x="2694038" y="1543861"/>
            <a:ext cx="3626843" cy="320907"/>
          </a:xfrm>
          <a:prstGeom prst="homePlate">
            <a:avLst>
              <a:gd name="adj" fmla="val 19911"/>
            </a:avLst>
          </a:prstGeom>
          <a:solidFill>
            <a:schemeClr val="accent5">
              <a:lumMod val="2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114711" tIns="66470" rIns="66470" bIns="66470" rtlCol="0" anchor="ctr" anchorCtr="0">
            <a:noAutofit/>
          </a:bodyPr>
          <a:lstStyle/>
          <a:p>
            <a:pPr algn="ctr">
              <a:defRPr/>
            </a:pPr>
            <a:r>
              <a:rPr lang="en-US" altLang="en-US" sz="12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o-Be </a:t>
            </a:r>
            <a:r>
              <a:rPr lang="ko-KR" altLang="en-US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설계</a:t>
            </a:r>
            <a:endParaRPr lang="en-US" altLang="en-US" sz="12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8324083" y="3215838"/>
            <a:ext cx="11061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z/ IT</a:t>
            </a:r>
            <a:r>
              <a:rPr lang="ko-KR" altLang="en-US" sz="1200" b="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연계성 확보</a:t>
            </a:r>
            <a:endParaRPr lang="en-US" altLang="ko-KR" sz="1200" b="1" i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Rectangle 1"/>
          <p:cNvSpPr/>
          <p:nvPr/>
        </p:nvSpPr>
        <p:spPr bwMode="gray">
          <a:xfrm>
            <a:off x="643830" y="2101832"/>
            <a:ext cx="797538" cy="5050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277"/>
              </a:spcAft>
            </a:pP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비즈니스</a:t>
            </a:r>
            <a:endParaRPr lang="en-US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Rectangle 5"/>
          <p:cNvSpPr/>
          <p:nvPr/>
        </p:nvSpPr>
        <p:spPr bwMode="gray">
          <a:xfrm>
            <a:off x="632400" y="2981236"/>
            <a:ext cx="797538" cy="25751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277"/>
              </a:spcAft>
            </a:pPr>
            <a:r>
              <a:rPr lang="en-US" sz="12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T</a:t>
            </a:r>
            <a:br>
              <a:rPr lang="en-US" sz="12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아키텍처</a:t>
            </a:r>
            <a:endParaRPr lang="en-US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3" name="Rectangle 47"/>
          <p:cNvSpPr/>
          <p:nvPr/>
        </p:nvSpPr>
        <p:spPr>
          <a:xfrm>
            <a:off x="1661417" y="2126105"/>
            <a:ext cx="838782" cy="398769"/>
          </a:xfrm>
          <a:prstGeom prst="rect">
            <a:avLst/>
          </a:prstGeom>
          <a:solidFill>
            <a:schemeClr val="bg1"/>
          </a:solidFill>
          <a:ln w="12700" cap="rnd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3231" rIns="33231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47"/>
          <p:cNvSpPr/>
          <p:nvPr/>
        </p:nvSpPr>
        <p:spPr>
          <a:xfrm>
            <a:off x="1661417" y="3095292"/>
            <a:ext cx="838782" cy="398769"/>
          </a:xfrm>
          <a:prstGeom prst="rect">
            <a:avLst/>
          </a:prstGeom>
          <a:solidFill>
            <a:schemeClr val="bg1"/>
          </a:solidFill>
          <a:ln w="12700" cap="rnd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33231" rIns="3323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방향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모서리가 둥근 직사각형 59"/>
          <p:cNvSpPr/>
          <p:nvPr/>
        </p:nvSpPr>
        <p:spPr bwMode="auto">
          <a:xfrm>
            <a:off x="3174707" y="2988240"/>
            <a:ext cx="2920847" cy="8055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831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16" name="AutoShape 109"/>
          <p:cNvCxnSpPr>
            <a:cxnSpLocks noChangeShapeType="1"/>
            <a:stCxn id="55" idx="3"/>
            <a:endCxn id="56" idx="1"/>
          </p:cNvCxnSpPr>
          <p:nvPr/>
        </p:nvCxnSpPr>
        <p:spPr bwMode="auto">
          <a:xfrm>
            <a:off x="4674697" y="3426780"/>
            <a:ext cx="278748" cy="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모서리가 둥근 직사각형 61"/>
          <p:cNvSpPr/>
          <p:nvPr/>
        </p:nvSpPr>
        <p:spPr bwMode="auto">
          <a:xfrm>
            <a:off x="3198739" y="3863058"/>
            <a:ext cx="2896816" cy="8055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831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18" name="AutoShape 109"/>
          <p:cNvCxnSpPr>
            <a:cxnSpLocks noChangeShapeType="1"/>
            <a:stCxn id="57" idx="3"/>
            <a:endCxn id="58" idx="1"/>
          </p:cNvCxnSpPr>
          <p:nvPr/>
        </p:nvCxnSpPr>
        <p:spPr bwMode="auto">
          <a:xfrm>
            <a:off x="4674697" y="4230243"/>
            <a:ext cx="278748" cy="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모서리가 둥근 직사각형 63"/>
          <p:cNvSpPr/>
          <p:nvPr/>
        </p:nvSpPr>
        <p:spPr bwMode="auto">
          <a:xfrm>
            <a:off x="3202821" y="4750916"/>
            <a:ext cx="2892733" cy="8055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831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20" name="AutoShape 109"/>
          <p:cNvCxnSpPr>
            <a:cxnSpLocks noChangeShapeType="1"/>
            <a:stCxn id="60" idx="3"/>
            <a:endCxn id="59" idx="1"/>
          </p:cNvCxnSpPr>
          <p:nvPr/>
        </p:nvCxnSpPr>
        <p:spPr bwMode="auto">
          <a:xfrm>
            <a:off x="4674697" y="5133729"/>
            <a:ext cx="278748" cy="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3074737" y="2981236"/>
            <a:ext cx="709206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8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A</a:t>
            </a:r>
            <a:endParaRPr lang="ko-KR" altLang="en-US" sz="1108" b="1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74737" y="3858990"/>
            <a:ext cx="709206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8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DA</a:t>
            </a:r>
            <a:endParaRPr lang="ko-KR" altLang="en-US" sz="1108" b="1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074737" y="4754939"/>
            <a:ext cx="709206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8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A</a:t>
            </a:r>
            <a:endParaRPr lang="ko-KR" altLang="en-US" sz="1108" b="1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" name="Rectangle 87"/>
          <p:cNvSpPr>
            <a:spLocks noChangeArrowheads="1"/>
          </p:cNvSpPr>
          <p:nvPr/>
        </p:nvSpPr>
        <p:spPr bwMode="auto">
          <a:xfrm>
            <a:off x="3109222" y="2123603"/>
            <a:ext cx="889949" cy="39876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</a:t>
            </a:r>
            <a:r>
              <a:rPr lang="ko-KR" altLang="en-US" sz="10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완 및 확정</a:t>
            </a:r>
            <a:endParaRPr lang="en-US" altLang="ko-KR" sz="10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Rectangle 102"/>
          <p:cNvSpPr>
            <a:spLocks noChangeArrowheads="1"/>
          </p:cNvSpPr>
          <p:nvPr/>
        </p:nvSpPr>
        <p:spPr bwMode="auto">
          <a:xfrm>
            <a:off x="4321036" y="2126105"/>
            <a:ext cx="1499818" cy="39876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수립</a:t>
            </a:r>
            <a:endParaRPr lang="ko-KR" altLang="en-US" sz="10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" name="AutoShape 109"/>
          <p:cNvCxnSpPr>
            <a:cxnSpLocks noChangeShapeType="1"/>
            <a:stCxn id="24" idx="3"/>
            <a:endCxn id="25" idx="1"/>
          </p:cNvCxnSpPr>
          <p:nvPr/>
        </p:nvCxnSpPr>
        <p:spPr bwMode="auto">
          <a:xfrm>
            <a:off x="3999171" y="2322988"/>
            <a:ext cx="321865" cy="2502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Rectangle 72"/>
          <p:cNvSpPr>
            <a:spLocks noChangeArrowheads="1"/>
          </p:cNvSpPr>
          <p:nvPr/>
        </p:nvSpPr>
        <p:spPr bwMode="auto">
          <a:xfrm>
            <a:off x="6427153" y="2126105"/>
            <a:ext cx="1036498" cy="39876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z/IT</a:t>
            </a:r>
            <a:r>
              <a:rPr lang="ko-KR" altLang="en-US" sz="10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성 검토</a:t>
            </a:r>
          </a:p>
        </p:txBody>
      </p:sp>
      <p:cxnSp>
        <p:nvCxnSpPr>
          <p:cNvPr id="28" name="AutoShape 109"/>
          <p:cNvCxnSpPr>
            <a:cxnSpLocks noChangeShapeType="1"/>
            <a:stCxn id="25" idx="3"/>
            <a:endCxn id="27" idx="1"/>
          </p:cNvCxnSpPr>
          <p:nvPr/>
        </p:nvCxnSpPr>
        <p:spPr bwMode="auto">
          <a:xfrm>
            <a:off x="5820854" y="2325490"/>
            <a:ext cx="606299" cy="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" name="Rectangle 72"/>
          <p:cNvSpPr>
            <a:spLocks noChangeArrowheads="1"/>
          </p:cNvSpPr>
          <p:nvPr/>
        </p:nvSpPr>
        <p:spPr bwMode="auto">
          <a:xfrm>
            <a:off x="6427153" y="2664557"/>
            <a:ext cx="1036498" cy="2521761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1"/>
            <a:r>
              <a:rPr lang="ko-KR" altLang="en-US" sz="10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계획 수립</a:t>
            </a:r>
            <a:endParaRPr lang="ko-KR" altLang="en-US" sz="10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" name="AutoShape 109"/>
          <p:cNvCxnSpPr>
            <a:cxnSpLocks noChangeShapeType="1"/>
            <a:stCxn id="27" idx="2"/>
            <a:endCxn id="29" idx="0"/>
          </p:cNvCxnSpPr>
          <p:nvPr/>
        </p:nvCxnSpPr>
        <p:spPr bwMode="auto">
          <a:xfrm>
            <a:off x="6945402" y="2524874"/>
            <a:ext cx="0" cy="139683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triangl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AutoShape 109"/>
          <p:cNvCxnSpPr>
            <a:cxnSpLocks noChangeShapeType="1"/>
          </p:cNvCxnSpPr>
          <p:nvPr/>
        </p:nvCxnSpPr>
        <p:spPr bwMode="auto">
          <a:xfrm>
            <a:off x="4257348" y="1985734"/>
            <a:ext cx="232615" cy="69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직사각형 31"/>
          <p:cNvSpPr/>
          <p:nvPr/>
        </p:nvSpPr>
        <p:spPr>
          <a:xfrm>
            <a:off x="4453821" y="1889328"/>
            <a:ext cx="1218603" cy="22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3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접적 </a:t>
            </a:r>
            <a:r>
              <a:rPr lang="en-US" altLang="ko-KR" sz="83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put/Output</a:t>
            </a:r>
            <a:endParaRPr lang="en-US" sz="831" b="1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3" name="AutoShape 109"/>
          <p:cNvCxnSpPr>
            <a:cxnSpLocks noChangeShapeType="1"/>
          </p:cNvCxnSpPr>
          <p:nvPr/>
        </p:nvCxnSpPr>
        <p:spPr bwMode="auto">
          <a:xfrm>
            <a:off x="5764600" y="1985734"/>
            <a:ext cx="232615" cy="690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" name="직사각형 33"/>
          <p:cNvSpPr/>
          <p:nvPr/>
        </p:nvSpPr>
        <p:spPr>
          <a:xfrm>
            <a:off x="5961074" y="1889327"/>
            <a:ext cx="1141659" cy="22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31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성 반영 및 참조</a:t>
            </a:r>
            <a:endParaRPr lang="en-US" sz="831" b="1" i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72"/>
          <p:cNvSpPr>
            <a:spLocks noChangeArrowheads="1"/>
          </p:cNvSpPr>
          <p:nvPr/>
        </p:nvSpPr>
        <p:spPr bwMode="auto">
          <a:xfrm>
            <a:off x="1611797" y="5642995"/>
            <a:ext cx="5639244" cy="631385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32923" tIns="33231" rIns="132923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u="sng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항목간 연관관계 사전 정의</a:t>
            </a:r>
            <a:endParaRPr lang="en-US" altLang="ko-KR" sz="1200" b="1" u="sng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58265" indent="-15826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put, Out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계 명확화</a:t>
            </a:r>
            <a:endParaRPr lang="en-US" altLang="ko-KR" sz="12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58265" indent="-15826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항목별 연계 정의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별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z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 </a:t>
            </a:r>
            <a:r>
              <a:rPr lang="ko-KR" altLang="en-US" sz="1200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핑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36" name="AutoShape 109"/>
          <p:cNvCxnSpPr>
            <a:cxnSpLocks noChangeShapeType="1"/>
            <a:stCxn id="13" idx="3"/>
            <a:endCxn id="24" idx="1"/>
          </p:cNvCxnSpPr>
          <p:nvPr/>
        </p:nvCxnSpPr>
        <p:spPr bwMode="auto">
          <a:xfrm flipV="1">
            <a:off x="2500199" y="2322988"/>
            <a:ext cx="609023" cy="2502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AutoShape 109"/>
          <p:cNvCxnSpPr>
            <a:cxnSpLocks noChangeShapeType="1"/>
            <a:stCxn id="14" idx="3"/>
            <a:endCxn id="15" idx="1"/>
          </p:cNvCxnSpPr>
          <p:nvPr/>
        </p:nvCxnSpPr>
        <p:spPr bwMode="auto">
          <a:xfrm>
            <a:off x="2500199" y="3294677"/>
            <a:ext cx="674508" cy="96317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" name="AutoShape 109"/>
          <p:cNvCxnSpPr>
            <a:cxnSpLocks noChangeShapeType="1"/>
            <a:stCxn id="14" idx="3"/>
            <a:endCxn id="17" idx="1"/>
          </p:cNvCxnSpPr>
          <p:nvPr/>
        </p:nvCxnSpPr>
        <p:spPr bwMode="auto">
          <a:xfrm>
            <a:off x="2500199" y="3294677"/>
            <a:ext cx="698540" cy="971135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" name="AutoShape 109"/>
          <p:cNvCxnSpPr>
            <a:cxnSpLocks noChangeShapeType="1"/>
            <a:stCxn id="14" idx="3"/>
            <a:endCxn id="19" idx="1"/>
          </p:cNvCxnSpPr>
          <p:nvPr/>
        </p:nvCxnSpPr>
        <p:spPr bwMode="auto">
          <a:xfrm>
            <a:off x="2500198" y="3294677"/>
            <a:ext cx="702622" cy="1858993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" name="AutoShape 109"/>
          <p:cNvCxnSpPr>
            <a:cxnSpLocks noChangeShapeType="1"/>
            <a:stCxn id="25" idx="2"/>
            <a:endCxn id="56" idx="0"/>
          </p:cNvCxnSpPr>
          <p:nvPr/>
        </p:nvCxnSpPr>
        <p:spPr bwMode="auto">
          <a:xfrm>
            <a:off x="5070945" y="2524874"/>
            <a:ext cx="364645" cy="753764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" name="AutoShape 109"/>
          <p:cNvCxnSpPr>
            <a:cxnSpLocks noChangeShapeType="1"/>
            <a:stCxn id="13" idx="2"/>
            <a:endCxn id="55" idx="1"/>
          </p:cNvCxnSpPr>
          <p:nvPr/>
        </p:nvCxnSpPr>
        <p:spPr bwMode="auto">
          <a:xfrm>
            <a:off x="2080808" y="2524874"/>
            <a:ext cx="1629595" cy="901906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2" name="AutoShape 109"/>
          <p:cNvCxnSpPr>
            <a:cxnSpLocks noChangeShapeType="1"/>
            <a:stCxn id="13" idx="2"/>
            <a:endCxn id="57" idx="1"/>
          </p:cNvCxnSpPr>
          <p:nvPr/>
        </p:nvCxnSpPr>
        <p:spPr bwMode="auto">
          <a:xfrm>
            <a:off x="2080808" y="2524874"/>
            <a:ext cx="1629595" cy="1705368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" name="AutoShape 109"/>
          <p:cNvCxnSpPr>
            <a:cxnSpLocks noChangeShapeType="1"/>
            <a:stCxn id="13" idx="2"/>
            <a:endCxn id="60" idx="1"/>
          </p:cNvCxnSpPr>
          <p:nvPr/>
        </p:nvCxnSpPr>
        <p:spPr bwMode="auto">
          <a:xfrm>
            <a:off x="2080808" y="2524874"/>
            <a:ext cx="1629595" cy="2608855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직사각형 43"/>
          <p:cNvSpPr/>
          <p:nvPr/>
        </p:nvSpPr>
        <p:spPr>
          <a:xfrm>
            <a:off x="3368780" y="3592696"/>
            <a:ext cx="15263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업무 분류체계 반영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4933963" y="3581389"/>
            <a:ext cx="138691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별</a:t>
            </a: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과제 </a:t>
            </a:r>
            <a:r>
              <a:rPr lang="ko-KR" altLang="en-US" sz="800" i="1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핑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AutoShape 109"/>
          <p:cNvCxnSpPr>
            <a:cxnSpLocks noChangeShapeType="1"/>
            <a:stCxn id="25" idx="2"/>
            <a:endCxn id="58" idx="0"/>
          </p:cNvCxnSpPr>
          <p:nvPr/>
        </p:nvCxnSpPr>
        <p:spPr bwMode="auto">
          <a:xfrm>
            <a:off x="5070945" y="2524874"/>
            <a:ext cx="364645" cy="1557226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" name="직사각형 46"/>
          <p:cNvSpPr/>
          <p:nvPr/>
        </p:nvSpPr>
        <p:spPr>
          <a:xfrm>
            <a:off x="4895955" y="4369124"/>
            <a:ext cx="148951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 관련개선과제 반영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368780" y="4377640"/>
            <a:ext cx="15263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업무 분류체계 반영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3512800" y="5271944"/>
            <a:ext cx="12843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관련요건 검토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0" name="AutoShape 109"/>
          <p:cNvCxnSpPr>
            <a:cxnSpLocks noChangeShapeType="1"/>
            <a:stCxn id="15" idx="3"/>
            <a:endCxn id="29" idx="1"/>
          </p:cNvCxnSpPr>
          <p:nvPr/>
        </p:nvCxnSpPr>
        <p:spPr bwMode="auto">
          <a:xfrm>
            <a:off x="6095554" y="3390994"/>
            <a:ext cx="331599" cy="534444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1" name="AutoShape 109"/>
          <p:cNvCxnSpPr>
            <a:cxnSpLocks noChangeShapeType="1"/>
            <a:stCxn id="17" idx="3"/>
            <a:endCxn id="29" idx="1"/>
          </p:cNvCxnSpPr>
          <p:nvPr/>
        </p:nvCxnSpPr>
        <p:spPr bwMode="auto">
          <a:xfrm flipV="1">
            <a:off x="6095555" y="3925438"/>
            <a:ext cx="331598" cy="340374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2" name="AutoShape 109"/>
          <p:cNvCxnSpPr>
            <a:cxnSpLocks noChangeShapeType="1"/>
            <a:stCxn id="19" idx="3"/>
            <a:endCxn id="29" idx="1"/>
          </p:cNvCxnSpPr>
          <p:nvPr/>
        </p:nvCxnSpPr>
        <p:spPr bwMode="auto">
          <a:xfrm flipV="1">
            <a:off x="6095554" y="3925438"/>
            <a:ext cx="331599" cy="1228232"/>
          </a:xfrm>
          <a:prstGeom prst="straightConnector1">
            <a:avLst/>
          </a:prstGeom>
          <a:noFill/>
          <a:ln w="6350" cap="rnd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3" name="AutoShape 109"/>
          <p:cNvCxnSpPr>
            <a:cxnSpLocks noChangeShapeType="1"/>
            <a:stCxn id="56" idx="2"/>
            <a:endCxn id="59" idx="0"/>
          </p:cNvCxnSpPr>
          <p:nvPr/>
        </p:nvCxnSpPr>
        <p:spPr bwMode="auto">
          <a:xfrm>
            <a:off x="5435590" y="3574922"/>
            <a:ext cx="0" cy="1410666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" name="AutoShape 109"/>
          <p:cNvCxnSpPr>
            <a:cxnSpLocks noChangeShapeType="1"/>
            <a:stCxn id="55" idx="2"/>
          </p:cNvCxnSpPr>
          <p:nvPr/>
        </p:nvCxnSpPr>
        <p:spPr bwMode="auto">
          <a:xfrm>
            <a:off x="4192549" y="3574922"/>
            <a:ext cx="1302816" cy="1441471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Rectangle 68"/>
          <p:cNvSpPr>
            <a:spLocks noChangeArrowheads="1"/>
          </p:cNvSpPr>
          <p:nvPr/>
        </p:nvSpPr>
        <p:spPr bwMode="auto">
          <a:xfrm>
            <a:off x="3710403" y="3278638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</a:t>
            </a:r>
            <a:r>
              <a:rPr lang="ko-KR" altLang="en-US" sz="800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맵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계도 </a:t>
            </a:r>
          </a:p>
        </p:txBody>
      </p:sp>
      <p:sp>
        <p:nvSpPr>
          <p:cNvPr id="56" name="Rectangle 72"/>
          <p:cNvSpPr>
            <a:spLocks noChangeArrowheads="1"/>
          </p:cNvSpPr>
          <p:nvPr/>
        </p:nvSpPr>
        <p:spPr bwMode="auto">
          <a:xfrm>
            <a:off x="4953444" y="3278638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1">
              <a:defRPr/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정의</a:t>
            </a:r>
          </a:p>
        </p:txBody>
      </p:sp>
      <p:sp>
        <p:nvSpPr>
          <p:cNvPr id="57" name="Rectangle 74"/>
          <p:cNvSpPr>
            <a:spLocks noChangeArrowheads="1"/>
          </p:cNvSpPr>
          <p:nvPr/>
        </p:nvSpPr>
        <p:spPr bwMode="auto">
          <a:xfrm>
            <a:off x="3710403" y="4082100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1">
              <a:defRPr/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념모델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</p:txBody>
      </p:sp>
      <p:sp>
        <p:nvSpPr>
          <p:cNvPr id="58" name="Rectangle 90"/>
          <p:cNvSpPr>
            <a:spLocks noChangeArrowheads="1"/>
          </p:cNvSpPr>
          <p:nvPr/>
        </p:nvSpPr>
        <p:spPr bwMode="auto">
          <a:xfrm>
            <a:off x="4953444" y="4082100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1" hangingPunct="0">
              <a:lnSpc>
                <a:spcPct val="90000"/>
              </a:lnSpc>
              <a:defRPr/>
            </a:pPr>
            <a:r>
              <a:rPr lang="ko-KR" altLang="en-US" sz="8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기준정보 </a:t>
            </a:r>
            <a:r>
              <a:rPr lang="ko-KR" altLang="en-US" sz="8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의</a:t>
            </a:r>
          </a:p>
        </p:txBody>
      </p:sp>
      <p:sp>
        <p:nvSpPr>
          <p:cNvPr id="59" name="Rectangle 91"/>
          <p:cNvSpPr>
            <a:spLocks noChangeArrowheads="1"/>
          </p:cNvSpPr>
          <p:nvPr/>
        </p:nvSpPr>
        <p:spPr bwMode="auto">
          <a:xfrm>
            <a:off x="4953444" y="4985587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0" rIns="3323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1">
              <a:defRPr/>
            </a:pP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 아키텍처 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</a:p>
        </p:txBody>
      </p:sp>
      <p:sp>
        <p:nvSpPr>
          <p:cNvPr id="60" name="Rectangle 76"/>
          <p:cNvSpPr>
            <a:spLocks noChangeArrowheads="1"/>
          </p:cNvSpPr>
          <p:nvPr/>
        </p:nvSpPr>
        <p:spPr bwMode="auto">
          <a:xfrm>
            <a:off x="3710403" y="4985587"/>
            <a:ext cx="964292" cy="29628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1">
              <a:defRPr/>
            </a:pPr>
            <a: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RM/SP </a:t>
            </a:r>
            <a:br>
              <a:rPr lang="en-US" altLang="ko-KR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요소 검토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4849815" y="5271935"/>
            <a:ext cx="118173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800" i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맵 연계</a:t>
            </a:r>
            <a:endParaRPr lang="en-US" sz="8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2" name="AutoShape 109"/>
          <p:cNvCxnSpPr>
            <a:cxnSpLocks noChangeShapeType="1"/>
            <a:stCxn id="60" idx="0"/>
            <a:endCxn id="56" idx="1"/>
          </p:cNvCxnSpPr>
          <p:nvPr/>
        </p:nvCxnSpPr>
        <p:spPr bwMode="auto">
          <a:xfrm flipV="1">
            <a:off x="4192550" y="3426780"/>
            <a:ext cx="760895" cy="1558807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AutoShape 109"/>
          <p:cNvCxnSpPr>
            <a:cxnSpLocks noChangeShapeType="1"/>
            <a:stCxn id="24" idx="2"/>
          </p:cNvCxnSpPr>
          <p:nvPr/>
        </p:nvCxnSpPr>
        <p:spPr bwMode="auto">
          <a:xfrm>
            <a:off x="3554197" y="2522372"/>
            <a:ext cx="102623" cy="868622"/>
          </a:xfrm>
          <a:prstGeom prst="straightConnector1">
            <a:avLst/>
          </a:prstGeom>
          <a:noFill/>
          <a:ln w="6350" cap="rnd">
            <a:solidFill>
              <a:schemeClr val="tx1">
                <a:lumMod val="65000"/>
                <a:lumOff val="35000"/>
              </a:schemeClr>
            </a:solidFill>
            <a:prstDash val="dash"/>
            <a:round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" name="Chevron 21"/>
          <p:cNvSpPr/>
          <p:nvPr>
            <p:custDataLst>
              <p:tags r:id="rId3"/>
            </p:custDataLst>
          </p:nvPr>
        </p:nvSpPr>
        <p:spPr>
          <a:xfrm>
            <a:off x="6421854" y="1543861"/>
            <a:ext cx="1111813" cy="320907"/>
          </a:xfrm>
          <a:prstGeom prst="homePlate">
            <a:avLst>
              <a:gd name="adj" fmla="val 19911"/>
            </a:avLst>
          </a:prstGeom>
          <a:solidFill>
            <a:schemeClr val="accent5">
              <a:lumMod val="2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wrap="none" lIns="114711" tIns="66470" rIns="66470" bIns="66470" rtlCol="0" anchor="ctr" anchorCtr="0">
            <a:noAutofit/>
          </a:bodyPr>
          <a:lstStyle/>
          <a:p>
            <a:pPr algn="ctr">
              <a:defRPr/>
            </a:pPr>
            <a:r>
              <a:rPr lang="en-US" altLang="en-US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lanning</a:t>
            </a:r>
          </a:p>
        </p:txBody>
      </p:sp>
      <p:sp>
        <p:nvSpPr>
          <p:cNvPr id="68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grpSp>
        <p:nvGrpSpPr>
          <p:cNvPr id="69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70" name="TextBox 69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1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05858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26"/>
          <p:cNvSpPr>
            <a:spLocks noChangeArrowheads="1"/>
          </p:cNvSpPr>
          <p:nvPr/>
        </p:nvSpPr>
        <p:spPr bwMode="auto">
          <a:xfrm>
            <a:off x="297750" y="1861366"/>
            <a:ext cx="9316150" cy="275510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6699"/>
            </a:solidFill>
            <a:miter lim="800000"/>
            <a:headEnd/>
            <a:tailEnd/>
          </a:ln>
          <a:effectLst>
            <a:outerShdw dist="63500" dir="2212194" algn="ctr" rotWithShape="0">
              <a:srgbClr val="808080">
                <a:alpha val="50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b="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별화 요소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/4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설계된 프로세스와 아키텍처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반으로 시스템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연계 검토를 통해 신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변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유지 대상을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구분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개발범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및 일정을 수립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SI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사업자 선정을 위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FP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작성을 지원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97749" y="1367340"/>
            <a:ext cx="9316151" cy="432048"/>
          </a:xfrm>
          <a:prstGeom prst="rect">
            <a:avLst/>
          </a:prstGeom>
          <a:solidFill>
            <a:srgbClr val="002060"/>
          </a:solidFill>
          <a:ln w="9525">
            <a:solidFill>
              <a:srgbClr val="DCE9F0">
                <a:lumMod val="25000"/>
              </a:srgbClr>
            </a:solidFill>
            <a:miter lim="800000"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eaLnBrk="0" fontAlgn="auto" latinLnBrk="0" hangingPunct="0">
              <a:spcBef>
                <a:spcPts val="0"/>
              </a:spcBef>
              <a:spcAft>
                <a:spcPts val="600"/>
              </a:spcAft>
              <a:buSzPct val="100000"/>
            </a:pPr>
            <a:r>
              <a:rPr lang="ko-KR" altLang="en-US" sz="1400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법론 특징 ④ </a:t>
            </a:r>
            <a:r>
              <a:rPr lang="en-US" altLang="ko-KR" sz="1400" b="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40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의 프로젝트 실행력 확보</a:t>
            </a:r>
            <a:endParaRPr lang="en-US" sz="1400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1. </a:t>
            </a:r>
            <a:r>
              <a:rPr lang="ko-KR" altLang="en-US" sz="1400" kern="0" dirty="0">
                <a:solidFill>
                  <a:srgbClr val="FFFFFF"/>
                </a:solidFill>
              </a:rPr>
              <a:t>수행 방법론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56" name="이등변 삼각형 55"/>
          <p:cNvSpPr/>
          <p:nvPr/>
        </p:nvSpPr>
        <p:spPr bwMode="auto">
          <a:xfrm rot="5400000">
            <a:off x="5515515" y="3097668"/>
            <a:ext cx="2232248" cy="28080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671518" y="2121948"/>
            <a:ext cx="3633410" cy="2027842"/>
            <a:chOff x="472962" y="2121948"/>
            <a:chExt cx="2801519" cy="2027842"/>
          </a:xfrm>
        </p:grpSpPr>
        <p:sp>
          <p:nvSpPr>
            <p:cNvPr id="4" name="직사각형 3"/>
            <p:cNvSpPr/>
            <p:nvPr/>
          </p:nvSpPr>
          <p:spPr bwMode="auto">
            <a:xfrm>
              <a:off x="472962" y="2121948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iz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</a:p>
          </p:txBody>
        </p:sp>
        <p:sp>
          <p:nvSpPr>
            <p:cNvPr id="8" name="직사각형 7"/>
            <p:cNvSpPr/>
            <p:nvPr/>
          </p:nvSpPr>
          <p:spPr bwMode="auto">
            <a:xfrm>
              <a:off x="1421396" y="2121948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스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" name="직사각형 8"/>
            <p:cNvSpPr/>
            <p:nvPr/>
          </p:nvSpPr>
          <p:spPr bwMode="auto">
            <a:xfrm>
              <a:off x="2388879" y="2121948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능요건</a:t>
              </a:r>
            </a:p>
          </p:txBody>
        </p:sp>
        <p:sp>
          <p:nvSpPr>
            <p:cNvPr id="15" name="직사각형 14"/>
            <p:cNvSpPr/>
            <p:nvPr/>
          </p:nvSpPr>
          <p:spPr bwMode="auto">
            <a:xfrm>
              <a:off x="472963" y="3357702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IT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과제</a:t>
              </a:r>
            </a:p>
          </p:txBody>
        </p:sp>
        <p:sp>
          <p:nvSpPr>
            <p:cNvPr id="16" name="직사각형 15"/>
            <p:cNvSpPr/>
            <p:nvPr/>
          </p:nvSpPr>
          <p:spPr bwMode="auto">
            <a:xfrm>
              <a:off x="1421397" y="3357702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아키텍처</a:t>
              </a: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2388880" y="3357702"/>
              <a:ext cx="720000" cy="7920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술요소</a:t>
              </a:r>
            </a:p>
          </p:txBody>
        </p:sp>
        <p:sp>
          <p:nvSpPr>
            <p:cNvPr id="66" name="이등변 삼각형 65"/>
            <p:cNvSpPr/>
            <p:nvPr/>
          </p:nvSpPr>
          <p:spPr bwMode="auto">
            <a:xfrm rot="5400000">
              <a:off x="1006859" y="2452990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이등변 삼각형 66"/>
            <p:cNvSpPr/>
            <p:nvPr/>
          </p:nvSpPr>
          <p:spPr bwMode="auto">
            <a:xfrm rot="5400000">
              <a:off x="1967785" y="2452990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8" name="이등변 삼각형 67"/>
            <p:cNvSpPr/>
            <p:nvPr/>
          </p:nvSpPr>
          <p:spPr bwMode="auto">
            <a:xfrm rot="5400000">
              <a:off x="1006859" y="3690428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이등변 삼각형 68"/>
            <p:cNvSpPr/>
            <p:nvPr/>
          </p:nvSpPr>
          <p:spPr bwMode="auto">
            <a:xfrm rot="5400000">
              <a:off x="1967785" y="3690428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이등변 삼각형 69"/>
            <p:cNvSpPr/>
            <p:nvPr/>
          </p:nvSpPr>
          <p:spPr bwMode="auto">
            <a:xfrm rot="5400000">
              <a:off x="2914481" y="2468726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이등변 삼각형 70"/>
            <p:cNvSpPr/>
            <p:nvPr/>
          </p:nvSpPr>
          <p:spPr bwMode="auto">
            <a:xfrm rot="5400000">
              <a:off x="2914481" y="3706164"/>
              <a:ext cx="612000" cy="108000"/>
            </a:xfrm>
            <a:prstGeom prst="triangle">
              <a:avLst/>
            </a:prstGeom>
            <a:solidFill>
              <a:schemeClr val="accent4">
                <a:lumMod val="50000"/>
                <a:lumOff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4" name="직사각형 63"/>
          <p:cNvSpPr/>
          <p:nvPr/>
        </p:nvSpPr>
        <p:spPr bwMode="auto">
          <a:xfrm>
            <a:off x="4467734" y="1932628"/>
            <a:ext cx="1853418" cy="2535995"/>
          </a:xfrm>
          <a:prstGeom prst="rect">
            <a:avLst/>
          </a:prstGeom>
          <a:solidFill>
            <a:srgbClr val="FFFF00">
              <a:alpha val="21000"/>
            </a:srgbClr>
          </a:solidFill>
          <a:ln w="12700" algn="ctr">
            <a:solidFill>
              <a:srgbClr val="002060"/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6940450" y="1932628"/>
            <a:ext cx="2189014" cy="2535995"/>
          </a:xfrm>
          <a:prstGeom prst="rect">
            <a:avLst/>
          </a:prstGeom>
          <a:solidFill>
            <a:srgbClr val="FFFF00">
              <a:alpha val="21000"/>
            </a:srgbClr>
          </a:solidFill>
          <a:ln w="12700" algn="ctr">
            <a:solidFill>
              <a:srgbClr val="002060"/>
            </a:solidFill>
            <a:prstDash val="sysDash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68"/>
          <p:cNvSpPr>
            <a:spLocks noChangeArrowheads="1"/>
          </p:cNvSpPr>
          <p:nvPr/>
        </p:nvSpPr>
        <p:spPr bwMode="auto">
          <a:xfrm>
            <a:off x="4462891" y="1928255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grpSp>
        <p:nvGrpSpPr>
          <p:cNvPr id="7" name="그룹 6"/>
          <p:cNvGrpSpPr/>
          <p:nvPr/>
        </p:nvGrpSpPr>
        <p:grpSpPr>
          <a:xfrm>
            <a:off x="5510596" y="2085944"/>
            <a:ext cx="756000" cy="864096"/>
            <a:chOff x="6105128" y="2276872"/>
            <a:chExt cx="1512168" cy="1296144"/>
          </a:xfrm>
          <a:pattFill prst="ltUpDiag">
            <a:fgClr>
              <a:schemeClr val="accent1"/>
            </a:fgClr>
            <a:bgClr>
              <a:schemeClr val="bg1"/>
            </a:bgClr>
          </a:pattFill>
        </p:grpSpPr>
        <p:sp>
          <p:nvSpPr>
            <p:cNvPr id="6" name="직사각형 5"/>
            <p:cNvSpPr/>
            <p:nvPr/>
          </p:nvSpPr>
          <p:spPr bwMode="auto">
            <a:xfrm>
              <a:off x="6105128" y="2276872"/>
              <a:ext cx="1512168" cy="360040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</a:p>
          </p:txBody>
        </p:sp>
        <p:sp>
          <p:nvSpPr>
            <p:cNvPr id="12" name="직사각형 11"/>
            <p:cNvSpPr/>
            <p:nvPr/>
          </p:nvSpPr>
          <p:spPr bwMode="auto">
            <a:xfrm>
              <a:off x="6105128" y="2744924"/>
              <a:ext cx="1512168" cy="360040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변경</a:t>
              </a:r>
            </a:p>
          </p:txBody>
        </p:sp>
        <p:sp>
          <p:nvSpPr>
            <p:cNvPr id="13" name="직사각형 12"/>
            <p:cNvSpPr/>
            <p:nvPr/>
          </p:nvSpPr>
          <p:spPr bwMode="auto">
            <a:xfrm>
              <a:off x="6105128" y="3212976"/>
              <a:ext cx="1512168" cy="360040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지</a:t>
              </a:r>
            </a:p>
          </p:txBody>
        </p:sp>
      </p:grpSp>
      <p:grpSp>
        <p:nvGrpSpPr>
          <p:cNvPr id="53" name="그룹 52"/>
          <p:cNvGrpSpPr/>
          <p:nvPr/>
        </p:nvGrpSpPr>
        <p:grpSpPr>
          <a:xfrm>
            <a:off x="5510596" y="3202068"/>
            <a:ext cx="756000" cy="1178581"/>
            <a:chOff x="4665120" y="3429000"/>
            <a:chExt cx="1368000" cy="1178581"/>
          </a:xfrm>
          <a:pattFill prst="ltUpDiag">
            <a:fgClr>
              <a:srgbClr val="FFC000"/>
            </a:fgClr>
            <a:bgClr>
              <a:schemeClr val="bg1"/>
            </a:bgClr>
          </a:pattFill>
        </p:grpSpPr>
        <p:sp>
          <p:nvSpPr>
            <p:cNvPr id="20" name="직사각형 19"/>
            <p:cNvSpPr/>
            <p:nvPr/>
          </p:nvSpPr>
          <p:spPr bwMode="auto">
            <a:xfrm>
              <a:off x="4665120" y="3429000"/>
              <a:ext cx="1368000" cy="240027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규</a:t>
              </a: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4665120" y="3741851"/>
              <a:ext cx="1368000" cy="240027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재구축</a:t>
              </a: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4665120" y="4054702"/>
              <a:ext cx="1368000" cy="240027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부분개선</a:t>
              </a:r>
            </a:p>
          </p:txBody>
        </p:sp>
        <p:sp>
          <p:nvSpPr>
            <p:cNvPr id="23" name="직사각형 22"/>
            <p:cNvSpPr/>
            <p:nvPr/>
          </p:nvSpPr>
          <p:spPr bwMode="auto">
            <a:xfrm>
              <a:off x="4665120" y="4367554"/>
              <a:ext cx="1368000" cy="240027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지</a:t>
              </a:r>
            </a:p>
          </p:txBody>
        </p:sp>
      </p:grpSp>
      <p:sp>
        <p:nvSpPr>
          <p:cNvPr id="10" name="타원 9"/>
          <p:cNvSpPr/>
          <p:nvPr/>
        </p:nvSpPr>
        <p:spPr bwMode="auto">
          <a:xfrm>
            <a:off x="4502332" y="2189563"/>
            <a:ext cx="720080" cy="696077"/>
          </a:xfrm>
          <a:prstGeom prst="ellipse">
            <a:avLst/>
          </a:prstGeom>
          <a:solidFill>
            <a:schemeClr val="accent4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>
                <a:latin typeface="맑은 고딕" pitchFamily="50" charset="-127"/>
                <a:ea typeface="맑은 고딕" pitchFamily="50" charset="-127"/>
              </a:rPr>
              <a:t>기능</a:t>
            </a:r>
            <a:endParaRPr kumimoji="1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타원 24"/>
          <p:cNvSpPr/>
          <p:nvPr/>
        </p:nvSpPr>
        <p:spPr bwMode="auto">
          <a:xfrm>
            <a:off x="4504818" y="3374410"/>
            <a:ext cx="720080" cy="696077"/>
          </a:xfrm>
          <a:prstGeom prst="ellipse">
            <a:avLst/>
          </a:prstGeom>
          <a:solidFill>
            <a:schemeClr val="accent4">
              <a:lumMod val="50000"/>
              <a:lumOff val="50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0" tIns="36000" rIns="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cxnSp>
        <p:nvCxnSpPr>
          <p:cNvPr id="24" name="직선 화살표 연결선 23"/>
          <p:cNvCxnSpPr>
            <a:stCxn id="10" idx="6"/>
            <a:endCxn id="6" idx="1"/>
          </p:cNvCxnSpPr>
          <p:nvPr/>
        </p:nvCxnSpPr>
        <p:spPr bwMode="auto">
          <a:xfrm flipV="1">
            <a:off x="5222412" y="2205958"/>
            <a:ext cx="288184" cy="33164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37" name="직선 화살표 연결선 36"/>
          <p:cNvCxnSpPr>
            <a:stCxn id="10" idx="6"/>
            <a:endCxn id="12" idx="1"/>
          </p:cNvCxnSpPr>
          <p:nvPr/>
        </p:nvCxnSpPr>
        <p:spPr bwMode="auto">
          <a:xfrm flipV="1">
            <a:off x="5222412" y="2517993"/>
            <a:ext cx="288184" cy="196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0" name="직선 화살표 연결선 39"/>
          <p:cNvCxnSpPr>
            <a:stCxn id="10" idx="6"/>
            <a:endCxn id="13" idx="1"/>
          </p:cNvCxnSpPr>
          <p:nvPr/>
        </p:nvCxnSpPr>
        <p:spPr bwMode="auto">
          <a:xfrm>
            <a:off x="5222412" y="2537602"/>
            <a:ext cx="288184" cy="2924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3" name="직선 화살표 연결선 42"/>
          <p:cNvCxnSpPr>
            <a:stCxn id="25" idx="6"/>
            <a:endCxn id="20" idx="1"/>
          </p:cNvCxnSpPr>
          <p:nvPr/>
        </p:nvCxnSpPr>
        <p:spPr bwMode="auto">
          <a:xfrm flipV="1">
            <a:off x="5224898" y="3322082"/>
            <a:ext cx="285698" cy="40036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6" name="직선 화살표 연결선 45"/>
          <p:cNvCxnSpPr>
            <a:stCxn id="25" idx="6"/>
            <a:endCxn id="21" idx="1"/>
          </p:cNvCxnSpPr>
          <p:nvPr/>
        </p:nvCxnSpPr>
        <p:spPr bwMode="auto">
          <a:xfrm flipV="1">
            <a:off x="5224898" y="3634933"/>
            <a:ext cx="285698" cy="8751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49" name="직선 화살표 연결선 48"/>
          <p:cNvCxnSpPr>
            <a:stCxn id="25" idx="6"/>
            <a:endCxn id="22" idx="1"/>
          </p:cNvCxnSpPr>
          <p:nvPr/>
        </p:nvCxnSpPr>
        <p:spPr bwMode="auto">
          <a:xfrm>
            <a:off x="5224898" y="3722449"/>
            <a:ext cx="285698" cy="22533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2" name="직선 화살표 연결선 51"/>
          <p:cNvCxnSpPr>
            <a:stCxn id="25" idx="6"/>
            <a:endCxn id="23" idx="1"/>
          </p:cNvCxnSpPr>
          <p:nvPr/>
        </p:nvCxnSpPr>
        <p:spPr bwMode="auto">
          <a:xfrm>
            <a:off x="5224898" y="3722449"/>
            <a:ext cx="285698" cy="5381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3" name="직선 화살표 연결선 62"/>
          <p:cNvCxnSpPr>
            <a:stCxn id="10" idx="4"/>
            <a:endCxn id="25" idx="0"/>
          </p:cNvCxnSpPr>
          <p:nvPr/>
        </p:nvCxnSpPr>
        <p:spPr bwMode="auto">
          <a:xfrm>
            <a:off x="4862372" y="2885640"/>
            <a:ext cx="2486" cy="48877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triangle" w="med" len="med"/>
            <a:tailEnd type="triangle"/>
          </a:ln>
          <a:effectLst/>
        </p:spPr>
      </p:cxnSp>
      <p:sp>
        <p:nvSpPr>
          <p:cNvPr id="32" name="직사각형 31"/>
          <p:cNvSpPr/>
          <p:nvPr/>
        </p:nvSpPr>
        <p:spPr bwMode="auto">
          <a:xfrm>
            <a:off x="8053127" y="2517990"/>
            <a:ext cx="1008000" cy="138665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I </a:t>
            </a: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FP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6996890" y="2069550"/>
            <a:ext cx="756000" cy="2311099"/>
            <a:chOff x="6291604" y="2296482"/>
            <a:chExt cx="893644" cy="2911616"/>
          </a:xfrm>
          <a:solidFill>
            <a:srgbClr val="D6EBF6"/>
          </a:solidFill>
        </p:grpSpPr>
        <p:sp>
          <p:nvSpPr>
            <p:cNvPr id="26" name="직사각형 25"/>
            <p:cNvSpPr/>
            <p:nvPr/>
          </p:nvSpPr>
          <p:spPr bwMode="auto">
            <a:xfrm>
              <a:off x="6291604" y="2296482"/>
              <a:ext cx="893644" cy="512876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범위</a:t>
              </a:r>
            </a:p>
          </p:txBody>
        </p:sp>
        <p:sp>
          <p:nvSpPr>
            <p:cNvPr id="28" name="직사각형 27"/>
            <p:cNvSpPr/>
            <p:nvPr/>
          </p:nvSpPr>
          <p:spPr bwMode="auto">
            <a:xfrm>
              <a:off x="6291604" y="2896167"/>
              <a:ext cx="893644" cy="512876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일정</a:t>
              </a:r>
            </a:p>
          </p:txBody>
        </p:sp>
        <p:sp>
          <p:nvSpPr>
            <p:cNvPr id="29" name="직사각형 28"/>
            <p:cNvSpPr/>
            <p:nvPr/>
          </p:nvSpPr>
          <p:spPr bwMode="auto">
            <a:xfrm>
              <a:off x="6291604" y="3495852"/>
              <a:ext cx="893644" cy="512876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공수</a:t>
              </a:r>
              <a:endPara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" name="직사각형 29"/>
            <p:cNvSpPr/>
            <p:nvPr/>
          </p:nvSpPr>
          <p:spPr bwMode="auto">
            <a:xfrm>
              <a:off x="6291604" y="4095537"/>
              <a:ext cx="893644" cy="512876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방식</a:t>
              </a:r>
            </a:p>
          </p:txBody>
        </p:sp>
        <p:sp>
          <p:nvSpPr>
            <p:cNvPr id="57" name="직사각형 56"/>
            <p:cNvSpPr/>
            <p:nvPr/>
          </p:nvSpPr>
          <p:spPr bwMode="auto">
            <a:xfrm>
              <a:off x="6291604" y="4695222"/>
              <a:ext cx="893644" cy="512876"/>
            </a:xfrm>
            <a:prstGeom prst="rect">
              <a:avLst/>
            </a:prstGeom>
            <a:grpFill/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발예산</a:t>
              </a:r>
            </a:p>
          </p:txBody>
        </p:sp>
      </p:grpSp>
      <p:sp>
        <p:nvSpPr>
          <p:cNvPr id="60" name="이등변 삼각형 59"/>
          <p:cNvSpPr/>
          <p:nvPr/>
        </p:nvSpPr>
        <p:spPr bwMode="auto">
          <a:xfrm rot="5400000">
            <a:off x="6788753" y="3166064"/>
            <a:ext cx="2232248" cy="144016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Rectangle 29"/>
          <p:cNvSpPr>
            <a:spLocks noChangeArrowheads="1"/>
          </p:cNvSpPr>
          <p:nvPr/>
        </p:nvSpPr>
        <p:spPr bwMode="auto">
          <a:xfrm>
            <a:off x="552914" y="5155096"/>
            <a:ext cx="4205328" cy="1116124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로세스와 기능 매핑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Activity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와 기능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화면을 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매핑하고 신규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유지 구분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무 기능과 시스템 매핑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능을 탑재하는 시스템을 매핑</a:t>
            </a:r>
          </a:p>
        </p:txBody>
      </p:sp>
      <p:sp>
        <p:nvSpPr>
          <p:cNvPr id="80" name="Rectangle 42"/>
          <p:cNvSpPr>
            <a:spLocks noChangeArrowheads="1"/>
          </p:cNvSpPr>
          <p:nvPr/>
        </p:nvSpPr>
        <p:spPr bwMode="auto">
          <a:xfrm>
            <a:off x="552914" y="4723612"/>
            <a:ext cx="4205328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300" kern="0" dirty="0" smtClean="0">
                <a:latin typeface="맑은 고딕" pitchFamily="50" charset="-127"/>
                <a:ea typeface="맑은 고딕" pitchFamily="50" charset="-127"/>
              </a:rPr>
              <a:t>개발 대상 정의</a:t>
            </a:r>
            <a:endParaRPr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Rectangle 68"/>
          <p:cNvSpPr>
            <a:spLocks noChangeArrowheads="1"/>
          </p:cNvSpPr>
          <p:nvPr/>
        </p:nvSpPr>
        <p:spPr bwMode="auto">
          <a:xfrm>
            <a:off x="548934" y="4723471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89" name="Rectangle 29"/>
          <p:cNvSpPr>
            <a:spLocks noChangeArrowheads="1"/>
          </p:cNvSpPr>
          <p:nvPr/>
        </p:nvSpPr>
        <p:spPr bwMode="auto">
          <a:xfrm>
            <a:off x="5173004" y="5156769"/>
            <a:ext cx="4205328" cy="1116124"/>
          </a:xfrm>
          <a:prstGeom prst="rect">
            <a:avLst/>
          </a:prstGeom>
          <a:noFill/>
          <a:ln w="9525" algn="ctr">
            <a:solidFill>
              <a:srgbClr val="006699"/>
            </a:solidFill>
            <a:prstDash val="dash"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발</a:t>
            </a:r>
            <a:r>
              <a:rPr lang="en-US" altLang="ko-KR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인프라 구축 범위 확정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RFP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작성을 위한 업무기능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b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스템 도입 단위 정의</a:t>
            </a:r>
            <a:endParaRPr lang="en-US" altLang="ko-KR" sz="1200" b="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발주 단위 개발</a:t>
            </a:r>
            <a:r>
              <a:rPr lang="en-US" altLang="ko-KR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도입 예산 상세화</a:t>
            </a:r>
            <a:endParaRPr lang="en-US" altLang="ko-KR" sz="12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177800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	-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정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공수</a:t>
            </a:r>
            <a:r>
              <a:rPr lang="en-US" altLang="ko-KR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인프라 용량 확정</a:t>
            </a:r>
          </a:p>
        </p:txBody>
      </p:sp>
      <p:sp>
        <p:nvSpPr>
          <p:cNvPr id="90" name="Rectangle 42"/>
          <p:cNvSpPr>
            <a:spLocks noChangeArrowheads="1"/>
          </p:cNvSpPr>
          <p:nvPr/>
        </p:nvSpPr>
        <p:spPr bwMode="auto">
          <a:xfrm>
            <a:off x="5173004" y="4725285"/>
            <a:ext cx="4205328" cy="374924"/>
          </a:xfrm>
          <a:prstGeom prst="rect">
            <a:avLst/>
          </a:prstGeom>
          <a:solidFill>
            <a:srgbClr val="2045A0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300" kern="0" dirty="0"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300" kern="0" dirty="0" smtClean="0">
                <a:latin typeface="맑은 고딕" pitchFamily="50" charset="-127"/>
                <a:ea typeface="맑은 고딕" pitchFamily="50" charset="-127"/>
              </a:rPr>
              <a:t>개발계획 수립</a:t>
            </a:r>
            <a:endParaRPr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Rectangle 68"/>
          <p:cNvSpPr>
            <a:spLocks noChangeArrowheads="1"/>
          </p:cNvSpPr>
          <p:nvPr/>
        </p:nvSpPr>
        <p:spPr bwMode="auto">
          <a:xfrm>
            <a:off x="5179657" y="4725144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87" name="Rectangle 68"/>
          <p:cNvSpPr>
            <a:spLocks noChangeArrowheads="1"/>
          </p:cNvSpPr>
          <p:nvPr/>
        </p:nvSpPr>
        <p:spPr bwMode="auto">
          <a:xfrm>
            <a:off x="6935658" y="1925534"/>
            <a:ext cx="180000" cy="180000"/>
          </a:xfrm>
          <a:prstGeom prst="rect">
            <a:avLst/>
          </a:prstGeom>
          <a:solidFill>
            <a:srgbClr val="333333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4871435" y="2942200"/>
            <a:ext cx="1210672" cy="257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Mapping</a:t>
            </a:r>
            <a:endParaRPr lang="ko-KR" altLang="en-US" sz="1200" b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95646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 bwMode="auto">
          <a:xfrm>
            <a:off x="5211405" y="3142324"/>
            <a:ext cx="4421547" cy="468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/>
          <a:lstStyle/>
          <a:p>
            <a:pPr algn="ctr" eaLnBrk="0" latinLnBrk="0">
              <a:spcBef>
                <a:spcPct val="20000"/>
              </a:spcBef>
              <a:buClr>
                <a:srgbClr val="1D1F6F"/>
              </a:buClr>
              <a:buFont typeface="Wingdings" pitchFamily="2" charset="2"/>
              <a:buNone/>
              <a:defRPr/>
            </a:pPr>
            <a:endParaRPr lang="ko-KR" altLang="en-US" sz="140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gray">
          <a:xfrm>
            <a:off x="5569423" y="2631494"/>
            <a:ext cx="406352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수행 방법론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과제 및 설계 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457181" indent="-457181">
              <a:lnSpc>
                <a:spcPct val="150000"/>
              </a:lnSpc>
              <a:buFontTx/>
              <a:buAutoNum type="arabicPeriod"/>
            </a:pPr>
            <a:r>
              <a:rPr lang="ko-KR" altLang="en-US" sz="20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예상 리스크 및 대응방안</a:t>
            </a:r>
            <a:endParaRPr lang="en-US" altLang="ko-KR" sz="20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gray">
          <a:xfrm>
            <a:off x="5304797" y="2008753"/>
            <a:ext cx="3896795" cy="534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III. </a:t>
            </a:r>
            <a:r>
              <a:rPr lang="ko-KR" altLang="en-US" sz="2200" dirty="0">
                <a:solidFill>
                  <a:srgbClr val="0C2D83"/>
                </a:solidFill>
                <a:latin typeface="맑은 고딕" pitchFamily="50" charset="-127"/>
                <a:ea typeface="맑은 고딕" pitchFamily="50" charset="-127"/>
              </a:rPr>
              <a:t>프로젝트 수행 방법론</a:t>
            </a:r>
            <a:endParaRPr lang="en-US" altLang="ko-KR" sz="2200" dirty="0">
              <a:solidFill>
                <a:srgbClr val="0C2D83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466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차세대 개선과제 개요</a:t>
            </a:r>
          </a:p>
        </p:txBody>
      </p:sp>
      <p:sp>
        <p:nvSpPr>
          <p:cNvPr id="121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NH</a:t>
            </a:r>
            <a:r>
              <a:rPr lang="ko-KR" altLang="en-US" dirty="0"/>
              <a:t>농협카드의 </a:t>
            </a:r>
            <a:r>
              <a:rPr lang="en-US" altLang="ko-KR" dirty="0"/>
              <a:t>8</a:t>
            </a:r>
            <a:r>
              <a:rPr lang="ko-KR" altLang="en-US" dirty="0"/>
              <a:t>개의 주요</a:t>
            </a:r>
            <a:r>
              <a:rPr lang="en-US" altLang="ko-KR" dirty="0"/>
              <a:t> </a:t>
            </a:r>
            <a:r>
              <a:rPr lang="ko-KR" altLang="en-US" dirty="0"/>
              <a:t>업무 </a:t>
            </a:r>
            <a:r>
              <a:rPr lang="en-US" altLang="ko-KR" dirty="0"/>
              <a:t>Value Chain,</a:t>
            </a:r>
            <a:r>
              <a:rPr lang="ko-KR" altLang="en-US" dirty="0"/>
              <a:t> </a:t>
            </a:r>
            <a:r>
              <a:rPr lang="ko-KR" altLang="en-US" dirty="0" err="1"/>
              <a:t>정보계</a:t>
            </a:r>
            <a:r>
              <a:rPr lang="en-US" altLang="ko-KR" dirty="0"/>
              <a:t>, IT </a:t>
            </a:r>
            <a:r>
              <a:rPr lang="ko-KR" altLang="en-US" dirty="0"/>
              <a:t>아키텍처 영역에서 다음과 같은 예상 과제를 도출함</a:t>
            </a:r>
          </a:p>
        </p:txBody>
      </p:sp>
      <p:sp>
        <p:nvSpPr>
          <p:cNvPr id="6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II. </a:t>
            </a:r>
            <a:r>
              <a:rPr lang="ko-KR" altLang="en-US" sz="14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2. </a:t>
            </a:r>
            <a:r>
              <a:rPr lang="ko-KR" altLang="en-US" sz="14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44" name="직사각형 6"/>
          <p:cNvSpPr/>
          <p:nvPr/>
        </p:nvSpPr>
        <p:spPr bwMode="auto">
          <a:xfrm>
            <a:off x="287916" y="2771944"/>
            <a:ext cx="1110948" cy="887953"/>
          </a:xfrm>
          <a:prstGeom prst="homePlate">
            <a:avLst>
              <a:gd name="adj" fmla="val 1753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</a:p>
        </p:txBody>
      </p:sp>
      <p:sp>
        <p:nvSpPr>
          <p:cNvPr id="45" name="직사각형 7"/>
          <p:cNvSpPr/>
          <p:nvPr/>
        </p:nvSpPr>
        <p:spPr bwMode="auto">
          <a:xfrm>
            <a:off x="1464214" y="2771944"/>
            <a:ext cx="1110948" cy="887953"/>
          </a:xfrm>
          <a:prstGeom prst="homePlate">
            <a:avLst>
              <a:gd name="adj" fmla="val 1200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</a:p>
        </p:txBody>
      </p:sp>
      <p:sp>
        <p:nvSpPr>
          <p:cNvPr id="47" name="직사각형 8"/>
          <p:cNvSpPr/>
          <p:nvPr/>
        </p:nvSpPr>
        <p:spPr bwMode="auto">
          <a:xfrm>
            <a:off x="2640512" y="2771944"/>
            <a:ext cx="1110948" cy="887953"/>
          </a:xfrm>
          <a:prstGeom prst="homePlate">
            <a:avLst>
              <a:gd name="adj" fmla="val 12699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</a:t>
            </a:r>
          </a:p>
        </p:txBody>
      </p:sp>
      <p:sp>
        <p:nvSpPr>
          <p:cNvPr id="48" name="직사각형 9"/>
          <p:cNvSpPr/>
          <p:nvPr/>
        </p:nvSpPr>
        <p:spPr bwMode="auto">
          <a:xfrm>
            <a:off x="3816809" y="2771944"/>
            <a:ext cx="1110948" cy="887953"/>
          </a:xfrm>
          <a:prstGeom prst="homePlate">
            <a:avLst>
              <a:gd name="adj" fmla="val 14772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싱</a:t>
            </a:r>
          </a:p>
        </p:txBody>
      </p:sp>
      <p:sp>
        <p:nvSpPr>
          <p:cNvPr id="50" name="직사각형 10"/>
          <p:cNvSpPr/>
          <p:nvPr/>
        </p:nvSpPr>
        <p:spPr bwMode="auto">
          <a:xfrm>
            <a:off x="4993107" y="2771944"/>
            <a:ext cx="1110948" cy="887953"/>
          </a:xfrm>
          <a:prstGeom prst="homePlate">
            <a:avLst>
              <a:gd name="adj" fmla="val 14772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관리</a:t>
            </a:r>
          </a:p>
        </p:txBody>
      </p:sp>
      <p:sp>
        <p:nvSpPr>
          <p:cNvPr id="51" name="직사각형 11"/>
          <p:cNvSpPr/>
          <p:nvPr/>
        </p:nvSpPr>
        <p:spPr bwMode="auto">
          <a:xfrm>
            <a:off x="6169405" y="2771944"/>
            <a:ext cx="1110948" cy="887953"/>
          </a:xfrm>
          <a:prstGeom prst="homePlate">
            <a:avLst>
              <a:gd name="adj" fmla="val 1546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권관리</a:t>
            </a:r>
          </a:p>
        </p:txBody>
      </p:sp>
      <p:sp>
        <p:nvSpPr>
          <p:cNvPr id="53" name="직사각형 12"/>
          <p:cNvSpPr/>
          <p:nvPr/>
        </p:nvSpPr>
        <p:spPr bwMode="auto">
          <a:xfrm>
            <a:off x="7345703" y="2771944"/>
            <a:ext cx="1110948" cy="887953"/>
          </a:xfrm>
          <a:prstGeom prst="homePlate">
            <a:avLst>
              <a:gd name="adj" fmla="val 17535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서비스 관리</a:t>
            </a:r>
            <a:endParaRPr kumimoji="1"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13"/>
          <p:cNvSpPr/>
          <p:nvPr/>
        </p:nvSpPr>
        <p:spPr bwMode="auto">
          <a:xfrm>
            <a:off x="8522001" y="2771944"/>
            <a:ext cx="1110948" cy="887953"/>
          </a:xfrm>
          <a:prstGeom prst="homePlate">
            <a:avLst>
              <a:gd name="adj" fmla="val 20988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경영관리</a:t>
            </a:r>
          </a:p>
        </p:txBody>
      </p:sp>
      <p:grpSp>
        <p:nvGrpSpPr>
          <p:cNvPr id="56" name="그룹 55"/>
          <p:cNvGrpSpPr/>
          <p:nvPr/>
        </p:nvGrpSpPr>
        <p:grpSpPr>
          <a:xfrm>
            <a:off x="269688" y="1381396"/>
            <a:ext cx="9363261" cy="1111500"/>
            <a:chOff x="269688" y="908720"/>
            <a:chExt cx="9363261" cy="136470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7" name="직사각형 56"/>
            <p:cNvSpPr/>
            <p:nvPr/>
          </p:nvSpPr>
          <p:spPr bwMode="auto">
            <a:xfrm>
              <a:off x="269688" y="908720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반 상품 서비스 플랫폼 고도화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개발 운영 관리 고도화</a:t>
              </a: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2619686" y="908720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eal-Time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 체계 구축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 성과분석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및 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CMS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별 혜택 </a:t>
              </a:r>
              <a:r>
                <a:rPr kumimoji="1" lang="ko-KR" altLang="en-US" sz="11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오퍼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제공 체계 도입</a:t>
              </a: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4969684" y="908720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한도관리 프로세스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재정립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심사 및 신용정보 활용 자동화</a:t>
              </a: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고조사 프로세스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endPara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7319681" y="908720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전사 고객정보 통합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 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Profile Value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설계</a:t>
              </a:r>
            </a:p>
          </p:txBody>
        </p:sp>
      </p:grpSp>
      <p:grpSp>
        <p:nvGrpSpPr>
          <p:cNvPr id="62" name="그룹 61"/>
          <p:cNvGrpSpPr/>
          <p:nvPr/>
        </p:nvGrpSpPr>
        <p:grpSpPr>
          <a:xfrm>
            <a:off x="296456" y="3959769"/>
            <a:ext cx="9363261" cy="1163340"/>
            <a:chOff x="296456" y="3783896"/>
            <a:chExt cx="9363261" cy="136470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3" name="직사각형 62"/>
            <p:cNvSpPr/>
            <p:nvPr/>
          </p:nvSpPr>
          <p:spPr bwMode="auto">
            <a:xfrm>
              <a:off x="296456" y="3783896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지원 인프라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실적 관리체계 개선</a:t>
              </a: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endPara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2646454" y="3783896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간 서비스 강화 </a:t>
              </a:r>
              <a:endPara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실시간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기반 미수원장 구축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입금 체계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포인트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적립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사용 고객 편의성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고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업무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표준화 및 자동화</a:t>
              </a: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4996452" y="3783896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채권 회수지원 기능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강화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수실적 분석 및 모니터링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강화</a:t>
              </a:r>
              <a:endPara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7346449" y="3783896"/>
              <a:ext cx="2313268" cy="13647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b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계 정합성 제고를 위한 영업회계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도입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분사 독립 회계체계 수립</a:t>
              </a: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손익분석체계 고도화</a:t>
              </a: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계획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성과관리 체계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구현</a:t>
              </a:r>
              <a:endParaRPr kumimoji="1"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78" name="연결선: 꺾임 24"/>
          <p:cNvCxnSpPr>
            <a:stCxn id="44" idx="0"/>
            <a:endCxn id="57" idx="2"/>
          </p:cNvCxnSpPr>
          <p:nvPr/>
        </p:nvCxnSpPr>
        <p:spPr bwMode="auto">
          <a:xfrm rot="5400000" flipH="1" flipV="1">
            <a:off x="956406" y="2302029"/>
            <a:ext cx="279048" cy="66078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79" name="연결선: 꺾임 25"/>
          <p:cNvCxnSpPr>
            <a:stCxn id="63" idx="0"/>
            <a:endCxn id="45" idx="2"/>
          </p:cNvCxnSpPr>
          <p:nvPr/>
        </p:nvCxnSpPr>
        <p:spPr bwMode="auto">
          <a:xfrm rot="5400000" flipH="1" flipV="1">
            <a:off x="1559794" y="3553193"/>
            <a:ext cx="299872" cy="5132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0" name="연결선: 꺾임 26"/>
          <p:cNvCxnSpPr>
            <a:stCxn id="47" idx="0"/>
            <a:endCxn id="59" idx="2"/>
          </p:cNvCxnSpPr>
          <p:nvPr/>
        </p:nvCxnSpPr>
        <p:spPr bwMode="auto">
          <a:xfrm rot="5400000" flipH="1" flipV="1">
            <a:off x="3318438" y="2314063"/>
            <a:ext cx="279048" cy="63671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1" name="연결선: 꺾임 27"/>
          <p:cNvCxnSpPr>
            <a:stCxn id="65" idx="0"/>
            <a:endCxn id="48" idx="2"/>
          </p:cNvCxnSpPr>
          <p:nvPr/>
        </p:nvCxnSpPr>
        <p:spPr bwMode="auto">
          <a:xfrm rot="5400000" flipH="1" flipV="1">
            <a:off x="3904957" y="3558028"/>
            <a:ext cx="299872" cy="50361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2" name="연결선: 꺾임 28"/>
          <p:cNvCxnSpPr>
            <a:stCxn id="50" idx="0"/>
            <a:endCxn id="60" idx="2"/>
          </p:cNvCxnSpPr>
          <p:nvPr/>
        </p:nvCxnSpPr>
        <p:spPr bwMode="auto">
          <a:xfrm rot="5400000" flipH="1" flipV="1">
            <a:off x="5665133" y="2310760"/>
            <a:ext cx="279048" cy="64332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3" name="연결선: 꺾임 29"/>
          <p:cNvCxnSpPr>
            <a:stCxn id="76" idx="0"/>
            <a:endCxn id="51" idx="2"/>
          </p:cNvCxnSpPr>
          <p:nvPr/>
        </p:nvCxnSpPr>
        <p:spPr bwMode="auto">
          <a:xfrm rot="5400000" flipH="1" flipV="1">
            <a:off x="6254720" y="3558263"/>
            <a:ext cx="299872" cy="50314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4" name="연결선: 꺾임 30"/>
          <p:cNvCxnSpPr>
            <a:stCxn id="53" idx="0"/>
            <a:endCxn id="61" idx="2"/>
          </p:cNvCxnSpPr>
          <p:nvPr/>
        </p:nvCxnSpPr>
        <p:spPr bwMode="auto">
          <a:xfrm rot="5400000" flipH="1" flipV="1">
            <a:off x="8010296" y="2305926"/>
            <a:ext cx="279048" cy="6529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85" name="연결선: 꺾임 31"/>
          <p:cNvCxnSpPr>
            <a:stCxn id="77" idx="0"/>
            <a:endCxn id="54" idx="2"/>
          </p:cNvCxnSpPr>
          <p:nvPr/>
        </p:nvCxnSpPr>
        <p:spPr bwMode="auto">
          <a:xfrm rot="5400000" flipH="1" flipV="1">
            <a:off x="8593752" y="3569228"/>
            <a:ext cx="299872" cy="48121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86" name="직사각형 85"/>
          <p:cNvSpPr/>
          <p:nvPr/>
        </p:nvSpPr>
        <p:spPr bwMode="auto">
          <a:xfrm>
            <a:off x="292220" y="2776620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1455088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2641124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819540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997956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6176372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7354788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8525584" y="2778502"/>
            <a:ext cx="245912" cy="2754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ko-KR" altLang="en-US" sz="12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4" name="그룹 93"/>
          <p:cNvGrpSpPr/>
          <p:nvPr/>
        </p:nvGrpSpPr>
        <p:grpSpPr>
          <a:xfrm>
            <a:off x="287194" y="5188701"/>
            <a:ext cx="9372523" cy="1048611"/>
            <a:chOff x="287194" y="5229261"/>
            <a:chExt cx="9372523" cy="1048611"/>
          </a:xfrm>
        </p:grpSpPr>
        <p:sp>
          <p:nvSpPr>
            <p:cNvPr id="95" name="직사각형 94"/>
            <p:cNvSpPr/>
            <p:nvPr/>
          </p:nvSpPr>
          <p:spPr bwMode="auto">
            <a:xfrm>
              <a:off x="287194" y="5229261"/>
              <a:ext cx="1286905" cy="104861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계</a:t>
              </a:r>
            </a:p>
          </p:txBody>
        </p:sp>
        <p:sp>
          <p:nvSpPr>
            <p:cNvPr id="96" name="직사각형 95"/>
            <p:cNvSpPr/>
            <p:nvPr/>
          </p:nvSpPr>
          <p:spPr bwMode="auto">
            <a:xfrm>
              <a:off x="1646107" y="5229261"/>
              <a:ext cx="3319090" cy="104861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성능중심 </a:t>
              </a:r>
              <a:r>
                <a:rPr kumimoji="1" lang="ko-KR" altLang="en-US" sz="11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계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Architecture 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재정비</a:t>
              </a:r>
              <a:endParaRPr kumimoji="1"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보계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적재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공 데이터 최적화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82563" indent="-96838" latinLnBrk="0"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다 차원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분석 기능 개선</a:t>
              </a:r>
              <a:endParaRPr kumimoji="1"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직사각형 96"/>
            <p:cNvSpPr/>
            <p:nvPr/>
          </p:nvSpPr>
          <p:spPr bwMode="auto">
            <a:xfrm>
              <a:off x="5005625" y="5229261"/>
              <a:ext cx="1286905" cy="104861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IT</a:t>
              </a: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아키텍처</a:t>
              </a: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6364538" y="5229261"/>
              <a:ext cx="3295179" cy="104861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108000" rIns="36000" bIns="36000" rtlCol="0" anchor="t" anchorCtr="0"/>
            <a:lstStyle/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빅데이터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반 실시간 정보분석 환경 구현</a:t>
              </a:r>
            </a:p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en-US" altLang="ko-KR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DA</a:t>
              </a:r>
              <a:r>
                <a: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및 데이터 보유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활용 효율화 방안 수립 </a:t>
              </a:r>
            </a:p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계</a:t>
              </a:r>
              <a:r>
                <a:rPr kumimoji="1" lang="en-US" altLang="ko-KR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계</a:t>
              </a: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아키텍처 구성 방안 수립 </a:t>
              </a:r>
            </a:p>
            <a:p>
              <a:pPr marL="182563" indent="-96838" latinLnBrk="0">
                <a:lnSpc>
                  <a:spcPct val="70000"/>
                </a:lnSpc>
                <a:spcBef>
                  <a:spcPct val="50000"/>
                </a:spcBef>
                <a:buClr>
                  <a:schemeClr val="tx1">
                    <a:lumMod val="65000"/>
                    <a:lumOff val="35000"/>
                  </a:schemeClr>
                </a:buClr>
                <a:buFont typeface="Wingdings" panose="05000000000000000000" pitchFamily="2" charset="2"/>
                <a:buChar char="§"/>
              </a:pPr>
              <a:r>
                <a:rPr kumimoji="1" lang="ko-KR" altLang="en-US" sz="11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정보 보호 강화 및 통합 정보보호 체계 적용</a:t>
              </a: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290981" y="5229261"/>
              <a:ext cx="245912" cy="275467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2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9</a:t>
              </a:r>
              <a:endParaRPr lang="ko-KR" altLang="en-US" sz="12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직사각형 99"/>
            <p:cNvSpPr/>
            <p:nvPr/>
          </p:nvSpPr>
          <p:spPr bwMode="auto">
            <a:xfrm>
              <a:off x="5005625" y="5240653"/>
              <a:ext cx="245912" cy="275467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62" eaLnBrk="0" fontAlgn="auto" latinLnBrk="0">
                <a:spcBef>
                  <a:spcPct val="20000"/>
                </a:spcBef>
                <a:spcAft>
                  <a:spcPts val="0"/>
                </a:spcAft>
                <a:buClr>
                  <a:srgbClr val="1D1F6F"/>
                </a:buClr>
                <a:defRPr/>
              </a:pPr>
              <a:r>
                <a:rPr lang="en-US" altLang="ko-KR" sz="1100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0</a:t>
              </a:r>
              <a:endParaRPr lang="ko-KR" altLang="en-US" sz="11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997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291183" y="2420888"/>
            <a:ext cx="9346907" cy="38884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상품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상품</a:t>
            </a:r>
            <a:r>
              <a:rPr lang="en-US" altLang="ko-KR" dirty="0"/>
              <a:t> </a:t>
            </a:r>
            <a:r>
              <a:rPr lang="ko-KR" altLang="en-US" dirty="0"/>
              <a:t>프로세스에서는 예상 과제로 </a:t>
            </a:r>
            <a:r>
              <a:rPr lang="en-US" altLang="ko-KR" dirty="0"/>
              <a:t>1) Rule </a:t>
            </a:r>
            <a:r>
              <a:rPr lang="ko-KR" altLang="en-US" dirty="0"/>
              <a:t>기반 상품</a:t>
            </a:r>
            <a:r>
              <a:rPr lang="en-US" altLang="ko-KR" dirty="0"/>
              <a:t>/</a:t>
            </a:r>
            <a:r>
              <a:rPr lang="ko-KR" altLang="en-US" dirty="0"/>
              <a:t>서비스 플랫폼 고도화</a:t>
            </a:r>
            <a:r>
              <a:rPr lang="en-US" altLang="ko-KR" dirty="0"/>
              <a:t>, 2) </a:t>
            </a:r>
            <a:r>
              <a:rPr lang="ko-KR" altLang="en-US" dirty="0"/>
              <a:t>상품 개발 운영 관리 고도화를 도출하였음</a:t>
            </a:r>
          </a:p>
        </p:txBody>
      </p:sp>
      <p:grpSp>
        <p:nvGrpSpPr>
          <p:cNvPr id="37" name="그룹 36"/>
          <p:cNvGrpSpPr/>
          <p:nvPr/>
        </p:nvGrpSpPr>
        <p:grpSpPr>
          <a:xfrm>
            <a:off x="287917" y="1412776"/>
            <a:ext cx="9325987" cy="648000"/>
            <a:chOff x="287917" y="1412776"/>
            <a:chExt cx="8193476" cy="648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직사각형 6"/>
            <p:cNvSpPr/>
            <p:nvPr/>
          </p:nvSpPr>
          <p:spPr bwMode="auto">
            <a:xfrm>
              <a:off x="28791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4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27" name="직사각형 7"/>
            <p:cNvSpPr/>
            <p:nvPr/>
          </p:nvSpPr>
          <p:spPr bwMode="auto">
            <a:xfrm>
              <a:off x="1319264" y="1412776"/>
              <a:ext cx="974050" cy="648000"/>
            </a:xfrm>
            <a:prstGeom prst="homePlate">
              <a:avLst>
                <a:gd name="adj" fmla="val 1200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28" name="직사각형 8"/>
            <p:cNvSpPr/>
            <p:nvPr/>
          </p:nvSpPr>
          <p:spPr bwMode="auto">
            <a:xfrm>
              <a:off x="2350610" y="1412776"/>
              <a:ext cx="974050" cy="648000"/>
            </a:xfrm>
            <a:prstGeom prst="homePlate">
              <a:avLst>
                <a:gd name="adj" fmla="val 12699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29" name="직사각형 9"/>
            <p:cNvSpPr/>
            <p:nvPr/>
          </p:nvSpPr>
          <p:spPr bwMode="auto">
            <a:xfrm>
              <a:off x="3381954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30" name="직사각형 10"/>
            <p:cNvSpPr/>
            <p:nvPr/>
          </p:nvSpPr>
          <p:spPr bwMode="auto">
            <a:xfrm>
              <a:off x="4413302" y="1412776"/>
              <a:ext cx="974050" cy="648000"/>
            </a:xfrm>
            <a:prstGeom prst="homePlate">
              <a:avLst>
                <a:gd name="adj" fmla="val 14772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31" name="직사각형 11"/>
            <p:cNvSpPr/>
            <p:nvPr/>
          </p:nvSpPr>
          <p:spPr bwMode="auto">
            <a:xfrm>
              <a:off x="5444648" y="1412776"/>
              <a:ext cx="974050" cy="648000"/>
            </a:xfrm>
            <a:prstGeom prst="homePlate">
              <a:avLst>
                <a:gd name="adj" fmla="val 15463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32" name="직사각형 12"/>
            <p:cNvSpPr/>
            <p:nvPr/>
          </p:nvSpPr>
          <p:spPr bwMode="auto">
            <a:xfrm>
              <a:off x="6475997" y="1412776"/>
              <a:ext cx="974050" cy="648000"/>
            </a:xfrm>
            <a:prstGeom prst="homePlate">
              <a:avLst>
                <a:gd name="adj" fmla="val 17535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 관리</a:t>
              </a: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" name="직사각형 13"/>
            <p:cNvSpPr/>
            <p:nvPr/>
          </p:nvSpPr>
          <p:spPr bwMode="auto">
            <a:xfrm>
              <a:off x="7507343" y="1412776"/>
              <a:ext cx="974050" cy="648000"/>
            </a:xfrm>
            <a:prstGeom prst="homePlate">
              <a:avLst>
                <a:gd name="adj" fmla="val 20988"/>
              </a:avLst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</p:grp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88504" y="2638100"/>
            <a:ext cx="3040025" cy="3588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en-US" altLang="ko-KR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S-IS </a:t>
            </a:r>
            <a:r>
              <a:rPr kumimoji="1" lang="ko-KR" altLang="en-US" sz="1200" dirty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슈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488504" y="2995532"/>
            <a:ext cx="3040025" cy="31697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서비스 분류 체계 관리 미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서비스 개발 플랫폼 체계 미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서비스 속성 부품화 및 유연한 개발 관리 미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개발 후 출시 관리 효율화 미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성과분석 체계 미흡</a:t>
            </a:r>
            <a:endParaRPr kumimoji="1" lang="en-US" altLang="ko-KR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indent="-180975" latinLnBrk="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newal / Drop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을 위한 수시 모니터링 체계 미흡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grpSp>
        <p:nvGrpSpPr>
          <p:cNvPr id="83" name="그룹 82"/>
          <p:cNvGrpSpPr/>
          <p:nvPr/>
        </p:nvGrpSpPr>
        <p:grpSpPr>
          <a:xfrm>
            <a:off x="6524494" y="2636680"/>
            <a:ext cx="2893002" cy="3528624"/>
            <a:chOff x="6668511" y="2636680"/>
            <a:chExt cx="2676978" cy="3528624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6668513" y="2636680"/>
              <a:ext cx="2676976" cy="358852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latin typeface="맑은 고딕" pitchFamily="50" charset="-127"/>
                  <a:ea typeface="맑은 고딕" pitchFamily="50" charset="-127"/>
                </a:rPr>
                <a:t>예상 개선과제</a:t>
              </a:r>
              <a:r>
                <a:rPr kumimoji="1" lang="en-US" altLang="ko-KR" sz="12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1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668511" y="2995532"/>
              <a:ext cx="2676977" cy="316977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사다리꼴 54"/>
          <p:cNvSpPr/>
          <p:nvPr/>
        </p:nvSpPr>
        <p:spPr bwMode="auto">
          <a:xfrm>
            <a:off x="291400" y="2130698"/>
            <a:ext cx="9334604" cy="286276"/>
          </a:xfrm>
          <a:custGeom>
            <a:avLst/>
            <a:gdLst>
              <a:gd name="connsiteX0" fmla="*/ 0 w 1061200"/>
              <a:gd name="connsiteY0" fmla="*/ 279127 h 279127"/>
              <a:gd name="connsiteX1" fmla="*/ 69782 w 1061200"/>
              <a:gd name="connsiteY1" fmla="*/ 0 h 279127"/>
              <a:gd name="connsiteX2" fmla="*/ 991418 w 1061200"/>
              <a:gd name="connsiteY2" fmla="*/ 0 h 279127"/>
              <a:gd name="connsiteX3" fmla="*/ 1061200 w 1061200"/>
              <a:gd name="connsiteY3" fmla="*/ 279127 h 279127"/>
              <a:gd name="connsiteX4" fmla="*/ 0 w 1061200"/>
              <a:gd name="connsiteY4" fmla="*/ 279127 h 279127"/>
              <a:gd name="connsiteX0" fmla="*/ 0 w 9334604"/>
              <a:gd name="connsiteY0" fmla="*/ 279127 h 279127"/>
              <a:gd name="connsiteX1" fmla="*/ 69782 w 9334604"/>
              <a:gd name="connsiteY1" fmla="*/ 0 h 279127"/>
              <a:gd name="connsiteX2" fmla="*/ 991418 w 9334604"/>
              <a:gd name="connsiteY2" fmla="*/ 0 h 279127"/>
              <a:gd name="connsiteX3" fmla="*/ 9334604 w 9334604"/>
              <a:gd name="connsiteY3" fmla="*/ 273652 h 279127"/>
              <a:gd name="connsiteX4" fmla="*/ 0 w 9334604"/>
              <a:gd name="connsiteY4" fmla="*/ 279127 h 279127"/>
              <a:gd name="connsiteX0" fmla="*/ 0 w 9334604"/>
              <a:gd name="connsiteY0" fmla="*/ 276065 h 276065"/>
              <a:gd name="connsiteX1" fmla="*/ 69782 w 9334604"/>
              <a:gd name="connsiteY1" fmla="*/ 0 h 276065"/>
              <a:gd name="connsiteX2" fmla="*/ 991418 w 9334604"/>
              <a:gd name="connsiteY2" fmla="*/ 0 h 276065"/>
              <a:gd name="connsiteX3" fmla="*/ 9334604 w 9334604"/>
              <a:gd name="connsiteY3" fmla="*/ 273652 h 276065"/>
              <a:gd name="connsiteX4" fmla="*/ 0 w 9334604"/>
              <a:gd name="connsiteY4" fmla="*/ 276065 h 27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4604" h="276065">
                <a:moveTo>
                  <a:pt x="0" y="276065"/>
                </a:moveTo>
                <a:lnTo>
                  <a:pt x="69782" y="0"/>
                </a:lnTo>
                <a:lnTo>
                  <a:pt x="991418" y="0"/>
                </a:lnTo>
                <a:lnTo>
                  <a:pt x="9334604" y="273652"/>
                </a:lnTo>
                <a:lnTo>
                  <a:pt x="0" y="27606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84000">
                <a:schemeClr val="bg2">
                  <a:lumMod val="7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1"/>
          </a:gra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6590244" y="3140968"/>
            <a:ext cx="2755244" cy="12914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기반 상품 서비스 플랫폼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고도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lvl="1" indent="-1651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유연한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개발 체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확립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lvl="1" indent="-1651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기준 정보 체계 및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정립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6590244" y="3146584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6590244" y="4602382"/>
            <a:ext cx="2755244" cy="13468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개발 운영 관리 고도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정보 채널간 연계 개선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(PVI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체계 개선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)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성과관리 체계 정비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사후 수시 모니터링 프로세스 및 의사결정체계 확립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6590244" y="4607998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3690211" y="2782116"/>
            <a:ext cx="2702949" cy="3383188"/>
            <a:chOff x="3834227" y="2782116"/>
            <a:chExt cx="2785307" cy="3383188"/>
          </a:xfrm>
        </p:grpSpPr>
        <p:sp>
          <p:nvSpPr>
            <p:cNvPr id="19" name="직사각형 18"/>
            <p:cNvSpPr/>
            <p:nvPr/>
          </p:nvSpPr>
          <p:spPr bwMode="auto">
            <a:xfrm>
              <a:off x="3873713" y="2782116"/>
              <a:ext cx="2484000" cy="35885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선 방향성</a:t>
              </a:r>
            </a:p>
          </p:txBody>
        </p:sp>
        <p:sp>
          <p:nvSpPr>
            <p:cNvPr id="40" name="오른쪽 화살표 109"/>
            <p:cNvSpPr/>
            <p:nvPr/>
          </p:nvSpPr>
          <p:spPr bwMode="auto">
            <a:xfrm>
              <a:off x="3834227" y="3171706"/>
              <a:ext cx="2785307" cy="2993598"/>
            </a:xfrm>
            <a:prstGeom prst="rightArrow">
              <a:avLst>
                <a:gd name="adj1" fmla="val 65385"/>
                <a:gd name="adj2" fmla="val 12921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Aft>
                  <a:spcPts val="60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lang="ko-KR" altLang="en-US" sz="2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3883204" y="3499820"/>
              <a:ext cx="2426201" cy="23601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통합성</a:t>
              </a:r>
              <a:r>
                <a:rPr kumimoji="1" lang="en-US" altLang="ko-KR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전사 상품 서비스 통합 관리 체계</a:t>
              </a:r>
              <a:endParaRPr kumimoji="1" lang="en-US" altLang="ko-KR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연성</a:t>
              </a:r>
              <a:r>
                <a:rPr kumimoji="1" lang="en-US" altLang="ko-KR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서비스 개발 관리 유연성 확보</a:t>
              </a:r>
              <a:endParaRPr kumimoji="1" lang="en-US" altLang="ko-KR" sz="1200" i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85725" latinLnBrk="0">
                <a:lnSpc>
                  <a:spcPct val="150000"/>
                </a:lnSpc>
                <a:spcBef>
                  <a:spcPct val="50000"/>
                </a:spcBef>
                <a:buFont typeface="Wingdings" panose="05000000000000000000" pitchFamily="2" charset="2"/>
                <a:buChar char="ü"/>
              </a:pP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효율성</a:t>
              </a:r>
              <a:r>
                <a:rPr kumimoji="1" lang="en-US" altLang="ko-KR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개발 사후 </a:t>
              </a:r>
              <a:r>
                <a:rPr kumimoji="1" lang="en-US" altLang="ko-KR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i="1" u="sng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운영 관리 효율화</a:t>
              </a:r>
            </a:p>
          </p:txBody>
        </p:sp>
        <p:cxnSp>
          <p:nvCxnSpPr>
            <p:cNvPr id="80" name="직선 연결선 79"/>
            <p:cNvCxnSpPr/>
            <p:nvPr/>
          </p:nvCxnSpPr>
          <p:spPr bwMode="auto">
            <a:xfrm>
              <a:off x="3873713" y="3140968"/>
              <a:ext cx="248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94586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7979325" cy="605126"/>
          </a:xfrm>
        </p:spPr>
        <p:txBody>
          <a:bodyPr/>
          <a:lstStyle/>
          <a:p>
            <a:r>
              <a:rPr lang="en-US" altLang="ko-KR" dirty="0"/>
              <a:t>PLC(Product Life Cycle) </a:t>
            </a:r>
            <a:r>
              <a:rPr lang="ko-KR" altLang="en-US" dirty="0"/>
              <a:t>관리 체계 전반을 고도화하는 것이 목적이며</a:t>
            </a:r>
            <a:r>
              <a:rPr lang="en-US" altLang="ko-KR" dirty="0"/>
              <a:t>, </a:t>
            </a:r>
            <a:r>
              <a:rPr lang="ko-KR" altLang="en-US" dirty="0"/>
              <a:t>상품 기획</a:t>
            </a:r>
            <a:r>
              <a:rPr lang="en-US" altLang="ko-KR" dirty="0"/>
              <a:t>/</a:t>
            </a:r>
            <a:r>
              <a:rPr lang="ko-KR" altLang="en-US" dirty="0"/>
              <a:t>개발 단계와 사후 모니터링 단계에서 두 개의 과제를 도출하였음</a:t>
            </a: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5" name="Rectangle 27"/>
          <p:cNvSpPr>
            <a:spLocks noChangeArrowheads="1"/>
          </p:cNvSpPr>
          <p:nvPr/>
        </p:nvSpPr>
        <p:spPr bwMode="auto">
          <a:xfrm>
            <a:off x="373998" y="1856844"/>
            <a:ext cx="6741821" cy="386107"/>
          </a:xfrm>
          <a:prstGeom prst="rect">
            <a:avLst/>
          </a:prstGeom>
          <a:solidFill>
            <a:schemeClr val="accent5">
              <a:lumMod val="25000"/>
            </a:schemeClr>
          </a:solidFill>
          <a:ln w="3175" algn="ctr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lnSpc>
                <a:spcPct val="110000"/>
              </a:lnSpc>
              <a:spcBef>
                <a:spcPct val="50000"/>
              </a:spcBef>
              <a:buClr>
                <a:srgbClr val="000000"/>
              </a:buClr>
              <a:buSzPct val="30000"/>
              <a:defRPr/>
            </a:pPr>
            <a:r>
              <a:rPr lang="en-US" altLang="ko-KR" sz="1108" b="1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PLC 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en-US" altLang="ko-KR" sz="1108" b="1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Product Life </a:t>
            </a:r>
            <a:r>
              <a:rPr lang="en-US" altLang="ko-KR" sz="1108" b="1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ycle) </a:t>
            </a:r>
            <a:r>
              <a:rPr lang="ko-KR" altLang="en-US" sz="1108" b="1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관리 체계</a:t>
            </a:r>
            <a:endParaRPr lang="ko-KR" altLang="en-US" sz="1108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6" name="Rectangle 27"/>
          <p:cNvSpPr>
            <a:spLocks noChangeArrowheads="1"/>
          </p:cNvSpPr>
          <p:nvPr/>
        </p:nvSpPr>
        <p:spPr bwMode="auto">
          <a:xfrm>
            <a:off x="373998" y="2289363"/>
            <a:ext cx="6742862" cy="3522383"/>
          </a:xfrm>
          <a:prstGeom prst="rect">
            <a:avLst/>
          </a:prstGeom>
          <a:solidFill>
            <a:schemeClr val="accent5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anchor="ctr"/>
          <a:lstStyle/>
          <a:p>
            <a:pPr marL="79133" indent="-79133" eaLnBrk="0" latinLnBrk="0" hangingPunct="0">
              <a:buFontTx/>
              <a:buChar char="•"/>
              <a:defRPr/>
            </a:pPr>
            <a:endParaRPr lang="ko-KR" altLang="en-US" sz="1015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38" name="Rectangle 27"/>
          <p:cNvSpPr>
            <a:spLocks noChangeArrowheads="1"/>
          </p:cNvSpPr>
          <p:nvPr/>
        </p:nvSpPr>
        <p:spPr bwMode="auto">
          <a:xfrm>
            <a:off x="459067" y="4454665"/>
            <a:ext cx="6582165" cy="1274175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anchor="t"/>
          <a:lstStyle/>
          <a:p>
            <a:pPr marL="79133" indent="-79133" algn="ctr" eaLnBrk="0" latinLnBrk="0" hangingPunct="0">
              <a:defRPr/>
            </a:pPr>
            <a:r>
              <a:rPr lang="ko-KR" altLang="en-US" sz="1015" b="1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이력관리</a:t>
            </a:r>
          </a:p>
        </p:txBody>
      </p:sp>
      <p:sp>
        <p:nvSpPr>
          <p:cNvPr id="46" name="Rectangle 27"/>
          <p:cNvSpPr>
            <a:spLocks noChangeArrowheads="1"/>
          </p:cNvSpPr>
          <p:nvPr/>
        </p:nvSpPr>
        <p:spPr bwMode="auto">
          <a:xfrm>
            <a:off x="5635951" y="2406655"/>
            <a:ext cx="1405281" cy="1916039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anchor="t"/>
          <a:lstStyle/>
          <a:p>
            <a:pPr marL="79133" indent="-79133" algn="ctr" eaLnBrk="0" latinLnBrk="0" hangingPunct="0">
              <a:defRPr/>
            </a:pPr>
            <a:r>
              <a:rPr lang="ko-KR" altLang="en-US" sz="1015" b="1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선 및 </a:t>
            </a:r>
            <a:r>
              <a:rPr lang="en-US" altLang="ko-KR" sz="1015" b="1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Out</a:t>
            </a:r>
            <a:endParaRPr lang="ko-KR" altLang="en-US" sz="1015" b="1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47" name="Rectangle 27"/>
          <p:cNvSpPr>
            <a:spLocks noChangeArrowheads="1"/>
          </p:cNvSpPr>
          <p:nvPr/>
        </p:nvSpPr>
        <p:spPr bwMode="auto">
          <a:xfrm>
            <a:off x="3419956" y="2406655"/>
            <a:ext cx="2166719" cy="1916039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anchor="t"/>
          <a:lstStyle/>
          <a:p>
            <a:pPr marL="79133" indent="-79133" algn="ctr" eaLnBrk="0" latinLnBrk="0" hangingPunct="0">
              <a:defRPr/>
            </a:pPr>
            <a:r>
              <a:rPr lang="ko-KR" altLang="en-US" sz="1015" b="1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모니터링 계획 및 상품 성과평가</a:t>
            </a:r>
          </a:p>
        </p:txBody>
      </p:sp>
      <p:sp>
        <p:nvSpPr>
          <p:cNvPr id="57" name="Rectangle 27"/>
          <p:cNvSpPr>
            <a:spLocks noChangeArrowheads="1"/>
          </p:cNvSpPr>
          <p:nvPr/>
        </p:nvSpPr>
        <p:spPr bwMode="auto">
          <a:xfrm>
            <a:off x="3467303" y="2699634"/>
            <a:ext cx="382177" cy="155393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t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발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과정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발생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이슈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en-US" altLang="ko-KR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Risk)</a:t>
            </a: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모니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터링</a:t>
            </a:r>
          </a:p>
        </p:txBody>
      </p:sp>
      <p:sp>
        <p:nvSpPr>
          <p:cNvPr id="58" name="Rectangle 27"/>
          <p:cNvSpPr>
            <a:spLocks noChangeArrowheads="1"/>
          </p:cNvSpPr>
          <p:nvPr/>
        </p:nvSpPr>
        <p:spPr bwMode="auto">
          <a:xfrm>
            <a:off x="3888403" y="2699634"/>
            <a:ext cx="382177" cy="155393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t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손익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성과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분석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59" name="Rectangle 27"/>
          <p:cNvSpPr>
            <a:spLocks noChangeArrowheads="1"/>
          </p:cNvSpPr>
          <p:nvPr/>
        </p:nvSpPr>
        <p:spPr bwMode="auto">
          <a:xfrm>
            <a:off x="4309502" y="2699634"/>
            <a:ext cx="382177" cy="155393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t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전체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지표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목표 및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모니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터링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지표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60" name="Rectangle 27"/>
          <p:cNvSpPr>
            <a:spLocks noChangeArrowheads="1"/>
          </p:cNvSpPr>
          <p:nvPr/>
        </p:nvSpPr>
        <p:spPr bwMode="auto">
          <a:xfrm>
            <a:off x="4730602" y="2699634"/>
            <a:ext cx="382177" cy="155393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t"/>
          <a:lstStyle/>
          <a:p>
            <a:pPr marL="79133" indent="-79133" algn="ctr" eaLnBrk="0" latinLnBrk="0" hangingPunct="0">
              <a:defRPr/>
            </a:pPr>
            <a:r>
              <a:rPr lang="en-US" altLang="ko-KR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KPI</a:t>
            </a: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목표</a:t>
            </a:r>
          </a:p>
        </p:txBody>
      </p:sp>
      <p:sp>
        <p:nvSpPr>
          <p:cNvPr id="61" name="Rectangle 27"/>
          <p:cNvSpPr>
            <a:spLocks noChangeArrowheads="1"/>
          </p:cNvSpPr>
          <p:nvPr/>
        </p:nvSpPr>
        <p:spPr bwMode="auto">
          <a:xfrm>
            <a:off x="5151701" y="2699634"/>
            <a:ext cx="382177" cy="155393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t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최근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출시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성과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분석</a:t>
            </a:r>
            <a:endParaRPr lang="en-US" altLang="ko-KR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62" name="Rectangle 27"/>
          <p:cNvSpPr>
            <a:spLocks noChangeArrowheads="1"/>
          </p:cNvSpPr>
          <p:nvPr/>
        </p:nvSpPr>
        <p:spPr bwMode="auto">
          <a:xfrm>
            <a:off x="5676829" y="2699633"/>
            <a:ext cx="1306747" cy="3277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79133" indent="-79133" algn="ctr" eaLnBrk="0" latinLnBrk="0" hangingPunct="0">
              <a:defRPr/>
            </a:pPr>
            <a:r>
              <a:rPr lang="en-US" altLang="ko-KR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PLC</a:t>
            </a: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관리 내 개선방안 설계</a:t>
            </a:r>
          </a:p>
        </p:txBody>
      </p:sp>
      <p:sp>
        <p:nvSpPr>
          <p:cNvPr id="63" name="Rectangle 27"/>
          <p:cNvSpPr>
            <a:spLocks noChangeArrowheads="1"/>
          </p:cNvSpPr>
          <p:nvPr/>
        </p:nvSpPr>
        <p:spPr bwMode="auto">
          <a:xfrm>
            <a:off x="5676829" y="3109998"/>
            <a:ext cx="1306747" cy="3277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발계획을 통한 재개발 의뢰</a:t>
            </a:r>
          </a:p>
        </p:txBody>
      </p:sp>
      <p:sp>
        <p:nvSpPr>
          <p:cNvPr id="64" name="Rectangle 27"/>
          <p:cNvSpPr>
            <a:spLocks noChangeArrowheads="1"/>
          </p:cNvSpPr>
          <p:nvPr/>
        </p:nvSpPr>
        <p:spPr bwMode="auto">
          <a:xfrm>
            <a:off x="5676829" y="3520363"/>
            <a:ext cx="1306747" cy="3277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79133" indent="-79133" algn="ctr" eaLnBrk="0" latinLnBrk="0" hangingPunct="0">
              <a:defRPr/>
            </a:pPr>
            <a:r>
              <a: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선안 관련 유관부서 협의</a:t>
            </a:r>
          </a:p>
        </p:txBody>
      </p:sp>
      <p:sp>
        <p:nvSpPr>
          <p:cNvPr id="65" name="Rectangle 27"/>
          <p:cNvSpPr>
            <a:spLocks noChangeArrowheads="1"/>
          </p:cNvSpPr>
          <p:nvPr/>
        </p:nvSpPr>
        <p:spPr bwMode="auto">
          <a:xfrm>
            <a:off x="5676829" y="3930731"/>
            <a:ext cx="1306747" cy="32778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79133" indent="-79133" algn="ctr" eaLnBrk="0" latinLnBrk="0" hangingPunct="0">
              <a:defRPr/>
            </a:pPr>
            <a:r>
              <a:rPr lang="en-US" altLang="ko-KR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Out</a:t>
            </a:r>
            <a:endParaRPr lang="ko-KR" altLang="en-US" sz="831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66" name="AutoShape 16"/>
          <p:cNvSpPr>
            <a:spLocks noChangeArrowheads="1"/>
          </p:cNvSpPr>
          <p:nvPr/>
        </p:nvSpPr>
        <p:spPr bwMode="gray">
          <a:xfrm rot="10800000">
            <a:off x="6049817" y="3013995"/>
            <a:ext cx="501144" cy="109424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rot="10800000" vert="eaVert" wrap="none" lIns="33231" rIns="33231" anchor="ctr"/>
          <a:lstStyle/>
          <a:p>
            <a:pPr latinLnBrk="0">
              <a:defRPr/>
            </a:pPr>
            <a:endParaRPr lang="ko-KR" altLang="en-US" sz="1015" b="1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AutoShape 16"/>
          <p:cNvSpPr>
            <a:spLocks noChangeArrowheads="1"/>
          </p:cNvSpPr>
          <p:nvPr/>
        </p:nvSpPr>
        <p:spPr bwMode="gray">
          <a:xfrm rot="10800000">
            <a:off x="6049817" y="3424360"/>
            <a:ext cx="501144" cy="109424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rot="10800000" vert="eaVert" wrap="none" lIns="33231" rIns="33231" anchor="ctr"/>
          <a:lstStyle/>
          <a:p>
            <a:pPr latinLnBrk="0">
              <a:defRPr/>
            </a:pPr>
            <a:endParaRPr lang="ko-KR" altLang="en-US" sz="1015" b="1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AutoShape 16"/>
          <p:cNvSpPr>
            <a:spLocks noChangeArrowheads="1"/>
          </p:cNvSpPr>
          <p:nvPr/>
        </p:nvSpPr>
        <p:spPr bwMode="gray">
          <a:xfrm rot="10800000">
            <a:off x="6049817" y="3834725"/>
            <a:ext cx="501144" cy="109424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rot="10800000" vert="eaVert" wrap="none" lIns="33231" rIns="33231" anchor="ctr"/>
          <a:lstStyle/>
          <a:p>
            <a:pPr latinLnBrk="0">
              <a:defRPr/>
            </a:pPr>
            <a:endParaRPr lang="ko-KR" altLang="en-US" sz="1015" b="1" ker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430794" y="2394587"/>
            <a:ext cx="2844222" cy="1920487"/>
            <a:chOff x="430794" y="2068468"/>
            <a:chExt cx="2844222" cy="1920487"/>
          </a:xfrm>
        </p:grpSpPr>
        <p:sp>
          <p:nvSpPr>
            <p:cNvPr id="45" name="Rectangle 27"/>
            <p:cNvSpPr>
              <a:spLocks noChangeArrowheads="1"/>
            </p:cNvSpPr>
            <p:nvPr/>
          </p:nvSpPr>
          <p:spPr bwMode="auto">
            <a:xfrm>
              <a:off x="1869735" y="2072916"/>
              <a:ext cx="1405281" cy="1916039"/>
            </a:xfrm>
            <a:prstGeom prst="rect">
              <a:avLst/>
            </a:prstGeom>
            <a:solidFill>
              <a:srgbClr val="FFFFFF"/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anchor="t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상품개발기획 </a:t>
              </a:r>
              <a:r>
                <a:rPr lang="en-US" altLang="ko-KR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/ </a:t>
              </a:r>
              <a:r>
                <a:rPr lang="ko-KR" altLang="en-US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개발</a:t>
              </a:r>
            </a:p>
          </p:txBody>
        </p:sp>
        <p:sp>
          <p:nvSpPr>
            <p:cNvPr id="48" name="Rectangle 27"/>
            <p:cNvSpPr>
              <a:spLocks noChangeArrowheads="1"/>
            </p:cNvSpPr>
            <p:nvPr/>
          </p:nvSpPr>
          <p:spPr bwMode="auto">
            <a:xfrm>
              <a:off x="1934299" y="2360949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연간 상품 운용계획 등록</a:t>
              </a:r>
            </a:p>
          </p:txBody>
        </p:sp>
        <p:sp>
          <p:nvSpPr>
            <p:cNvPr id="49" name="Rectangle 27"/>
            <p:cNvSpPr>
              <a:spLocks noChangeArrowheads="1"/>
            </p:cNvSpPr>
            <p:nvPr/>
          </p:nvSpPr>
          <p:spPr bwMode="auto">
            <a:xfrm>
              <a:off x="1934299" y="2771316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상품개발계획 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Rolling Plan</a:t>
              </a:r>
              <a:endParaRPr lang="ko-KR" altLang="en-US" sz="831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50" name="Rectangle 27"/>
            <p:cNvSpPr>
              <a:spLocks noChangeArrowheads="1"/>
            </p:cNvSpPr>
            <p:nvPr/>
          </p:nvSpPr>
          <p:spPr bwMode="auto">
            <a:xfrm>
              <a:off x="1934299" y="3181683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상품제안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/</a:t>
              </a: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컨셉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/</a:t>
              </a: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설계 산출</a:t>
              </a:r>
            </a:p>
          </p:txBody>
        </p:sp>
        <p:sp>
          <p:nvSpPr>
            <p:cNvPr id="51" name="Rectangle 27"/>
            <p:cNvSpPr>
              <a:spLocks noChangeArrowheads="1"/>
            </p:cNvSpPr>
            <p:nvPr/>
          </p:nvSpPr>
          <p:spPr bwMode="auto">
            <a:xfrm>
              <a:off x="1934299" y="3592048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상품 개발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/</a:t>
              </a: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인가</a:t>
              </a:r>
            </a:p>
          </p:txBody>
        </p:sp>
        <p:sp>
          <p:nvSpPr>
            <p:cNvPr id="52" name="AutoShape 16"/>
            <p:cNvSpPr>
              <a:spLocks noChangeArrowheads="1"/>
            </p:cNvSpPr>
            <p:nvPr/>
          </p:nvSpPr>
          <p:spPr bwMode="gray">
            <a:xfrm rot="10800000">
              <a:off x="2307287" y="2675312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AutoShape 16"/>
            <p:cNvSpPr>
              <a:spLocks noChangeArrowheads="1"/>
            </p:cNvSpPr>
            <p:nvPr/>
          </p:nvSpPr>
          <p:spPr bwMode="gray">
            <a:xfrm rot="10800000">
              <a:off x="2307287" y="3085679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AutoShape 16"/>
            <p:cNvSpPr>
              <a:spLocks noChangeArrowheads="1"/>
            </p:cNvSpPr>
            <p:nvPr/>
          </p:nvSpPr>
          <p:spPr bwMode="gray">
            <a:xfrm rot="10800000">
              <a:off x="2307287" y="3496046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Rectangle 27"/>
            <p:cNvSpPr>
              <a:spLocks noChangeArrowheads="1"/>
            </p:cNvSpPr>
            <p:nvPr/>
          </p:nvSpPr>
          <p:spPr bwMode="auto">
            <a:xfrm>
              <a:off x="430794" y="2068468"/>
              <a:ext cx="1405281" cy="1916039"/>
            </a:xfrm>
            <a:prstGeom prst="rect">
              <a:avLst/>
            </a:prstGeom>
            <a:solidFill>
              <a:srgbClr val="FFFFFF"/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anchor="t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상품전략기획</a:t>
              </a:r>
              <a:r>
                <a:rPr lang="en-US" altLang="ko-KR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(</a:t>
              </a:r>
              <a:r>
                <a:rPr lang="ko-KR" altLang="en-US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중기</a:t>
              </a:r>
              <a:r>
                <a:rPr lang="en-US" altLang="ko-KR" sz="1015" b="1" u="sng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)</a:t>
              </a:r>
              <a:endParaRPr lang="ko-KR" altLang="en-US" sz="1015" b="1" u="sng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70" name="Rectangle 27"/>
            <p:cNvSpPr>
              <a:spLocks noChangeArrowheads="1"/>
            </p:cNvSpPr>
            <p:nvPr/>
          </p:nvSpPr>
          <p:spPr bwMode="auto">
            <a:xfrm>
              <a:off x="495358" y="2356500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중장기 상품 전략</a:t>
              </a:r>
            </a:p>
          </p:txBody>
        </p:sp>
        <p:sp>
          <p:nvSpPr>
            <p:cNvPr id="71" name="Rectangle 27"/>
            <p:cNvSpPr>
              <a:spLocks noChangeArrowheads="1"/>
            </p:cNvSpPr>
            <p:nvPr/>
          </p:nvSpPr>
          <p:spPr bwMode="auto">
            <a:xfrm>
              <a:off x="495358" y="2766865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중기상품 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Portfolio </a:t>
              </a: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전략</a:t>
              </a:r>
            </a:p>
          </p:txBody>
        </p:sp>
        <p:sp>
          <p:nvSpPr>
            <p:cNvPr id="72" name="Rectangle 27"/>
            <p:cNvSpPr>
              <a:spLocks noChangeArrowheads="1"/>
            </p:cNvSpPr>
            <p:nvPr/>
          </p:nvSpPr>
          <p:spPr bwMode="auto">
            <a:xfrm>
              <a:off x="495358" y="3177230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연간상품 개발 </a:t>
              </a:r>
              <a:r>
                <a:rPr lang="en-US" altLang="ko-KR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Roadmap</a:t>
              </a:r>
            </a:p>
          </p:txBody>
        </p:sp>
        <p:sp>
          <p:nvSpPr>
            <p:cNvPr id="75" name="Rectangle 27"/>
            <p:cNvSpPr>
              <a:spLocks noChangeArrowheads="1"/>
            </p:cNvSpPr>
            <p:nvPr/>
          </p:nvSpPr>
          <p:spPr bwMode="auto">
            <a:xfrm>
              <a:off x="495358" y="3587598"/>
              <a:ext cx="1306747" cy="327783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 algn="ctr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79133" indent="-79133" algn="ctr" eaLnBrk="0" latinLnBrk="0" hangingPunct="0">
                <a:defRPr/>
              </a:pPr>
              <a:r>
                <a:rPr lang="ko-KR" altLang="en-US" sz="831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연간 상품 운영전략 기획</a:t>
              </a:r>
            </a:p>
          </p:txBody>
        </p:sp>
        <p:sp>
          <p:nvSpPr>
            <p:cNvPr id="76" name="AutoShape 16"/>
            <p:cNvSpPr>
              <a:spLocks noChangeArrowheads="1"/>
            </p:cNvSpPr>
            <p:nvPr/>
          </p:nvSpPr>
          <p:spPr bwMode="gray">
            <a:xfrm rot="10800000">
              <a:off x="868346" y="2670862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AutoShape 16"/>
            <p:cNvSpPr>
              <a:spLocks noChangeArrowheads="1"/>
            </p:cNvSpPr>
            <p:nvPr/>
          </p:nvSpPr>
          <p:spPr bwMode="gray">
            <a:xfrm rot="10800000">
              <a:off x="868346" y="3081227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AutoShape 16"/>
            <p:cNvSpPr>
              <a:spLocks noChangeArrowheads="1"/>
            </p:cNvSpPr>
            <p:nvPr/>
          </p:nvSpPr>
          <p:spPr bwMode="gray">
            <a:xfrm rot="10800000">
              <a:off x="868346" y="3491592"/>
              <a:ext cx="501144" cy="10942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33231" rIns="33231" anchor="ctr"/>
            <a:lstStyle/>
            <a:p>
              <a:pPr latinLnBrk="0">
                <a:defRPr/>
              </a:pPr>
              <a:endParaRPr lang="ko-KR" altLang="en-US" sz="1015" b="1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1" name="Rectangle 27"/>
          <p:cNvSpPr>
            <a:spLocks noChangeArrowheads="1"/>
          </p:cNvSpPr>
          <p:nvPr/>
        </p:nvSpPr>
        <p:spPr bwMode="auto">
          <a:xfrm>
            <a:off x="2118072" y="5232485"/>
            <a:ext cx="1599188" cy="4623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lIns="83077" tIns="43200" rIns="83077" bIns="43200" anchor="ctr"/>
          <a:lstStyle/>
          <a:p>
            <a:pPr marL="79133" indent="-79133"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itchFamily="2" charset="2"/>
              </a:rPr>
              <a:t>상품이력 품질 모니터링</a:t>
            </a:r>
          </a:p>
        </p:txBody>
      </p:sp>
      <p:sp>
        <p:nvSpPr>
          <p:cNvPr id="85" name="Rectangle 27"/>
          <p:cNvSpPr>
            <a:spLocks noChangeArrowheads="1"/>
          </p:cNvSpPr>
          <p:nvPr/>
        </p:nvSpPr>
        <p:spPr bwMode="auto">
          <a:xfrm>
            <a:off x="3744890" y="5232485"/>
            <a:ext cx="1599188" cy="4623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lIns="83077" tIns="43200" rIns="83077" bIns="43200" anchor="ctr"/>
          <a:lstStyle/>
          <a:p>
            <a:pPr marL="79133" indent="-79133"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itchFamily="2" charset="2"/>
              </a:rPr>
              <a:t>상품이력 품질 개선안 구성</a:t>
            </a:r>
          </a:p>
        </p:txBody>
      </p:sp>
      <p:sp>
        <p:nvSpPr>
          <p:cNvPr id="86" name="Rectangle 27"/>
          <p:cNvSpPr>
            <a:spLocks noChangeArrowheads="1"/>
          </p:cNvSpPr>
          <p:nvPr/>
        </p:nvSpPr>
        <p:spPr bwMode="auto">
          <a:xfrm>
            <a:off x="5380483" y="5232485"/>
            <a:ext cx="1599188" cy="4623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lIns="83077" tIns="43200" rIns="83077" bIns="43200" anchor="ctr"/>
          <a:lstStyle/>
          <a:p>
            <a:pPr marL="79133" indent="-79133"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itchFamily="2" charset="2"/>
              </a:rPr>
              <a:t>지속적 품질개선 실행</a:t>
            </a:r>
          </a:p>
        </p:txBody>
      </p:sp>
      <p:sp>
        <p:nvSpPr>
          <p:cNvPr id="87" name="Rectangle 27"/>
          <p:cNvSpPr>
            <a:spLocks noChangeArrowheads="1"/>
          </p:cNvSpPr>
          <p:nvPr/>
        </p:nvSpPr>
        <p:spPr bwMode="auto">
          <a:xfrm>
            <a:off x="2118073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개발</a:t>
            </a:r>
            <a:r>
              <a:rPr lang="en-US" altLang="ko-KR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ko-KR" altLang="en-US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계획서</a:t>
            </a:r>
            <a:endParaRPr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88" name="Rectangle 27"/>
          <p:cNvSpPr>
            <a:spLocks noChangeArrowheads="1"/>
          </p:cNvSpPr>
          <p:nvPr/>
        </p:nvSpPr>
        <p:spPr bwMode="auto">
          <a:xfrm>
            <a:off x="2924629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기본 설계서</a:t>
            </a:r>
          </a:p>
        </p:txBody>
      </p:sp>
      <p:sp>
        <p:nvSpPr>
          <p:cNvPr id="89" name="Rectangle 27"/>
          <p:cNvSpPr>
            <a:spLocks noChangeArrowheads="1"/>
          </p:cNvSpPr>
          <p:nvPr/>
        </p:nvSpPr>
        <p:spPr bwMode="auto">
          <a:xfrm>
            <a:off x="3759971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 설계서</a:t>
            </a:r>
          </a:p>
        </p:txBody>
      </p:sp>
      <p:sp>
        <p:nvSpPr>
          <p:cNvPr id="90" name="Rectangle 27"/>
          <p:cNvSpPr>
            <a:spLocks noChangeArrowheads="1"/>
          </p:cNvSpPr>
          <p:nvPr/>
        </p:nvSpPr>
        <p:spPr bwMode="auto">
          <a:xfrm>
            <a:off x="4566528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발</a:t>
            </a:r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출시 </a:t>
            </a:r>
            <a:r>
              <a:rPr lang="en-US" altLang="ko-KR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ko-KR" altLang="en-US" sz="9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계획서</a:t>
            </a:r>
            <a:endParaRPr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91" name="Rectangle 27"/>
          <p:cNvSpPr>
            <a:spLocks noChangeArrowheads="1"/>
          </p:cNvSpPr>
          <p:nvPr/>
        </p:nvSpPr>
        <p:spPr bwMode="auto">
          <a:xfrm>
            <a:off x="5389146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상품성과</a:t>
            </a:r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분석서</a:t>
            </a:r>
          </a:p>
        </p:txBody>
      </p:sp>
      <p:sp>
        <p:nvSpPr>
          <p:cNvPr id="92" name="Rectangle 27"/>
          <p:cNvSpPr>
            <a:spLocks noChangeArrowheads="1"/>
          </p:cNvSpPr>
          <p:nvPr/>
        </p:nvSpPr>
        <p:spPr bwMode="auto">
          <a:xfrm>
            <a:off x="6195702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협의체</a:t>
            </a:r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ko-KR" altLang="en-US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협의결과</a:t>
            </a:r>
          </a:p>
        </p:txBody>
      </p:sp>
      <p:sp>
        <p:nvSpPr>
          <p:cNvPr id="93" name="Rectangle 27"/>
          <p:cNvSpPr>
            <a:spLocks noChangeArrowheads="1"/>
          </p:cNvSpPr>
          <p:nvPr/>
        </p:nvSpPr>
        <p:spPr bwMode="auto">
          <a:xfrm>
            <a:off x="497590" y="5232485"/>
            <a:ext cx="1599188" cy="4623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lIns="83077" tIns="43200" rIns="83077" bIns="43200" anchor="ctr"/>
          <a:lstStyle/>
          <a:p>
            <a:pPr marL="79133" indent="-79133"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itchFamily="2" charset="2"/>
              </a:rPr>
              <a:t>상품 </a:t>
            </a:r>
            <a:r>
              <a: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itchFamily="2" charset="2"/>
              </a:rPr>
              <a:t>R&amp;D Pool</a:t>
            </a:r>
            <a:endParaRPr lang="ko-KR" altLang="en-US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94" name="Rectangle 27"/>
          <p:cNvSpPr>
            <a:spLocks noChangeArrowheads="1"/>
          </p:cNvSpPr>
          <p:nvPr/>
        </p:nvSpPr>
        <p:spPr bwMode="auto">
          <a:xfrm>
            <a:off x="497591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Positioning,</a:t>
            </a:r>
          </a:p>
          <a:p>
            <a:pPr algn="ctr" eaLnBrk="0" latinLnBrk="0" hangingPunct="0"/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Segment</a:t>
            </a:r>
          </a:p>
        </p:txBody>
      </p:sp>
      <p:sp>
        <p:nvSpPr>
          <p:cNvPr id="95" name="Rectangle 27"/>
          <p:cNvSpPr>
            <a:spLocks noChangeArrowheads="1"/>
          </p:cNvSpPr>
          <p:nvPr/>
        </p:nvSpPr>
        <p:spPr bwMode="auto">
          <a:xfrm>
            <a:off x="1304147" y="4700000"/>
            <a:ext cx="779908" cy="462301"/>
          </a:xfrm>
          <a:prstGeom prst="roundRect">
            <a:avLst/>
          </a:prstGeom>
          <a:solidFill>
            <a:srgbClr val="FFFFFF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latinLnBrk="0" hangingPunct="0"/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Customer,</a:t>
            </a:r>
          </a:p>
          <a:p>
            <a:pPr algn="ctr" eaLnBrk="0" latinLnBrk="0" hangingPunct="0"/>
            <a:r>
              <a:rPr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Market, Product</a:t>
            </a:r>
            <a:endParaRPr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96" name="직사각형 60"/>
          <p:cNvSpPr/>
          <p:nvPr/>
        </p:nvSpPr>
        <p:spPr bwMode="auto">
          <a:xfrm>
            <a:off x="5491601" y="5918621"/>
            <a:ext cx="1427095" cy="390699"/>
          </a:xfrm>
          <a:prstGeom prst="can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성과분석시스템</a:t>
            </a:r>
          </a:p>
        </p:txBody>
      </p:sp>
      <p:sp>
        <p:nvSpPr>
          <p:cNvPr id="97" name="직사각형 60"/>
          <p:cNvSpPr/>
          <p:nvPr/>
        </p:nvSpPr>
        <p:spPr bwMode="auto">
          <a:xfrm>
            <a:off x="3763409" y="5918621"/>
            <a:ext cx="1427095" cy="390699"/>
          </a:xfrm>
          <a:prstGeom prst="can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이력관리시스템</a:t>
            </a:r>
          </a:p>
        </p:txBody>
      </p:sp>
      <p:sp>
        <p:nvSpPr>
          <p:cNvPr id="98" name="직사각형 60"/>
          <p:cNvSpPr/>
          <p:nvPr/>
        </p:nvSpPr>
        <p:spPr bwMode="auto">
          <a:xfrm>
            <a:off x="440466" y="5918621"/>
            <a:ext cx="1427095" cy="390699"/>
          </a:xfrm>
          <a:prstGeom prst="can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lang="en-US" altLang="ko-KR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ublishing</a:t>
            </a:r>
            <a:r>
              <a:rPr lang="ko-KR" altLang="en-US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sp>
        <p:nvSpPr>
          <p:cNvPr id="99" name="직사각형 60"/>
          <p:cNvSpPr/>
          <p:nvPr/>
        </p:nvSpPr>
        <p:spPr bwMode="auto">
          <a:xfrm>
            <a:off x="2101686" y="5918621"/>
            <a:ext cx="1427095" cy="390699"/>
          </a:xfrm>
          <a:prstGeom prst="can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초통계</a:t>
            </a:r>
            <a:r>
              <a:rPr lang="en-US" altLang="ko-KR" sz="1015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lang="ko-KR" altLang="en-US" sz="1015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 Box 46"/>
          <p:cNvSpPr txBox="1">
            <a:spLocks noChangeArrowheads="1"/>
          </p:cNvSpPr>
          <p:nvPr/>
        </p:nvSpPr>
        <p:spPr bwMode="gray">
          <a:xfrm rot="10800000">
            <a:off x="859125" y="573623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1" name="Text Box 46"/>
          <p:cNvSpPr txBox="1">
            <a:spLocks noChangeArrowheads="1"/>
          </p:cNvSpPr>
          <p:nvPr/>
        </p:nvSpPr>
        <p:spPr bwMode="gray">
          <a:xfrm>
            <a:off x="992054" y="571124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2" name="Text Box 46"/>
          <p:cNvSpPr txBox="1">
            <a:spLocks noChangeArrowheads="1"/>
          </p:cNvSpPr>
          <p:nvPr/>
        </p:nvSpPr>
        <p:spPr bwMode="gray">
          <a:xfrm rot="10800000">
            <a:off x="2537153" y="573623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3" name="Text Box 46"/>
          <p:cNvSpPr txBox="1">
            <a:spLocks noChangeArrowheads="1"/>
          </p:cNvSpPr>
          <p:nvPr/>
        </p:nvSpPr>
        <p:spPr bwMode="gray">
          <a:xfrm>
            <a:off x="2670083" y="571124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4" name="Text Box 46"/>
          <p:cNvSpPr txBox="1">
            <a:spLocks noChangeArrowheads="1"/>
          </p:cNvSpPr>
          <p:nvPr/>
        </p:nvSpPr>
        <p:spPr bwMode="gray">
          <a:xfrm rot="10800000">
            <a:off x="4198876" y="573623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5" name="Text Box 46"/>
          <p:cNvSpPr txBox="1">
            <a:spLocks noChangeArrowheads="1"/>
          </p:cNvSpPr>
          <p:nvPr/>
        </p:nvSpPr>
        <p:spPr bwMode="gray">
          <a:xfrm>
            <a:off x="4331806" y="571124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6" name="Text Box 46"/>
          <p:cNvSpPr txBox="1">
            <a:spLocks noChangeArrowheads="1"/>
          </p:cNvSpPr>
          <p:nvPr/>
        </p:nvSpPr>
        <p:spPr bwMode="gray">
          <a:xfrm rot="10800000">
            <a:off x="5993537" y="573623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107" name="Text Box 46"/>
          <p:cNvSpPr txBox="1">
            <a:spLocks noChangeArrowheads="1"/>
          </p:cNvSpPr>
          <p:nvPr/>
        </p:nvSpPr>
        <p:spPr bwMode="gray">
          <a:xfrm>
            <a:off x="6126467" y="5711248"/>
            <a:ext cx="428637" cy="317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eaVert" wrap="square" lIns="99692" tIns="66462" rIns="99692" bIns="33231">
            <a:spAutoFit/>
          </a:bodyPr>
          <a:lstStyle/>
          <a:p>
            <a:pPr marL="161196" indent="-161196" eaLnBrk="0" fontAlgn="base" latinLnBrk="0" hangingPunct="0">
              <a:spcBef>
                <a:spcPct val="10000"/>
              </a:spcBef>
              <a:spcAft>
                <a:spcPct val="0"/>
              </a:spcAft>
            </a:pPr>
            <a:r>
              <a:rPr lang="ko-KR" altLang="en-US" sz="1477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 3" pitchFamily="18" charset="2"/>
              </a:rPr>
              <a:t></a:t>
            </a:r>
          </a:p>
        </p:txBody>
      </p:sp>
      <p:sp>
        <p:nvSpPr>
          <p:cNvPr id="4" name="직사각형 3"/>
          <p:cNvSpPr/>
          <p:nvPr/>
        </p:nvSpPr>
        <p:spPr bwMode="auto">
          <a:xfrm>
            <a:off x="403590" y="2345077"/>
            <a:ext cx="2916000" cy="1998000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sysDash"/>
            <a:miter lim="800000"/>
            <a:headEnd type="oval"/>
            <a:tailEnd type="triangle"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TextBox 114"/>
          <p:cNvSpPr txBox="1"/>
          <p:nvPr/>
        </p:nvSpPr>
        <p:spPr bwMode="auto">
          <a:xfrm>
            <a:off x="7236737" y="2314959"/>
            <a:ext cx="2351763" cy="1291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20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기반 상품 서비스 플랫폼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고도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lvl="1" indent="-1651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유연한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개발 체계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확립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lvl="1" indent="-1651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기준 정보 체계 및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Rule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정립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7228408" y="2314959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TextBox 116"/>
          <p:cNvSpPr txBox="1"/>
          <p:nvPr/>
        </p:nvSpPr>
        <p:spPr bwMode="auto">
          <a:xfrm>
            <a:off x="7227958" y="4381943"/>
            <a:ext cx="2360542" cy="1531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361950" indent="-36195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개발 운영 관리 고도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서비스 정보 채널간 연계 개선 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(PVI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체계 개선</a:t>
            </a:r>
            <a:r>
              <a:rPr lang="en-US" altLang="ko-KR" sz="1200" b="0" dirty="0">
                <a:solidFill>
                  <a:srgbClr val="000000"/>
                </a:solidFill>
                <a:latin typeface="맑은 고딕"/>
                <a:ea typeface="맑은 고딕"/>
              </a:rPr>
              <a:t>)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상품 성과관리 체계 정비 </a:t>
            </a:r>
            <a:endParaRPr lang="en-US" altLang="ko-KR" sz="1200" b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444500" indent="-177800" latinLnBrk="0"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사후 수시 모니터링 프로세스 및 </a:t>
            </a:r>
            <a:r>
              <a:rPr lang="ko-KR" altLang="en-US" sz="1200" b="0" dirty="0" smtClean="0">
                <a:solidFill>
                  <a:srgbClr val="000000"/>
                </a:solidFill>
                <a:latin typeface="맑은 고딕"/>
                <a:ea typeface="맑은 고딕"/>
              </a:rPr>
              <a:t>의사결정체계 </a:t>
            </a:r>
            <a:r>
              <a:rPr lang="ko-KR" altLang="en-US" sz="1200" b="0" dirty="0">
                <a:solidFill>
                  <a:srgbClr val="000000"/>
                </a:solidFill>
                <a:latin typeface="맑은 고딕"/>
                <a:ea typeface="맑은 고딕"/>
              </a:rPr>
              <a:t>확립</a:t>
            </a:r>
            <a:r>
              <a:rPr lang="ko-KR" altLang="en-US" sz="120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7227958" y="4387559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" name="꺾인 연결선 5"/>
          <p:cNvCxnSpPr>
            <a:stCxn id="4" idx="0"/>
            <a:endCxn id="115" idx="0"/>
          </p:cNvCxnSpPr>
          <p:nvPr/>
        </p:nvCxnSpPr>
        <p:spPr bwMode="auto">
          <a:xfrm rot="5400000" flipH="1" flipV="1">
            <a:off x="5122045" y="-945496"/>
            <a:ext cx="30118" cy="6551029"/>
          </a:xfrm>
          <a:prstGeom prst="bentConnector3">
            <a:avLst>
              <a:gd name="adj1" fmla="val 1945312"/>
            </a:avLst>
          </a:prstGeom>
          <a:noFill/>
          <a:ln w="19050" algn="ctr">
            <a:solidFill>
              <a:srgbClr val="FF0000"/>
            </a:solidFill>
            <a:prstDash val="sysDash"/>
            <a:miter lim="800000"/>
            <a:headEnd type="oval"/>
            <a:tailEnd type="triangle"/>
          </a:ln>
          <a:effectLst/>
        </p:spPr>
      </p:cxnSp>
      <p:cxnSp>
        <p:nvCxnSpPr>
          <p:cNvPr id="9" name="꺾인 연결선 8"/>
          <p:cNvCxnSpPr>
            <a:endCxn id="117" idx="0"/>
          </p:cNvCxnSpPr>
          <p:nvPr/>
        </p:nvCxnSpPr>
        <p:spPr bwMode="auto">
          <a:xfrm>
            <a:off x="7079749" y="4043151"/>
            <a:ext cx="1328480" cy="338792"/>
          </a:xfrm>
          <a:prstGeom prst="bentConnector2">
            <a:avLst/>
          </a:prstGeom>
          <a:noFill/>
          <a:ln w="19050" algn="ctr">
            <a:solidFill>
              <a:srgbClr val="FF0000"/>
            </a:solidFill>
            <a:prstDash val="solid"/>
            <a:miter lim="800000"/>
            <a:headEnd type="oval"/>
            <a:tailEnd type="triangle"/>
          </a:ln>
          <a:effectLst/>
        </p:spPr>
      </p:cxnSp>
      <p:sp>
        <p:nvSpPr>
          <p:cNvPr id="12" name="자유형 11"/>
          <p:cNvSpPr/>
          <p:nvPr/>
        </p:nvSpPr>
        <p:spPr bwMode="auto">
          <a:xfrm>
            <a:off x="427489" y="2343880"/>
            <a:ext cx="6652260" cy="3451087"/>
          </a:xfrm>
          <a:custGeom>
            <a:avLst/>
            <a:gdLst>
              <a:gd name="connsiteX0" fmla="*/ 2964180 w 6652260"/>
              <a:gd name="connsiteY0" fmla="*/ 0 h 3459480"/>
              <a:gd name="connsiteX1" fmla="*/ 2964180 w 6652260"/>
              <a:gd name="connsiteY1" fmla="*/ 2065020 h 3459480"/>
              <a:gd name="connsiteX2" fmla="*/ 0 w 6652260"/>
              <a:gd name="connsiteY2" fmla="*/ 2065020 h 3459480"/>
              <a:gd name="connsiteX3" fmla="*/ 0 w 6652260"/>
              <a:gd name="connsiteY3" fmla="*/ 3444240 h 3459480"/>
              <a:gd name="connsiteX4" fmla="*/ 6644640 w 6652260"/>
              <a:gd name="connsiteY4" fmla="*/ 3459480 h 3459480"/>
              <a:gd name="connsiteX5" fmla="*/ 6652260 w 6652260"/>
              <a:gd name="connsiteY5" fmla="*/ 22860 h 3459480"/>
              <a:gd name="connsiteX6" fmla="*/ 2964180 w 6652260"/>
              <a:gd name="connsiteY6" fmla="*/ 0 h 3459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2260" h="3459480">
                <a:moveTo>
                  <a:pt x="2964180" y="0"/>
                </a:moveTo>
                <a:lnTo>
                  <a:pt x="2964180" y="2065020"/>
                </a:lnTo>
                <a:lnTo>
                  <a:pt x="0" y="2065020"/>
                </a:lnTo>
                <a:lnTo>
                  <a:pt x="0" y="3444240"/>
                </a:lnTo>
                <a:lnTo>
                  <a:pt x="6644640" y="3459480"/>
                </a:lnTo>
                <a:lnTo>
                  <a:pt x="6652260" y="22860"/>
                </a:lnTo>
                <a:lnTo>
                  <a:pt x="2964180" y="0"/>
                </a:lnTo>
                <a:close/>
              </a:path>
            </a:pathLst>
          </a:custGeom>
          <a:noFill/>
          <a:ln w="19050" algn="ctr">
            <a:solidFill>
              <a:srgbClr val="FF0000"/>
            </a:solidFill>
            <a:prstDash val="solid"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9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0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1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2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3" name="그룹 12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83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84" name="TextBox 83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latinLnBrk="0"/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영역 예상 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과제 </a:t>
              </a:r>
              <a:r>
                <a:rPr lang="en-US" altLang="ko-KR" sz="14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8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26" name="TextBox 125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7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8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86896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0"/>
          <p:cNvSpPr/>
          <p:nvPr/>
        </p:nvSpPr>
        <p:spPr bwMode="gray">
          <a:xfrm>
            <a:off x="326408" y="3229910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Rectangle 30"/>
          <p:cNvSpPr/>
          <p:nvPr/>
        </p:nvSpPr>
        <p:spPr bwMode="gray">
          <a:xfrm>
            <a:off x="5197540" y="3249103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    </a:t>
            </a:r>
            <a:r>
              <a:rPr lang="en-US" altLang="ko-KR" dirty="0" smtClean="0"/>
              <a:t>Rule </a:t>
            </a:r>
            <a:r>
              <a:rPr lang="ko-KR" altLang="en-US" dirty="0"/>
              <a:t>기반 상품 서비스 플랫폼 </a:t>
            </a:r>
            <a:r>
              <a:rPr lang="ko-KR" altLang="en-US" dirty="0" smtClean="0"/>
              <a:t>고도화 </a:t>
            </a:r>
            <a:r>
              <a:rPr lang="en-US" altLang="ko-KR" dirty="0" smtClean="0"/>
              <a:t>– </a:t>
            </a:r>
            <a:r>
              <a:rPr lang="ko-KR" altLang="en-US" dirty="0"/>
              <a:t>과제 개요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en-US" altLang="ko-KR" dirty="0"/>
              <a:t>Rule </a:t>
            </a:r>
            <a:r>
              <a:rPr lang="ko-KR" altLang="en-US" dirty="0"/>
              <a:t>기반의 상품</a:t>
            </a:r>
            <a:r>
              <a:rPr lang="en-US" altLang="ko-KR" dirty="0"/>
              <a:t>/</a:t>
            </a:r>
            <a:r>
              <a:rPr lang="ko-KR" altLang="en-US" dirty="0"/>
              <a:t>서비스 </a:t>
            </a:r>
            <a:r>
              <a:rPr lang="ko-KR" altLang="en-US" dirty="0" smtClean="0"/>
              <a:t>플랫폼을 구축하기 위해서는</a:t>
            </a:r>
            <a:r>
              <a:rPr lang="en-US" altLang="ko-KR" dirty="0" smtClean="0"/>
              <a:t>,</a:t>
            </a:r>
            <a:r>
              <a:rPr lang="ko-KR" altLang="en-US" dirty="0" smtClean="0"/>
              <a:t> 상품 개발 절차의 유연함이 확보되어야 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따라서 상품</a:t>
            </a:r>
            <a:r>
              <a:rPr lang="en-US" altLang="ko-KR" dirty="0" smtClean="0"/>
              <a:t>/</a:t>
            </a:r>
            <a:r>
              <a:rPr lang="ko-KR" altLang="en-US" dirty="0" smtClean="0"/>
              <a:t>서비스 기준정보와 </a:t>
            </a:r>
            <a:r>
              <a:rPr lang="en-US" altLang="ko-KR" dirty="0" smtClean="0"/>
              <a:t>Rule</a:t>
            </a:r>
            <a:r>
              <a:rPr lang="ko-KR" altLang="en-US" dirty="0" smtClean="0"/>
              <a:t>을 체계적으로 정립해야 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유연한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발 체계 확립 </a:t>
            </a: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준 정보 체계 및 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Rule 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정립 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시장 반응</a:t>
            </a:r>
            <a:r>
              <a:rPr kumimoji="0" lang="en-US" altLang="ko-KR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변화 대응을 위한 유연성 확보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개발 주기 단축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준 정보 체계의 통합성 제고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6254922" y="3448050"/>
            <a:ext cx="3234582" cy="1204288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반 서비스 패키지 등 맞춤형 서비스 조합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endParaRPr kumimoji="1" lang="en-US" altLang="ko-KR" sz="11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en-US" altLang="ko-K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상품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로 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범위 확장 적용 </a:t>
            </a:r>
            <a:endParaRPr kumimoji="1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6254922" y="4778531"/>
            <a:ext cx="3234582" cy="1204287"/>
          </a:xfrm>
          <a:prstGeom prst="roundRect">
            <a:avLst>
              <a:gd name="adj" fmla="val 0"/>
            </a:avLst>
          </a:prstGeom>
          <a:noFill/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상품 기준정보 체계 정립 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금융</a:t>
            </a: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en-US" altLang="ko-KR" sz="110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Be </a:t>
            </a:r>
            <a:r>
              <a:rPr kumimoji="1" lang="ko-KR" altLang="en-US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분류 체계 </a:t>
            </a: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립</a:t>
            </a:r>
            <a:endParaRPr kumimoji="1" lang="en-US" altLang="ko-KR" sz="110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5303218" y="3448050"/>
            <a:ext cx="851121" cy="1204288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유연한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개발체계 확립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5293275" y="4778532"/>
            <a:ext cx="851121" cy="1204288"/>
          </a:xfrm>
          <a:prstGeom prst="rect">
            <a:avLst/>
          </a:prstGeom>
          <a:solidFill>
            <a:srgbClr val="D6EBF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기준정보 체계 정립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359897" y="3448050"/>
            <a:ext cx="921768" cy="1204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개발 체계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모서리가 둥근 직사각형 54"/>
          <p:cNvSpPr/>
          <p:nvPr/>
        </p:nvSpPr>
        <p:spPr>
          <a:xfrm>
            <a:off x="1352600" y="3448050"/>
            <a:ext cx="3312368" cy="120428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F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념으로 개발된 상품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관리 체계 존재하나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유연성 부족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일부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업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금융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서비스 플랫폼 부재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관 상품 제휴 서비스 등의 한계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맞춤형 서비스 조합 기능 미흡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새로운 상품 </a:t>
            </a:r>
            <a:r>
              <a:rPr kumimoji="1" lang="ko-KR" alt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컨셉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구현 및 서비스 변경 제한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59897" y="4778531"/>
            <a:ext cx="921768" cy="1204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기준정보 체계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1352600" y="4778531"/>
            <a:ext cx="3312368" cy="120428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 기준 정보 체계 분류가 미흡함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반의 분류가 아니기 때문에 </a:t>
            </a:r>
            <a:r>
              <a:rPr kumimoji="1" lang="en-US" altLang="ko-KR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반 으로의 기준 정보 체계 정비가 필요함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업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SOHO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등 전사 상품의 체계적 관리 미흡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BC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관리 체계 부재 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론 단일 상품 운영</a:t>
            </a:r>
            <a:endParaRPr kumimoji="1" lang="en-US" altLang="ko-KR" sz="105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30"/>
          <p:cNvSpPr/>
          <p:nvPr/>
        </p:nvSpPr>
        <p:spPr bwMode="gray">
          <a:xfrm>
            <a:off x="5197540" y="2928152"/>
            <a:ext cx="441000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33" name="Rectangle 30"/>
          <p:cNvSpPr/>
          <p:nvPr/>
        </p:nvSpPr>
        <p:spPr bwMode="gray">
          <a:xfrm>
            <a:off x="326408" y="2928153"/>
            <a:ext cx="4410000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37" name="이등변 삼각형 36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5" name="그룹 4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64" name="그룹 6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6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6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409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개발 체계의 유연성 확보를 위해서는 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을 도입하여 전사 통합 관리가 이루어져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35206" y="1870800"/>
            <a:ext cx="9594939" cy="4438424"/>
            <a:chOff x="235206" y="1658282"/>
            <a:chExt cx="9594939" cy="4650942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2966368" y="2368290"/>
              <a:ext cx="1584176" cy="19040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922372" y="1945671"/>
              <a:ext cx="3382556" cy="299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다른 사업 부문간 상품끼리 결합 불가</a:t>
              </a:r>
              <a:endPara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32" name="Rectangle 38"/>
            <p:cNvSpPr>
              <a:spLocks noChangeArrowheads="1"/>
            </p:cNvSpPr>
            <p:nvPr/>
          </p:nvSpPr>
          <p:spPr bwMode="gray">
            <a:xfrm>
              <a:off x="668152" y="1937152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2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5279228" y="1945671"/>
              <a:ext cx="3382556" cy="299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각 사업부문별 서비스 패키지 개발</a:t>
              </a:r>
              <a:endParaRPr kumimoji="1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34" name="Rectangle 38"/>
            <p:cNvSpPr>
              <a:spLocks noChangeArrowheads="1"/>
            </p:cNvSpPr>
            <p:nvPr/>
          </p:nvSpPr>
          <p:spPr bwMode="gray">
            <a:xfrm>
              <a:off x="5025008" y="1937152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2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462000" y="2497888"/>
              <a:ext cx="864000" cy="72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22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결 대상</a:t>
              </a:r>
              <a: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종류</a:t>
              </a:r>
              <a:endPara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462000" y="3269656"/>
              <a:ext cx="864000" cy="46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22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혜 대상</a:t>
              </a:r>
              <a:endPara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462000" y="3791200"/>
              <a:ext cx="864000" cy="46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22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세 유형</a:t>
              </a:r>
              <a:endPara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1386168" y="2497888"/>
              <a:ext cx="750648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b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비신용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 bwMode="auto">
            <a:xfrm>
              <a:off x="2180752" y="2497888"/>
              <a:ext cx="540000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1386168" y="3269656"/>
              <a:ext cx="750192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2177192" y="3269656"/>
              <a:ext cx="550924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법인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1386168" y="3791200"/>
              <a:ext cx="1341948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할인 등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3047296" y="3222022"/>
              <a:ext cx="648000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가맹점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원</a:t>
              </a:r>
            </a:p>
          </p:txBody>
        </p:sp>
        <p:sp>
          <p:nvSpPr>
            <p:cNvPr id="46" name="직사각형 45"/>
            <p:cNvSpPr/>
            <p:nvPr/>
          </p:nvSpPr>
          <p:spPr bwMode="auto">
            <a:xfrm>
              <a:off x="3047296" y="3743566"/>
              <a:ext cx="648000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세이브</a:t>
              </a: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3767376" y="3222022"/>
              <a:ext cx="648000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멤버십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원</a:t>
              </a: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3767376" y="3743566"/>
              <a:ext cx="648000" cy="46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가맹점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품목별</a:t>
              </a:r>
            </a:p>
          </p:txBody>
        </p:sp>
        <p:cxnSp>
          <p:nvCxnSpPr>
            <p:cNvPr id="51" name="꺾인 연결선 50"/>
            <p:cNvCxnSpPr>
              <a:stCxn id="39" idx="0"/>
              <a:endCxn id="179" idx="0"/>
            </p:cNvCxnSpPr>
            <p:nvPr/>
          </p:nvCxnSpPr>
          <p:spPr bwMode="auto">
            <a:xfrm rot="5400000" flipH="1" flipV="1">
              <a:off x="3088972" y="1854676"/>
              <a:ext cx="4992" cy="1281433"/>
            </a:xfrm>
            <a:prstGeom prst="bentConnector3">
              <a:avLst>
                <a:gd name="adj1" fmla="val 4679327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52" name="TextBox 51"/>
            <p:cNvSpPr txBox="1"/>
            <p:nvPr/>
          </p:nvSpPr>
          <p:spPr bwMode="auto">
            <a:xfrm>
              <a:off x="2039489" y="2141773"/>
              <a:ext cx="180105" cy="3019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400" b="0" dirty="0" smtClean="0">
                  <a:solidFill>
                    <a:srgbClr val="FF0000"/>
                  </a:solidFill>
                  <a:latin typeface="맑은 고딕"/>
                  <a:ea typeface="맑은 고딕"/>
                </a:rPr>
                <a:t>X</a:t>
              </a:r>
              <a:endParaRPr lang="ko-KR" altLang="en-US" sz="1400" b="0" dirty="0" smtClean="0">
                <a:solidFill>
                  <a:srgbClr val="FF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3" name="TextBox 52"/>
            <p:cNvSpPr txBox="1"/>
            <p:nvPr/>
          </p:nvSpPr>
          <p:spPr bwMode="auto">
            <a:xfrm>
              <a:off x="2738555" y="2141774"/>
              <a:ext cx="180105" cy="3019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400" b="0" dirty="0" smtClean="0">
                  <a:solidFill>
                    <a:srgbClr val="FF0000"/>
                  </a:solidFill>
                  <a:latin typeface="맑은 고딕"/>
                  <a:ea typeface="맑은 고딕"/>
                </a:rPr>
                <a:t>X</a:t>
              </a:r>
              <a:endParaRPr lang="ko-KR" altLang="en-US" sz="1400" b="0" dirty="0" smtClean="0">
                <a:solidFill>
                  <a:srgbClr val="FF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2811136" y="4237691"/>
              <a:ext cx="2101804" cy="299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일부 상품</a:t>
              </a:r>
              <a:r>
                <a:rPr kumimoji="1" lang="en-US" altLang="ko-KR" sz="1050" b="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kumimoji="1" lang="ko-KR" altLang="en-US" sz="1050" b="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 개별 관리</a:t>
              </a:r>
              <a:endPara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7" name="직사각형 56"/>
            <p:cNvSpPr/>
            <p:nvPr/>
          </p:nvSpPr>
          <p:spPr bwMode="auto">
            <a:xfrm>
              <a:off x="378504" y="4474149"/>
              <a:ext cx="72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직사각형 57"/>
            <p:cNvSpPr/>
            <p:nvPr/>
          </p:nvSpPr>
          <p:spPr bwMode="auto">
            <a:xfrm>
              <a:off x="1234096" y="4488184"/>
              <a:ext cx="72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2089688" y="4488184"/>
              <a:ext cx="72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2945280" y="4488184"/>
              <a:ext cx="72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3800872" y="4488184"/>
              <a:ext cx="72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순서도: 자기 디스크 61"/>
            <p:cNvSpPr/>
            <p:nvPr/>
          </p:nvSpPr>
          <p:spPr bwMode="auto">
            <a:xfrm>
              <a:off x="1280592" y="4980493"/>
              <a:ext cx="1875720" cy="401143"/>
            </a:xfrm>
            <a:prstGeom prst="flowChartMagneticDisk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3453700" y="4883872"/>
              <a:ext cx="1381724" cy="6047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전사 상품 </a:t>
              </a: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Rule</a:t>
              </a:r>
              <a:b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Governance </a:t>
              </a: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리</a:t>
              </a: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체계 미흡</a:t>
              </a:r>
              <a:endPara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4" name="Rectangle 38"/>
            <p:cNvSpPr>
              <a:spLocks noChangeArrowheads="1"/>
            </p:cNvSpPr>
            <p:nvPr/>
          </p:nvSpPr>
          <p:spPr bwMode="gray">
            <a:xfrm>
              <a:off x="3224808" y="4966341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3</a:t>
              </a:r>
            </a:p>
          </p:txBody>
        </p:sp>
        <p:cxnSp>
          <p:nvCxnSpPr>
            <p:cNvPr id="65" name="직선 연결선 64"/>
            <p:cNvCxnSpPr>
              <a:stCxn id="57" idx="2"/>
              <a:endCxn id="62" idx="1"/>
            </p:cNvCxnSpPr>
            <p:nvPr/>
          </p:nvCxnSpPr>
          <p:spPr bwMode="auto">
            <a:xfrm>
              <a:off x="738504" y="4762149"/>
              <a:ext cx="1479948" cy="21834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6" name="직선 연결선 65"/>
            <p:cNvCxnSpPr>
              <a:stCxn id="58" idx="2"/>
              <a:endCxn id="62" idx="1"/>
            </p:cNvCxnSpPr>
            <p:nvPr/>
          </p:nvCxnSpPr>
          <p:spPr bwMode="auto">
            <a:xfrm>
              <a:off x="1594096" y="4776184"/>
              <a:ext cx="624356" cy="20430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7" name="직선 연결선 66"/>
            <p:cNvCxnSpPr>
              <a:stCxn id="59" idx="2"/>
              <a:endCxn id="62" idx="1"/>
            </p:cNvCxnSpPr>
            <p:nvPr/>
          </p:nvCxnSpPr>
          <p:spPr bwMode="auto">
            <a:xfrm flipH="1">
              <a:off x="2218452" y="4776184"/>
              <a:ext cx="231236" cy="20430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8" name="직선 연결선 67"/>
            <p:cNvCxnSpPr>
              <a:stCxn id="60" idx="2"/>
              <a:endCxn id="62" idx="1"/>
            </p:cNvCxnSpPr>
            <p:nvPr/>
          </p:nvCxnSpPr>
          <p:spPr bwMode="auto">
            <a:xfrm flipH="1">
              <a:off x="2218452" y="4776184"/>
              <a:ext cx="1086828" cy="20430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69" name="직선 연결선 68"/>
            <p:cNvCxnSpPr>
              <a:stCxn id="61" idx="2"/>
              <a:endCxn id="62" idx="1"/>
            </p:cNvCxnSpPr>
            <p:nvPr/>
          </p:nvCxnSpPr>
          <p:spPr bwMode="auto">
            <a:xfrm flipH="1">
              <a:off x="2218452" y="4776184"/>
              <a:ext cx="1942420" cy="20430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71" name="TextBox 70"/>
            <p:cNvSpPr txBox="1"/>
            <p:nvPr/>
          </p:nvSpPr>
          <p:spPr bwMode="auto">
            <a:xfrm>
              <a:off x="2072680" y="4565523"/>
              <a:ext cx="281094" cy="6567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3600" dirty="0">
                  <a:solidFill>
                    <a:schemeClr val="accent5">
                      <a:lumMod val="25000"/>
                    </a:schemeClr>
                  </a:solidFill>
                  <a:latin typeface="맑은 고딕"/>
                  <a:ea typeface="맑은 고딕"/>
                </a:rPr>
                <a:t>?</a:t>
              </a:r>
              <a:endParaRPr lang="ko-KR" altLang="en-US" sz="3600" dirty="0" smtClean="0">
                <a:solidFill>
                  <a:schemeClr val="accent5">
                    <a:lumMod val="25000"/>
                  </a:scheme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344488" y="5445224"/>
              <a:ext cx="990110" cy="864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kern="0" dirty="0" smtClean="0">
                  <a:latin typeface="맑은 고딕" pitchFamily="50" charset="-127"/>
                  <a:ea typeface="맑은 고딕" pitchFamily="50" charset="-127"/>
                </a:rPr>
                <a:t>주요이슈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1329956" y="5445224"/>
              <a:ext cx="3499219" cy="864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 </a:t>
              </a: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ule </a:t>
              </a: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內 일부 상품 및 서비스 제외</a:t>
              </a:r>
              <a:endParaRPr lang="en-US" altLang="ko-KR" sz="1050" b="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로 다른 부문간의 상품끼리는 결합 불가</a:t>
              </a:r>
              <a:endPara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ea"/>
                <a:buAutoNum type="circleNumDbPlain"/>
                <a:tabLst/>
                <a:defRPr/>
              </a:pPr>
              <a:r>
                <a:rPr lang="ko-KR" altLang="en-US" sz="105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 </a:t>
              </a:r>
              <a:r>
                <a:rPr lang="en-US" altLang="ko-KR" sz="105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 </a:t>
              </a:r>
              <a:r>
                <a:rPr lang="ko-KR" altLang="en-US" sz="105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시스템 </a:t>
              </a:r>
              <a:r>
                <a:rPr lang="en-US" altLang="ko-KR" sz="105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Governance </a:t>
              </a:r>
              <a:r>
                <a:rPr lang="ko-KR" altLang="en-US" sz="105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체계 미흡</a:t>
              </a:r>
              <a:endPara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4" name="이등변 삼각형 83"/>
            <p:cNvSpPr/>
            <p:nvPr/>
          </p:nvSpPr>
          <p:spPr bwMode="auto">
            <a:xfrm rot="5400000">
              <a:off x="3838867" y="3248612"/>
              <a:ext cx="1949003" cy="192667"/>
            </a:xfrm>
            <a:prstGeom prst="triangle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5" name="직사각형 84"/>
            <p:cNvSpPr/>
            <p:nvPr/>
          </p:nvSpPr>
          <p:spPr>
            <a:xfrm>
              <a:off x="6179844" y="4144432"/>
              <a:ext cx="3109916" cy="299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상품 </a:t>
              </a:r>
              <a:r>
                <a:rPr kumimoji="1" lang="en-US" altLang="ko-KR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Rule </a:t>
              </a:r>
              <a:r>
                <a:rPr kumimoji="1" lang="ko-KR" altLang="en-US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시스템 내 전사 상품</a:t>
              </a:r>
              <a:r>
                <a:rPr kumimoji="1" lang="en-US" altLang="ko-KR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kumimoji="1" lang="ko-KR" altLang="en-US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 통합관리</a:t>
              </a:r>
              <a:endParaRPr kumimoji="1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86" name="Rectangle 38"/>
            <p:cNvSpPr>
              <a:spLocks noChangeArrowheads="1"/>
            </p:cNvSpPr>
            <p:nvPr/>
          </p:nvSpPr>
          <p:spPr bwMode="gray">
            <a:xfrm>
              <a:off x="5878944" y="4144433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1</a:t>
              </a: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5025088" y="4469712"/>
              <a:ext cx="720000" cy="2877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5889164" y="4469712"/>
              <a:ext cx="720000" cy="2877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6753240" y="4469712"/>
              <a:ext cx="720000" cy="2877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7617316" y="4469712"/>
              <a:ext cx="720000" cy="2877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8481392" y="4469712"/>
              <a:ext cx="720000" cy="2877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순서도: 자기 디스크 91"/>
            <p:cNvSpPr/>
            <p:nvPr/>
          </p:nvSpPr>
          <p:spPr bwMode="auto">
            <a:xfrm>
              <a:off x="5757552" y="4992201"/>
              <a:ext cx="1875720" cy="401143"/>
            </a:xfrm>
            <a:prstGeom prst="flowChartMagneticDisk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aster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>
            <a:xfrm>
              <a:off x="8006180" y="4897338"/>
              <a:ext cx="1381724" cy="4353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상품</a:t>
              </a: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</a:t>
              </a: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en-US" altLang="ko-KR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Ownership </a:t>
              </a:r>
              <a:r>
                <a:rPr kumimoji="1" lang="ko-KR" altLang="en-US" sz="105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명확화</a:t>
              </a:r>
              <a:endPara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94" name="Rectangle 38"/>
            <p:cNvSpPr>
              <a:spLocks noChangeArrowheads="1"/>
            </p:cNvSpPr>
            <p:nvPr/>
          </p:nvSpPr>
          <p:spPr bwMode="gray">
            <a:xfrm>
              <a:off x="7777288" y="4947569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3</a:t>
              </a:r>
            </a:p>
          </p:txBody>
        </p:sp>
        <p:cxnSp>
          <p:nvCxnSpPr>
            <p:cNvPr id="95" name="직선 연결선 94"/>
            <p:cNvCxnSpPr>
              <a:stCxn id="87" idx="2"/>
              <a:endCxn id="92" idx="1"/>
            </p:cNvCxnSpPr>
            <p:nvPr/>
          </p:nvCxnSpPr>
          <p:spPr bwMode="auto">
            <a:xfrm>
              <a:off x="5385088" y="4757412"/>
              <a:ext cx="1310324" cy="23478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6" name="직선 연결선 95"/>
            <p:cNvCxnSpPr>
              <a:stCxn id="88" idx="2"/>
              <a:endCxn id="92" idx="1"/>
            </p:cNvCxnSpPr>
            <p:nvPr/>
          </p:nvCxnSpPr>
          <p:spPr bwMode="auto">
            <a:xfrm>
              <a:off x="6249164" y="4757412"/>
              <a:ext cx="446248" cy="23478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7" name="직선 연결선 96"/>
            <p:cNvCxnSpPr>
              <a:stCxn id="89" idx="2"/>
              <a:endCxn id="92" idx="1"/>
            </p:cNvCxnSpPr>
            <p:nvPr/>
          </p:nvCxnSpPr>
          <p:spPr bwMode="auto">
            <a:xfrm flipH="1">
              <a:off x="6695412" y="4757412"/>
              <a:ext cx="417828" cy="23478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8" name="직선 연결선 97"/>
            <p:cNvCxnSpPr>
              <a:stCxn id="90" idx="2"/>
              <a:endCxn id="92" idx="1"/>
            </p:cNvCxnSpPr>
            <p:nvPr/>
          </p:nvCxnSpPr>
          <p:spPr bwMode="auto">
            <a:xfrm flipH="1">
              <a:off x="6695412" y="4757412"/>
              <a:ext cx="1281904" cy="23478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9" name="직선 연결선 98"/>
            <p:cNvCxnSpPr>
              <a:stCxn id="91" idx="2"/>
              <a:endCxn id="92" idx="1"/>
            </p:cNvCxnSpPr>
            <p:nvPr/>
          </p:nvCxnSpPr>
          <p:spPr bwMode="auto">
            <a:xfrm flipH="1">
              <a:off x="6695412" y="4757412"/>
              <a:ext cx="2145980" cy="234789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00" name="직사각형 99"/>
            <p:cNvSpPr/>
            <p:nvPr/>
          </p:nvSpPr>
          <p:spPr bwMode="auto">
            <a:xfrm>
              <a:off x="4953000" y="5445224"/>
              <a:ext cx="1082438" cy="864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kern="0" dirty="0" smtClean="0">
                  <a:latin typeface="맑은 고딕" pitchFamily="50" charset="-127"/>
                  <a:ea typeface="맑은 고딕" pitchFamily="50" charset="-127"/>
                </a:rPr>
                <a:t>주요 </a:t>
              </a:r>
              <a:r>
                <a:rPr lang="en-US" altLang="ko-KR" sz="1200" kern="0" dirty="0" smtClean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2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200" kern="0" dirty="0" smtClean="0">
                  <a:latin typeface="맑은 고딕" pitchFamily="50" charset="-127"/>
                  <a:ea typeface="맑은 고딕" pitchFamily="50" charset="-127"/>
                </a:rPr>
                <a:t>변화 사항</a:t>
              </a:r>
              <a:endParaRPr kumimoji="0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5241032" y="2453770"/>
              <a:ext cx="756000" cy="39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 신용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6165163" y="2453770"/>
              <a:ext cx="756000" cy="39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비신용</a:t>
              </a: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선불</a:t>
              </a: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체크</a:t>
              </a: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직사각형 102"/>
            <p:cNvSpPr/>
            <p:nvPr/>
          </p:nvSpPr>
          <p:spPr bwMode="auto">
            <a:xfrm>
              <a:off x="7089294" y="2453770"/>
              <a:ext cx="756000" cy="3960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8013424" y="2453770"/>
              <a:ext cx="756000" cy="39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법인 신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6" name="직사각형 105"/>
            <p:cNvSpPr/>
            <p:nvPr/>
          </p:nvSpPr>
          <p:spPr bwMode="auto">
            <a:xfrm>
              <a:off x="5237576" y="3042236"/>
              <a:ext cx="792000" cy="39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6125704" y="3042236"/>
              <a:ext cx="792000" cy="3960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가맹점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7013832" y="3042236"/>
              <a:ext cx="792000" cy="3960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멤버십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7901960" y="3042236"/>
              <a:ext cx="792000" cy="39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법인회원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4949544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할인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5341780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장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할인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5734016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포인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트적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립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6126252" y="3507468"/>
              <a:ext cx="360000" cy="576000"/>
            </a:xfrm>
            <a:prstGeom prst="rect">
              <a:avLst/>
            </a:prstGeom>
            <a:solidFill>
              <a:srgbClr val="D6EBF6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세이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브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6518488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캐시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백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6910724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연회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비면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 bwMode="auto">
            <a:xfrm>
              <a:off x="7302960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편의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부대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직사각형 116"/>
            <p:cNvSpPr/>
            <p:nvPr/>
          </p:nvSpPr>
          <p:spPr bwMode="auto">
            <a:xfrm>
              <a:off x="7695196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부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 bwMode="auto">
            <a:xfrm>
              <a:off x="8087432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무이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자할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부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9" name="직사각형 118"/>
            <p:cNvSpPr/>
            <p:nvPr/>
          </p:nvSpPr>
          <p:spPr bwMode="auto">
            <a:xfrm>
              <a:off x="8479668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이자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율할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직사각형 119"/>
            <p:cNvSpPr/>
            <p:nvPr/>
          </p:nvSpPr>
          <p:spPr bwMode="auto">
            <a:xfrm>
              <a:off x="8871899" y="3507468"/>
              <a:ext cx="360000" cy="57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5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수수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료할</a:t>
              </a:r>
              <a: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lang="en-US" altLang="ko-KR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0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1" name="꺾인 연결선 120"/>
            <p:cNvCxnSpPr>
              <a:stCxn id="101" idx="0"/>
              <a:endCxn id="103" idx="0"/>
            </p:cNvCxnSpPr>
            <p:nvPr/>
          </p:nvCxnSpPr>
          <p:spPr bwMode="auto">
            <a:xfrm rot="5400000" flipH="1" flipV="1">
              <a:off x="6543163" y="1529639"/>
              <a:ext cx="12700" cy="1848262"/>
            </a:xfrm>
            <a:prstGeom prst="bentConnector3">
              <a:avLst>
                <a:gd name="adj1" fmla="val 180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23" name="TextBox 122"/>
            <p:cNvSpPr txBox="1"/>
            <p:nvPr/>
          </p:nvSpPr>
          <p:spPr bwMode="auto">
            <a:xfrm>
              <a:off x="6397842" y="2030597"/>
              <a:ext cx="257049" cy="463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2400" b="0" dirty="0" smtClean="0">
                  <a:solidFill>
                    <a:schemeClr val="accent5">
                      <a:lumMod val="50000"/>
                    </a:schemeClr>
                  </a:solidFill>
                  <a:latin typeface="맑은 고딕"/>
                  <a:ea typeface="맑은 고딕"/>
                </a:rPr>
                <a:t>o</a:t>
              </a:r>
              <a:endParaRPr lang="ko-KR" altLang="en-US" sz="2400" b="0" dirty="0" smtClean="0">
                <a:solidFill>
                  <a:schemeClr val="accent5">
                    <a:lumMod val="50000"/>
                  </a:scheme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25" name="Rectangle 38"/>
            <p:cNvSpPr>
              <a:spLocks noChangeArrowheads="1"/>
            </p:cNvSpPr>
            <p:nvPr/>
          </p:nvSpPr>
          <p:spPr bwMode="gray">
            <a:xfrm>
              <a:off x="9345488" y="2852936"/>
              <a:ext cx="288000" cy="288000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 kern="0" dirty="0">
                  <a:solidFill>
                    <a:srgbClr val="FFFFFF"/>
                  </a:solidFill>
                  <a:latin typeface="맑은 고딕"/>
                  <a:ea typeface="맑은 고딕"/>
                </a:rPr>
                <a:t>A</a:t>
              </a:r>
              <a:endPara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9345489" y="3140936"/>
              <a:ext cx="484656" cy="10159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전사</a:t>
              </a:r>
              <a:r>
                <a:rPr kumimoji="1" lang="en-US" altLang="ko-KR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kumimoji="1" lang="en-US" altLang="ko-KR" sz="105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ko-KR" altLang="en-US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상품</a:t>
              </a:r>
              <a: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b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ko-KR" altLang="en-US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</a:t>
              </a:r>
              <a: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ko-KR" altLang="en-US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통합</a:t>
              </a:r>
              <a: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kumimoji="1" lang="en-US" altLang="ko-KR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kumimoji="1" lang="ko-KR" altLang="en-US" sz="105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관리</a:t>
              </a:r>
              <a:endParaRPr kumimoji="1" lang="ko-KR" altLang="en-US" sz="10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9051899" y="1864856"/>
              <a:ext cx="53829" cy="14519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31" name="그룹 130"/>
            <p:cNvGrpSpPr/>
            <p:nvPr/>
          </p:nvGrpSpPr>
          <p:grpSpPr>
            <a:xfrm>
              <a:off x="6033180" y="5445224"/>
              <a:ext cx="3555319" cy="864000"/>
              <a:chOff x="6033179" y="5445224"/>
              <a:chExt cx="3688628" cy="864000"/>
            </a:xfrm>
          </p:grpSpPr>
          <p:sp>
            <p:nvSpPr>
              <p:cNvPr id="132" name="직사각형 131"/>
              <p:cNvSpPr/>
              <p:nvPr/>
            </p:nvSpPr>
            <p:spPr bwMode="auto">
              <a:xfrm>
                <a:off x="6033179" y="5445224"/>
                <a:ext cx="3688628" cy="864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accent5">
                    <a:lumMod val="2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lvl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kumimoji="0" lang="ko-KR" altLang="en-US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 전사</a:t>
                </a:r>
                <a:r>
                  <a:rPr lang="en-US" altLang="ko-KR" sz="10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lang="ko-KR" altLang="en-US" sz="10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상품</a:t>
                </a:r>
                <a:r>
                  <a:rPr lang="en-US" altLang="ko-KR" sz="10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lang="ko-KR" altLang="en-US" sz="10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서비스 통합 관리</a:t>
                </a:r>
                <a:endParaRPr lang="en-US" altLang="ko-KR" sz="10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R="0" lvl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 - 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사 상품 및 서비스 개발 프로세스 표준화</a:t>
                </a:r>
                <a:endPara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R="0" lvl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en-US" altLang="ko-KR" sz="1000" b="0" kern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    - </a:t>
                </a:r>
                <a:r>
                  <a:rPr lang="ko-KR" altLang="en-US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각 사업부문별 서비스 패키지 개발을 통한 사업부문간</a:t>
                </a:r>
                <a: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       Cross-Sell </a:t>
                </a:r>
                <a:r>
                  <a:rPr lang="ko-KR" altLang="en-US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활성화</a:t>
                </a:r>
                <a:endParaRPr lang="en-US" altLang="ko-KR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marR="0" lvl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 -</a:t>
                </a:r>
                <a:r>
                  <a:rPr kumimoji="0" lang="en-US" altLang="ko-KR" sz="1000" b="0" i="0" u="none" strike="noStrike" kern="0" cap="none" spc="0" normalizeH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kumimoji="0" lang="ko-KR" altLang="en-US" sz="1000" b="0" i="0" u="none" strike="noStrike" kern="0" cap="none" spc="0" normalizeH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상품</a:t>
                </a:r>
                <a:r>
                  <a:rPr kumimoji="0" lang="en-US" altLang="ko-KR" sz="1000" b="0" i="0" u="none" strike="noStrike" kern="0" cap="none" spc="0" normalizeH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1000" b="0" i="0" u="none" strike="noStrike" kern="0" cap="none" spc="0" normalizeH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서비스 </a:t>
                </a:r>
                <a: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ule, Master </a:t>
                </a:r>
                <a:r>
                  <a:rPr lang="ko-KR" altLang="en-US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관리 </a:t>
                </a:r>
                <a:r>
                  <a:rPr lang="en-US" altLang="ko-KR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&amp;R</a:t>
                </a:r>
                <a:r>
                  <a:rPr lang="ko-KR" altLang="en-US" sz="1000" b="0" kern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lang="ko-KR" altLang="en-US" sz="1000" b="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확립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3" name="타원 132"/>
              <p:cNvSpPr/>
              <p:nvPr/>
            </p:nvSpPr>
            <p:spPr bwMode="auto">
              <a:xfrm>
                <a:off x="6150136" y="5517232"/>
                <a:ext cx="126000" cy="126000"/>
              </a:xfrm>
              <a:prstGeom prst="ellipse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0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A</a:t>
                </a:r>
                <a:endParaRPr kumimoji="1" lang="ko-KR" altLang="en-US" sz="10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cxnSp>
          <p:nvCxnSpPr>
            <p:cNvPr id="134" name="직선 연결선 133"/>
            <p:cNvCxnSpPr>
              <a:stCxn id="101" idx="2"/>
              <a:endCxn id="106" idx="0"/>
            </p:cNvCxnSpPr>
            <p:nvPr/>
          </p:nvCxnSpPr>
          <p:spPr bwMode="auto">
            <a:xfrm>
              <a:off x="5619032" y="2849770"/>
              <a:ext cx="14544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35" name="직선 연결선 134"/>
            <p:cNvCxnSpPr>
              <a:stCxn id="102" idx="2"/>
              <a:endCxn id="106" idx="0"/>
            </p:cNvCxnSpPr>
            <p:nvPr/>
          </p:nvCxnSpPr>
          <p:spPr bwMode="auto">
            <a:xfrm flipH="1">
              <a:off x="5633576" y="2849770"/>
              <a:ext cx="909587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36" name="직선 연결선 135"/>
            <p:cNvCxnSpPr>
              <a:stCxn id="103" idx="2"/>
              <a:endCxn id="106" idx="0"/>
            </p:cNvCxnSpPr>
            <p:nvPr/>
          </p:nvCxnSpPr>
          <p:spPr bwMode="auto">
            <a:xfrm flipH="1">
              <a:off x="5633576" y="2849770"/>
              <a:ext cx="1833718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37" name="직선 연결선 136"/>
            <p:cNvCxnSpPr>
              <a:stCxn id="107" idx="0"/>
              <a:endCxn id="101" idx="2"/>
            </p:cNvCxnSpPr>
            <p:nvPr/>
          </p:nvCxnSpPr>
          <p:spPr bwMode="auto">
            <a:xfrm flipH="1" flipV="1">
              <a:off x="5619032" y="2849770"/>
              <a:ext cx="902672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38" name="직선 연결선 137"/>
            <p:cNvCxnSpPr>
              <a:stCxn id="108" idx="0"/>
              <a:endCxn id="101" idx="2"/>
            </p:cNvCxnSpPr>
            <p:nvPr/>
          </p:nvCxnSpPr>
          <p:spPr bwMode="auto">
            <a:xfrm flipH="1" flipV="1">
              <a:off x="5619032" y="2849770"/>
              <a:ext cx="1790800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139" name="직선 연결선 138"/>
            <p:cNvCxnSpPr>
              <a:stCxn id="109" idx="0"/>
              <a:endCxn id="104" idx="2"/>
            </p:cNvCxnSpPr>
            <p:nvPr/>
          </p:nvCxnSpPr>
          <p:spPr bwMode="auto">
            <a:xfrm flipV="1">
              <a:off x="8297960" y="2849770"/>
              <a:ext cx="93464" cy="19246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grpSp>
          <p:nvGrpSpPr>
            <p:cNvPr id="141" name="Group 4"/>
            <p:cNvGrpSpPr>
              <a:grpSpLocks noChangeAspect="1"/>
            </p:cNvGrpSpPr>
            <p:nvPr/>
          </p:nvGrpSpPr>
          <p:grpSpPr bwMode="auto">
            <a:xfrm>
              <a:off x="7041232" y="2328520"/>
              <a:ext cx="320083" cy="288000"/>
              <a:chOff x="3109" y="1896"/>
              <a:chExt cx="369" cy="316"/>
            </a:xfrm>
          </p:grpSpPr>
          <p:sp>
            <p:nvSpPr>
              <p:cNvPr id="14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/>
              </a:p>
            </p:txBody>
          </p:sp>
          <p:sp>
            <p:nvSpPr>
              <p:cNvPr id="143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/>
              </a:p>
            </p:txBody>
          </p:sp>
          <p:sp>
            <p:nvSpPr>
              <p:cNvPr id="145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/>
              </a:p>
            </p:txBody>
          </p:sp>
          <p:sp>
            <p:nvSpPr>
              <p:cNvPr id="146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/>
              </a:p>
            </p:txBody>
          </p:sp>
          <p:sp>
            <p:nvSpPr>
              <p:cNvPr id="147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/>
              </a:p>
            </p:txBody>
          </p:sp>
        </p:grpSp>
        <p:grpSp>
          <p:nvGrpSpPr>
            <p:cNvPr id="155" name="Group 4"/>
            <p:cNvGrpSpPr>
              <a:grpSpLocks noChangeAspect="1"/>
            </p:cNvGrpSpPr>
            <p:nvPr/>
          </p:nvGrpSpPr>
          <p:grpSpPr bwMode="auto">
            <a:xfrm>
              <a:off x="6041537" y="2902263"/>
              <a:ext cx="320083" cy="288000"/>
              <a:chOff x="3109" y="1896"/>
              <a:chExt cx="369" cy="316"/>
            </a:xfrm>
          </p:grpSpPr>
          <p:sp>
            <p:nvSpPr>
              <p:cNvPr id="15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57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0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1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</p:grpSp>
        <p:grpSp>
          <p:nvGrpSpPr>
            <p:cNvPr id="162" name="Group 4"/>
            <p:cNvGrpSpPr>
              <a:grpSpLocks noChangeAspect="1"/>
            </p:cNvGrpSpPr>
            <p:nvPr/>
          </p:nvGrpSpPr>
          <p:grpSpPr bwMode="auto">
            <a:xfrm>
              <a:off x="6921574" y="2888795"/>
              <a:ext cx="320083" cy="288000"/>
              <a:chOff x="3109" y="1896"/>
              <a:chExt cx="369" cy="316"/>
            </a:xfrm>
          </p:grpSpPr>
          <p:sp>
            <p:nvSpPr>
              <p:cNvPr id="16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4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6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7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68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</p:grpSp>
        <p:grpSp>
          <p:nvGrpSpPr>
            <p:cNvPr id="169" name="Group 4"/>
            <p:cNvGrpSpPr>
              <a:grpSpLocks noChangeAspect="1"/>
            </p:cNvGrpSpPr>
            <p:nvPr/>
          </p:nvGrpSpPr>
          <p:grpSpPr bwMode="auto">
            <a:xfrm>
              <a:off x="6042356" y="3363468"/>
              <a:ext cx="320083" cy="288000"/>
              <a:chOff x="3109" y="1896"/>
              <a:chExt cx="369" cy="316"/>
            </a:xfrm>
          </p:grpSpPr>
          <p:sp>
            <p:nvSpPr>
              <p:cNvPr id="17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109" y="1896"/>
                <a:ext cx="369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71" name="Freeform 5"/>
              <p:cNvSpPr>
                <a:spLocks/>
              </p:cNvSpPr>
              <p:nvPr/>
            </p:nvSpPr>
            <p:spPr bwMode="auto">
              <a:xfrm>
                <a:off x="3126" y="1910"/>
                <a:ext cx="335" cy="288"/>
              </a:xfrm>
              <a:custGeom>
                <a:avLst/>
                <a:gdLst>
                  <a:gd name="T0" fmla="*/ 211 w 5033"/>
                  <a:gd name="T1" fmla="*/ 2036 h 3448"/>
                  <a:gd name="T2" fmla="*/ 512 w 5033"/>
                  <a:gd name="T3" fmla="*/ 2415 h 3448"/>
                  <a:gd name="T4" fmla="*/ 876 w 5033"/>
                  <a:gd name="T5" fmla="*/ 2969 h 3448"/>
                  <a:gd name="T6" fmla="*/ 1038 w 5033"/>
                  <a:gd name="T7" fmla="*/ 3128 h 3448"/>
                  <a:gd name="T8" fmla="*/ 1213 w 5033"/>
                  <a:gd name="T9" fmla="*/ 3204 h 3448"/>
                  <a:gd name="T10" fmla="*/ 1395 w 5033"/>
                  <a:gd name="T11" fmla="*/ 3275 h 3448"/>
                  <a:gd name="T12" fmla="*/ 1732 w 5033"/>
                  <a:gd name="T13" fmla="*/ 3392 h 3448"/>
                  <a:gd name="T14" fmla="*/ 1879 w 5033"/>
                  <a:gd name="T15" fmla="*/ 3434 h 3448"/>
                  <a:gd name="T16" fmla="*/ 1922 w 5033"/>
                  <a:gd name="T17" fmla="*/ 3323 h 3448"/>
                  <a:gd name="T18" fmla="*/ 2083 w 5033"/>
                  <a:gd name="T19" fmla="*/ 3085 h 3448"/>
                  <a:gd name="T20" fmla="*/ 2225 w 5033"/>
                  <a:gd name="T21" fmla="*/ 2695 h 3448"/>
                  <a:gd name="T22" fmla="*/ 2422 w 5033"/>
                  <a:gd name="T23" fmla="*/ 2378 h 3448"/>
                  <a:gd name="T24" fmla="*/ 2552 w 5033"/>
                  <a:gd name="T25" fmla="*/ 2199 h 3448"/>
                  <a:gd name="T26" fmla="*/ 2687 w 5033"/>
                  <a:gd name="T27" fmla="*/ 2110 h 3448"/>
                  <a:gd name="T28" fmla="*/ 2780 w 5033"/>
                  <a:gd name="T29" fmla="*/ 2006 h 3448"/>
                  <a:gd name="T30" fmla="*/ 3045 w 5033"/>
                  <a:gd name="T31" fmla="*/ 1730 h 3448"/>
                  <a:gd name="T32" fmla="*/ 3418 w 5033"/>
                  <a:gd name="T33" fmla="*/ 1374 h 3448"/>
                  <a:gd name="T34" fmla="*/ 3840 w 5033"/>
                  <a:gd name="T35" fmla="*/ 1068 h 3448"/>
                  <a:gd name="T36" fmla="*/ 4056 w 5033"/>
                  <a:gd name="T37" fmla="*/ 949 h 3448"/>
                  <a:gd name="T38" fmla="*/ 4251 w 5033"/>
                  <a:gd name="T39" fmla="*/ 795 h 3448"/>
                  <a:gd name="T40" fmla="*/ 4363 w 5033"/>
                  <a:gd name="T41" fmla="*/ 740 h 3448"/>
                  <a:gd name="T42" fmla="*/ 4543 w 5033"/>
                  <a:gd name="T43" fmla="*/ 585 h 3448"/>
                  <a:gd name="T44" fmla="*/ 4690 w 5033"/>
                  <a:gd name="T45" fmla="*/ 431 h 3448"/>
                  <a:gd name="T46" fmla="*/ 4841 w 5033"/>
                  <a:gd name="T47" fmla="*/ 339 h 3448"/>
                  <a:gd name="T48" fmla="*/ 4972 w 5033"/>
                  <a:gd name="T49" fmla="*/ 278 h 3448"/>
                  <a:gd name="T50" fmla="*/ 4947 w 5033"/>
                  <a:gd name="T51" fmla="*/ 244 h 3448"/>
                  <a:gd name="T52" fmla="*/ 4858 w 5033"/>
                  <a:gd name="T53" fmla="*/ 281 h 3448"/>
                  <a:gd name="T54" fmla="*/ 4756 w 5033"/>
                  <a:gd name="T55" fmla="*/ 360 h 3448"/>
                  <a:gd name="T56" fmla="*/ 4531 w 5033"/>
                  <a:gd name="T57" fmla="*/ 513 h 3448"/>
                  <a:gd name="T58" fmla="*/ 4401 w 5033"/>
                  <a:gd name="T59" fmla="*/ 542 h 3448"/>
                  <a:gd name="T60" fmla="*/ 4018 w 5033"/>
                  <a:gd name="T61" fmla="*/ 810 h 3448"/>
                  <a:gd name="T62" fmla="*/ 4096 w 5033"/>
                  <a:gd name="T63" fmla="*/ 702 h 3448"/>
                  <a:gd name="T64" fmla="*/ 4196 w 5033"/>
                  <a:gd name="T65" fmla="*/ 621 h 3448"/>
                  <a:gd name="T66" fmla="*/ 4319 w 5033"/>
                  <a:gd name="T67" fmla="*/ 501 h 3448"/>
                  <a:gd name="T68" fmla="*/ 4342 w 5033"/>
                  <a:gd name="T69" fmla="*/ 423 h 3448"/>
                  <a:gd name="T70" fmla="*/ 4478 w 5033"/>
                  <a:gd name="T71" fmla="*/ 286 h 3448"/>
                  <a:gd name="T72" fmla="*/ 4289 w 5033"/>
                  <a:gd name="T73" fmla="*/ 341 h 3448"/>
                  <a:gd name="T74" fmla="*/ 4455 w 5033"/>
                  <a:gd name="T75" fmla="*/ 198 h 3448"/>
                  <a:gd name="T76" fmla="*/ 4410 w 5033"/>
                  <a:gd name="T77" fmla="*/ 167 h 3448"/>
                  <a:gd name="T78" fmla="*/ 4293 w 5033"/>
                  <a:gd name="T79" fmla="*/ 277 h 3448"/>
                  <a:gd name="T80" fmla="*/ 4288 w 5033"/>
                  <a:gd name="T81" fmla="*/ 162 h 3448"/>
                  <a:gd name="T82" fmla="*/ 4376 w 5033"/>
                  <a:gd name="T83" fmla="*/ 48 h 3448"/>
                  <a:gd name="T84" fmla="*/ 4276 w 5033"/>
                  <a:gd name="T85" fmla="*/ 25 h 3448"/>
                  <a:gd name="T86" fmla="*/ 4168 w 5033"/>
                  <a:gd name="T87" fmla="*/ 135 h 3448"/>
                  <a:gd name="T88" fmla="*/ 3906 w 5033"/>
                  <a:gd name="T89" fmla="*/ 284 h 3448"/>
                  <a:gd name="T90" fmla="*/ 3186 w 5033"/>
                  <a:gd name="T91" fmla="*/ 777 h 3448"/>
                  <a:gd name="T92" fmla="*/ 3188 w 5033"/>
                  <a:gd name="T93" fmla="*/ 733 h 3448"/>
                  <a:gd name="T94" fmla="*/ 3235 w 5033"/>
                  <a:gd name="T95" fmla="*/ 671 h 3448"/>
                  <a:gd name="T96" fmla="*/ 3941 w 5033"/>
                  <a:gd name="T97" fmla="*/ 219 h 3448"/>
                  <a:gd name="T98" fmla="*/ 3992 w 5033"/>
                  <a:gd name="T99" fmla="*/ 140 h 3448"/>
                  <a:gd name="T100" fmla="*/ 3743 w 5033"/>
                  <a:gd name="T101" fmla="*/ 240 h 3448"/>
                  <a:gd name="T102" fmla="*/ 3290 w 5033"/>
                  <a:gd name="T103" fmla="*/ 525 h 3448"/>
                  <a:gd name="T104" fmla="*/ 2837 w 5033"/>
                  <a:gd name="T105" fmla="*/ 830 h 3448"/>
                  <a:gd name="T106" fmla="*/ 2197 w 5033"/>
                  <a:gd name="T107" fmla="*/ 1270 h 3448"/>
                  <a:gd name="T108" fmla="*/ 1903 w 5033"/>
                  <a:gd name="T109" fmla="*/ 1608 h 3448"/>
                  <a:gd name="T110" fmla="*/ 1609 w 5033"/>
                  <a:gd name="T111" fmla="*/ 1914 h 3448"/>
                  <a:gd name="T112" fmla="*/ 1327 w 5033"/>
                  <a:gd name="T113" fmla="*/ 1996 h 3448"/>
                  <a:gd name="T114" fmla="*/ 1057 w 5033"/>
                  <a:gd name="T115" fmla="*/ 1475 h 3448"/>
                  <a:gd name="T116" fmla="*/ 755 w 5033"/>
                  <a:gd name="T117" fmla="*/ 1501 h 3448"/>
                  <a:gd name="T118" fmla="*/ 523 w 5033"/>
                  <a:gd name="T119" fmla="*/ 1595 h 3448"/>
                  <a:gd name="T120" fmla="*/ 242 w 5033"/>
                  <a:gd name="T121" fmla="*/ 1683 h 3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33" h="3448">
                    <a:moveTo>
                      <a:pt x="0" y="1824"/>
                    </a:moveTo>
                    <a:lnTo>
                      <a:pt x="12" y="1840"/>
                    </a:lnTo>
                    <a:lnTo>
                      <a:pt x="25" y="1855"/>
                    </a:lnTo>
                    <a:lnTo>
                      <a:pt x="39" y="1870"/>
                    </a:lnTo>
                    <a:lnTo>
                      <a:pt x="54" y="1886"/>
                    </a:lnTo>
                    <a:lnTo>
                      <a:pt x="69" y="1900"/>
                    </a:lnTo>
                    <a:lnTo>
                      <a:pt x="85" y="1917"/>
                    </a:lnTo>
                    <a:lnTo>
                      <a:pt x="102" y="1931"/>
                    </a:lnTo>
                    <a:lnTo>
                      <a:pt x="119" y="1945"/>
                    </a:lnTo>
                    <a:lnTo>
                      <a:pt x="134" y="1961"/>
                    </a:lnTo>
                    <a:lnTo>
                      <a:pt x="151" y="1975"/>
                    </a:lnTo>
                    <a:lnTo>
                      <a:pt x="166" y="1990"/>
                    </a:lnTo>
                    <a:lnTo>
                      <a:pt x="183" y="2006"/>
                    </a:lnTo>
                    <a:lnTo>
                      <a:pt x="197" y="2020"/>
                    </a:lnTo>
                    <a:lnTo>
                      <a:pt x="211" y="2036"/>
                    </a:lnTo>
                    <a:lnTo>
                      <a:pt x="224" y="2050"/>
                    </a:lnTo>
                    <a:lnTo>
                      <a:pt x="236" y="2067"/>
                    </a:lnTo>
                    <a:lnTo>
                      <a:pt x="250" y="2094"/>
                    </a:lnTo>
                    <a:lnTo>
                      <a:pt x="267" y="2117"/>
                    </a:lnTo>
                    <a:lnTo>
                      <a:pt x="287" y="2135"/>
                    </a:lnTo>
                    <a:lnTo>
                      <a:pt x="308" y="2152"/>
                    </a:lnTo>
                    <a:lnTo>
                      <a:pt x="329" y="2167"/>
                    </a:lnTo>
                    <a:lnTo>
                      <a:pt x="350" y="2186"/>
                    </a:lnTo>
                    <a:lnTo>
                      <a:pt x="368" y="2207"/>
                    </a:lnTo>
                    <a:lnTo>
                      <a:pt x="384" y="2234"/>
                    </a:lnTo>
                    <a:lnTo>
                      <a:pt x="400" y="2263"/>
                    </a:lnTo>
                    <a:lnTo>
                      <a:pt x="424" y="2297"/>
                    </a:lnTo>
                    <a:lnTo>
                      <a:pt x="452" y="2335"/>
                    </a:lnTo>
                    <a:lnTo>
                      <a:pt x="482" y="2375"/>
                    </a:lnTo>
                    <a:lnTo>
                      <a:pt x="512" y="2415"/>
                    </a:lnTo>
                    <a:lnTo>
                      <a:pt x="540" y="2452"/>
                    </a:lnTo>
                    <a:lnTo>
                      <a:pt x="564" y="2486"/>
                    </a:lnTo>
                    <a:lnTo>
                      <a:pt x="582" y="2514"/>
                    </a:lnTo>
                    <a:lnTo>
                      <a:pt x="594" y="2536"/>
                    </a:lnTo>
                    <a:lnTo>
                      <a:pt x="611" y="2564"/>
                    </a:lnTo>
                    <a:lnTo>
                      <a:pt x="631" y="2598"/>
                    </a:lnTo>
                    <a:lnTo>
                      <a:pt x="653" y="2633"/>
                    </a:lnTo>
                    <a:lnTo>
                      <a:pt x="679" y="2673"/>
                    </a:lnTo>
                    <a:lnTo>
                      <a:pt x="705" y="2714"/>
                    </a:lnTo>
                    <a:lnTo>
                      <a:pt x="734" y="2757"/>
                    </a:lnTo>
                    <a:lnTo>
                      <a:pt x="765" y="2801"/>
                    </a:lnTo>
                    <a:lnTo>
                      <a:pt x="793" y="2844"/>
                    </a:lnTo>
                    <a:lnTo>
                      <a:pt x="822" y="2889"/>
                    </a:lnTo>
                    <a:lnTo>
                      <a:pt x="850" y="2930"/>
                    </a:lnTo>
                    <a:lnTo>
                      <a:pt x="876" y="2969"/>
                    </a:lnTo>
                    <a:lnTo>
                      <a:pt x="899" y="3005"/>
                    </a:lnTo>
                    <a:lnTo>
                      <a:pt x="919" y="3036"/>
                    </a:lnTo>
                    <a:lnTo>
                      <a:pt x="935" y="3065"/>
                    </a:lnTo>
                    <a:lnTo>
                      <a:pt x="948" y="3087"/>
                    </a:lnTo>
                    <a:lnTo>
                      <a:pt x="959" y="3089"/>
                    </a:lnTo>
                    <a:lnTo>
                      <a:pt x="969" y="3090"/>
                    </a:lnTo>
                    <a:lnTo>
                      <a:pt x="979" y="3092"/>
                    </a:lnTo>
                    <a:lnTo>
                      <a:pt x="989" y="3094"/>
                    </a:lnTo>
                    <a:lnTo>
                      <a:pt x="1000" y="3094"/>
                    </a:lnTo>
                    <a:lnTo>
                      <a:pt x="1011" y="3097"/>
                    </a:lnTo>
                    <a:lnTo>
                      <a:pt x="1020" y="3098"/>
                    </a:lnTo>
                    <a:lnTo>
                      <a:pt x="1031" y="3100"/>
                    </a:lnTo>
                    <a:lnTo>
                      <a:pt x="1033" y="3109"/>
                    </a:lnTo>
                    <a:lnTo>
                      <a:pt x="1036" y="3119"/>
                    </a:lnTo>
                    <a:lnTo>
                      <a:pt x="1038" y="3128"/>
                    </a:lnTo>
                    <a:lnTo>
                      <a:pt x="1040" y="3138"/>
                    </a:lnTo>
                    <a:lnTo>
                      <a:pt x="1050" y="3138"/>
                    </a:lnTo>
                    <a:lnTo>
                      <a:pt x="1058" y="3140"/>
                    </a:lnTo>
                    <a:lnTo>
                      <a:pt x="1067" y="3141"/>
                    </a:lnTo>
                    <a:lnTo>
                      <a:pt x="1077" y="3142"/>
                    </a:lnTo>
                    <a:lnTo>
                      <a:pt x="1085" y="3145"/>
                    </a:lnTo>
                    <a:lnTo>
                      <a:pt x="1095" y="3146"/>
                    </a:lnTo>
                    <a:lnTo>
                      <a:pt x="1105" y="3147"/>
                    </a:lnTo>
                    <a:lnTo>
                      <a:pt x="1113" y="3148"/>
                    </a:lnTo>
                    <a:lnTo>
                      <a:pt x="1130" y="3159"/>
                    </a:lnTo>
                    <a:lnTo>
                      <a:pt x="1148" y="3169"/>
                    </a:lnTo>
                    <a:lnTo>
                      <a:pt x="1164" y="3177"/>
                    </a:lnTo>
                    <a:lnTo>
                      <a:pt x="1179" y="3186"/>
                    </a:lnTo>
                    <a:lnTo>
                      <a:pt x="1196" y="3196"/>
                    </a:lnTo>
                    <a:lnTo>
                      <a:pt x="1213" y="3204"/>
                    </a:lnTo>
                    <a:lnTo>
                      <a:pt x="1231" y="3213"/>
                    </a:lnTo>
                    <a:lnTo>
                      <a:pt x="1246" y="3221"/>
                    </a:lnTo>
                    <a:lnTo>
                      <a:pt x="1258" y="3222"/>
                    </a:lnTo>
                    <a:lnTo>
                      <a:pt x="1269" y="3223"/>
                    </a:lnTo>
                    <a:lnTo>
                      <a:pt x="1281" y="3225"/>
                    </a:lnTo>
                    <a:lnTo>
                      <a:pt x="1292" y="3227"/>
                    </a:lnTo>
                    <a:lnTo>
                      <a:pt x="1304" y="3227"/>
                    </a:lnTo>
                    <a:lnTo>
                      <a:pt x="1315" y="3228"/>
                    </a:lnTo>
                    <a:lnTo>
                      <a:pt x="1328" y="3229"/>
                    </a:lnTo>
                    <a:lnTo>
                      <a:pt x="1340" y="3229"/>
                    </a:lnTo>
                    <a:lnTo>
                      <a:pt x="1348" y="3240"/>
                    </a:lnTo>
                    <a:lnTo>
                      <a:pt x="1357" y="3252"/>
                    </a:lnTo>
                    <a:lnTo>
                      <a:pt x="1367" y="3264"/>
                    </a:lnTo>
                    <a:lnTo>
                      <a:pt x="1375" y="3273"/>
                    </a:lnTo>
                    <a:lnTo>
                      <a:pt x="1395" y="3275"/>
                    </a:lnTo>
                    <a:lnTo>
                      <a:pt x="1416" y="3277"/>
                    </a:lnTo>
                    <a:lnTo>
                      <a:pt x="1436" y="3279"/>
                    </a:lnTo>
                    <a:lnTo>
                      <a:pt x="1456" y="3279"/>
                    </a:lnTo>
                    <a:lnTo>
                      <a:pt x="1478" y="3281"/>
                    </a:lnTo>
                    <a:lnTo>
                      <a:pt x="1497" y="3281"/>
                    </a:lnTo>
                    <a:lnTo>
                      <a:pt x="1518" y="3282"/>
                    </a:lnTo>
                    <a:lnTo>
                      <a:pt x="1537" y="3283"/>
                    </a:lnTo>
                    <a:lnTo>
                      <a:pt x="1562" y="3296"/>
                    </a:lnTo>
                    <a:lnTo>
                      <a:pt x="1584" y="3310"/>
                    </a:lnTo>
                    <a:lnTo>
                      <a:pt x="1609" y="3323"/>
                    </a:lnTo>
                    <a:lnTo>
                      <a:pt x="1633" y="3336"/>
                    </a:lnTo>
                    <a:lnTo>
                      <a:pt x="1658" y="3352"/>
                    </a:lnTo>
                    <a:lnTo>
                      <a:pt x="1682" y="3365"/>
                    </a:lnTo>
                    <a:lnTo>
                      <a:pt x="1707" y="3379"/>
                    </a:lnTo>
                    <a:lnTo>
                      <a:pt x="1732" y="3392"/>
                    </a:lnTo>
                    <a:lnTo>
                      <a:pt x="1742" y="3392"/>
                    </a:lnTo>
                    <a:lnTo>
                      <a:pt x="1752" y="3392"/>
                    </a:lnTo>
                    <a:lnTo>
                      <a:pt x="1762" y="3392"/>
                    </a:lnTo>
                    <a:lnTo>
                      <a:pt x="1773" y="3392"/>
                    </a:lnTo>
                    <a:lnTo>
                      <a:pt x="1784" y="3392"/>
                    </a:lnTo>
                    <a:lnTo>
                      <a:pt x="1793" y="3392"/>
                    </a:lnTo>
                    <a:lnTo>
                      <a:pt x="1803" y="3392"/>
                    </a:lnTo>
                    <a:lnTo>
                      <a:pt x="1814" y="3392"/>
                    </a:lnTo>
                    <a:lnTo>
                      <a:pt x="1822" y="3400"/>
                    </a:lnTo>
                    <a:lnTo>
                      <a:pt x="1833" y="3406"/>
                    </a:lnTo>
                    <a:lnTo>
                      <a:pt x="1842" y="3412"/>
                    </a:lnTo>
                    <a:lnTo>
                      <a:pt x="1852" y="3419"/>
                    </a:lnTo>
                    <a:lnTo>
                      <a:pt x="1860" y="3425"/>
                    </a:lnTo>
                    <a:lnTo>
                      <a:pt x="1869" y="3429"/>
                    </a:lnTo>
                    <a:lnTo>
                      <a:pt x="1879" y="3434"/>
                    </a:lnTo>
                    <a:lnTo>
                      <a:pt x="1887" y="3439"/>
                    </a:lnTo>
                    <a:lnTo>
                      <a:pt x="1915" y="3446"/>
                    </a:lnTo>
                    <a:lnTo>
                      <a:pt x="1934" y="3448"/>
                    </a:lnTo>
                    <a:lnTo>
                      <a:pt x="1946" y="3445"/>
                    </a:lnTo>
                    <a:lnTo>
                      <a:pt x="1950" y="3438"/>
                    </a:lnTo>
                    <a:lnTo>
                      <a:pt x="1950" y="3429"/>
                    </a:lnTo>
                    <a:lnTo>
                      <a:pt x="1944" y="3416"/>
                    </a:lnTo>
                    <a:lnTo>
                      <a:pt x="1936" y="3401"/>
                    </a:lnTo>
                    <a:lnTo>
                      <a:pt x="1928" y="3387"/>
                    </a:lnTo>
                    <a:lnTo>
                      <a:pt x="1921" y="3371"/>
                    </a:lnTo>
                    <a:lnTo>
                      <a:pt x="1912" y="3357"/>
                    </a:lnTo>
                    <a:lnTo>
                      <a:pt x="1908" y="3345"/>
                    </a:lnTo>
                    <a:lnTo>
                      <a:pt x="1907" y="3333"/>
                    </a:lnTo>
                    <a:lnTo>
                      <a:pt x="1911" y="3327"/>
                    </a:lnTo>
                    <a:lnTo>
                      <a:pt x="1922" y="3323"/>
                    </a:lnTo>
                    <a:lnTo>
                      <a:pt x="1941" y="3325"/>
                    </a:lnTo>
                    <a:lnTo>
                      <a:pt x="1968" y="3332"/>
                    </a:lnTo>
                    <a:lnTo>
                      <a:pt x="1981" y="3310"/>
                    </a:lnTo>
                    <a:lnTo>
                      <a:pt x="1993" y="3289"/>
                    </a:lnTo>
                    <a:lnTo>
                      <a:pt x="2003" y="3271"/>
                    </a:lnTo>
                    <a:lnTo>
                      <a:pt x="2012" y="3251"/>
                    </a:lnTo>
                    <a:lnTo>
                      <a:pt x="2022" y="3233"/>
                    </a:lnTo>
                    <a:lnTo>
                      <a:pt x="2032" y="3211"/>
                    </a:lnTo>
                    <a:lnTo>
                      <a:pt x="2042" y="3191"/>
                    </a:lnTo>
                    <a:lnTo>
                      <a:pt x="2055" y="3167"/>
                    </a:lnTo>
                    <a:lnTo>
                      <a:pt x="2056" y="3154"/>
                    </a:lnTo>
                    <a:lnTo>
                      <a:pt x="2061" y="3138"/>
                    </a:lnTo>
                    <a:lnTo>
                      <a:pt x="2067" y="3122"/>
                    </a:lnTo>
                    <a:lnTo>
                      <a:pt x="2075" y="3103"/>
                    </a:lnTo>
                    <a:lnTo>
                      <a:pt x="2083" y="3085"/>
                    </a:lnTo>
                    <a:lnTo>
                      <a:pt x="2089" y="3067"/>
                    </a:lnTo>
                    <a:lnTo>
                      <a:pt x="2093" y="3052"/>
                    </a:lnTo>
                    <a:lnTo>
                      <a:pt x="2095" y="3039"/>
                    </a:lnTo>
                    <a:lnTo>
                      <a:pt x="2108" y="3019"/>
                    </a:lnTo>
                    <a:lnTo>
                      <a:pt x="2121" y="2998"/>
                    </a:lnTo>
                    <a:lnTo>
                      <a:pt x="2134" y="2980"/>
                    </a:lnTo>
                    <a:lnTo>
                      <a:pt x="2146" y="2960"/>
                    </a:lnTo>
                    <a:lnTo>
                      <a:pt x="2157" y="2942"/>
                    </a:lnTo>
                    <a:lnTo>
                      <a:pt x="2169" y="2923"/>
                    </a:lnTo>
                    <a:lnTo>
                      <a:pt x="2180" y="2905"/>
                    </a:lnTo>
                    <a:lnTo>
                      <a:pt x="2193" y="2885"/>
                    </a:lnTo>
                    <a:lnTo>
                      <a:pt x="2199" y="2832"/>
                    </a:lnTo>
                    <a:lnTo>
                      <a:pt x="2211" y="2790"/>
                    </a:lnTo>
                    <a:lnTo>
                      <a:pt x="2222" y="2749"/>
                    </a:lnTo>
                    <a:lnTo>
                      <a:pt x="2225" y="2695"/>
                    </a:lnTo>
                    <a:lnTo>
                      <a:pt x="2239" y="2687"/>
                    </a:lnTo>
                    <a:lnTo>
                      <a:pt x="2254" y="2675"/>
                    </a:lnTo>
                    <a:lnTo>
                      <a:pt x="2269" y="2662"/>
                    </a:lnTo>
                    <a:lnTo>
                      <a:pt x="2285" y="2649"/>
                    </a:lnTo>
                    <a:lnTo>
                      <a:pt x="2301" y="2636"/>
                    </a:lnTo>
                    <a:lnTo>
                      <a:pt x="2317" y="2622"/>
                    </a:lnTo>
                    <a:lnTo>
                      <a:pt x="2330" y="2611"/>
                    </a:lnTo>
                    <a:lnTo>
                      <a:pt x="2344" y="2602"/>
                    </a:lnTo>
                    <a:lnTo>
                      <a:pt x="2353" y="2549"/>
                    </a:lnTo>
                    <a:lnTo>
                      <a:pt x="2358" y="2508"/>
                    </a:lnTo>
                    <a:lnTo>
                      <a:pt x="2364" y="2467"/>
                    </a:lnTo>
                    <a:lnTo>
                      <a:pt x="2375" y="2413"/>
                    </a:lnTo>
                    <a:lnTo>
                      <a:pt x="2386" y="2403"/>
                    </a:lnTo>
                    <a:lnTo>
                      <a:pt x="2402" y="2391"/>
                    </a:lnTo>
                    <a:lnTo>
                      <a:pt x="2422" y="2378"/>
                    </a:lnTo>
                    <a:lnTo>
                      <a:pt x="2445" y="2364"/>
                    </a:lnTo>
                    <a:lnTo>
                      <a:pt x="2469" y="2348"/>
                    </a:lnTo>
                    <a:lnTo>
                      <a:pt x="2489" y="2335"/>
                    </a:lnTo>
                    <a:lnTo>
                      <a:pt x="2506" y="2324"/>
                    </a:lnTo>
                    <a:lnTo>
                      <a:pt x="2515" y="2314"/>
                    </a:lnTo>
                    <a:lnTo>
                      <a:pt x="2513" y="2300"/>
                    </a:lnTo>
                    <a:lnTo>
                      <a:pt x="2513" y="2286"/>
                    </a:lnTo>
                    <a:lnTo>
                      <a:pt x="2518" y="2274"/>
                    </a:lnTo>
                    <a:lnTo>
                      <a:pt x="2521" y="2261"/>
                    </a:lnTo>
                    <a:lnTo>
                      <a:pt x="2526" y="2247"/>
                    </a:lnTo>
                    <a:lnTo>
                      <a:pt x="2529" y="2234"/>
                    </a:lnTo>
                    <a:lnTo>
                      <a:pt x="2531" y="2219"/>
                    </a:lnTo>
                    <a:lnTo>
                      <a:pt x="2529" y="2205"/>
                    </a:lnTo>
                    <a:lnTo>
                      <a:pt x="2541" y="2203"/>
                    </a:lnTo>
                    <a:lnTo>
                      <a:pt x="2552" y="2199"/>
                    </a:lnTo>
                    <a:lnTo>
                      <a:pt x="2564" y="2196"/>
                    </a:lnTo>
                    <a:lnTo>
                      <a:pt x="2576" y="2192"/>
                    </a:lnTo>
                    <a:lnTo>
                      <a:pt x="2588" y="2188"/>
                    </a:lnTo>
                    <a:lnTo>
                      <a:pt x="2598" y="2185"/>
                    </a:lnTo>
                    <a:lnTo>
                      <a:pt x="2610" y="2180"/>
                    </a:lnTo>
                    <a:lnTo>
                      <a:pt x="2621" y="2177"/>
                    </a:lnTo>
                    <a:lnTo>
                      <a:pt x="2626" y="2156"/>
                    </a:lnTo>
                    <a:lnTo>
                      <a:pt x="2634" y="2136"/>
                    </a:lnTo>
                    <a:lnTo>
                      <a:pt x="2641" y="2117"/>
                    </a:lnTo>
                    <a:lnTo>
                      <a:pt x="2651" y="2095"/>
                    </a:lnTo>
                    <a:lnTo>
                      <a:pt x="2659" y="2100"/>
                    </a:lnTo>
                    <a:lnTo>
                      <a:pt x="2665" y="2102"/>
                    </a:lnTo>
                    <a:lnTo>
                      <a:pt x="2673" y="2105"/>
                    </a:lnTo>
                    <a:lnTo>
                      <a:pt x="2680" y="2107"/>
                    </a:lnTo>
                    <a:lnTo>
                      <a:pt x="2687" y="2110"/>
                    </a:lnTo>
                    <a:lnTo>
                      <a:pt x="2697" y="2112"/>
                    </a:lnTo>
                    <a:lnTo>
                      <a:pt x="2705" y="2115"/>
                    </a:lnTo>
                    <a:lnTo>
                      <a:pt x="2713" y="2117"/>
                    </a:lnTo>
                    <a:lnTo>
                      <a:pt x="2721" y="2100"/>
                    </a:lnTo>
                    <a:lnTo>
                      <a:pt x="2727" y="2082"/>
                    </a:lnTo>
                    <a:lnTo>
                      <a:pt x="2731" y="2065"/>
                    </a:lnTo>
                    <a:lnTo>
                      <a:pt x="2736" y="2048"/>
                    </a:lnTo>
                    <a:lnTo>
                      <a:pt x="2742" y="2043"/>
                    </a:lnTo>
                    <a:lnTo>
                      <a:pt x="2747" y="2038"/>
                    </a:lnTo>
                    <a:lnTo>
                      <a:pt x="2753" y="2034"/>
                    </a:lnTo>
                    <a:lnTo>
                      <a:pt x="2758" y="2027"/>
                    </a:lnTo>
                    <a:lnTo>
                      <a:pt x="2765" y="2022"/>
                    </a:lnTo>
                    <a:lnTo>
                      <a:pt x="2770" y="2017"/>
                    </a:lnTo>
                    <a:lnTo>
                      <a:pt x="2776" y="2011"/>
                    </a:lnTo>
                    <a:lnTo>
                      <a:pt x="2780" y="2006"/>
                    </a:lnTo>
                    <a:lnTo>
                      <a:pt x="2791" y="1990"/>
                    </a:lnTo>
                    <a:lnTo>
                      <a:pt x="2801" y="1974"/>
                    </a:lnTo>
                    <a:lnTo>
                      <a:pt x="2813" y="1958"/>
                    </a:lnTo>
                    <a:lnTo>
                      <a:pt x="2825" y="1942"/>
                    </a:lnTo>
                    <a:lnTo>
                      <a:pt x="2837" y="1926"/>
                    </a:lnTo>
                    <a:lnTo>
                      <a:pt x="2849" y="1910"/>
                    </a:lnTo>
                    <a:lnTo>
                      <a:pt x="2864" y="1893"/>
                    </a:lnTo>
                    <a:lnTo>
                      <a:pt x="2878" y="1877"/>
                    </a:lnTo>
                    <a:lnTo>
                      <a:pt x="2902" y="1857"/>
                    </a:lnTo>
                    <a:lnTo>
                      <a:pt x="2927" y="1836"/>
                    </a:lnTo>
                    <a:lnTo>
                      <a:pt x="2951" y="1815"/>
                    </a:lnTo>
                    <a:lnTo>
                      <a:pt x="2975" y="1795"/>
                    </a:lnTo>
                    <a:lnTo>
                      <a:pt x="2999" y="1774"/>
                    </a:lnTo>
                    <a:lnTo>
                      <a:pt x="3023" y="1752"/>
                    </a:lnTo>
                    <a:lnTo>
                      <a:pt x="3045" y="1730"/>
                    </a:lnTo>
                    <a:lnTo>
                      <a:pt x="3069" y="1708"/>
                    </a:lnTo>
                    <a:lnTo>
                      <a:pt x="3091" y="1685"/>
                    </a:lnTo>
                    <a:lnTo>
                      <a:pt x="3115" y="1664"/>
                    </a:lnTo>
                    <a:lnTo>
                      <a:pt x="3140" y="1640"/>
                    </a:lnTo>
                    <a:lnTo>
                      <a:pt x="3163" y="1617"/>
                    </a:lnTo>
                    <a:lnTo>
                      <a:pt x="3186" y="1593"/>
                    </a:lnTo>
                    <a:lnTo>
                      <a:pt x="3210" y="1569"/>
                    </a:lnTo>
                    <a:lnTo>
                      <a:pt x="3235" y="1547"/>
                    </a:lnTo>
                    <a:lnTo>
                      <a:pt x="3259" y="1522"/>
                    </a:lnTo>
                    <a:lnTo>
                      <a:pt x="3284" y="1496"/>
                    </a:lnTo>
                    <a:lnTo>
                      <a:pt x="3310" y="1474"/>
                    </a:lnTo>
                    <a:lnTo>
                      <a:pt x="3336" y="1449"/>
                    </a:lnTo>
                    <a:lnTo>
                      <a:pt x="3363" y="1425"/>
                    </a:lnTo>
                    <a:lnTo>
                      <a:pt x="3390" y="1399"/>
                    </a:lnTo>
                    <a:lnTo>
                      <a:pt x="3418" y="1374"/>
                    </a:lnTo>
                    <a:lnTo>
                      <a:pt x="3448" y="1350"/>
                    </a:lnTo>
                    <a:lnTo>
                      <a:pt x="3478" y="1325"/>
                    </a:lnTo>
                    <a:lnTo>
                      <a:pt x="3509" y="1299"/>
                    </a:lnTo>
                    <a:lnTo>
                      <a:pt x="3541" y="1274"/>
                    </a:lnTo>
                    <a:lnTo>
                      <a:pt x="3572" y="1249"/>
                    </a:lnTo>
                    <a:lnTo>
                      <a:pt x="3607" y="1222"/>
                    </a:lnTo>
                    <a:lnTo>
                      <a:pt x="3641" y="1199"/>
                    </a:lnTo>
                    <a:lnTo>
                      <a:pt x="3677" y="1172"/>
                    </a:lnTo>
                    <a:lnTo>
                      <a:pt x="3714" y="1147"/>
                    </a:lnTo>
                    <a:lnTo>
                      <a:pt x="3753" y="1121"/>
                    </a:lnTo>
                    <a:lnTo>
                      <a:pt x="3770" y="1110"/>
                    </a:lnTo>
                    <a:lnTo>
                      <a:pt x="3788" y="1099"/>
                    </a:lnTo>
                    <a:lnTo>
                      <a:pt x="3805" y="1089"/>
                    </a:lnTo>
                    <a:lnTo>
                      <a:pt x="3822" y="1077"/>
                    </a:lnTo>
                    <a:lnTo>
                      <a:pt x="3840" y="1068"/>
                    </a:lnTo>
                    <a:lnTo>
                      <a:pt x="3858" y="1057"/>
                    </a:lnTo>
                    <a:lnTo>
                      <a:pt x="3876" y="1046"/>
                    </a:lnTo>
                    <a:lnTo>
                      <a:pt x="3896" y="1037"/>
                    </a:lnTo>
                    <a:lnTo>
                      <a:pt x="3905" y="1031"/>
                    </a:lnTo>
                    <a:lnTo>
                      <a:pt x="3916" y="1027"/>
                    </a:lnTo>
                    <a:lnTo>
                      <a:pt x="3927" y="1022"/>
                    </a:lnTo>
                    <a:lnTo>
                      <a:pt x="3937" y="1018"/>
                    </a:lnTo>
                    <a:lnTo>
                      <a:pt x="3948" y="1012"/>
                    </a:lnTo>
                    <a:lnTo>
                      <a:pt x="3958" y="1007"/>
                    </a:lnTo>
                    <a:lnTo>
                      <a:pt x="3969" y="1000"/>
                    </a:lnTo>
                    <a:lnTo>
                      <a:pt x="3980" y="995"/>
                    </a:lnTo>
                    <a:lnTo>
                      <a:pt x="3999" y="984"/>
                    </a:lnTo>
                    <a:lnTo>
                      <a:pt x="4018" y="972"/>
                    </a:lnTo>
                    <a:lnTo>
                      <a:pt x="4037" y="962"/>
                    </a:lnTo>
                    <a:lnTo>
                      <a:pt x="4056" y="949"/>
                    </a:lnTo>
                    <a:lnTo>
                      <a:pt x="4075" y="939"/>
                    </a:lnTo>
                    <a:lnTo>
                      <a:pt x="4093" y="925"/>
                    </a:lnTo>
                    <a:lnTo>
                      <a:pt x="4112" y="915"/>
                    </a:lnTo>
                    <a:lnTo>
                      <a:pt x="4131" y="903"/>
                    </a:lnTo>
                    <a:lnTo>
                      <a:pt x="4144" y="894"/>
                    </a:lnTo>
                    <a:lnTo>
                      <a:pt x="4156" y="884"/>
                    </a:lnTo>
                    <a:lnTo>
                      <a:pt x="4168" y="875"/>
                    </a:lnTo>
                    <a:lnTo>
                      <a:pt x="4182" y="866"/>
                    </a:lnTo>
                    <a:lnTo>
                      <a:pt x="4195" y="856"/>
                    </a:lnTo>
                    <a:lnTo>
                      <a:pt x="4209" y="847"/>
                    </a:lnTo>
                    <a:lnTo>
                      <a:pt x="4221" y="839"/>
                    </a:lnTo>
                    <a:lnTo>
                      <a:pt x="4235" y="829"/>
                    </a:lnTo>
                    <a:lnTo>
                      <a:pt x="4240" y="816"/>
                    </a:lnTo>
                    <a:lnTo>
                      <a:pt x="4245" y="805"/>
                    </a:lnTo>
                    <a:lnTo>
                      <a:pt x="4251" y="795"/>
                    </a:lnTo>
                    <a:lnTo>
                      <a:pt x="4255" y="786"/>
                    </a:lnTo>
                    <a:lnTo>
                      <a:pt x="4264" y="777"/>
                    </a:lnTo>
                    <a:lnTo>
                      <a:pt x="4271" y="772"/>
                    </a:lnTo>
                    <a:lnTo>
                      <a:pt x="4280" y="764"/>
                    </a:lnTo>
                    <a:lnTo>
                      <a:pt x="4289" y="758"/>
                    </a:lnTo>
                    <a:lnTo>
                      <a:pt x="4298" y="751"/>
                    </a:lnTo>
                    <a:lnTo>
                      <a:pt x="4307" y="744"/>
                    </a:lnTo>
                    <a:lnTo>
                      <a:pt x="4315" y="737"/>
                    </a:lnTo>
                    <a:lnTo>
                      <a:pt x="4325" y="731"/>
                    </a:lnTo>
                    <a:lnTo>
                      <a:pt x="4328" y="737"/>
                    </a:lnTo>
                    <a:lnTo>
                      <a:pt x="4331" y="743"/>
                    </a:lnTo>
                    <a:lnTo>
                      <a:pt x="4334" y="750"/>
                    </a:lnTo>
                    <a:lnTo>
                      <a:pt x="4336" y="756"/>
                    </a:lnTo>
                    <a:lnTo>
                      <a:pt x="4350" y="746"/>
                    </a:lnTo>
                    <a:lnTo>
                      <a:pt x="4363" y="740"/>
                    </a:lnTo>
                    <a:lnTo>
                      <a:pt x="4377" y="731"/>
                    </a:lnTo>
                    <a:lnTo>
                      <a:pt x="4391" y="723"/>
                    </a:lnTo>
                    <a:lnTo>
                      <a:pt x="4404" y="716"/>
                    </a:lnTo>
                    <a:lnTo>
                      <a:pt x="4419" y="706"/>
                    </a:lnTo>
                    <a:lnTo>
                      <a:pt x="4433" y="699"/>
                    </a:lnTo>
                    <a:lnTo>
                      <a:pt x="4444" y="692"/>
                    </a:lnTo>
                    <a:lnTo>
                      <a:pt x="4455" y="678"/>
                    </a:lnTo>
                    <a:lnTo>
                      <a:pt x="4464" y="660"/>
                    </a:lnTo>
                    <a:lnTo>
                      <a:pt x="4474" y="644"/>
                    </a:lnTo>
                    <a:lnTo>
                      <a:pt x="4482" y="629"/>
                    </a:lnTo>
                    <a:lnTo>
                      <a:pt x="4493" y="619"/>
                    </a:lnTo>
                    <a:lnTo>
                      <a:pt x="4506" y="610"/>
                    </a:lnTo>
                    <a:lnTo>
                      <a:pt x="4519" y="602"/>
                    </a:lnTo>
                    <a:lnTo>
                      <a:pt x="4531" y="593"/>
                    </a:lnTo>
                    <a:lnTo>
                      <a:pt x="4543" y="585"/>
                    </a:lnTo>
                    <a:lnTo>
                      <a:pt x="4555" y="576"/>
                    </a:lnTo>
                    <a:lnTo>
                      <a:pt x="4566" y="566"/>
                    </a:lnTo>
                    <a:lnTo>
                      <a:pt x="4576" y="557"/>
                    </a:lnTo>
                    <a:lnTo>
                      <a:pt x="4581" y="543"/>
                    </a:lnTo>
                    <a:lnTo>
                      <a:pt x="4586" y="528"/>
                    </a:lnTo>
                    <a:lnTo>
                      <a:pt x="4590" y="513"/>
                    </a:lnTo>
                    <a:lnTo>
                      <a:pt x="4597" y="497"/>
                    </a:lnTo>
                    <a:lnTo>
                      <a:pt x="4608" y="489"/>
                    </a:lnTo>
                    <a:lnTo>
                      <a:pt x="4621" y="480"/>
                    </a:lnTo>
                    <a:lnTo>
                      <a:pt x="4633" y="473"/>
                    </a:lnTo>
                    <a:lnTo>
                      <a:pt x="4645" y="464"/>
                    </a:lnTo>
                    <a:lnTo>
                      <a:pt x="4657" y="456"/>
                    </a:lnTo>
                    <a:lnTo>
                      <a:pt x="4669" y="446"/>
                    </a:lnTo>
                    <a:lnTo>
                      <a:pt x="4680" y="439"/>
                    </a:lnTo>
                    <a:lnTo>
                      <a:pt x="4690" y="431"/>
                    </a:lnTo>
                    <a:lnTo>
                      <a:pt x="4705" y="427"/>
                    </a:lnTo>
                    <a:lnTo>
                      <a:pt x="4719" y="423"/>
                    </a:lnTo>
                    <a:lnTo>
                      <a:pt x="4732" y="419"/>
                    </a:lnTo>
                    <a:lnTo>
                      <a:pt x="4745" y="415"/>
                    </a:lnTo>
                    <a:lnTo>
                      <a:pt x="4758" y="409"/>
                    </a:lnTo>
                    <a:lnTo>
                      <a:pt x="4771" y="406"/>
                    </a:lnTo>
                    <a:lnTo>
                      <a:pt x="4783" y="401"/>
                    </a:lnTo>
                    <a:lnTo>
                      <a:pt x="4797" y="398"/>
                    </a:lnTo>
                    <a:lnTo>
                      <a:pt x="4803" y="390"/>
                    </a:lnTo>
                    <a:lnTo>
                      <a:pt x="4810" y="381"/>
                    </a:lnTo>
                    <a:lnTo>
                      <a:pt x="4816" y="374"/>
                    </a:lnTo>
                    <a:lnTo>
                      <a:pt x="4822" y="364"/>
                    </a:lnTo>
                    <a:lnTo>
                      <a:pt x="4829" y="356"/>
                    </a:lnTo>
                    <a:lnTo>
                      <a:pt x="4835" y="347"/>
                    </a:lnTo>
                    <a:lnTo>
                      <a:pt x="4841" y="339"/>
                    </a:lnTo>
                    <a:lnTo>
                      <a:pt x="4847" y="329"/>
                    </a:lnTo>
                    <a:lnTo>
                      <a:pt x="4858" y="323"/>
                    </a:lnTo>
                    <a:lnTo>
                      <a:pt x="4868" y="316"/>
                    </a:lnTo>
                    <a:lnTo>
                      <a:pt x="4878" y="310"/>
                    </a:lnTo>
                    <a:lnTo>
                      <a:pt x="4887" y="303"/>
                    </a:lnTo>
                    <a:lnTo>
                      <a:pt x="4898" y="295"/>
                    </a:lnTo>
                    <a:lnTo>
                      <a:pt x="4907" y="288"/>
                    </a:lnTo>
                    <a:lnTo>
                      <a:pt x="4916" y="281"/>
                    </a:lnTo>
                    <a:lnTo>
                      <a:pt x="4925" y="273"/>
                    </a:lnTo>
                    <a:lnTo>
                      <a:pt x="4931" y="278"/>
                    </a:lnTo>
                    <a:lnTo>
                      <a:pt x="4938" y="283"/>
                    </a:lnTo>
                    <a:lnTo>
                      <a:pt x="4946" y="289"/>
                    </a:lnTo>
                    <a:lnTo>
                      <a:pt x="4950" y="294"/>
                    </a:lnTo>
                    <a:lnTo>
                      <a:pt x="4960" y="286"/>
                    </a:lnTo>
                    <a:lnTo>
                      <a:pt x="4972" y="278"/>
                    </a:lnTo>
                    <a:lnTo>
                      <a:pt x="4981" y="270"/>
                    </a:lnTo>
                    <a:lnTo>
                      <a:pt x="4992" y="262"/>
                    </a:lnTo>
                    <a:lnTo>
                      <a:pt x="5001" y="251"/>
                    </a:lnTo>
                    <a:lnTo>
                      <a:pt x="5012" y="242"/>
                    </a:lnTo>
                    <a:lnTo>
                      <a:pt x="5023" y="234"/>
                    </a:lnTo>
                    <a:lnTo>
                      <a:pt x="5033" y="226"/>
                    </a:lnTo>
                    <a:lnTo>
                      <a:pt x="5021" y="231"/>
                    </a:lnTo>
                    <a:lnTo>
                      <a:pt x="5010" y="237"/>
                    </a:lnTo>
                    <a:lnTo>
                      <a:pt x="4997" y="244"/>
                    </a:lnTo>
                    <a:lnTo>
                      <a:pt x="4983" y="248"/>
                    </a:lnTo>
                    <a:lnTo>
                      <a:pt x="4972" y="254"/>
                    </a:lnTo>
                    <a:lnTo>
                      <a:pt x="4960" y="259"/>
                    </a:lnTo>
                    <a:lnTo>
                      <a:pt x="4948" y="265"/>
                    </a:lnTo>
                    <a:lnTo>
                      <a:pt x="4936" y="270"/>
                    </a:lnTo>
                    <a:lnTo>
                      <a:pt x="4947" y="244"/>
                    </a:lnTo>
                    <a:lnTo>
                      <a:pt x="4956" y="221"/>
                    </a:lnTo>
                    <a:lnTo>
                      <a:pt x="4963" y="197"/>
                    </a:lnTo>
                    <a:lnTo>
                      <a:pt x="4968" y="173"/>
                    </a:lnTo>
                    <a:lnTo>
                      <a:pt x="4959" y="180"/>
                    </a:lnTo>
                    <a:lnTo>
                      <a:pt x="4950" y="190"/>
                    </a:lnTo>
                    <a:lnTo>
                      <a:pt x="4941" y="198"/>
                    </a:lnTo>
                    <a:lnTo>
                      <a:pt x="4930" y="206"/>
                    </a:lnTo>
                    <a:lnTo>
                      <a:pt x="4921" y="214"/>
                    </a:lnTo>
                    <a:lnTo>
                      <a:pt x="4910" y="223"/>
                    </a:lnTo>
                    <a:lnTo>
                      <a:pt x="4899" y="231"/>
                    </a:lnTo>
                    <a:lnTo>
                      <a:pt x="4889" y="240"/>
                    </a:lnTo>
                    <a:lnTo>
                      <a:pt x="4882" y="250"/>
                    </a:lnTo>
                    <a:lnTo>
                      <a:pt x="4872" y="259"/>
                    </a:lnTo>
                    <a:lnTo>
                      <a:pt x="4865" y="270"/>
                    </a:lnTo>
                    <a:lnTo>
                      <a:pt x="4858" y="281"/>
                    </a:lnTo>
                    <a:lnTo>
                      <a:pt x="4850" y="292"/>
                    </a:lnTo>
                    <a:lnTo>
                      <a:pt x="4842" y="303"/>
                    </a:lnTo>
                    <a:lnTo>
                      <a:pt x="4835" y="314"/>
                    </a:lnTo>
                    <a:lnTo>
                      <a:pt x="4827" y="325"/>
                    </a:lnTo>
                    <a:lnTo>
                      <a:pt x="4820" y="329"/>
                    </a:lnTo>
                    <a:lnTo>
                      <a:pt x="4813" y="334"/>
                    </a:lnTo>
                    <a:lnTo>
                      <a:pt x="4805" y="341"/>
                    </a:lnTo>
                    <a:lnTo>
                      <a:pt x="4799" y="346"/>
                    </a:lnTo>
                    <a:lnTo>
                      <a:pt x="4791" y="351"/>
                    </a:lnTo>
                    <a:lnTo>
                      <a:pt x="4785" y="356"/>
                    </a:lnTo>
                    <a:lnTo>
                      <a:pt x="4778" y="360"/>
                    </a:lnTo>
                    <a:lnTo>
                      <a:pt x="4771" y="365"/>
                    </a:lnTo>
                    <a:lnTo>
                      <a:pt x="4766" y="364"/>
                    </a:lnTo>
                    <a:lnTo>
                      <a:pt x="4760" y="363"/>
                    </a:lnTo>
                    <a:lnTo>
                      <a:pt x="4756" y="360"/>
                    </a:lnTo>
                    <a:lnTo>
                      <a:pt x="4752" y="359"/>
                    </a:lnTo>
                    <a:lnTo>
                      <a:pt x="4747" y="358"/>
                    </a:lnTo>
                    <a:lnTo>
                      <a:pt x="4743" y="356"/>
                    </a:lnTo>
                    <a:lnTo>
                      <a:pt x="4736" y="354"/>
                    </a:lnTo>
                    <a:lnTo>
                      <a:pt x="4732" y="354"/>
                    </a:lnTo>
                    <a:lnTo>
                      <a:pt x="4709" y="371"/>
                    </a:lnTo>
                    <a:lnTo>
                      <a:pt x="4688" y="390"/>
                    </a:lnTo>
                    <a:lnTo>
                      <a:pt x="4666" y="408"/>
                    </a:lnTo>
                    <a:lnTo>
                      <a:pt x="4644" y="427"/>
                    </a:lnTo>
                    <a:lnTo>
                      <a:pt x="4621" y="445"/>
                    </a:lnTo>
                    <a:lnTo>
                      <a:pt x="4597" y="464"/>
                    </a:lnTo>
                    <a:lnTo>
                      <a:pt x="4575" y="483"/>
                    </a:lnTo>
                    <a:lnTo>
                      <a:pt x="4551" y="502"/>
                    </a:lnTo>
                    <a:lnTo>
                      <a:pt x="4541" y="507"/>
                    </a:lnTo>
                    <a:lnTo>
                      <a:pt x="4531" y="513"/>
                    </a:lnTo>
                    <a:lnTo>
                      <a:pt x="4521" y="517"/>
                    </a:lnTo>
                    <a:lnTo>
                      <a:pt x="4511" y="524"/>
                    </a:lnTo>
                    <a:lnTo>
                      <a:pt x="4501" y="528"/>
                    </a:lnTo>
                    <a:lnTo>
                      <a:pt x="4492" y="533"/>
                    </a:lnTo>
                    <a:lnTo>
                      <a:pt x="4482" y="539"/>
                    </a:lnTo>
                    <a:lnTo>
                      <a:pt x="4474" y="544"/>
                    </a:lnTo>
                    <a:lnTo>
                      <a:pt x="4467" y="542"/>
                    </a:lnTo>
                    <a:lnTo>
                      <a:pt x="4461" y="539"/>
                    </a:lnTo>
                    <a:lnTo>
                      <a:pt x="4455" y="537"/>
                    </a:lnTo>
                    <a:lnTo>
                      <a:pt x="4451" y="533"/>
                    </a:lnTo>
                    <a:lnTo>
                      <a:pt x="4443" y="531"/>
                    </a:lnTo>
                    <a:lnTo>
                      <a:pt x="4439" y="528"/>
                    </a:lnTo>
                    <a:lnTo>
                      <a:pt x="4433" y="526"/>
                    </a:lnTo>
                    <a:lnTo>
                      <a:pt x="4427" y="524"/>
                    </a:lnTo>
                    <a:lnTo>
                      <a:pt x="4401" y="542"/>
                    </a:lnTo>
                    <a:lnTo>
                      <a:pt x="4376" y="558"/>
                    </a:lnTo>
                    <a:lnTo>
                      <a:pt x="4350" y="577"/>
                    </a:lnTo>
                    <a:lnTo>
                      <a:pt x="4325" y="594"/>
                    </a:lnTo>
                    <a:lnTo>
                      <a:pt x="4301" y="612"/>
                    </a:lnTo>
                    <a:lnTo>
                      <a:pt x="4274" y="630"/>
                    </a:lnTo>
                    <a:lnTo>
                      <a:pt x="4248" y="648"/>
                    </a:lnTo>
                    <a:lnTo>
                      <a:pt x="4223" y="665"/>
                    </a:lnTo>
                    <a:lnTo>
                      <a:pt x="4197" y="683"/>
                    </a:lnTo>
                    <a:lnTo>
                      <a:pt x="4172" y="702"/>
                    </a:lnTo>
                    <a:lnTo>
                      <a:pt x="4147" y="719"/>
                    </a:lnTo>
                    <a:lnTo>
                      <a:pt x="4121" y="737"/>
                    </a:lnTo>
                    <a:lnTo>
                      <a:pt x="4096" y="755"/>
                    </a:lnTo>
                    <a:lnTo>
                      <a:pt x="4069" y="773"/>
                    </a:lnTo>
                    <a:lnTo>
                      <a:pt x="4044" y="792"/>
                    </a:lnTo>
                    <a:lnTo>
                      <a:pt x="4018" y="810"/>
                    </a:lnTo>
                    <a:lnTo>
                      <a:pt x="4012" y="802"/>
                    </a:lnTo>
                    <a:lnTo>
                      <a:pt x="4005" y="795"/>
                    </a:lnTo>
                    <a:lnTo>
                      <a:pt x="3999" y="784"/>
                    </a:lnTo>
                    <a:lnTo>
                      <a:pt x="3995" y="774"/>
                    </a:lnTo>
                    <a:lnTo>
                      <a:pt x="4005" y="767"/>
                    </a:lnTo>
                    <a:lnTo>
                      <a:pt x="4014" y="760"/>
                    </a:lnTo>
                    <a:lnTo>
                      <a:pt x="4024" y="751"/>
                    </a:lnTo>
                    <a:lnTo>
                      <a:pt x="4033" y="742"/>
                    </a:lnTo>
                    <a:lnTo>
                      <a:pt x="4043" y="733"/>
                    </a:lnTo>
                    <a:lnTo>
                      <a:pt x="4053" y="725"/>
                    </a:lnTo>
                    <a:lnTo>
                      <a:pt x="4063" y="716"/>
                    </a:lnTo>
                    <a:lnTo>
                      <a:pt x="4074" y="707"/>
                    </a:lnTo>
                    <a:lnTo>
                      <a:pt x="4081" y="705"/>
                    </a:lnTo>
                    <a:lnTo>
                      <a:pt x="4088" y="702"/>
                    </a:lnTo>
                    <a:lnTo>
                      <a:pt x="4096" y="702"/>
                    </a:lnTo>
                    <a:lnTo>
                      <a:pt x="4105" y="699"/>
                    </a:lnTo>
                    <a:lnTo>
                      <a:pt x="4112" y="696"/>
                    </a:lnTo>
                    <a:lnTo>
                      <a:pt x="4120" y="694"/>
                    </a:lnTo>
                    <a:lnTo>
                      <a:pt x="4129" y="691"/>
                    </a:lnTo>
                    <a:lnTo>
                      <a:pt x="4136" y="689"/>
                    </a:lnTo>
                    <a:lnTo>
                      <a:pt x="4141" y="682"/>
                    </a:lnTo>
                    <a:lnTo>
                      <a:pt x="4146" y="675"/>
                    </a:lnTo>
                    <a:lnTo>
                      <a:pt x="4151" y="668"/>
                    </a:lnTo>
                    <a:lnTo>
                      <a:pt x="4156" y="661"/>
                    </a:lnTo>
                    <a:lnTo>
                      <a:pt x="4160" y="654"/>
                    </a:lnTo>
                    <a:lnTo>
                      <a:pt x="4166" y="647"/>
                    </a:lnTo>
                    <a:lnTo>
                      <a:pt x="4172" y="639"/>
                    </a:lnTo>
                    <a:lnTo>
                      <a:pt x="4177" y="631"/>
                    </a:lnTo>
                    <a:lnTo>
                      <a:pt x="4188" y="627"/>
                    </a:lnTo>
                    <a:lnTo>
                      <a:pt x="4196" y="621"/>
                    </a:lnTo>
                    <a:lnTo>
                      <a:pt x="4207" y="616"/>
                    </a:lnTo>
                    <a:lnTo>
                      <a:pt x="4217" y="610"/>
                    </a:lnTo>
                    <a:lnTo>
                      <a:pt x="4225" y="605"/>
                    </a:lnTo>
                    <a:lnTo>
                      <a:pt x="4235" y="600"/>
                    </a:lnTo>
                    <a:lnTo>
                      <a:pt x="4245" y="593"/>
                    </a:lnTo>
                    <a:lnTo>
                      <a:pt x="4255" y="588"/>
                    </a:lnTo>
                    <a:lnTo>
                      <a:pt x="4262" y="575"/>
                    </a:lnTo>
                    <a:lnTo>
                      <a:pt x="4269" y="562"/>
                    </a:lnTo>
                    <a:lnTo>
                      <a:pt x="4276" y="548"/>
                    </a:lnTo>
                    <a:lnTo>
                      <a:pt x="4284" y="533"/>
                    </a:lnTo>
                    <a:lnTo>
                      <a:pt x="4290" y="526"/>
                    </a:lnTo>
                    <a:lnTo>
                      <a:pt x="4298" y="519"/>
                    </a:lnTo>
                    <a:lnTo>
                      <a:pt x="4305" y="513"/>
                    </a:lnTo>
                    <a:lnTo>
                      <a:pt x="4311" y="507"/>
                    </a:lnTo>
                    <a:lnTo>
                      <a:pt x="4319" y="501"/>
                    </a:lnTo>
                    <a:lnTo>
                      <a:pt x="4327" y="495"/>
                    </a:lnTo>
                    <a:lnTo>
                      <a:pt x="4335" y="489"/>
                    </a:lnTo>
                    <a:lnTo>
                      <a:pt x="4343" y="482"/>
                    </a:lnTo>
                    <a:lnTo>
                      <a:pt x="4336" y="480"/>
                    </a:lnTo>
                    <a:lnTo>
                      <a:pt x="4331" y="477"/>
                    </a:lnTo>
                    <a:lnTo>
                      <a:pt x="4325" y="475"/>
                    </a:lnTo>
                    <a:lnTo>
                      <a:pt x="4319" y="471"/>
                    </a:lnTo>
                    <a:lnTo>
                      <a:pt x="4313" y="469"/>
                    </a:lnTo>
                    <a:lnTo>
                      <a:pt x="4307" y="465"/>
                    </a:lnTo>
                    <a:lnTo>
                      <a:pt x="4302" y="462"/>
                    </a:lnTo>
                    <a:lnTo>
                      <a:pt x="4296" y="458"/>
                    </a:lnTo>
                    <a:lnTo>
                      <a:pt x="4307" y="450"/>
                    </a:lnTo>
                    <a:lnTo>
                      <a:pt x="4318" y="440"/>
                    </a:lnTo>
                    <a:lnTo>
                      <a:pt x="4329" y="432"/>
                    </a:lnTo>
                    <a:lnTo>
                      <a:pt x="4342" y="423"/>
                    </a:lnTo>
                    <a:lnTo>
                      <a:pt x="4353" y="415"/>
                    </a:lnTo>
                    <a:lnTo>
                      <a:pt x="4365" y="406"/>
                    </a:lnTo>
                    <a:lnTo>
                      <a:pt x="4376" y="398"/>
                    </a:lnTo>
                    <a:lnTo>
                      <a:pt x="4388" y="389"/>
                    </a:lnTo>
                    <a:lnTo>
                      <a:pt x="4393" y="383"/>
                    </a:lnTo>
                    <a:lnTo>
                      <a:pt x="4401" y="378"/>
                    </a:lnTo>
                    <a:lnTo>
                      <a:pt x="4410" y="371"/>
                    </a:lnTo>
                    <a:lnTo>
                      <a:pt x="4415" y="364"/>
                    </a:lnTo>
                    <a:lnTo>
                      <a:pt x="4424" y="354"/>
                    </a:lnTo>
                    <a:lnTo>
                      <a:pt x="4435" y="343"/>
                    </a:lnTo>
                    <a:lnTo>
                      <a:pt x="4442" y="331"/>
                    </a:lnTo>
                    <a:lnTo>
                      <a:pt x="4451" y="320"/>
                    </a:lnTo>
                    <a:lnTo>
                      <a:pt x="4460" y="309"/>
                    </a:lnTo>
                    <a:lnTo>
                      <a:pt x="4468" y="298"/>
                    </a:lnTo>
                    <a:lnTo>
                      <a:pt x="4478" y="286"/>
                    </a:lnTo>
                    <a:lnTo>
                      <a:pt x="4486" y="275"/>
                    </a:lnTo>
                    <a:lnTo>
                      <a:pt x="4464" y="285"/>
                    </a:lnTo>
                    <a:lnTo>
                      <a:pt x="4444" y="294"/>
                    </a:lnTo>
                    <a:lnTo>
                      <a:pt x="4423" y="304"/>
                    </a:lnTo>
                    <a:lnTo>
                      <a:pt x="4403" y="313"/>
                    </a:lnTo>
                    <a:lnTo>
                      <a:pt x="4381" y="323"/>
                    </a:lnTo>
                    <a:lnTo>
                      <a:pt x="4360" y="332"/>
                    </a:lnTo>
                    <a:lnTo>
                      <a:pt x="4338" y="344"/>
                    </a:lnTo>
                    <a:lnTo>
                      <a:pt x="4318" y="354"/>
                    </a:lnTo>
                    <a:lnTo>
                      <a:pt x="4313" y="351"/>
                    </a:lnTo>
                    <a:lnTo>
                      <a:pt x="4309" y="348"/>
                    </a:lnTo>
                    <a:lnTo>
                      <a:pt x="4304" y="347"/>
                    </a:lnTo>
                    <a:lnTo>
                      <a:pt x="4300" y="345"/>
                    </a:lnTo>
                    <a:lnTo>
                      <a:pt x="4293" y="344"/>
                    </a:lnTo>
                    <a:lnTo>
                      <a:pt x="4289" y="341"/>
                    </a:lnTo>
                    <a:lnTo>
                      <a:pt x="4285" y="341"/>
                    </a:lnTo>
                    <a:lnTo>
                      <a:pt x="4280" y="340"/>
                    </a:lnTo>
                    <a:lnTo>
                      <a:pt x="4286" y="333"/>
                    </a:lnTo>
                    <a:lnTo>
                      <a:pt x="4293" y="327"/>
                    </a:lnTo>
                    <a:lnTo>
                      <a:pt x="4300" y="321"/>
                    </a:lnTo>
                    <a:lnTo>
                      <a:pt x="4305" y="314"/>
                    </a:lnTo>
                    <a:lnTo>
                      <a:pt x="4311" y="308"/>
                    </a:lnTo>
                    <a:lnTo>
                      <a:pt x="4318" y="302"/>
                    </a:lnTo>
                    <a:lnTo>
                      <a:pt x="4325" y="295"/>
                    </a:lnTo>
                    <a:lnTo>
                      <a:pt x="4333" y="289"/>
                    </a:lnTo>
                    <a:lnTo>
                      <a:pt x="4352" y="275"/>
                    </a:lnTo>
                    <a:lnTo>
                      <a:pt x="4374" y="256"/>
                    </a:lnTo>
                    <a:lnTo>
                      <a:pt x="4399" y="237"/>
                    </a:lnTo>
                    <a:lnTo>
                      <a:pt x="4427" y="217"/>
                    </a:lnTo>
                    <a:lnTo>
                      <a:pt x="4455" y="198"/>
                    </a:lnTo>
                    <a:lnTo>
                      <a:pt x="4480" y="179"/>
                    </a:lnTo>
                    <a:lnTo>
                      <a:pt x="4503" y="164"/>
                    </a:lnTo>
                    <a:lnTo>
                      <a:pt x="4520" y="149"/>
                    </a:lnTo>
                    <a:lnTo>
                      <a:pt x="4524" y="125"/>
                    </a:lnTo>
                    <a:lnTo>
                      <a:pt x="4521" y="114"/>
                    </a:lnTo>
                    <a:lnTo>
                      <a:pt x="4513" y="114"/>
                    </a:lnTo>
                    <a:lnTo>
                      <a:pt x="4504" y="120"/>
                    </a:lnTo>
                    <a:lnTo>
                      <a:pt x="4491" y="128"/>
                    </a:lnTo>
                    <a:lnTo>
                      <a:pt x="4480" y="136"/>
                    </a:lnTo>
                    <a:lnTo>
                      <a:pt x="4471" y="141"/>
                    </a:lnTo>
                    <a:lnTo>
                      <a:pt x="4464" y="140"/>
                    </a:lnTo>
                    <a:lnTo>
                      <a:pt x="4455" y="148"/>
                    </a:lnTo>
                    <a:lnTo>
                      <a:pt x="4441" y="154"/>
                    </a:lnTo>
                    <a:lnTo>
                      <a:pt x="4425" y="162"/>
                    </a:lnTo>
                    <a:lnTo>
                      <a:pt x="4410" y="167"/>
                    </a:lnTo>
                    <a:lnTo>
                      <a:pt x="4393" y="175"/>
                    </a:lnTo>
                    <a:lnTo>
                      <a:pt x="4377" y="180"/>
                    </a:lnTo>
                    <a:lnTo>
                      <a:pt x="4363" y="190"/>
                    </a:lnTo>
                    <a:lnTo>
                      <a:pt x="4352" y="197"/>
                    </a:lnTo>
                    <a:lnTo>
                      <a:pt x="4348" y="206"/>
                    </a:lnTo>
                    <a:lnTo>
                      <a:pt x="4345" y="216"/>
                    </a:lnTo>
                    <a:lnTo>
                      <a:pt x="4342" y="227"/>
                    </a:lnTo>
                    <a:lnTo>
                      <a:pt x="4338" y="237"/>
                    </a:lnTo>
                    <a:lnTo>
                      <a:pt x="4333" y="242"/>
                    </a:lnTo>
                    <a:lnTo>
                      <a:pt x="4328" y="248"/>
                    </a:lnTo>
                    <a:lnTo>
                      <a:pt x="4322" y="254"/>
                    </a:lnTo>
                    <a:lnTo>
                      <a:pt x="4315" y="259"/>
                    </a:lnTo>
                    <a:lnTo>
                      <a:pt x="4307" y="266"/>
                    </a:lnTo>
                    <a:lnTo>
                      <a:pt x="4302" y="271"/>
                    </a:lnTo>
                    <a:lnTo>
                      <a:pt x="4293" y="277"/>
                    </a:lnTo>
                    <a:lnTo>
                      <a:pt x="4286" y="282"/>
                    </a:lnTo>
                    <a:lnTo>
                      <a:pt x="4280" y="275"/>
                    </a:lnTo>
                    <a:lnTo>
                      <a:pt x="4276" y="268"/>
                    </a:lnTo>
                    <a:lnTo>
                      <a:pt x="4269" y="262"/>
                    </a:lnTo>
                    <a:lnTo>
                      <a:pt x="4262" y="254"/>
                    </a:lnTo>
                    <a:lnTo>
                      <a:pt x="4257" y="247"/>
                    </a:lnTo>
                    <a:lnTo>
                      <a:pt x="4248" y="241"/>
                    </a:lnTo>
                    <a:lnTo>
                      <a:pt x="4242" y="235"/>
                    </a:lnTo>
                    <a:lnTo>
                      <a:pt x="4237" y="229"/>
                    </a:lnTo>
                    <a:lnTo>
                      <a:pt x="4245" y="215"/>
                    </a:lnTo>
                    <a:lnTo>
                      <a:pt x="4253" y="203"/>
                    </a:lnTo>
                    <a:lnTo>
                      <a:pt x="4260" y="190"/>
                    </a:lnTo>
                    <a:lnTo>
                      <a:pt x="4269" y="175"/>
                    </a:lnTo>
                    <a:lnTo>
                      <a:pt x="4280" y="169"/>
                    </a:lnTo>
                    <a:lnTo>
                      <a:pt x="4288" y="162"/>
                    </a:lnTo>
                    <a:lnTo>
                      <a:pt x="4297" y="154"/>
                    </a:lnTo>
                    <a:lnTo>
                      <a:pt x="4305" y="146"/>
                    </a:lnTo>
                    <a:lnTo>
                      <a:pt x="4314" y="138"/>
                    </a:lnTo>
                    <a:lnTo>
                      <a:pt x="4323" y="131"/>
                    </a:lnTo>
                    <a:lnTo>
                      <a:pt x="4331" y="124"/>
                    </a:lnTo>
                    <a:lnTo>
                      <a:pt x="4338" y="117"/>
                    </a:lnTo>
                    <a:lnTo>
                      <a:pt x="4346" y="107"/>
                    </a:lnTo>
                    <a:lnTo>
                      <a:pt x="4350" y="100"/>
                    </a:lnTo>
                    <a:lnTo>
                      <a:pt x="4356" y="91"/>
                    </a:lnTo>
                    <a:lnTo>
                      <a:pt x="4362" y="83"/>
                    </a:lnTo>
                    <a:lnTo>
                      <a:pt x="4368" y="74"/>
                    </a:lnTo>
                    <a:lnTo>
                      <a:pt x="4373" y="65"/>
                    </a:lnTo>
                    <a:lnTo>
                      <a:pt x="4379" y="55"/>
                    </a:lnTo>
                    <a:lnTo>
                      <a:pt x="4386" y="47"/>
                    </a:lnTo>
                    <a:lnTo>
                      <a:pt x="4376" y="48"/>
                    </a:lnTo>
                    <a:lnTo>
                      <a:pt x="4366" y="50"/>
                    </a:lnTo>
                    <a:lnTo>
                      <a:pt x="4356" y="52"/>
                    </a:lnTo>
                    <a:lnTo>
                      <a:pt x="4346" y="52"/>
                    </a:lnTo>
                    <a:lnTo>
                      <a:pt x="4335" y="55"/>
                    </a:lnTo>
                    <a:lnTo>
                      <a:pt x="4325" y="56"/>
                    </a:lnTo>
                    <a:lnTo>
                      <a:pt x="4314" y="59"/>
                    </a:lnTo>
                    <a:lnTo>
                      <a:pt x="4304" y="60"/>
                    </a:lnTo>
                    <a:lnTo>
                      <a:pt x="4307" y="44"/>
                    </a:lnTo>
                    <a:lnTo>
                      <a:pt x="4311" y="29"/>
                    </a:lnTo>
                    <a:lnTo>
                      <a:pt x="4313" y="15"/>
                    </a:lnTo>
                    <a:lnTo>
                      <a:pt x="4315" y="0"/>
                    </a:lnTo>
                    <a:lnTo>
                      <a:pt x="4305" y="6"/>
                    </a:lnTo>
                    <a:lnTo>
                      <a:pt x="4296" y="12"/>
                    </a:lnTo>
                    <a:lnTo>
                      <a:pt x="4285" y="18"/>
                    </a:lnTo>
                    <a:lnTo>
                      <a:pt x="4276" y="25"/>
                    </a:lnTo>
                    <a:lnTo>
                      <a:pt x="4266" y="32"/>
                    </a:lnTo>
                    <a:lnTo>
                      <a:pt x="4257" y="41"/>
                    </a:lnTo>
                    <a:lnTo>
                      <a:pt x="4248" y="48"/>
                    </a:lnTo>
                    <a:lnTo>
                      <a:pt x="4238" y="55"/>
                    </a:lnTo>
                    <a:lnTo>
                      <a:pt x="4233" y="63"/>
                    </a:lnTo>
                    <a:lnTo>
                      <a:pt x="4227" y="74"/>
                    </a:lnTo>
                    <a:lnTo>
                      <a:pt x="4221" y="83"/>
                    </a:lnTo>
                    <a:lnTo>
                      <a:pt x="4217" y="93"/>
                    </a:lnTo>
                    <a:lnTo>
                      <a:pt x="4211" y="103"/>
                    </a:lnTo>
                    <a:lnTo>
                      <a:pt x="4205" y="114"/>
                    </a:lnTo>
                    <a:lnTo>
                      <a:pt x="4199" y="124"/>
                    </a:lnTo>
                    <a:lnTo>
                      <a:pt x="4195" y="135"/>
                    </a:lnTo>
                    <a:lnTo>
                      <a:pt x="4186" y="135"/>
                    </a:lnTo>
                    <a:lnTo>
                      <a:pt x="4177" y="135"/>
                    </a:lnTo>
                    <a:lnTo>
                      <a:pt x="4168" y="135"/>
                    </a:lnTo>
                    <a:lnTo>
                      <a:pt x="4160" y="135"/>
                    </a:lnTo>
                    <a:lnTo>
                      <a:pt x="4151" y="135"/>
                    </a:lnTo>
                    <a:lnTo>
                      <a:pt x="4144" y="135"/>
                    </a:lnTo>
                    <a:lnTo>
                      <a:pt x="4134" y="135"/>
                    </a:lnTo>
                    <a:lnTo>
                      <a:pt x="4126" y="134"/>
                    </a:lnTo>
                    <a:lnTo>
                      <a:pt x="4111" y="144"/>
                    </a:lnTo>
                    <a:lnTo>
                      <a:pt x="4096" y="156"/>
                    </a:lnTo>
                    <a:lnTo>
                      <a:pt x="4081" y="167"/>
                    </a:lnTo>
                    <a:lnTo>
                      <a:pt x="4066" y="177"/>
                    </a:lnTo>
                    <a:lnTo>
                      <a:pt x="4051" y="189"/>
                    </a:lnTo>
                    <a:lnTo>
                      <a:pt x="4035" y="200"/>
                    </a:lnTo>
                    <a:lnTo>
                      <a:pt x="4021" y="210"/>
                    </a:lnTo>
                    <a:lnTo>
                      <a:pt x="4003" y="221"/>
                    </a:lnTo>
                    <a:lnTo>
                      <a:pt x="3955" y="254"/>
                    </a:lnTo>
                    <a:lnTo>
                      <a:pt x="3906" y="284"/>
                    </a:lnTo>
                    <a:lnTo>
                      <a:pt x="3858" y="312"/>
                    </a:lnTo>
                    <a:lnTo>
                      <a:pt x="3809" y="337"/>
                    </a:lnTo>
                    <a:lnTo>
                      <a:pt x="3759" y="362"/>
                    </a:lnTo>
                    <a:lnTo>
                      <a:pt x="3711" y="387"/>
                    </a:lnTo>
                    <a:lnTo>
                      <a:pt x="3662" y="412"/>
                    </a:lnTo>
                    <a:lnTo>
                      <a:pt x="3614" y="435"/>
                    </a:lnTo>
                    <a:lnTo>
                      <a:pt x="3566" y="463"/>
                    </a:lnTo>
                    <a:lnTo>
                      <a:pt x="3518" y="493"/>
                    </a:lnTo>
                    <a:lnTo>
                      <a:pt x="3469" y="525"/>
                    </a:lnTo>
                    <a:lnTo>
                      <a:pt x="3421" y="558"/>
                    </a:lnTo>
                    <a:lnTo>
                      <a:pt x="3374" y="600"/>
                    </a:lnTo>
                    <a:lnTo>
                      <a:pt x="3327" y="644"/>
                    </a:lnTo>
                    <a:lnTo>
                      <a:pt x="3279" y="693"/>
                    </a:lnTo>
                    <a:lnTo>
                      <a:pt x="3231" y="749"/>
                    </a:lnTo>
                    <a:lnTo>
                      <a:pt x="3186" y="777"/>
                    </a:lnTo>
                    <a:lnTo>
                      <a:pt x="3151" y="800"/>
                    </a:lnTo>
                    <a:lnTo>
                      <a:pt x="3125" y="816"/>
                    </a:lnTo>
                    <a:lnTo>
                      <a:pt x="3108" y="826"/>
                    </a:lnTo>
                    <a:lnTo>
                      <a:pt x="3100" y="829"/>
                    </a:lnTo>
                    <a:lnTo>
                      <a:pt x="3098" y="828"/>
                    </a:lnTo>
                    <a:lnTo>
                      <a:pt x="3100" y="822"/>
                    </a:lnTo>
                    <a:lnTo>
                      <a:pt x="3107" y="813"/>
                    </a:lnTo>
                    <a:lnTo>
                      <a:pt x="3116" y="804"/>
                    </a:lnTo>
                    <a:lnTo>
                      <a:pt x="3128" y="792"/>
                    </a:lnTo>
                    <a:lnTo>
                      <a:pt x="3143" y="779"/>
                    </a:lnTo>
                    <a:lnTo>
                      <a:pt x="3156" y="767"/>
                    </a:lnTo>
                    <a:lnTo>
                      <a:pt x="3168" y="756"/>
                    </a:lnTo>
                    <a:lnTo>
                      <a:pt x="3178" y="744"/>
                    </a:lnTo>
                    <a:lnTo>
                      <a:pt x="3186" y="737"/>
                    </a:lnTo>
                    <a:lnTo>
                      <a:pt x="3188" y="733"/>
                    </a:lnTo>
                    <a:lnTo>
                      <a:pt x="3211" y="722"/>
                    </a:lnTo>
                    <a:lnTo>
                      <a:pt x="3230" y="712"/>
                    </a:lnTo>
                    <a:lnTo>
                      <a:pt x="3242" y="702"/>
                    </a:lnTo>
                    <a:lnTo>
                      <a:pt x="3251" y="696"/>
                    </a:lnTo>
                    <a:lnTo>
                      <a:pt x="3256" y="693"/>
                    </a:lnTo>
                    <a:lnTo>
                      <a:pt x="3259" y="689"/>
                    </a:lnTo>
                    <a:lnTo>
                      <a:pt x="3256" y="687"/>
                    </a:lnTo>
                    <a:lnTo>
                      <a:pt x="3253" y="686"/>
                    </a:lnTo>
                    <a:lnTo>
                      <a:pt x="3248" y="686"/>
                    </a:lnTo>
                    <a:lnTo>
                      <a:pt x="3244" y="686"/>
                    </a:lnTo>
                    <a:lnTo>
                      <a:pt x="3239" y="685"/>
                    </a:lnTo>
                    <a:lnTo>
                      <a:pt x="3235" y="683"/>
                    </a:lnTo>
                    <a:lnTo>
                      <a:pt x="3233" y="681"/>
                    </a:lnTo>
                    <a:lnTo>
                      <a:pt x="3233" y="678"/>
                    </a:lnTo>
                    <a:lnTo>
                      <a:pt x="3235" y="671"/>
                    </a:lnTo>
                    <a:lnTo>
                      <a:pt x="3240" y="665"/>
                    </a:lnTo>
                    <a:lnTo>
                      <a:pt x="3248" y="656"/>
                    </a:lnTo>
                    <a:lnTo>
                      <a:pt x="3261" y="644"/>
                    </a:lnTo>
                    <a:lnTo>
                      <a:pt x="3279" y="630"/>
                    </a:lnTo>
                    <a:lnTo>
                      <a:pt x="3302" y="613"/>
                    </a:lnTo>
                    <a:lnTo>
                      <a:pt x="3330" y="593"/>
                    </a:lnTo>
                    <a:lnTo>
                      <a:pt x="3366" y="570"/>
                    </a:lnTo>
                    <a:lnTo>
                      <a:pt x="3407" y="542"/>
                    </a:lnTo>
                    <a:lnTo>
                      <a:pt x="3456" y="511"/>
                    </a:lnTo>
                    <a:lnTo>
                      <a:pt x="3513" y="473"/>
                    </a:lnTo>
                    <a:lnTo>
                      <a:pt x="3578" y="433"/>
                    </a:lnTo>
                    <a:lnTo>
                      <a:pt x="3654" y="389"/>
                    </a:lnTo>
                    <a:lnTo>
                      <a:pt x="3738" y="337"/>
                    </a:lnTo>
                    <a:lnTo>
                      <a:pt x="3833" y="282"/>
                    </a:lnTo>
                    <a:lnTo>
                      <a:pt x="3941" y="219"/>
                    </a:lnTo>
                    <a:lnTo>
                      <a:pt x="4057" y="152"/>
                    </a:lnTo>
                    <a:lnTo>
                      <a:pt x="4084" y="134"/>
                    </a:lnTo>
                    <a:lnTo>
                      <a:pt x="4107" y="117"/>
                    </a:lnTo>
                    <a:lnTo>
                      <a:pt x="4125" y="100"/>
                    </a:lnTo>
                    <a:lnTo>
                      <a:pt x="4138" y="85"/>
                    </a:lnTo>
                    <a:lnTo>
                      <a:pt x="4147" y="71"/>
                    </a:lnTo>
                    <a:lnTo>
                      <a:pt x="4151" y="61"/>
                    </a:lnTo>
                    <a:lnTo>
                      <a:pt x="4151" y="54"/>
                    </a:lnTo>
                    <a:lnTo>
                      <a:pt x="4147" y="52"/>
                    </a:lnTo>
                    <a:lnTo>
                      <a:pt x="4121" y="56"/>
                    </a:lnTo>
                    <a:lnTo>
                      <a:pt x="4093" y="69"/>
                    </a:lnTo>
                    <a:lnTo>
                      <a:pt x="4066" y="89"/>
                    </a:lnTo>
                    <a:lnTo>
                      <a:pt x="4038" y="107"/>
                    </a:lnTo>
                    <a:lnTo>
                      <a:pt x="4014" y="127"/>
                    </a:lnTo>
                    <a:lnTo>
                      <a:pt x="3992" y="140"/>
                    </a:lnTo>
                    <a:lnTo>
                      <a:pt x="3975" y="144"/>
                    </a:lnTo>
                    <a:lnTo>
                      <a:pt x="3963" y="134"/>
                    </a:lnTo>
                    <a:lnTo>
                      <a:pt x="3949" y="156"/>
                    </a:lnTo>
                    <a:lnTo>
                      <a:pt x="3947" y="164"/>
                    </a:lnTo>
                    <a:lnTo>
                      <a:pt x="3949" y="162"/>
                    </a:lnTo>
                    <a:lnTo>
                      <a:pt x="3952" y="153"/>
                    </a:lnTo>
                    <a:lnTo>
                      <a:pt x="3950" y="144"/>
                    </a:lnTo>
                    <a:lnTo>
                      <a:pt x="3936" y="144"/>
                    </a:lnTo>
                    <a:lnTo>
                      <a:pt x="3904" y="154"/>
                    </a:lnTo>
                    <a:lnTo>
                      <a:pt x="3848" y="179"/>
                    </a:lnTo>
                    <a:lnTo>
                      <a:pt x="3831" y="190"/>
                    </a:lnTo>
                    <a:lnTo>
                      <a:pt x="3811" y="200"/>
                    </a:lnTo>
                    <a:lnTo>
                      <a:pt x="3790" y="211"/>
                    </a:lnTo>
                    <a:lnTo>
                      <a:pt x="3766" y="226"/>
                    </a:lnTo>
                    <a:lnTo>
                      <a:pt x="3743" y="240"/>
                    </a:lnTo>
                    <a:lnTo>
                      <a:pt x="3716" y="254"/>
                    </a:lnTo>
                    <a:lnTo>
                      <a:pt x="3689" y="271"/>
                    </a:lnTo>
                    <a:lnTo>
                      <a:pt x="3662" y="288"/>
                    </a:lnTo>
                    <a:lnTo>
                      <a:pt x="3633" y="306"/>
                    </a:lnTo>
                    <a:lnTo>
                      <a:pt x="3603" y="323"/>
                    </a:lnTo>
                    <a:lnTo>
                      <a:pt x="3574" y="343"/>
                    </a:lnTo>
                    <a:lnTo>
                      <a:pt x="3543" y="362"/>
                    </a:lnTo>
                    <a:lnTo>
                      <a:pt x="3512" y="381"/>
                    </a:lnTo>
                    <a:lnTo>
                      <a:pt x="3481" y="401"/>
                    </a:lnTo>
                    <a:lnTo>
                      <a:pt x="3448" y="422"/>
                    </a:lnTo>
                    <a:lnTo>
                      <a:pt x="3417" y="442"/>
                    </a:lnTo>
                    <a:lnTo>
                      <a:pt x="3386" y="463"/>
                    </a:lnTo>
                    <a:lnTo>
                      <a:pt x="3352" y="483"/>
                    </a:lnTo>
                    <a:lnTo>
                      <a:pt x="3322" y="504"/>
                    </a:lnTo>
                    <a:lnTo>
                      <a:pt x="3290" y="525"/>
                    </a:lnTo>
                    <a:lnTo>
                      <a:pt x="3260" y="544"/>
                    </a:lnTo>
                    <a:lnTo>
                      <a:pt x="3230" y="566"/>
                    </a:lnTo>
                    <a:lnTo>
                      <a:pt x="3201" y="583"/>
                    </a:lnTo>
                    <a:lnTo>
                      <a:pt x="3172" y="604"/>
                    </a:lnTo>
                    <a:lnTo>
                      <a:pt x="3145" y="621"/>
                    </a:lnTo>
                    <a:lnTo>
                      <a:pt x="3119" y="639"/>
                    </a:lnTo>
                    <a:lnTo>
                      <a:pt x="3093" y="656"/>
                    </a:lnTo>
                    <a:lnTo>
                      <a:pt x="3069" y="671"/>
                    </a:lnTo>
                    <a:lnTo>
                      <a:pt x="3045" y="689"/>
                    </a:lnTo>
                    <a:lnTo>
                      <a:pt x="3025" y="702"/>
                    </a:lnTo>
                    <a:lnTo>
                      <a:pt x="3005" y="716"/>
                    </a:lnTo>
                    <a:lnTo>
                      <a:pt x="2988" y="727"/>
                    </a:lnTo>
                    <a:lnTo>
                      <a:pt x="2937" y="762"/>
                    </a:lnTo>
                    <a:lnTo>
                      <a:pt x="2886" y="797"/>
                    </a:lnTo>
                    <a:lnTo>
                      <a:pt x="2837" y="830"/>
                    </a:lnTo>
                    <a:lnTo>
                      <a:pt x="2788" y="862"/>
                    </a:lnTo>
                    <a:lnTo>
                      <a:pt x="2738" y="894"/>
                    </a:lnTo>
                    <a:lnTo>
                      <a:pt x="2690" y="925"/>
                    </a:lnTo>
                    <a:lnTo>
                      <a:pt x="2642" y="956"/>
                    </a:lnTo>
                    <a:lnTo>
                      <a:pt x="2596" y="987"/>
                    </a:lnTo>
                    <a:lnTo>
                      <a:pt x="2550" y="1018"/>
                    </a:lnTo>
                    <a:lnTo>
                      <a:pt x="2505" y="1049"/>
                    </a:lnTo>
                    <a:lnTo>
                      <a:pt x="2459" y="1078"/>
                    </a:lnTo>
                    <a:lnTo>
                      <a:pt x="2415" y="1108"/>
                    </a:lnTo>
                    <a:lnTo>
                      <a:pt x="2371" y="1137"/>
                    </a:lnTo>
                    <a:lnTo>
                      <a:pt x="2327" y="1168"/>
                    </a:lnTo>
                    <a:lnTo>
                      <a:pt x="2285" y="1199"/>
                    </a:lnTo>
                    <a:lnTo>
                      <a:pt x="2243" y="1227"/>
                    </a:lnTo>
                    <a:lnTo>
                      <a:pt x="2219" y="1249"/>
                    </a:lnTo>
                    <a:lnTo>
                      <a:pt x="2197" y="1270"/>
                    </a:lnTo>
                    <a:lnTo>
                      <a:pt x="2175" y="1293"/>
                    </a:lnTo>
                    <a:lnTo>
                      <a:pt x="2154" y="1316"/>
                    </a:lnTo>
                    <a:lnTo>
                      <a:pt x="2134" y="1339"/>
                    </a:lnTo>
                    <a:lnTo>
                      <a:pt x="2114" y="1362"/>
                    </a:lnTo>
                    <a:lnTo>
                      <a:pt x="2097" y="1385"/>
                    </a:lnTo>
                    <a:lnTo>
                      <a:pt x="2078" y="1408"/>
                    </a:lnTo>
                    <a:lnTo>
                      <a:pt x="2058" y="1432"/>
                    </a:lnTo>
                    <a:lnTo>
                      <a:pt x="2041" y="1455"/>
                    </a:lnTo>
                    <a:lnTo>
                      <a:pt x="2022" y="1479"/>
                    </a:lnTo>
                    <a:lnTo>
                      <a:pt x="2003" y="1501"/>
                    </a:lnTo>
                    <a:lnTo>
                      <a:pt x="1985" y="1524"/>
                    </a:lnTo>
                    <a:lnTo>
                      <a:pt x="1966" y="1545"/>
                    </a:lnTo>
                    <a:lnTo>
                      <a:pt x="1946" y="1566"/>
                    </a:lnTo>
                    <a:lnTo>
                      <a:pt x="1926" y="1587"/>
                    </a:lnTo>
                    <a:lnTo>
                      <a:pt x="1903" y="1608"/>
                    </a:lnTo>
                    <a:lnTo>
                      <a:pt x="1879" y="1635"/>
                    </a:lnTo>
                    <a:lnTo>
                      <a:pt x="1854" y="1666"/>
                    </a:lnTo>
                    <a:lnTo>
                      <a:pt x="1829" y="1701"/>
                    </a:lnTo>
                    <a:lnTo>
                      <a:pt x="1803" y="1734"/>
                    </a:lnTo>
                    <a:lnTo>
                      <a:pt x="1779" y="1765"/>
                    </a:lnTo>
                    <a:lnTo>
                      <a:pt x="1757" y="1791"/>
                    </a:lnTo>
                    <a:lnTo>
                      <a:pt x="1737" y="1811"/>
                    </a:lnTo>
                    <a:lnTo>
                      <a:pt x="1709" y="1831"/>
                    </a:lnTo>
                    <a:lnTo>
                      <a:pt x="1690" y="1846"/>
                    </a:lnTo>
                    <a:lnTo>
                      <a:pt x="1677" y="1855"/>
                    </a:lnTo>
                    <a:lnTo>
                      <a:pt x="1667" y="1862"/>
                    </a:lnTo>
                    <a:lnTo>
                      <a:pt x="1657" y="1868"/>
                    </a:lnTo>
                    <a:lnTo>
                      <a:pt x="1645" y="1879"/>
                    </a:lnTo>
                    <a:lnTo>
                      <a:pt x="1631" y="1892"/>
                    </a:lnTo>
                    <a:lnTo>
                      <a:pt x="1609" y="1914"/>
                    </a:lnTo>
                    <a:lnTo>
                      <a:pt x="1587" y="1947"/>
                    </a:lnTo>
                    <a:lnTo>
                      <a:pt x="1568" y="1981"/>
                    </a:lnTo>
                    <a:lnTo>
                      <a:pt x="1550" y="2018"/>
                    </a:lnTo>
                    <a:lnTo>
                      <a:pt x="1534" y="2057"/>
                    </a:lnTo>
                    <a:lnTo>
                      <a:pt x="1518" y="2093"/>
                    </a:lnTo>
                    <a:lnTo>
                      <a:pt x="1501" y="2130"/>
                    </a:lnTo>
                    <a:lnTo>
                      <a:pt x="1486" y="2166"/>
                    </a:lnTo>
                    <a:lnTo>
                      <a:pt x="1469" y="2199"/>
                    </a:lnTo>
                    <a:lnTo>
                      <a:pt x="1454" y="2170"/>
                    </a:lnTo>
                    <a:lnTo>
                      <a:pt x="1435" y="2142"/>
                    </a:lnTo>
                    <a:lnTo>
                      <a:pt x="1416" y="2112"/>
                    </a:lnTo>
                    <a:lnTo>
                      <a:pt x="1395" y="2082"/>
                    </a:lnTo>
                    <a:lnTo>
                      <a:pt x="1372" y="2054"/>
                    </a:lnTo>
                    <a:lnTo>
                      <a:pt x="1350" y="2025"/>
                    </a:lnTo>
                    <a:lnTo>
                      <a:pt x="1327" y="1996"/>
                    </a:lnTo>
                    <a:lnTo>
                      <a:pt x="1304" y="1967"/>
                    </a:lnTo>
                    <a:lnTo>
                      <a:pt x="1281" y="1937"/>
                    </a:lnTo>
                    <a:lnTo>
                      <a:pt x="1259" y="1907"/>
                    </a:lnTo>
                    <a:lnTo>
                      <a:pt x="1239" y="1880"/>
                    </a:lnTo>
                    <a:lnTo>
                      <a:pt x="1220" y="1850"/>
                    </a:lnTo>
                    <a:lnTo>
                      <a:pt x="1202" y="1821"/>
                    </a:lnTo>
                    <a:lnTo>
                      <a:pt x="1187" y="1792"/>
                    </a:lnTo>
                    <a:lnTo>
                      <a:pt x="1173" y="1763"/>
                    </a:lnTo>
                    <a:lnTo>
                      <a:pt x="1164" y="1735"/>
                    </a:lnTo>
                    <a:lnTo>
                      <a:pt x="1148" y="1695"/>
                    </a:lnTo>
                    <a:lnTo>
                      <a:pt x="1131" y="1653"/>
                    </a:lnTo>
                    <a:lnTo>
                      <a:pt x="1112" y="1608"/>
                    </a:lnTo>
                    <a:lnTo>
                      <a:pt x="1093" y="1564"/>
                    </a:lnTo>
                    <a:lnTo>
                      <a:pt x="1075" y="1519"/>
                    </a:lnTo>
                    <a:lnTo>
                      <a:pt x="1057" y="1475"/>
                    </a:lnTo>
                    <a:lnTo>
                      <a:pt x="1040" y="1432"/>
                    </a:lnTo>
                    <a:lnTo>
                      <a:pt x="1026" y="1391"/>
                    </a:lnTo>
                    <a:lnTo>
                      <a:pt x="1002" y="1400"/>
                    </a:lnTo>
                    <a:lnTo>
                      <a:pt x="980" y="1410"/>
                    </a:lnTo>
                    <a:lnTo>
                      <a:pt x="957" y="1418"/>
                    </a:lnTo>
                    <a:lnTo>
                      <a:pt x="935" y="1428"/>
                    </a:lnTo>
                    <a:lnTo>
                      <a:pt x="912" y="1436"/>
                    </a:lnTo>
                    <a:lnTo>
                      <a:pt x="890" y="1443"/>
                    </a:lnTo>
                    <a:lnTo>
                      <a:pt x="867" y="1451"/>
                    </a:lnTo>
                    <a:lnTo>
                      <a:pt x="844" y="1460"/>
                    </a:lnTo>
                    <a:lnTo>
                      <a:pt x="828" y="1469"/>
                    </a:lnTo>
                    <a:lnTo>
                      <a:pt x="809" y="1476"/>
                    </a:lnTo>
                    <a:lnTo>
                      <a:pt x="791" y="1485"/>
                    </a:lnTo>
                    <a:lnTo>
                      <a:pt x="773" y="1493"/>
                    </a:lnTo>
                    <a:lnTo>
                      <a:pt x="755" y="1501"/>
                    </a:lnTo>
                    <a:lnTo>
                      <a:pt x="739" y="1510"/>
                    </a:lnTo>
                    <a:lnTo>
                      <a:pt x="721" y="1517"/>
                    </a:lnTo>
                    <a:lnTo>
                      <a:pt x="703" y="1525"/>
                    </a:lnTo>
                    <a:lnTo>
                      <a:pt x="685" y="1533"/>
                    </a:lnTo>
                    <a:lnTo>
                      <a:pt x="667" y="1542"/>
                    </a:lnTo>
                    <a:lnTo>
                      <a:pt x="651" y="1549"/>
                    </a:lnTo>
                    <a:lnTo>
                      <a:pt x="634" y="1558"/>
                    </a:lnTo>
                    <a:lnTo>
                      <a:pt x="616" y="1564"/>
                    </a:lnTo>
                    <a:lnTo>
                      <a:pt x="600" y="1573"/>
                    </a:lnTo>
                    <a:lnTo>
                      <a:pt x="582" y="1581"/>
                    </a:lnTo>
                    <a:lnTo>
                      <a:pt x="566" y="1589"/>
                    </a:lnTo>
                    <a:lnTo>
                      <a:pt x="563" y="1589"/>
                    </a:lnTo>
                    <a:lnTo>
                      <a:pt x="554" y="1589"/>
                    </a:lnTo>
                    <a:lnTo>
                      <a:pt x="540" y="1591"/>
                    </a:lnTo>
                    <a:lnTo>
                      <a:pt x="523" y="1595"/>
                    </a:lnTo>
                    <a:lnTo>
                      <a:pt x="503" y="1599"/>
                    </a:lnTo>
                    <a:lnTo>
                      <a:pt x="480" y="1605"/>
                    </a:lnTo>
                    <a:lnTo>
                      <a:pt x="456" y="1613"/>
                    </a:lnTo>
                    <a:lnTo>
                      <a:pt x="431" y="1620"/>
                    </a:lnTo>
                    <a:lnTo>
                      <a:pt x="406" y="1626"/>
                    </a:lnTo>
                    <a:lnTo>
                      <a:pt x="381" y="1633"/>
                    </a:lnTo>
                    <a:lnTo>
                      <a:pt x="359" y="1640"/>
                    </a:lnTo>
                    <a:lnTo>
                      <a:pt x="341" y="1644"/>
                    </a:lnTo>
                    <a:lnTo>
                      <a:pt x="323" y="1648"/>
                    </a:lnTo>
                    <a:lnTo>
                      <a:pt x="311" y="1653"/>
                    </a:lnTo>
                    <a:lnTo>
                      <a:pt x="304" y="1653"/>
                    </a:lnTo>
                    <a:lnTo>
                      <a:pt x="301" y="1651"/>
                    </a:lnTo>
                    <a:lnTo>
                      <a:pt x="281" y="1662"/>
                    </a:lnTo>
                    <a:lnTo>
                      <a:pt x="262" y="1672"/>
                    </a:lnTo>
                    <a:lnTo>
                      <a:pt x="242" y="1683"/>
                    </a:lnTo>
                    <a:lnTo>
                      <a:pt x="224" y="1695"/>
                    </a:lnTo>
                    <a:lnTo>
                      <a:pt x="203" y="1705"/>
                    </a:lnTo>
                    <a:lnTo>
                      <a:pt x="185" y="1715"/>
                    </a:lnTo>
                    <a:lnTo>
                      <a:pt x="165" y="1726"/>
                    </a:lnTo>
                    <a:lnTo>
                      <a:pt x="146" y="1737"/>
                    </a:lnTo>
                    <a:lnTo>
                      <a:pt x="127" y="1748"/>
                    </a:lnTo>
                    <a:lnTo>
                      <a:pt x="108" y="1759"/>
                    </a:lnTo>
                    <a:lnTo>
                      <a:pt x="89" y="1770"/>
                    </a:lnTo>
                    <a:lnTo>
                      <a:pt x="72" y="1781"/>
                    </a:lnTo>
                    <a:lnTo>
                      <a:pt x="54" y="1791"/>
                    </a:lnTo>
                    <a:lnTo>
                      <a:pt x="36" y="1803"/>
                    </a:lnTo>
                    <a:lnTo>
                      <a:pt x="18" y="1813"/>
                    </a:lnTo>
                    <a:lnTo>
                      <a:pt x="0" y="1824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Freeform 6"/>
              <p:cNvSpPr>
                <a:spLocks/>
              </p:cNvSpPr>
              <p:nvPr/>
            </p:nvSpPr>
            <p:spPr bwMode="auto">
              <a:xfrm>
                <a:off x="3376" y="1976"/>
                <a:ext cx="16" cy="16"/>
              </a:xfrm>
              <a:custGeom>
                <a:avLst/>
                <a:gdLst>
                  <a:gd name="T0" fmla="*/ 242 w 242"/>
                  <a:gd name="T1" fmla="*/ 0 h 195"/>
                  <a:gd name="T2" fmla="*/ 213 w 242"/>
                  <a:gd name="T3" fmla="*/ 19 h 195"/>
                  <a:gd name="T4" fmla="*/ 190 w 242"/>
                  <a:gd name="T5" fmla="*/ 37 h 195"/>
                  <a:gd name="T6" fmla="*/ 170 w 242"/>
                  <a:gd name="T7" fmla="*/ 52 h 195"/>
                  <a:gd name="T8" fmla="*/ 152 w 242"/>
                  <a:gd name="T9" fmla="*/ 66 h 195"/>
                  <a:gd name="T10" fmla="*/ 134 w 242"/>
                  <a:gd name="T11" fmla="*/ 83 h 195"/>
                  <a:gd name="T12" fmla="*/ 115 w 242"/>
                  <a:gd name="T13" fmla="*/ 98 h 195"/>
                  <a:gd name="T14" fmla="*/ 92 w 242"/>
                  <a:gd name="T15" fmla="*/ 116 h 195"/>
                  <a:gd name="T16" fmla="*/ 62 w 242"/>
                  <a:gd name="T17" fmla="*/ 133 h 195"/>
                  <a:gd name="T18" fmla="*/ 60 w 242"/>
                  <a:gd name="T19" fmla="*/ 139 h 195"/>
                  <a:gd name="T20" fmla="*/ 52 w 242"/>
                  <a:gd name="T21" fmla="*/ 142 h 195"/>
                  <a:gd name="T22" fmla="*/ 39 w 242"/>
                  <a:gd name="T23" fmla="*/ 146 h 195"/>
                  <a:gd name="T24" fmla="*/ 26 w 242"/>
                  <a:gd name="T25" fmla="*/ 150 h 195"/>
                  <a:gd name="T26" fmla="*/ 11 w 242"/>
                  <a:gd name="T27" fmla="*/ 157 h 195"/>
                  <a:gd name="T28" fmla="*/ 4 w 242"/>
                  <a:gd name="T29" fmla="*/ 165 h 195"/>
                  <a:gd name="T30" fmla="*/ 0 w 242"/>
                  <a:gd name="T31" fmla="*/ 177 h 195"/>
                  <a:gd name="T32" fmla="*/ 7 w 242"/>
                  <a:gd name="T33" fmla="*/ 195 h 195"/>
                  <a:gd name="T34" fmla="*/ 21 w 242"/>
                  <a:gd name="T35" fmla="*/ 185 h 195"/>
                  <a:gd name="T36" fmla="*/ 36 w 242"/>
                  <a:gd name="T37" fmla="*/ 175 h 195"/>
                  <a:gd name="T38" fmla="*/ 51 w 242"/>
                  <a:gd name="T39" fmla="*/ 165 h 195"/>
                  <a:gd name="T40" fmla="*/ 64 w 242"/>
                  <a:gd name="T41" fmla="*/ 154 h 195"/>
                  <a:gd name="T42" fmla="*/ 80 w 242"/>
                  <a:gd name="T43" fmla="*/ 144 h 195"/>
                  <a:gd name="T44" fmla="*/ 95 w 242"/>
                  <a:gd name="T45" fmla="*/ 134 h 195"/>
                  <a:gd name="T46" fmla="*/ 108 w 242"/>
                  <a:gd name="T47" fmla="*/ 125 h 195"/>
                  <a:gd name="T48" fmla="*/ 123 w 242"/>
                  <a:gd name="T49" fmla="*/ 115 h 195"/>
                  <a:gd name="T50" fmla="*/ 139 w 242"/>
                  <a:gd name="T51" fmla="*/ 105 h 195"/>
                  <a:gd name="T52" fmla="*/ 152 w 242"/>
                  <a:gd name="T53" fmla="*/ 95 h 195"/>
                  <a:gd name="T54" fmla="*/ 168 w 242"/>
                  <a:gd name="T55" fmla="*/ 85 h 195"/>
                  <a:gd name="T56" fmla="*/ 183 w 242"/>
                  <a:gd name="T57" fmla="*/ 75 h 195"/>
                  <a:gd name="T58" fmla="*/ 197 w 242"/>
                  <a:gd name="T59" fmla="*/ 65 h 195"/>
                  <a:gd name="T60" fmla="*/ 213 w 242"/>
                  <a:gd name="T61" fmla="*/ 55 h 195"/>
                  <a:gd name="T62" fmla="*/ 228 w 242"/>
                  <a:gd name="T63" fmla="*/ 44 h 195"/>
                  <a:gd name="T64" fmla="*/ 242 w 242"/>
                  <a:gd name="T65" fmla="*/ 35 h 195"/>
                  <a:gd name="T66" fmla="*/ 242 w 242"/>
                  <a:gd name="T67" fmla="*/ 26 h 195"/>
                  <a:gd name="T68" fmla="*/ 242 w 242"/>
                  <a:gd name="T69" fmla="*/ 17 h 195"/>
                  <a:gd name="T70" fmla="*/ 242 w 242"/>
                  <a:gd name="T71" fmla="*/ 9 h 195"/>
                  <a:gd name="T72" fmla="*/ 242 w 242"/>
                  <a:gd name="T7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2" h="195">
                    <a:moveTo>
                      <a:pt x="242" y="0"/>
                    </a:moveTo>
                    <a:lnTo>
                      <a:pt x="213" y="19"/>
                    </a:lnTo>
                    <a:lnTo>
                      <a:pt x="190" y="37"/>
                    </a:lnTo>
                    <a:lnTo>
                      <a:pt x="170" y="52"/>
                    </a:lnTo>
                    <a:lnTo>
                      <a:pt x="152" y="66"/>
                    </a:lnTo>
                    <a:lnTo>
                      <a:pt x="134" y="83"/>
                    </a:lnTo>
                    <a:lnTo>
                      <a:pt x="115" y="98"/>
                    </a:lnTo>
                    <a:lnTo>
                      <a:pt x="92" y="116"/>
                    </a:lnTo>
                    <a:lnTo>
                      <a:pt x="62" y="133"/>
                    </a:lnTo>
                    <a:lnTo>
                      <a:pt x="60" y="139"/>
                    </a:lnTo>
                    <a:lnTo>
                      <a:pt x="52" y="142"/>
                    </a:lnTo>
                    <a:lnTo>
                      <a:pt x="39" y="146"/>
                    </a:lnTo>
                    <a:lnTo>
                      <a:pt x="26" y="150"/>
                    </a:lnTo>
                    <a:lnTo>
                      <a:pt x="11" y="157"/>
                    </a:lnTo>
                    <a:lnTo>
                      <a:pt x="4" y="165"/>
                    </a:lnTo>
                    <a:lnTo>
                      <a:pt x="0" y="177"/>
                    </a:lnTo>
                    <a:lnTo>
                      <a:pt x="7" y="195"/>
                    </a:lnTo>
                    <a:lnTo>
                      <a:pt x="21" y="185"/>
                    </a:lnTo>
                    <a:lnTo>
                      <a:pt x="36" y="175"/>
                    </a:lnTo>
                    <a:lnTo>
                      <a:pt x="51" y="165"/>
                    </a:lnTo>
                    <a:lnTo>
                      <a:pt x="64" y="154"/>
                    </a:lnTo>
                    <a:lnTo>
                      <a:pt x="80" y="144"/>
                    </a:lnTo>
                    <a:lnTo>
                      <a:pt x="95" y="134"/>
                    </a:lnTo>
                    <a:lnTo>
                      <a:pt x="108" y="125"/>
                    </a:lnTo>
                    <a:lnTo>
                      <a:pt x="123" y="115"/>
                    </a:lnTo>
                    <a:lnTo>
                      <a:pt x="139" y="105"/>
                    </a:lnTo>
                    <a:lnTo>
                      <a:pt x="152" y="95"/>
                    </a:lnTo>
                    <a:lnTo>
                      <a:pt x="168" y="85"/>
                    </a:lnTo>
                    <a:lnTo>
                      <a:pt x="183" y="75"/>
                    </a:lnTo>
                    <a:lnTo>
                      <a:pt x="197" y="65"/>
                    </a:lnTo>
                    <a:lnTo>
                      <a:pt x="213" y="55"/>
                    </a:lnTo>
                    <a:lnTo>
                      <a:pt x="228" y="44"/>
                    </a:lnTo>
                    <a:lnTo>
                      <a:pt x="242" y="35"/>
                    </a:lnTo>
                    <a:lnTo>
                      <a:pt x="242" y="26"/>
                    </a:lnTo>
                    <a:lnTo>
                      <a:pt x="242" y="17"/>
                    </a:lnTo>
                    <a:lnTo>
                      <a:pt x="242" y="9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3437" y="1945"/>
                <a:ext cx="9" cy="10"/>
              </a:xfrm>
              <a:custGeom>
                <a:avLst/>
                <a:gdLst>
                  <a:gd name="T0" fmla="*/ 137 w 141"/>
                  <a:gd name="T1" fmla="*/ 0 h 109"/>
                  <a:gd name="T2" fmla="*/ 128 w 141"/>
                  <a:gd name="T3" fmla="*/ 5 h 109"/>
                  <a:gd name="T4" fmla="*/ 120 w 141"/>
                  <a:gd name="T5" fmla="*/ 11 h 109"/>
                  <a:gd name="T6" fmla="*/ 112 w 141"/>
                  <a:gd name="T7" fmla="*/ 16 h 109"/>
                  <a:gd name="T8" fmla="*/ 106 w 141"/>
                  <a:gd name="T9" fmla="*/ 22 h 109"/>
                  <a:gd name="T10" fmla="*/ 98 w 141"/>
                  <a:gd name="T11" fmla="*/ 28 h 109"/>
                  <a:gd name="T12" fmla="*/ 90 w 141"/>
                  <a:gd name="T13" fmla="*/ 32 h 109"/>
                  <a:gd name="T14" fmla="*/ 83 w 141"/>
                  <a:gd name="T15" fmla="*/ 38 h 109"/>
                  <a:gd name="T16" fmla="*/ 76 w 141"/>
                  <a:gd name="T17" fmla="*/ 42 h 109"/>
                  <a:gd name="T18" fmla="*/ 67 w 141"/>
                  <a:gd name="T19" fmla="*/ 51 h 109"/>
                  <a:gd name="T20" fmla="*/ 57 w 141"/>
                  <a:gd name="T21" fmla="*/ 59 h 109"/>
                  <a:gd name="T22" fmla="*/ 46 w 141"/>
                  <a:gd name="T23" fmla="*/ 69 h 109"/>
                  <a:gd name="T24" fmla="*/ 36 w 141"/>
                  <a:gd name="T25" fmla="*/ 77 h 109"/>
                  <a:gd name="T26" fmla="*/ 27 w 141"/>
                  <a:gd name="T27" fmla="*/ 85 h 109"/>
                  <a:gd name="T28" fmla="*/ 18 w 141"/>
                  <a:gd name="T29" fmla="*/ 92 h 109"/>
                  <a:gd name="T30" fmla="*/ 8 w 141"/>
                  <a:gd name="T31" fmla="*/ 102 h 109"/>
                  <a:gd name="T32" fmla="*/ 0 w 141"/>
                  <a:gd name="T33" fmla="*/ 109 h 109"/>
                  <a:gd name="T34" fmla="*/ 18 w 141"/>
                  <a:gd name="T35" fmla="*/ 97 h 109"/>
                  <a:gd name="T36" fmla="*/ 36 w 141"/>
                  <a:gd name="T37" fmla="*/ 88 h 109"/>
                  <a:gd name="T38" fmla="*/ 52 w 141"/>
                  <a:gd name="T39" fmla="*/ 77 h 109"/>
                  <a:gd name="T40" fmla="*/ 70 w 141"/>
                  <a:gd name="T41" fmla="*/ 67 h 109"/>
                  <a:gd name="T42" fmla="*/ 88 w 141"/>
                  <a:gd name="T43" fmla="*/ 57 h 109"/>
                  <a:gd name="T44" fmla="*/ 106 w 141"/>
                  <a:gd name="T45" fmla="*/ 47 h 109"/>
                  <a:gd name="T46" fmla="*/ 124 w 141"/>
                  <a:gd name="T47" fmla="*/ 36 h 109"/>
                  <a:gd name="T48" fmla="*/ 141 w 141"/>
                  <a:gd name="T49" fmla="*/ 27 h 109"/>
                  <a:gd name="T50" fmla="*/ 141 w 141"/>
                  <a:gd name="T51" fmla="*/ 20 h 109"/>
                  <a:gd name="T52" fmla="*/ 140 w 141"/>
                  <a:gd name="T53" fmla="*/ 12 h 109"/>
                  <a:gd name="T54" fmla="*/ 139 w 141"/>
                  <a:gd name="T55" fmla="*/ 7 h 109"/>
                  <a:gd name="T56" fmla="*/ 137 w 141"/>
                  <a:gd name="T5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109">
                    <a:moveTo>
                      <a:pt x="137" y="0"/>
                    </a:moveTo>
                    <a:lnTo>
                      <a:pt x="128" y="5"/>
                    </a:lnTo>
                    <a:lnTo>
                      <a:pt x="120" y="11"/>
                    </a:lnTo>
                    <a:lnTo>
                      <a:pt x="112" y="16"/>
                    </a:lnTo>
                    <a:lnTo>
                      <a:pt x="106" y="22"/>
                    </a:lnTo>
                    <a:lnTo>
                      <a:pt x="98" y="28"/>
                    </a:lnTo>
                    <a:lnTo>
                      <a:pt x="90" y="32"/>
                    </a:lnTo>
                    <a:lnTo>
                      <a:pt x="83" y="38"/>
                    </a:lnTo>
                    <a:lnTo>
                      <a:pt x="76" y="42"/>
                    </a:lnTo>
                    <a:lnTo>
                      <a:pt x="67" y="51"/>
                    </a:lnTo>
                    <a:lnTo>
                      <a:pt x="57" y="59"/>
                    </a:lnTo>
                    <a:lnTo>
                      <a:pt x="46" y="69"/>
                    </a:lnTo>
                    <a:lnTo>
                      <a:pt x="36" y="77"/>
                    </a:lnTo>
                    <a:lnTo>
                      <a:pt x="27" y="85"/>
                    </a:lnTo>
                    <a:lnTo>
                      <a:pt x="18" y="92"/>
                    </a:lnTo>
                    <a:lnTo>
                      <a:pt x="8" y="102"/>
                    </a:lnTo>
                    <a:lnTo>
                      <a:pt x="0" y="109"/>
                    </a:lnTo>
                    <a:lnTo>
                      <a:pt x="18" y="97"/>
                    </a:lnTo>
                    <a:lnTo>
                      <a:pt x="36" y="88"/>
                    </a:lnTo>
                    <a:lnTo>
                      <a:pt x="52" y="77"/>
                    </a:lnTo>
                    <a:lnTo>
                      <a:pt x="70" y="67"/>
                    </a:lnTo>
                    <a:lnTo>
                      <a:pt x="88" y="57"/>
                    </a:lnTo>
                    <a:lnTo>
                      <a:pt x="106" y="47"/>
                    </a:lnTo>
                    <a:lnTo>
                      <a:pt x="124" y="36"/>
                    </a:lnTo>
                    <a:lnTo>
                      <a:pt x="141" y="27"/>
                    </a:lnTo>
                    <a:lnTo>
                      <a:pt x="141" y="20"/>
                    </a:lnTo>
                    <a:lnTo>
                      <a:pt x="140" y="12"/>
                    </a:lnTo>
                    <a:lnTo>
                      <a:pt x="139" y="7"/>
                    </a:lnTo>
                    <a:lnTo>
                      <a:pt x="1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3393" y="1942"/>
                <a:ext cx="18" cy="17"/>
              </a:xfrm>
              <a:custGeom>
                <a:avLst/>
                <a:gdLst>
                  <a:gd name="T0" fmla="*/ 238 w 269"/>
                  <a:gd name="T1" fmla="*/ 0 h 205"/>
                  <a:gd name="T2" fmla="*/ 226 w 269"/>
                  <a:gd name="T3" fmla="*/ 9 h 205"/>
                  <a:gd name="T4" fmla="*/ 206 w 269"/>
                  <a:gd name="T5" fmla="*/ 22 h 205"/>
                  <a:gd name="T6" fmla="*/ 182 w 269"/>
                  <a:gd name="T7" fmla="*/ 40 h 205"/>
                  <a:gd name="T8" fmla="*/ 155 w 269"/>
                  <a:gd name="T9" fmla="*/ 59 h 205"/>
                  <a:gd name="T10" fmla="*/ 128 w 269"/>
                  <a:gd name="T11" fmla="*/ 78 h 205"/>
                  <a:gd name="T12" fmla="*/ 103 w 269"/>
                  <a:gd name="T13" fmla="*/ 95 h 205"/>
                  <a:gd name="T14" fmla="*/ 83 w 269"/>
                  <a:gd name="T15" fmla="*/ 110 h 205"/>
                  <a:gd name="T16" fmla="*/ 69 w 269"/>
                  <a:gd name="T17" fmla="*/ 118 h 205"/>
                  <a:gd name="T18" fmla="*/ 69 w 269"/>
                  <a:gd name="T19" fmla="*/ 122 h 205"/>
                  <a:gd name="T20" fmla="*/ 65 w 269"/>
                  <a:gd name="T21" fmla="*/ 129 h 205"/>
                  <a:gd name="T22" fmla="*/ 56 w 269"/>
                  <a:gd name="T23" fmla="*/ 136 h 205"/>
                  <a:gd name="T24" fmla="*/ 48 w 269"/>
                  <a:gd name="T25" fmla="*/ 147 h 205"/>
                  <a:gd name="T26" fmla="*/ 41 w 269"/>
                  <a:gd name="T27" fmla="*/ 155 h 205"/>
                  <a:gd name="T28" fmla="*/ 33 w 269"/>
                  <a:gd name="T29" fmla="*/ 164 h 205"/>
                  <a:gd name="T30" fmla="*/ 29 w 269"/>
                  <a:gd name="T31" fmla="*/ 170 h 205"/>
                  <a:gd name="T32" fmla="*/ 30 w 269"/>
                  <a:gd name="T33" fmla="*/ 174 h 205"/>
                  <a:gd name="T34" fmla="*/ 10 w 269"/>
                  <a:gd name="T35" fmla="*/ 192 h 205"/>
                  <a:gd name="T36" fmla="*/ 2 w 269"/>
                  <a:gd name="T37" fmla="*/ 201 h 205"/>
                  <a:gd name="T38" fmla="*/ 0 w 269"/>
                  <a:gd name="T39" fmla="*/ 205 h 205"/>
                  <a:gd name="T40" fmla="*/ 8 w 269"/>
                  <a:gd name="T41" fmla="*/ 201 h 205"/>
                  <a:gd name="T42" fmla="*/ 22 w 269"/>
                  <a:gd name="T43" fmla="*/ 193 h 205"/>
                  <a:gd name="T44" fmla="*/ 41 w 269"/>
                  <a:gd name="T45" fmla="*/ 180 h 205"/>
                  <a:gd name="T46" fmla="*/ 65 w 269"/>
                  <a:gd name="T47" fmla="*/ 165 h 205"/>
                  <a:gd name="T48" fmla="*/ 91 w 269"/>
                  <a:gd name="T49" fmla="*/ 146 h 205"/>
                  <a:gd name="T50" fmla="*/ 118 w 269"/>
                  <a:gd name="T51" fmla="*/ 126 h 205"/>
                  <a:gd name="T52" fmla="*/ 148 w 269"/>
                  <a:gd name="T53" fmla="*/ 104 h 205"/>
                  <a:gd name="T54" fmla="*/ 177 w 269"/>
                  <a:gd name="T55" fmla="*/ 84 h 205"/>
                  <a:gd name="T56" fmla="*/ 202 w 269"/>
                  <a:gd name="T57" fmla="*/ 64 h 205"/>
                  <a:gd name="T58" fmla="*/ 226 w 269"/>
                  <a:gd name="T59" fmla="*/ 45 h 205"/>
                  <a:gd name="T60" fmla="*/ 247 w 269"/>
                  <a:gd name="T61" fmla="*/ 30 h 205"/>
                  <a:gd name="T62" fmla="*/ 261 w 269"/>
                  <a:gd name="T63" fmla="*/ 20 h 205"/>
                  <a:gd name="T64" fmla="*/ 269 w 269"/>
                  <a:gd name="T65" fmla="*/ 13 h 205"/>
                  <a:gd name="T66" fmla="*/ 261 w 269"/>
                  <a:gd name="T67" fmla="*/ 11 h 205"/>
                  <a:gd name="T68" fmla="*/ 251 w 269"/>
                  <a:gd name="T69" fmla="*/ 9 h 205"/>
                  <a:gd name="T70" fmla="*/ 244 w 269"/>
                  <a:gd name="T71" fmla="*/ 5 h 205"/>
                  <a:gd name="T72" fmla="*/ 238 w 269"/>
                  <a:gd name="T7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9" h="205">
                    <a:moveTo>
                      <a:pt x="238" y="0"/>
                    </a:moveTo>
                    <a:lnTo>
                      <a:pt x="226" y="9"/>
                    </a:lnTo>
                    <a:lnTo>
                      <a:pt x="206" y="22"/>
                    </a:lnTo>
                    <a:lnTo>
                      <a:pt x="182" y="40"/>
                    </a:lnTo>
                    <a:lnTo>
                      <a:pt x="155" y="59"/>
                    </a:lnTo>
                    <a:lnTo>
                      <a:pt x="128" y="78"/>
                    </a:lnTo>
                    <a:lnTo>
                      <a:pt x="103" y="95"/>
                    </a:lnTo>
                    <a:lnTo>
                      <a:pt x="83" y="110"/>
                    </a:lnTo>
                    <a:lnTo>
                      <a:pt x="69" y="118"/>
                    </a:lnTo>
                    <a:lnTo>
                      <a:pt x="69" y="122"/>
                    </a:lnTo>
                    <a:lnTo>
                      <a:pt x="65" y="129"/>
                    </a:lnTo>
                    <a:lnTo>
                      <a:pt x="56" y="136"/>
                    </a:lnTo>
                    <a:lnTo>
                      <a:pt x="48" y="147"/>
                    </a:lnTo>
                    <a:lnTo>
                      <a:pt x="41" y="155"/>
                    </a:lnTo>
                    <a:lnTo>
                      <a:pt x="33" y="164"/>
                    </a:lnTo>
                    <a:lnTo>
                      <a:pt x="29" y="170"/>
                    </a:lnTo>
                    <a:lnTo>
                      <a:pt x="30" y="174"/>
                    </a:lnTo>
                    <a:lnTo>
                      <a:pt x="10" y="192"/>
                    </a:lnTo>
                    <a:lnTo>
                      <a:pt x="2" y="201"/>
                    </a:lnTo>
                    <a:lnTo>
                      <a:pt x="0" y="205"/>
                    </a:lnTo>
                    <a:lnTo>
                      <a:pt x="8" y="201"/>
                    </a:lnTo>
                    <a:lnTo>
                      <a:pt x="22" y="193"/>
                    </a:lnTo>
                    <a:lnTo>
                      <a:pt x="41" y="180"/>
                    </a:lnTo>
                    <a:lnTo>
                      <a:pt x="65" y="165"/>
                    </a:lnTo>
                    <a:lnTo>
                      <a:pt x="91" y="146"/>
                    </a:lnTo>
                    <a:lnTo>
                      <a:pt x="118" y="126"/>
                    </a:lnTo>
                    <a:lnTo>
                      <a:pt x="148" y="104"/>
                    </a:lnTo>
                    <a:lnTo>
                      <a:pt x="177" y="84"/>
                    </a:lnTo>
                    <a:lnTo>
                      <a:pt x="202" y="64"/>
                    </a:lnTo>
                    <a:lnTo>
                      <a:pt x="226" y="45"/>
                    </a:lnTo>
                    <a:lnTo>
                      <a:pt x="247" y="30"/>
                    </a:lnTo>
                    <a:lnTo>
                      <a:pt x="261" y="20"/>
                    </a:lnTo>
                    <a:lnTo>
                      <a:pt x="269" y="13"/>
                    </a:lnTo>
                    <a:lnTo>
                      <a:pt x="261" y="11"/>
                    </a:lnTo>
                    <a:lnTo>
                      <a:pt x="251" y="9"/>
                    </a:lnTo>
                    <a:lnTo>
                      <a:pt x="244" y="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  <p:sp>
            <p:nvSpPr>
              <p:cNvPr id="175" name="Freeform 9"/>
              <p:cNvSpPr>
                <a:spLocks/>
              </p:cNvSpPr>
              <p:nvPr/>
            </p:nvSpPr>
            <p:spPr bwMode="auto">
              <a:xfrm>
                <a:off x="3374" y="1933"/>
                <a:ext cx="32" cy="28"/>
              </a:xfrm>
              <a:custGeom>
                <a:avLst/>
                <a:gdLst>
                  <a:gd name="T0" fmla="*/ 480 w 481"/>
                  <a:gd name="T1" fmla="*/ 0 h 333"/>
                  <a:gd name="T2" fmla="*/ 471 w 481"/>
                  <a:gd name="T3" fmla="*/ 6 h 333"/>
                  <a:gd name="T4" fmla="*/ 464 w 481"/>
                  <a:gd name="T5" fmla="*/ 12 h 333"/>
                  <a:gd name="T6" fmla="*/ 458 w 481"/>
                  <a:gd name="T7" fmla="*/ 17 h 333"/>
                  <a:gd name="T8" fmla="*/ 450 w 481"/>
                  <a:gd name="T9" fmla="*/ 23 h 333"/>
                  <a:gd name="T10" fmla="*/ 443 w 481"/>
                  <a:gd name="T11" fmla="*/ 29 h 333"/>
                  <a:gd name="T12" fmla="*/ 437 w 481"/>
                  <a:gd name="T13" fmla="*/ 33 h 333"/>
                  <a:gd name="T14" fmla="*/ 429 w 481"/>
                  <a:gd name="T15" fmla="*/ 39 h 333"/>
                  <a:gd name="T16" fmla="*/ 422 w 481"/>
                  <a:gd name="T17" fmla="*/ 43 h 333"/>
                  <a:gd name="T18" fmla="*/ 409 w 481"/>
                  <a:gd name="T19" fmla="*/ 54 h 333"/>
                  <a:gd name="T20" fmla="*/ 395 w 481"/>
                  <a:gd name="T21" fmla="*/ 66 h 333"/>
                  <a:gd name="T22" fmla="*/ 383 w 481"/>
                  <a:gd name="T23" fmla="*/ 77 h 333"/>
                  <a:gd name="T24" fmla="*/ 370 w 481"/>
                  <a:gd name="T25" fmla="*/ 89 h 333"/>
                  <a:gd name="T26" fmla="*/ 356 w 481"/>
                  <a:gd name="T27" fmla="*/ 101 h 333"/>
                  <a:gd name="T28" fmla="*/ 343 w 481"/>
                  <a:gd name="T29" fmla="*/ 112 h 333"/>
                  <a:gd name="T30" fmla="*/ 332 w 481"/>
                  <a:gd name="T31" fmla="*/ 123 h 333"/>
                  <a:gd name="T32" fmla="*/ 318 w 481"/>
                  <a:gd name="T33" fmla="*/ 135 h 333"/>
                  <a:gd name="T34" fmla="*/ 301 w 481"/>
                  <a:gd name="T35" fmla="*/ 153 h 333"/>
                  <a:gd name="T36" fmla="*/ 277 w 481"/>
                  <a:gd name="T37" fmla="*/ 172 h 333"/>
                  <a:gd name="T38" fmla="*/ 247 w 481"/>
                  <a:gd name="T39" fmla="*/ 193 h 333"/>
                  <a:gd name="T40" fmla="*/ 213 w 481"/>
                  <a:gd name="T41" fmla="*/ 215 h 333"/>
                  <a:gd name="T42" fmla="*/ 176 w 481"/>
                  <a:gd name="T43" fmla="*/ 235 h 333"/>
                  <a:gd name="T44" fmla="*/ 138 w 481"/>
                  <a:gd name="T45" fmla="*/ 255 h 333"/>
                  <a:gd name="T46" fmla="*/ 102 w 481"/>
                  <a:gd name="T47" fmla="*/ 275 h 333"/>
                  <a:gd name="T48" fmla="*/ 69 w 481"/>
                  <a:gd name="T49" fmla="*/ 293 h 333"/>
                  <a:gd name="T50" fmla="*/ 40 w 481"/>
                  <a:gd name="T51" fmla="*/ 306 h 333"/>
                  <a:gd name="T52" fmla="*/ 18 w 481"/>
                  <a:gd name="T53" fmla="*/ 319 h 333"/>
                  <a:gd name="T54" fmla="*/ 4 w 481"/>
                  <a:gd name="T55" fmla="*/ 328 h 333"/>
                  <a:gd name="T56" fmla="*/ 0 w 481"/>
                  <a:gd name="T57" fmla="*/ 333 h 333"/>
                  <a:gd name="T58" fmla="*/ 7 w 481"/>
                  <a:gd name="T59" fmla="*/ 333 h 333"/>
                  <a:gd name="T60" fmla="*/ 28 w 481"/>
                  <a:gd name="T61" fmla="*/ 327 h 333"/>
                  <a:gd name="T62" fmla="*/ 64 w 481"/>
                  <a:gd name="T63" fmla="*/ 315 h 333"/>
                  <a:gd name="T64" fmla="*/ 116 w 481"/>
                  <a:gd name="T65" fmla="*/ 298 h 333"/>
                  <a:gd name="T66" fmla="*/ 127 w 481"/>
                  <a:gd name="T67" fmla="*/ 291 h 333"/>
                  <a:gd name="T68" fmla="*/ 143 w 481"/>
                  <a:gd name="T69" fmla="*/ 279 h 333"/>
                  <a:gd name="T70" fmla="*/ 161 w 481"/>
                  <a:gd name="T71" fmla="*/ 268 h 333"/>
                  <a:gd name="T72" fmla="*/ 185 w 481"/>
                  <a:gd name="T73" fmla="*/ 252 h 333"/>
                  <a:gd name="T74" fmla="*/ 210 w 481"/>
                  <a:gd name="T75" fmla="*/ 234 h 333"/>
                  <a:gd name="T76" fmla="*/ 239 w 481"/>
                  <a:gd name="T77" fmla="*/ 218 h 333"/>
                  <a:gd name="T78" fmla="*/ 269 w 481"/>
                  <a:gd name="T79" fmla="*/ 197 h 333"/>
                  <a:gd name="T80" fmla="*/ 298 w 481"/>
                  <a:gd name="T81" fmla="*/ 178 h 333"/>
                  <a:gd name="T82" fmla="*/ 329 w 481"/>
                  <a:gd name="T83" fmla="*/ 158 h 333"/>
                  <a:gd name="T84" fmla="*/ 358 w 481"/>
                  <a:gd name="T85" fmla="*/ 139 h 333"/>
                  <a:gd name="T86" fmla="*/ 385 w 481"/>
                  <a:gd name="T87" fmla="*/ 120 h 333"/>
                  <a:gd name="T88" fmla="*/ 412 w 481"/>
                  <a:gd name="T89" fmla="*/ 103 h 333"/>
                  <a:gd name="T90" fmla="*/ 435 w 481"/>
                  <a:gd name="T91" fmla="*/ 87 h 333"/>
                  <a:gd name="T92" fmla="*/ 454 w 481"/>
                  <a:gd name="T93" fmla="*/ 74 h 333"/>
                  <a:gd name="T94" fmla="*/ 471 w 481"/>
                  <a:gd name="T95" fmla="*/ 64 h 333"/>
                  <a:gd name="T96" fmla="*/ 481 w 481"/>
                  <a:gd name="T97" fmla="*/ 55 h 333"/>
                  <a:gd name="T98" fmla="*/ 480 w 481"/>
                  <a:gd name="T99" fmla="*/ 42 h 333"/>
                  <a:gd name="T100" fmla="*/ 479 w 481"/>
                  <a:gd name="T101" fmla="*/ 28 h 333"/>
                  <a:gd name="T102" fmla="*/ 479 w 481"/>
                  <a:gd name="T103" fmla="*/ 13 h 333"/>
                  <a:gd name="T104" fmla="*/ 480 w 481"/>
                  <a:gd name="T10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1" h="333">
                    <a:moveTo>
                      <a:pt x="480" y="0"/>
                    </a:moveTo>
                    <a:lnTo>
                      <a:pt x="471" y="6"/>
                    </a:lnTo>
                    <a:lnTo>
                      <a:pt x="464" y="12"/>
                    </a:lnTo>
                    <a:lnTo>
                      <a:pt x="458" y="17"/>
                    </a:lnTo>
                    <a:lnTo>
                      <a:pt x="450" y="23"/>
                    </a:lnTo>
                    <a:lnTo>
                      <a:pt x="443" y="29"/>
                    </a:lnTo>
                    <a:lnTo>
                      <a:pt x="437" y="33"/>
                    </a:lnTo>
                    <a:lnTo>
                      <a:pt x="429" y="39"/>
                    </a:lnTo>
                    <a:lnTo>
                      <a:pt x="422" y="43"/>
                    </a:lnTo>
                    <a:lnTo>
                      <a:pt x="409" y="54"/>
                    </a:lnTo>
                    <a:lnTo>
                      <a:pt x="395" y="66"/>
                    </a:lnTo>
                    <a:lnTo>
                      <a:pt x="383" y="77"/>
                    </a:lnTo>
                    <a:lnTo>
                      <a:pt x="370" y="89"/>
                    </a:lnTo>
                    <a:lnTo>
                      <a:pt x="356" y="101"/>
                    </a:lnTo>
                    <a:lnTo>
                      <a:pt x="343" y="112"/>
                    </a:lnTo>
                    <a:lnTo>
                      <a:pt x="332" y="123"/>
                    </a:lnTo>
                    <a:lnTo>
                      <a:pt x="318" y="135"/>
                    </a:lnTo>
                    <a:lnTo>
                      <a:pt x="301" y="153"/>
                    </a:lnTo>
                    <a:lnTo>
                      <a:pt x="277" y="172"/>
                    </a:lnTo>
                    <a:lnTo>
                      <a:pt x="247" y="193"/>
                    </a:lnTo>
                    <a:lnTo>
                      <a:pt x="213" y="215"/>
                    </a:lnTo>
                    <a:lnTo>
                      <a:pt x="176" y="235"/>
                    </a:lnTo>
                    <a:lnTo>
                      <a:pt x="138" y="255"/>
                    </a:lnTo>
                    <a:lnTo>
                      <a:pt x="102" y="275"/>
                    </a:lnTo>
                    <a:lnTo>
                      <a:pt x="69" y="293"/>
                    </a:lnTo>
                    <a:lnTo>
                      <a:pt x="40" y="306"/>
                    </a:lnTo>
                    <a:lnTo>
                      <a:pt x="18" y="319"/>
                    </a:lnTo>
                    <a:lnTo>
                      <a:pt x="4" y="328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28" y="327"/>
                    </a:lnTo>
                    <a:lnTo>
                      <a:pt x="64" y="315"/>
                    </a:lnTo>
                    <a:lnTo>
                      <a:pt x="116" y="298"/>
                    </a:lnTo>
                    <a:lnTo>
                      <a:pt x="127" y="291"/>
                    </a:lnTo>
                    <a:lnTo>
                      <a:pt x="143" y="279"/>
                    </a:lnTo>
                    <a:lnTo>
                      <a:pt x="161" y="268"/>
                    </a:lnTo>
                    <a:lnTo>
                      <a:pt x="185" y="252"/>
                    </a:lnTo>
                    <a:lnTo>
                      <a:pt x="210" y="234"/>
                    </a:lnTo>
                    <a:lnTo>
                      <a:pt x="239" y="218"/>
                    </a:lnTo>
                    <a:lnTo>
                      <a:pt x="269" y="197"/>
                    </a:lnTo>
                    <a:lnTo>
                      <a:pt x="298" y="178"/>
                    </a:lnTo>
                    <a:lnTo>
                      <a:pt x="329" y="158"/>
                    </a:lnTo>
                    <a:lnTo>
                      <a:pt x="358" y="139"/>
                    </a:lnTo>
                    <a:lnTo>
                      <a:pt x="385" y="120"/>
                    </a:lnTo>
                    <a:lnTo>
                      <a:pt x="412" y="103"/>
                    </a:lnTo>
                    <a:lnTo>
                      <a:pt x="435" y="87"/>
                    </a:lnTo>
                    <a:lnTo>
                      <a:pt x="454" y="74"/>
                    </a:lnTo>
                    <a:lnTo>
                      <a:pt x="471" y="64"/>
                    </a:lnTo>
                    <a:lnTo>
                      <a:pt x="481" y="55"/>
                    </a:lnTo>
                    <a:lnTo>
                      <a:pt x="480" y="42"/>
                    </a:lnTo>
                    <a:lnTo>
                      <a:pt x="479" y="28"/>
                    </a:lnTo>
                    <a:lnTo>
                      <a:pt x="479" y="13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 sz="1200"/>
              </a:p>
            </p:txBody>
          </p:sp>
        </p:grpSp>
        <p:sp>
          <p:nvSpPr>
            <p:cNvPr id="176" name="모서리가 둥근 직사각형 175"/>
            <p:cNvSpPr/>
            <p:nvPr/>
          </p:nvSpPr>
          <p:spPr>
            <a:xfrm>
              <a:off x="235206" y="1658282"/>
              <a:ext cx="4608000" cy="2395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반적인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 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Rule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</a:t>
              </a:r>
            </a:p>
          </p:txBody>
        </p:sp>
        <p:sp>
          <p:nvSpPr>
            <p:cNvPr id="177" name="모서리가 둥근 직사각형 176"/>
            <p:cNvSpPr/>
            <p:nvPr/>
          </p:nvSpPr>
          <p:spPr>
            <a:xfrm>
              <a:off x="4987734" y="1658282"/>
              <a:ext cx="4608000" cy="23955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패키지 개념의 상품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Rule </a:t>
              </a: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</a:t>
              </a:r>
            </a:p>
          </p:txBody>
        </p:sp>
        <p:sp>
          <p:nvSpPr>
            <p:cNvPr id="6" name="오른쪽 중괄호 5"/>
            <p:cNvSpPr/>
            <p:nvPr/>
          </p:nvSpPr>
          <p:spPr bwMode="auto">
            <a:xfrm>
              <a:off x="9201472" y="2168328"/>
              <a:ext cx="172153" cy="3144508"/>
            </a:xfrm>
            <a:prstGeom prst="rightBrac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endParaRPr kumimoji="0" lang="ko-KR" altLang="en-US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Optima" pitchFamily="2" charset="2"/>
                <a:ea typeface="맑은 고딕" panose="020B0503020000020004" pitchFamily="50" charset="-127"/>
              </a:endParaRPr>
            </a:p>
          </p:txBody>
        </p:sp>
        <p:cxnSp>
          <p:nvCxnSpPr>
            <p:cNvPr id="178" name="꺾인 연결선 177"/>
            <p:cNvCxnSpPr>
              <a:stCxn id="38" idx="0"/>
              <a:endCxn id="179" idx="0"/>
            </p:cNvCxnSpPr>
            <p:nvPr/>
          </p:nvCxnSpPr>
          <p:spPr bwMode="auto">
            <a:xfrm rot="5400000" flipH="1" flipV="1">
              <a:off x="2744342" y="1510046"/>
              <a:ext cx="4992" cy="1970693"/>
            </a:xfrm>
            <a:prstGeom prst="bentConnector3">
              <a:avLst>
                <a:gd name="adj1" fmla="val 4679327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79" name="직사각형 178"/>
            <p:cNvSpPr/>
            <p:nvPr/>
          </p:nvSpPr>
          <p:spPr bwMode="auto">
            <a:xfrm>
              <a:off x="3057460" y="2492896"/>
              <a:ext cx="1349450" cy="67735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일부 금융 상품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TextBox 69"/>
            <p:cNvSpPr txBox="1"/>
            <p:nvPr/>
          </p:nvSpPr>
          <p:spPr bwMode="auto">
            <a:xfrm>
              <a:off x="3398416" y="2817288"/>
              <a:ext cx="625740" cy="11404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6600" dirty="0" smtClean="0">
                  <a:solidFill>
                    <a:srgbClr val="FF0000"/>
                  </a:solidFill>
                  <a:latin typeface="맑은 고딕"/>
                  <a:ea typeface="맑은 고딕"/>
                </a:rPr>
                <a:t>X</a:t>
              </a:r>
              <a:endParaRPr lang="ko-KR" altLang="en-US" sz="6600" dirty="0" smtClean="0">
                <a:solidFill>
                  <a:srgbClr val="FF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6" name="Rectangle 38"/>
            <p:cNvSpPr>
              <a:spLocks noChangeArrowheads="1"/>
            </p:cNvSpPr>
            <p:nvPr/>
          </p:nvSpPr>
          <p:spPr bwMode="gray">
            <a:xfrm>
              <a:off x="1986393" y="4267556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1</a:t>
              </a:r>
            </a:p>
          </p:txBody>
        </p:sp>
      </p:grpSp>
      <p:grpSp>
        <p:nvGrpSpPr>
          <p:cNvPr id="185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86" name="TextBox 18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ule 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 변화 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향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87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97" name="TextBox 19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9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88" name="그룹 18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8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9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9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9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9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9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9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201" name="그룹 20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20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20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3570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및 규제 환경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규제환경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2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이러한 규제 완화에 따라 국내 신용카드사는 다양한 </a:t>
            </a:r>
            <a:r>
              <a:rPr lang="ko-KR" altLang="en-US" dirty="0" err="1"/>
              <a:t>신사업</a:t>
            </a:r>
            <a:r>
              <a:rPr lang="ko-KR" altLang="en-US" dirty="0"/>
              <a:t> 추진을 시도하고 있으며</a:t>
            </a:r>
            <a:r>
              <a:rPr lang="en-US" altLang="ko-KR" dirty="0"/>
              <a:t>, </a:t>
            </a:r>
            <a:r>
              <a:rPr lang="ko-KR" altLang="en-US" dirty="0"/>
              <a:t>아직 실질적인 성과 창출에는 한계가 있으나 중장기적인 관점에서의 검토는 필요해 보임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400" kern="0" dirty="0">
                <a:solidFill>
                  <a:srgbClr val="FFFFFF"/>
                </a:solidFill>
              </a:rPr>
              <a:t>I. </a:t>
            </a:r>
            <a:r>
              <a:rPr lang="ko-KR" altLang="en-US" sz="1400" kern="0" dirty="0">
                <a:solidFill>
                  <a:srgbClr val="FFFFFF"/>
                </a:solidFill>
              </a:rPr>
              <a:t>제안 개요</a:t>
            </a:r>
            <a:endParaRPr lang="en-US" altLang="ko-KR" sz="1400" kern="0" dirty="0">
              <a:solidFill>
                <a:srgbClr val="FFFFFF"/>
              </a:solidFill>
            </a:endParaRPr>
          </a:p>
          <a:p>
            <a:pPr marL="228600" indent="-228600" algn="r" latinLnBrk="0">
              <a:buFontTx/>
              <a:buAutoNum type="arabicPeriod"/>
            </a:pPr>
            <a:r>
              <a:rPr lang="ko-KR" altLang="en-US" sz="1400" kern="0" dirty="0">
                <a:solidFill>
                  <a:srgbClr val="FFFFFF"/>
                </a:solidFill>
              </a:rPr>
              <a:t>프로젝트 추진 배경 및 목적</a:t>
            </a:r>
            <a:endParaRPr lang="en-US" altLang="ko-KR" sz="1400" kern="0" dirty="0">
              <a:solidFill>
                <a:srgbClr val="FFFFFF"/>
              </a:solidFill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7455830" y="2350239"/>
            <a:ext cx="1800000" cy="3852000"/>
          </a:xfrm>
          <a:prstGeom prst="rect">
            <a:avLst/>
          </a:prstGeom>
          <a:solidFill>
            <a:srgbClr val="EFEEE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fontAlgn="auto" latinLnBrk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대부분의 </a:t>
            </a:r>
            <a:r>
              <a:rPr lang="ko-KR" altLang="en-US" sz="1400" b="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사업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영역이 중소기업 적합 업종에 해당 되어 추진의 제약 발생</a:t>
            </a:r>
            <a:endParaRPr lang="en-US" altLang="ko-KR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285750" indent="-285750" fontAlgn="auto" latinLnBrk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또한</a:t>
            </a:r>
            <a:r>
              <a:rPr lang="en-US" altLang="ko-KR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4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계열사 업무 영역과의 중첩으로 인해 신규로 추진 가능한 사업 제한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07825" y="1918191"/>
            <a:ext cx="547106" cy="3877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</a:pPr>
            <a:r>
              <a:rPr lang="ko-KR" altLang="en-US" sz="14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업 유사성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7455830" y="1918191"/>
            <a:ext cx="1800000" cy="43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r>
              <a:rPr lang="ko-KR" altLang="en-US" sz="120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약 사항</a:t>
            </a:r>
          </a:p>
        </p:txBody>
      </p:sp>
      <p:sp>
        <p:nvSpPr>
          <p:cNvPr id="45" name="직각 삼각형 44"/>
          <p:cNvSpPr/>
          <p:nvPr/>
        </p:nvSpPr>
        <p:spPr>
          <a:xfrm>
            <a:off x="614175" y="2342079"/>
            <a:ext cx="402318" cy="3860588"/>
          </a:xfrm>
          <a:prstGeom prst="rtTriangle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FFFFF"/>
              </a:gs>
            </a:gsLst>
            <a:lin ang="1620000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4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96453" y="2434412"/>
            <a:ext cx="213205" cy="18466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de-DE"/>
            </a:defPPr>
            <a:lvl1pPr marL="129616" indent="-129616">
              <a:spcBef>
                <a:spcPts val="300"/>
              </a:spcBef>
              <a:buClr>
                <a:schemeClr val="bg2"/>
              </a:buClr>
              <a:buSzPct val="100000"/>
              <a:buFont typeface="Arial"/>
              <a:buChar char="•"/>
              <a:defRPr sz="1200"/>
            </a:lvl1pPr>
          </a:lstStyle>
          <a:p>
            <a:pPr marL="0" indent="0" algn="ctr" fontAlgn="auto" latinLnBrk="0">
              <a:spcAft>
                <a:spcPts val="0"/>
              </a:spcAft>
              <a:buClr>
                <a:srgbClr val="9B1717"/>
              </a:buClr>
              <a:buFont typeface="Arial"/>
              <a:buNone/>
            </a:pPr>
            <a:r>
              <a:rPr lang="ko-KR" altLang="en-US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低</a:t>
            </a:r>
            <a:endParaRPr lang="en-US" altLang="ko-KR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6453" y="5916676"/>
            <a:ext cx="213205" cy="18466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de-DE"/>
            </a:defPPr>
            <a:lvl1pPr marL="129616" indent="-129616">
              <a:spcBef>
                <a:spcPts val="300"/>
              </a:spcBef>
              <a:buClr>
                <a:schemeClr val="bg2"/>
              </a:buClr>
              <a:buSzPct val="100000"/>
              <a:buFont typeface="Arial"/>
              <a:buChar char="•"/>
              <a:defRPr sz="1200"/>
            </a:lvl1pPr>
          </a:lstStyle>
          <a:p>
            <a:pPr marL="0" indent="0" algn="ctr" fontAlgn="auto" latinLnBrk="0">
              <a:spcAft>
                <a:spcPts val="0"/>
              </a:spcAft>
              <a:buClr>
                <a:srgbClr val="9B1717"/>
              </a:buClr>
              <a:buFont typeface="Arial"/>
              <a:buNone/>
            </a:pPr>
            <a:r>
              <a:rPr lang="ko-KR" altLang="en-US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高</a:t>
            </a:r>
            <a:endParaRPr lang="en-US" altLang="ko-KR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304924" y="2112176"/>
            <a:ext cx="1578197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</a:pPr>
            <a:r>
              <a:rPr lang="ko-KR" altLang="en-US" sz="14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신규 부수업무 영역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891234" y="2112176"/>
            <a:ext cx="2952328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</a:pPr>
            <a:r>
              <a:rPr lang="ko-KR" altLang="en-US" sz="14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대응 현황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031580" y="2112176"/>
            <a:ext cx="740577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</a:pPr>
            <a:r>
              <a:rPr lang="ko-KR" altLang="en-US" sz="14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드사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1298251" y="2350238"/>
            <a:ext cx="1584871" cy="6542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900"/>
              </a:spcBef>
              <a:spcAft>
                <a:spcPts val="0"/>
              </a:spcAft>
            </a:pP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시</a:t>
            </a: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광고대행</a:t>
            </a: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마케팅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1298251" y="3149675"/>
            <a:ext cx="1584871" cy="6542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900"/>
              </a:spcBef>
              <a:spcAft>
                <a:spcPts val="0"/>
              </a:spcAft>
            </a:pP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플랫폼 사업</a:t>
            </a:r>
          </a:p>
        </p:txBody>
      </p:sp>
      <p:sp>
        <p:nvSpPr>
          <p:cNvPr id="53" name="직사각형 52"/>
          <p:cNvSpPr/>
          <p:nvPr/>
        </p:nvSpPr>
        <p:spPr>
          <a:xfrm>
            <a:off x="1298251" y="3949112"/>
            <a:ext cx="1584871" cy="6542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900"/>
              </a:spcBef>
              <a:spcAft>
                <a:spcPts val="0"/>
              </a:spcAft>
            </a:pP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금융데이터 분석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1298251" y="4748550"/>
            <a:ext cx="1584871" cy="6542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900"/>
              </a:spcBef>
              <a:spcAft>
                <a:spcPts val="0"/>
              </a:spcAft>
            </a:pP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자고지 결제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1298251" y="5547985"/>
            <a:ext cx="1584871" cy="6542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900"/>
              </a:spcBef>
              <a:spcAft>
                <a:spcPts val="0"/>
              </a:spcAft>
            </a:pPr>
            <a:r>
              <a:rPr lang="en-US" altLang="ko-KR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2P </a:t>
            </a:r>
            <a:r>
              <a:rPr lang="ko-KR" altLang="en-US" sz="14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송금</a:t>
            </a:r>
          </a:p>
        </p:txBody>
      </p:sp>
      <p:pic>
        <p:nvPicPr>
          <p:cNvPr id="56" name="Picture 5" descr="http://cfile7.uf.tistory.com/image/2508CC3952DE88901E178B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95969" y="2572482"/>
            <a:ext cx="811798" cy="189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" descr="http://img2.ruliweb.daum.net/img/img_link7/768/767118_2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3826" y="5784746"/>
            <a:ext cx="756084" cy="180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1" descr="http://www.wolyo.co.kr/news/photo/201409/25213_19936_5349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2780" y="4151378"/>
            <a:ext cx="718176" cy="27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3" descr="http://www.withgo.or.kr/pds/common/201501054295631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85140" y="3400699"/>
            <a:ext cx="833457" cy="15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5" descr="https://fbcdn-profile-a.akamaihd.net/hprofile-ak-xpa1/v/t1.0-1/p160x160/1507958_715309101880425_2085571502290260001_n.jpg?oh=737a47a58c723c64601fa862aab907f8&amp;oe=55B3CA0F&amp;__gda__=1438269488_2a8c760dfc09964997cbb261058f27aa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55465" y="4958815"/>
            <a:ext cx="692807" cy="233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 bwMode="gray">
          <a:xfrm>
            <a:off x="3891234" y="2475560"/>
            <a:ext cx="2952328" cy="442035"/>
          </a:xfrm>
          <a:prstGeom prst="rect">
            <a:avLst/>
          </a:prstGeom>
          <a:noFill/>
          <a:ln w="12700" algn="ctr">
            <a:noFill/>
            <a:prstDash val="sysDot"/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marL="90488" indent="-90488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수의 오프라인 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연</a:t>
            </a:r>
            <a:r>
              <a: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 복합 공간 운영</a:t>
            </a:r>
            <a:endParaRPr lang="en-US" altLang="ko-KR" sz="1200" u="sng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61"/>
          <p:cNvGrpSpPr/>
          <p:nvPr/>
        </p:nvGrpSpPr>
        <p:grpSpPr>
          <a:xfrm>
            <a:off x="2881212" y="3077084"/>
            <a:ext cx="3984538" cy="2398311"/>
            <a:chOff x="2517862" y="3277507"/>
            <a:chExt cx="3984538" cy="2351315"/>
          </a:xfrm>
        </p:grpSpPr>
        <p:cxnSp>
          <p:nvCxnSpPr>
            <p:cNvPr id="63" name="직선 연결선 62"/>
            <p:cNvCxnSpPr/>
            <p:nvPr/>
          </p:nvCxnSpPr>
          <p:spPr>
            <a:xfrm>
              <a:off x="2517862" y="3277507"/>
              <a:ext cx="3984538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직선 연결선 63"/>
            <p:cNvCxnSpPr/>
            <p:nvPr/>
          </p:nvCxnSpPr>
          <p:spPr>
            <a:xfrm>
              <a:off x="2517862" y="4061278"/>
              <a:ext cx="3984538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직선 연결선 64"/>
            <p:cNvCxnSpPr/>
            <p:nvPr/>
          </p:nvCxnSpPr>
          <p:spPr>
            <a:xfrm>
              <a:off x="2517862" y="4845051"/>
              <a:ext cx="3984538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직선 연결선 65"/>
            <p:cNvCxnSpPr/>
            <p:nvPr/>
          </p:nvCxnSpPr>
          <p:spPr>
            <a:xfrm>
              <a:off x="2517862" y="5628822"/>
              <a:ext cx="3984538" cy="0"/>
            </a:xfrm>
            <a:prstGeom prst="line">
              <a:avLst/>
            </a:prstGeom>
            <a:noFill/>
            <a:ln w="9525" cap="flat" cmpd="sng" algn="ctr">
              <a:solidFill>
                <a:srgbClr val="858274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67" name="TextBox 66"/>
          <p:cNvSpPr txBox="1"/>
          <p:nvPr/>
        </p:nvSpPr>
        <p:spPr bwMode="gray">
          <a:xfrm>
            <a:off x="3891234" y="3254000"/>
            <a:ext cx="2952328" cy="442035"/>
          </a:xfrm>
          <a:prstGeom prst="rect">
            <a:avLst/>
          </a:prstGeom>
          <a:noFill/>
          <a:ln w="12700" algn="ctr">
            <a:noFill/>
            <a:prstDash val="sysDot"/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marL="90488" indent="-90488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</a:pP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령대 별 다양한 상품 판매 및 </a:t>
            </a:r>
            <a:r>
              <a:rPr lang="en-US" altLang="ko-KR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dvisory 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</a:t>
            </a:r>
            <a:endParaRPr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TextBox 67"/>
          <p:cNvSpPr txBox="1"/>
          <p:nvPr/>
        </p:nvSpPr>
        <p:spPr bwMode="gray">
          <a:xfrm>
            <a:off x="3891234" y="4050804"/>
            <a:ext cx="2952328" cy="450870"/>
          </a:xfrm>
          <a:prstGeom prst="rect">
            <a:avLst/>
          </a:prstGeom>
          <a:noFill/>
          <a:ln w="12700" algn="ctr">
            <a:noFill/>
            <a:prstDash val="sysDot"/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marL="90488" indent="-90488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빅데이터 분석에 기반하여 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산관리 서비스 등의 상품 개발</a:t>
            </a:r>
            <a:endParaRPr lang="en-US" altLang="ko-KR" sz="1200" u="sng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TextBox 68"/>
          <p:cNvSpPr txBox="1"/>
          <p:nvPr/>
        </p:nvSpPr>
        <p:spPr bwMode="gray">
          <a:xfrm>
            <a:off x="3891234" y="4850241"/>
            <a:ext cx="2952328" cy="450870"/>
          </a:xfrm>
          <a:prstGeom prst="rect">
            <a:avLst/>
          </a:prstGeom>
          <a:noFill/>
          <a:ln w="12700" algn="ctr">
            <a:noFill/>
            <a:prstDash val="sysDot"/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marL="90488" indent="-90488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파트 관리비 고지서 등 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지서 자동 납부 처리 서비스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제공 강화</a:t>
            </a:r>
            <a:endParaRPr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TextBox 69"/>
          <p:cNvSpPr txBox="1"/>
          <p:nvPr/>
        </p:nvSpPr>
        <p:spPr bwMode="gray">
          <a:xfrm>
            <a:off x="3891234" y="5649676"/>
            <a:ext cx="2952328" cy="450870"/>
          </a:xfrm>
          <a:prstGeom prst="rect">
            <a:avLst/>
          </a:prstGeom>
          <a:noFill/>
          <a:ln w="12700" algn="ctr">
            <a:noFill/>
            <a:prstDash val="sysDot"/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marL="90488" indent="-90488" fontAlgn="auto" latinLnBrk="0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</a:pP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행의 해외 지점을 활용한 </a:t>
            </a:r>
            <a:r>
              <a:rPr lang="ko-KR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 환전 서비스</a:t>
            </a:r>
            <a:r>
              <a:rPr lang="ko-KR" altLang="en-US" sz="12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제공</a:t>
            </a:r>
            <a:endParaRPr lang="en-US" altLang="ko-KR" sz="12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TextBox 70"/>
          <p:cNvSpPr txBox="1"/>
          <p:nvPr/>
        </p:nvSpPr>
        <p:spPr bwMode="gray">
          <a:xfrm>
            <a:off x="560512" y="6225631"/>
            <a:ext cx="1152128" cy="121789"/>
          </a:xfrm>
          <a:prstGeom prst="rect">
            <a:avLst/>
          </a:prstGeom>
          <a:noFill/>
          <a:ln w="6350" algn="ctr">
            <a:noFill/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137160" indent="-13716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endParaRPr lang="en-US" altLang="ko-KR" sz="8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37160" indent="-13716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endParaRPr lang="en-US" altLang="ko-KR" sz="8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800" b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ource: Press; </a:t>
            </a:r>
            <a:endParaRPr lang="ko-KR" altLang="en-US" sz="8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이등변 삼각형 71"/>
          <p:cNvSpPr/>
          <p:nvPr/>
        </p:nvSpPr>
        <p:spPr>
          <a:xfrm rot="5400000">
            <a:off x="6055097" y="3945949"/>
            <a:ext cx="2211386" cy="2286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rgbClr val="C0C0C0"/>
              </a:buClr>
            </a:pPr>
            <a:endParaRPr kumimoji="1" lang="ko-KR" altLang="en-US" sz="1200" b="0" dirty="0" err="1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sym typeface="Arial"/>
            </a:endParaRPr>
          </a:p>
        </p:txBody>
      </p:sp>
      <p:sp>
        <p:nvSpPr>
          <p:cNvPr id="73" name="Line 75"/>
          <p:cNvSpPr>
            <a:spLocks noChangeShapeType="1"/>
          </p:cNvSpPr>
          <p:nvPr/>
        </p:nvSpPr>
        <p:spPr bwMode="auto">
          <a:xfrm>
            <a:off x="453000" y="1742723"/>
            <a:ext cx="9000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4" name="Rectangle 76"/>
          <p:cNvSpPr>
            <a:spLocks noChangeArrowheads="1"/>
          </p:cNvSpPr>
          <p:nvPr/>
        </p:nvSpPr>
        <p:spPr bwMode="auto">
          <a:xfrm>
            <a:off x="2988092" y="1414996"/>
            <a:ext cx="4117079" cy="28814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marL="88900" indent="-88900" algn="ctr" fontAlgn="auto" latinLnBrk="0">
              <a:spcBef>
                <a:spcPct val="5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부수업무 인</a:t>
            </a:r>
            <a:r>
              <a:rPr lang="en-US" altLang="ko-KR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/</a:t>
            </a:r>
            <a:r>
              <a:rPr lang="ko-KR" altLang="en-US" sz="14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허가 규제 완화에 따른 경쟁사의 대응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450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F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개별 상품 단위의 개발 기반으로 구성했을 경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별 관리해야 하는 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가 발생하고 전사 상품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Governanc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유지하기 어려운 문제가 있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5047012" y="2254037"/>
            <a:ext cx="4572000" cy="313133"/>
          </a:xfrm>
          <a:prstGeom prst="rect">
            <a:avLst/>
          </a:prstGeom>
          <a:solidFill>
            <a:srgbClr val="D6EBF6"/>
          </a:solidFill>
          <a:ln w="95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일부 상품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별 관리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5051331" y="1813446"/>
            <a:ext cx="4572000" cy="313694"/>
            <a:chOff x="5051331" y="1341452"/>
            <a:chExt cx="4572000" cy="352287"/>
          </a:xfrm>
        </p:grpSpPr>
        <p:sp>
          <p:nvSpPr>
            <p:cNvPr id="23" name="Text Box 18"/>
            <p:cNvSpPr txBox="1">
              <a:spLocks noChangeArrowheads="1"/>
            </p:cNvSpPr>
            <p:nvPr/>
          </p:nvSpPr>
          <p:spPr bwMode="auto">
            <a:xfrm>
              <a:off x="5867099" y="1341452"/>
              <a:ext cx="3168352" cy="3110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문제점</a:t>
              </a:r>
              <a:endParaRPr kumimoji="1" lang="ko-KR" altLang="en-US" sz="12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29" name="직선 연결선 28"/>
            <p:cNvCxnSpPr/>
            <p:nvPr/>
          </p:nvCxnSpPr>
          <p:spPr bwMode="auto">
            <a:xfrm>
              <a:off x="5051331" y="1693739"/>
              <a:ext cx="4572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/>
        </p:nvSpPr>
        <p:spPr bwMode="auto">
          <a:xfrm>
            <a:off x="273050" y="2242091"/>
            <a:ext cx="4535934" cy="410321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741024" y="2525881"/>
            <a:ext cx="17281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일부 상품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개별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(PF </a:t>
            </a: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內 관리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X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2757216" y="2525881"/>
            <a:ext cx="17281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다른 사업 부문간</a:t>
            </a:r>
            <a:endParaRPr kumimoji="1" lang="en-US" altLang="ko-KR" sz="1000" b="0" kern="0" noProof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끼리 결합 불가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632600" y="3144898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632520" y="3748469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카드론</a:t>
            </a:r>
          </a:p>
        </p:txBody>
      </p:sp>
      <p:sp>
        <p:nvSpPr>
          <p:cNvPr id="38" name="직사각형 37"/>
          <p:cNvSpPr/>
          <p:nvPr/>
        </p:nvSpPr>
        <p:spPr bwMode="auto">
          <a:xfrm>
            <a:off x="1352680" y="3144898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멤버십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1352600" y="3748469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OHO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1018233" y="3251418"/>
            <a:ext cx="524750" cy="903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540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540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488536" y="3032793"/>
            <a:ext cx="1584144" cy="1292754"/>
          </a:xfrm>
          <a:prstGeom prst="rect">
            <a:avLst/>
          </a:prstGeom>
          <a:noFill/>
          <a:ln w="19050" cap="flat" cmpd="sng" algn="ctr">
            <a:solidFill>
              <a:schemeClr val="accent5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2334110" y="3035245"/>
            <a:ext cx="2151298" cy="1292754"/>
          </a:xfrm>
          <a:prstGeom prst="rect">
            <a:avLst/>
          </a:prstGeom>
          <a:solidFill>
            <a:srgbClr val="D6EBF6"/>
          </a:solidFill>
          <a:ln w="19050" cap="flat" cmpd="sng" algn="ctr">
            <a:noFill/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2468784" y="3151626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3152860" y="3151626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업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용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3810302" y="3151626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크</a:t>
            </a:r>
            <a: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2792760" y="3741055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론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8" name="직선 화살표 연결선 47"/>
          <p:cNvCxnSpPr>
            <a:stCxn id="43" idx="2"/>
          </p:cNvCxnSpPr>
          <p:nvPr/>
        </p:nvCxnSpPr>
        <p:spPr bwMode="auto">
          <a:xfrm>
            <a:off x="2738784" y="3632472"/>
            <a:ext cx="323976" cy="10858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49" name="직선 화살표 연결선 48"/>
          <p:cNvCxnSpPr>
            <a:stCxn id="43" idx="2"/>
            <a:endCxn id="91" idx="0"/>
          </p:cNvCxnSpPr>
          <p:nvPr/>
        </p:nvCxnSpPr>
        <p:spPr bwMode="auto">
          <a:xfrm>
            <a:off x="2738784" y="3632472"/>
            <a:ext cx="974985" cy="11726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50" name="TextBox 49"/>
          <p:cNvSpPr txBox="1"/>
          <p:nvPr/>
        </p:nvSpPr>
        <p:spPr bwMode="auto">
          <a:xfrm>
            <a:off x="2828679" y="3556109"/>
            <a:ext cx="18010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400" b="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400" b="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51" name="TextBox 50"/>
          <p:cNvSpPr txBox="1"/>
          <p:nvPr/>
        </p:nvSpPr>
        <p:spPr bwMode="auto">
          <a:xfrm>
            <a:off x="3224808" y="3556109"/>
            <a:ext cx="18010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400" b="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400" b="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24968" y="4477544"/>
            <a:ext cx="11946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전사 상품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Rule</a:t>
            </a:r>
          </a:p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Governance</a:t>
            </a:r>
            <a:r>
              <a:rPr kumimoji="1" lang="en-US" altLang="ko-KR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관리</a:t>
            </a:r>
            <a:r>
              <a:rPr kumimoji="1" lang="en-US" altLang="ko-KR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체계 미흡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pic>
        <p:nvPicPr>
          <p:cNvPr id="54" name="Picture 52" descr="그룹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00610" y="4847287"/>
            <a:ext cx="452550" cy="40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19" descr="C:\Documents and Settings\aduser\Local Settings\Temporary Internet Files\Content.IE5\HCI1QDAM\MC900441539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8584" y="5527538"/>
            <a:ext cx="720000" cy="632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그룹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7328" y="4847287"/>
            <a:ext cx="452550" cy="40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7" name="직선 화살표 연결선 56"/>
          <p:cNvCxnSpPr>
            <a:endCxn id="56" idx="1"/>
          </p:cNvCxnSpPr>
          <p:nvPr/>
        </p:nvCxnSpPr>
        <p:spPr bwMode="auto">
          <a:xfrm>
            <a:off x="2334110" y="5049014"/>
            <a:ext cx="47321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8" name="직사각형 57"/>
          <p:cNvSpPr/>
          <p:nvPr/>
        </p:nvSpPr>
        <p:spPr>
          <a:xfrm>
            <a:off x="1814092" y="4478379"/>
            <a:ext cx="1338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 담당자 변경 시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이력관리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X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3361496" y="4646146"/>
            <a:ext cx="14474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담당자 관리</a:t>
            </a:r>
            <a:r>
              <a:rPr kumimoji="1" lang="en-US" altLang="ko-KR" sz="1000" b="0" kern="0" dirty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kumimoji="1" lang="en-US" altLang="ko-KR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X</a:t>
            </a:r>
          </a:p>
        </p:txBody>
      </p:sp>
      <p:pic>
        <p:nvPicPr>
          <p:cNvPr id="60" name="Picture 52" descr="그룹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24386" y="4847287"/>
            <a:ext cx="452550" cy="40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순서도: 자기 디스크 60"/>
          <p:cNvSpPr/>
          <p:nvPr/>
        </p:nvSpPr>
        <p:spPr bwMode="auto">
          <a:xfrm>
            <a:off x="2982946" y="5567824"/>
            <a:ext cx="1080120" cy="501251"/>
          </a:xfrm>
          <a:prstGeom prst="flowChartMagneticDisk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ster</a:t>
            </a:r>
            <a:endParaRPr kumimoji="1" lang="ko-KR" altLang="en-US" sz="12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2" name="직선 화살표 연결선 61"/>
          <p:cNvCxnSpPr>
            <a:stCxn id="56" idx="2"/>
          </p:cNvCxnSpPr>
          <p:nvPr/>
        </p:nvCxnSpPr>
        <p:spPr bwMode="auto">
          <a:xfrm>
            <a:off x="3033603" y="5250742"/>
            <a:ext cx="189380" cy="33309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63" name="직선 화살표 연결선 62"/>
          <p:cNvCxnSpPr>
            <a:stCxn id="60" idx="2"/>
          </p:cNvCxnSpPr>
          <p:nvPr/>
        </p:nvCxnSpPr>
        <p:spPr bwMode="auto">
          <a:xfrm flipH="1">
            <a:off x="3691969" y="5250742"/>
            <a:ext cx="458692" cy="33309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4" name="TextBox 63"/>
          <p:cNvSpPr txBox="1"/>
          <p:nvPr/>
        </p:nvSpPr>
        <p:spPr bwMode="auto">
          <a:xfrm>
            <a:off x="3017662" y="5271431"/>
            <a:ext cx="18010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400" b="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400" b="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65" name="TextBox 64"/>
          <p:cNvSpPr txBox="1"/>
          <p:nvPr/>
        </p:nvSpPr>
        <p:spPr bwMode="auto">
          <a:xfrm>
            <a:off x="3800872" y="5271431"/>
            <a:ext cx="18010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400" b="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400" b="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cxnSp>
        <p:nvCxnSpPr>
          <p:cNvPr id="66" name="직선 화살표 연결선 65"/>
          <p:cNvCxnSpPr>
            <a:stCxn id="61" idx="2"/>
          </p:cNvCxnSpPr>
          <p:nvPr/>
        </p:nvCxnSpPr>
        <p:spPr bwMode="auto">
          <a:xfrm flipH="1">
            <a:off x="2648728" y="5818450"/>
            <a:ext cx="33421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7" name="직사각형 66"/>
          <p:cNvSpPr/>
          <p:nvPr/>
        </p:nvSpPr>
        <p:spPr bwMode="auto">
          <a:xfrm>
            <a:off x="1952680" y="5666634"/>
            <a:ext cx="648000" cy="352619"/>
          </a:xfrm>
          <a:prstGeom prst="rect">
            <a:avLst/>
          </a:prstGeom>
          <a:solidFill>
            <a:srgbClr val="D6EBF6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F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8" name="직선 화살표 연결선 67"/>
          <p:cNvCxnSpPr>
            <a:stCxn id="67" idx="1"/>
            <a:endCxn id="55" idx="1"/>
          </p:cNvCxnSpPr>
          <p:nvPr/>
        </p:nvCxnSpPr>
        <p:spPr bwMode="auto">
          <a:xfrm flipH="1">
            <a:off x="1358584" y="5842945"/>
            <a:ext cx="594096" cy="70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9" name="직사각형 68"/>
          <p:cNvSpPr/>
          <p:nvPr/>
        </p:nvSpPr>
        <p:spPr>
          <a:xfrm>
            <a:off x="337160" y="5415583"/>
            <a:ext cx="14474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시뮬레이션 </a:t>
            </a:r>
            <a:r>
              <a:rPr kumimoji="1" lang="en-US" altLang="ko-KR" sz="1000" b="0" kern="0" dirty="0">
                <a:solidFill>
                  <a:srgbClr val="000000"/>
                </a:solidFill>
                <a:latin typeface="맑은 고딕"/>
                <a:ea typeface="맑은 고딕"/>
              </a:rPr>
              <a:t>X</a:t>
            </a:r>
            <a:endParaRPr kumimoji="1" lang="en-US" altLang="ko-KR" sz="1000" b="0" kern="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70" name="TextBox 69"/>
          <p:cNvSpPr txBox="1"/>
          <p:nvPr/>
        </p:nvSpPr>
        <p:spPr bwMode="auto">
          <a:xfrm>
            <a:off x="1556432" y="5708939"/>
            <a:ext cx="180105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36000" rIns="36000" bIns="36000" rtlCol="0">
            <a:spAutoFit/>
          </a:bodyPr>
          <a:lstStyle/>
          <a:p>
            <a:pPr latinLnBrk="0">
              <a:spcBef>
                <a:spcPct val="30000"/>
              </a:spcBef>
            </a:pPr>
            <a:r>
              <a:rPr lang="en-US" altLang="ko-KR" sz="1400" b="0" dirty="0" smtClean="0">
                <a:solidFill>
                  <a:srgbClr val="FF0000"/>
                </a:solidFill>
                <a:latin typeface="맑은 고딕"/>
                <a:ea typeface="맑은 고딕"/>
              </a:rPr>
              <a:t>X</a:t>
            </a:r>
            <a:endParaRPr lang="ko-KR" altLang="en-US" sz="1400" b="0" dirty="0" smtClean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1280592" y="6030409"/>
            <a:ext cx="3069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</a:t>
            </a:r>
            <a:r>
              <a:rPr kumimoji="1" lang="en-US" altLang="ko-KR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1" lang="ko-KR" altLang="en-US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서비스 </a:t>
            </a:r>
            <a:r>
              <a:rPr kumimoji="1" lang="en-US" altLang="ko-KR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Rule/Master Ownership </a:t>
            </a:r>
            <a:r>
              <a:rPr kumimoji="1" lang="ko-KR" altLang="en-US" sz="1000" b="0" kern="0" noProof="0" dirty="0" smtClean="0">
                <a:solidFill>
                  <a:srgbClr val="000000"/>
                </a:solidFill>
                <a:latin typeface="맑은 고딕"/>
                <a:ea typeface="맑은 고딕"/>
              </a:rPr>
              <a:t>부재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079260" y="2292769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5047012" y="2605993"/>
            <a:ext cx="4572000" cy="8655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멤버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십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론 상품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 등 일부 사업 부문의 상품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F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內 적용 제외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별관리 상품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PF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內에서 관리되지 않는 카드론 등의 상품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멤버십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PF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도 시스템 관리로 인하여 자제 관리 중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맹점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세이브 등과 같은 서비스 일부 제약</a:t>
            </a: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047012" y="3610391"/>
            <a:ext cx="4572000" cy="313133"/>
          </a:xfrm>
          <a:prstGeom prst="rect">
            <a:avLst/>
          </a:prstGeom>
          <a:solidFill>
            <a:srgbClr val="D6EBF6"/>
          </a:solidFill>
          <a:ln w="95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른 사업 부문간 상품끼리 결합 불가</a:t>
            </a:r>
            <a:endParaRPr kumimoji="0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5047012" y="3963928"/>
            <a:ext cx="4572000" cy="8927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PF</a:t>
            </a:r>
            <a:r>
              <a:rPr kumimoji="0" lang="en-US" altLang="ko-KR" sz="11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에 적용되어 있더라도 서로 다른 부문간의</a:t>
            </a:r>
            <a:r>
              <a:rPr kumimoji="0" lang="en-US" altLang="ko-KR" sz="11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sz="11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sz="11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상품끼리는 결합 불가</a:t>
            </a:r>
            <a:endParaRPr kumimoji="0" lang="en-US" altLang="ko-KR" sz="1100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패키지 개념 도입을 통해 사업부문별 서비스 패키지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발을 통해 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ross sell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활성화 가능</a:t>
            </a:r>
            <a:endParaRPr kumimoji="0" lang="en-US" altLang="ko-KR" sz="1100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5085868" y="3664584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5047012" y="4991523"/>
            <a:ext cx="4572000" cy="313133"/>
          </a:xfrm>
          <a:prstGeom prst="rect">
            <a:avLst/>
          </a:prstGeom>
          <a:solidFill>
            <a:srgbClr val="D6EBF6"/>
          </a:solidFill>
          <a:ln w="95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사 상품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ule Governance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 체계 미흡</a:t>
            </a:r>
          </a:p>
        </p:txBody>
      </p:sp>
      <p:sp>
        <p:nvSpPr>
          <p:cNvPr id="89" name="직사각형 88"/>
          <p:cNvSpPr/>
          <p:nvPr/>
        </p:nvSpPr>
        <p:spPr bwMode="auto">
          <a:xfrm>
            <a:off x="5047012" y="5351473"/>
            <a:ext cx="4572000" cy="98893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F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의 관리주체 및 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&amp;R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불분명</a:t>
            </a:r>
            <a:r>
              <a:rPr lang="en-US" altLang="ko-KR" sz="1100" b="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→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담당자 </a:t>
            </a:r>
            <a:r>
              <a:rPr lang="ko-KR" altLang="en-US" sz="1100" b="0" kern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변경시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이력관리 미흡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담당자 부재 등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개발 시 시뮬레이션 미사용으로 서비스비용 산출</a:t>
            </a: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오류 발생 가능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F </a:t>
            </a:r>
            <a:r>
              <a:rPr lang="ko-KR" altLang="en-US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자 매뉴얼 미흡으로 사용상의 어려움 발생</a:t>
            </a:r>
            <a:endParaRPr lang="en-US" altLang="ko-KR" sz="1100" b="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5089927" y="5045716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3443769" y="3749738"/>
            <a:ext cx="540000" cy="4808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기타</a:t>
            </a:r>
          </a:p>
        </p:txBody>
      </p:sp>
      <p:sp>
        <p:nvSpPr>
          <p:cNvPr id="92" name="직사각형 91"/>
          <p:cNvSpPr/>
          <p:nvPr/>
        </p:nvSpPr>
        <p:spPr bwMode="auto">
          <a:xfrm>
            <a:off x="515040" y="2550779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2569535" y="2550779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94" name="직사각형 93"/>
          <p:cNvSpPr/>
          <p:nvPr/>
        </p:nvSpPr>
        <p:spPr bwMode="auto">
          <a:xfrm>
            <a:off x="331236" y="4509370"/>
            <a:ext cx="245912" cy="218973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grpSp>
        <p:nvGrpSpPr>
          <p:cNvPr id="79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80" name="TextBox 7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선행사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경험을 통해 파악된 개별 상품 관리 중심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F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의 문제점</a:t>
              </a:r>
            </a:p>
          </p:txBody>
        </p:sp>
        <p:cxnSp>
          <p:nvCxnSpPr>
            <p:cNvPr id="81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직사각형 82"/>
          <p:cNvSpPr/>
          <p:nvPr/>
        </p:nvSpPr>
        <p:spPr bwMode="auto">
          <a:xfrm>
            <a:off x="297750" y="1931487"/>
            <a:ext cx="4511234" cy="313133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kumimoji="1" lang="ko-KR" altLang="en-US" sz="1200" dirty="0">
                <a:latin typeface="맑은 고딕"/>
                <a:ea typeface="맑은 고딕"/>
              </a:rPr>
              <a:t>개별 상품 관리 중심의 </a:t>
            </a:r>
            <a:r>
              <a:rPr kumimoji="1" lang="en-US" altLang="ko-KR" sz="1200" dirty="0">
                <a:latin typeface="맑은 고딕"/>
                <a:ea typeface="맑은 고딕"/>
              </a:rPr>
              <a:t>PF </a:t>
            </a:r>
            <a:r>
              <a:rPr kumimoji="1" lang="ko-KR" altLang="en-US" sz="1200" dirty="0">
                <a:latin typeface="맑은 고딕"/>
                <a:ea typeface="맑은 고딕"/>
              </a:rPr>
              <a:t>구성</a:t>
            </a:r>
          </a:p>
        </p:txBody>
      </p:sp>
      <p:grpSp>
        <p:nvGrpSpPr>
          <p:cNvPr id="107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08" name="TextBox 107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9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0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2" name="그룹 8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14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1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1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1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9" name="그룹 11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793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3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향후 상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內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전체 상품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 마케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NH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가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패키지를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하여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연한 결합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를 제공할 수 있는 기반을 만들 것임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25" name="TextBox 2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272480" y="1901118"/>
            <a:ext cx="9376186" cy="4374294"/>
            <a:chOff x="272480" y="1719002"/>
            <a:chExt cx="9376186" cy="4374294"/>
          </a:xfrm>
        </p:grpSpPr>
        <p:sp>
          <p:nvSpPr>
            <p:cNvPr id="21" name="Text Box 18"/>
            <p:cNvSpPr txBox="1">
              <a:spLocks noChangeArrowheads="1"/>
            </p:cNvSpPr>
            <p:nvPr/>
          </p:nvSpPr>
          <p:spPr bwMode="auto">
            <a:xfrm>
              <a:off x="827655" y="1719002"/>
              <a:ext cx="1525295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latinLnBrk="0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주요 이슈</a:t>
              </a:r>
              <a:endParaRPr kumimoji="1" lang="ko-KR" altLang="en-US" sz="13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22" name="직선 연결선 21"/>
            <p:cNvCxnSpPr/>
            <p:nvPr/>
          </p:nvCxnSpPr>
          <p:spPr bwMode="auto">
            <a:xfrm flipV="1">
              <a:off x="272480" y="2021173"/>
              <a:ext cx="25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grpSp>
          <p:nvGrpSpPr>
            <p:cNvPr id="10" name="그룹 9"/>
            <p:cNvGrpSpPr/>
            <p:nvPr/>
          </p:nvGrpSpPr>
          <p:grpSpPr>
            <a:xfrm>
              <a:off x="3080792" y="1720007"/>
              <a:ext cx="2160000" cy="302171"/>
              <a:chOff x="3334146" y="1720007"/>
              <a:chExt cx="2160000" cy="302171"/>
            </a:xfrm>
          </p:grpSpPr>
          <p:sp>
            <p:nvSpPr>
              <p:cNvPr id="23" name="Text Box 18"/>
              <p:cNvSpPr txBox="1">
                <a:spLocks noChangeArrowheads="1"/>
              </p:cNvSpPr>
              <p:nvPr/>
            </p:nvSpPr>
            <p:spPr bwMode="auto">
              <a:xfrm>
                <a:off x="3651499" y="1720007"/>
                <a:ext cx="1525295" cy="29238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latinLnBrk="0"/>
                <a:r>
                  <a:rPr kumimoji="1" lang="ko-KR" altLang="en-US" sz="13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확장 대상 영역</a:t>
                </a:r>
                <a:endParaRPr kumimoji="1" lang="ko-KR" altLang="en-US" sz="13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cxnSp>
            <p:nvCxnSpPr>
              <p:cNvPr id="28" name="직선 연결선 27"/>
              <p:cNvCxnSpPr/>
              <p:nvPr/>
            </p:nvCxnSpPr>
            <p:spPr bwMode="auto">
              <a:xfrm flipV="1">
                <a:off x="3334146" y="2022178"/>
                <a:ext cx="216000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grpSp>
          <p:nvGrpSpPr>
            <p:cNvPr id="9" name="그룹 8"/>
            <p:cNvGrpSpPr/>
            <p:nvPr/>
          </p:nvGrpSpPr>
          <p:grpSpPr>
            <a:xfrm>
              <a:off x="5494146" y="1719002"/>
              <a:ext cx="4123806" cy="302171"/>
              <a:chOff x="5801952" y="1719002"/>
              <a:chExt cx="3816000" cy="302171"/>
            </a:xfrm>
          </p:grpSpPr>
          <p:sp>
            <p:nvSpPr>
              <p:cNvPr id="29" name="Text Box 18"/>
              <p:cNvSpPr txBox="1">
                <a:spLocks noChangeArrowheads="1"/>
              </p:cNvSpPr>
              <p:nvPr/>
            </p:nvSpPr>
            <p:spPr bwMode="auto">
              <a:xfrm>
                <a:off x="6947305" y="1719002"/>
                <a:ext cx="1525295" cy="29238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latinLnBrk="0"/>
                <a:r>
                  <a:rPr kumimoji="1" lang="ko-KR" altLang="en-US" sz="130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주요 요건</a:t>
                </a:r>
                <a:endParaRPr kumimoji="1" lang="ko-KR" altLang="en-US" sz="1300" dirty="0">
                  <a:solidFill>
                    <a:srgbClr val="000000"/>
                  </a:solidFill>
                  <a:latin typeface="맑은 고딕"/>
                  <a:ea typeface="맑은 고딕"/>
                </a:endParaRPr>
              </a:p>
            </p:txBody>
          </p:sp>
          <p:cxnSp>
            <p:nvCxnSpPr>
              <p:cNvPr id="30" name="직선 연결선 29"/>
              <p:cNvCxnSpPr/>
              <p:nvPr/>
            </p:nvCxnSpPr>
            <p:spPr bwMode="auto">
              <a:xfrm flipV="1">
                <a:off x="5801952" y="2021173"/>
                <a:ext cx="381600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sp>
          <p:nvSpPr>
            <p:cNvPr id="31" name="직사각형 30"/>
            <p:cNvSpPr/>
            <p:nvPr/>
          </p:nvSpPr>
          <p:spPr bwMode="auto">
            <a:xfrm>
              <a:off x="272480" y="215986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일부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금융 상품 </a:t>
              </a:r>
              <a:r>
                <a:rPr lang="ko-KR" altLang="en-US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플랫폼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표준화 미흡</a:t>
              </a: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272480" y="267035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번들 서비스를 묶는 상위개념 필요</a:t>
              </a: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272480" y="318084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서비스 </a:t>
              </a: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컨텐츠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중복</a:t>
              </a: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272480" y="369133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원금할인 지정코드 청구할인과 세이브 동시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적용 불가</a:t>
              </a: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272480" y="420182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세이브 특정 요건 세분화 필요</a:t>
              </a: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272480" y="471231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청구할인 서비스의 이용횟수 조건 속성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PF</a:t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적용 필요</a:t>
              </a: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272480" y="5222804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동일 가맹점 대상 품목별 차등 </a:t>
              </a:r>
              <a:r>
                <a:rPr kumimoji="0" lang="ko-KR" alt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오퍼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적용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불가</a:t>
              </a: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272480" y="5733296"/>
              <a:ext cx="252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H </a:t>
              </a:r>
              <a:r>
                <a:rPr lang="ko-KR" altLang="en-US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멤버십 </a:t>
              </a:r>
              <a:r>
                <a:rPr lang="en-US" altLang="ko-KR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– </a:t>
              </a:r>
              <a:r>
                <a:rPr lang="ko-KR" altLang="en-US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당사 </a:t>
              </a:r>
              <a:r>
                <a:rPr lang="ko-KR" altLang="en-US" sz="1000" b="0" kern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간계</a:t>
              </a:r>
              <a:r>
                <a:rPr lang="ko-KR" altLang="en-US" sz="10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통합 기반 구축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0" name="직선 화살표 연결선 49"/>
            <p:cNvCxnSpPr>
              <a:stCxn id="31" idx="3"/>
              <a:endCxn id="41" idx="1"/>
            </p:cNvCxnSpPr>
            <p:nvPr/>
          </p:nvCxnSpPr>
          <p:spPr bwMode="auto">
            <a:xfrm>
              <a:off x="2792480" y="2339864"/>
              <a:ext cx="288312" cy="128114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1" name="직선 화살표 연결선 50"/>
            <p:cNvCxnSpPr>
              <a:stCxn id="32" idx="3"/>
              <a:endCxn id="40" idx="1"/>
            </p:cNvCxnSpPr>
            <p:nvPr/>
          </p:nvCxnSpPr>
          <p:spPr bwMode="auto">
            <a:xfrm flipV="1">
              <a:off x="2792480" y="2609864"/>
              <a:ext cx="293492" cy="24049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2" name="직선 화살표 연결선 51"/>
            <p:cNvCxnSpPr>
              <a:stCxn id="33" idx="3"/>
              <a:endCxn id="40" idx="1"/>
            </p:cNvCxnSpPr>
            <p:nvPr/>
          </p:nvCxnSpPr>
          <p:spPr bwMode="auto">
            <a:xfrm flipV="1">
              <a:off x="2792480" y="2609864"/>
              <a:ext cx="293492" cy="75098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3" name="직선 화살표 연결선 52"/>
            <p:cNvCxnSpPr>
              <a:endCxn id="42" idx="1"/>
            </p:cNvCxnSpPr>
            <p:nvPr/>
          </p:nvCxnSpPr>
          <p:spPr bwMode="auto">
            <a:xfrm>
              <a:off x="2519499" y="3960064"/>
              <a:ext cx="561293" cy="67208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4" name="직선 화살표 연결선 53"/>
            <p:cNvCxnSpPr>
              <a:stCxn id="35" idx="3"/>
              <a:endCxn id="42" idx="1"/>
            </p:cNvCxnSpPr>
            <p:nvPr/>
          </p:nvCxnSpPr>
          <p:spPr bwMode="auto">
            <a:xfrm>
              <a:off x="2792480" y="4381824"/>
              <a:ext cx="288312" cy="25032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5" name="직선 화살표 연결선 54"/>
            <p:cNvCxnSpPr>
              <a:stCxn id="36" idx="3"/>
              <a:endCxn id="42" idx="1"/>
            </p:cNvCxnSpPr>
            <p:nvPr/>
          </p:nvCxnSpPr>
          <p:spPr bwMode="auto">
            <a:xfrm flipV="1">
              <a:off x="2792480" y="4632152"/>
              <a:ext cx="288312" cy="26016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6" name="직선 화살표 연결선 55"/>
            <p:cNvCxnSpPr>
              <a:stCxn id="37" idx="3"/>
              <a:endCxn id="42" idx="1"/>
            </p:cNvCxnSpPr>
            <p:nvPr/>
          </p:nvCxnSpPr>
          <p:spPr bwMode="auto">
            <a:xfrm flipV="1">
              <a:off x="2792480" y="4632152"/>
              <a:ext cx="288312" cy="77065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57" name="직선 화살표 연결선 56"/>
            <p:cNvCxnSpPr>
              <a:stCxn id="38" idx="3"/>
              <a:endCxn id="43" idx="1"/>
            </p:cNvCxnSpPr>
            <p:nvPr/>
          </p:nvCxnSpPr>
          <p:spPr bwMode="auto">
            <a:xfrm flipV="1">
              <a:off x="2792480" y="5643296"/>
              <a:ext cx="288312" cy="27000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59" name="직사각형 58"/>
            <p:cNvSpPr/>
            <p:nvPr/>
          </p:nvSpPr>
          <p:spPr bwMode="auto">
            <a:xfrm>
              <a:off x="5494146" y="2159864"/>
              <a:ext cx="4139375" cy="90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와 서비스 번들을 묶을 수 있는 서비스 패키지</a:t>
              </a:r>
              <a:r>
                <a:rPr kumimoji="0" lang="ko-KR" altLang="en-US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구조</a:t>
              </a:r>
              <a:r>
                <a:rPr lang="en-US" altLang="ko-KR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의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ex)</a:t>
              </a:r>
              <a:r>
                <a:rPr kumimoji="0" lang="en-US" altLang="ko-KR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Biz </a:t>
              </a:r>
              <a:r>
                <a:rPr kumimoji="0" lang="ko-KR" altLang="en-US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패키지</a:t>
              </a:r>
              <a:r>
                <a:rPr kumimoji="0" lang="en-US" altLang="ko-KR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플러스 패키지 등</a:t>
              </a:r>
              <a:r>
                <a:rPr kumimoji="0" lang="en-US" altLang="ko-KR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패키지가 필요한 속성 정의 </a:t>
              </a:r>
              <a: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100" b="0" kern="0" baseline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패키지명</a:t>
              </a:r>
              <a: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100" b="0" kern="0" baseline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생성자</a:t>
              </a:r>
              <a: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생성일자</a:t>
              </a:r>
              <a: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b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준 단가 등</a:t>
              </a:r>
              <a:r>
                <a:rPr lang="en-US" altLang="ko-KR" sz="1100" b="0" kern="0" baseline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5499131" y="3171008"/>
              <a:ext cx="4139375" cy="90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행 미포함 상품 </a:t>
              </a: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Hierarchy</a:t>
              </a:r>
              <a:r>
                <a:rPr kumimoji="0" lang="en-US" altLang="ko-KR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100" b="0" i="0" u="none" strike="noStrike" kern="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구조 정의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 관리 속성 정의</a:t>
              </a:r>
              <a:endParaRPr lang="en-US" altLang="ko-KR" sz="1100" b="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5499131" y="4182152"/>
              <a:ext cx="4139375" cy="90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고객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캐시백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행사 요건 세분화된 서비스</a:t>
              </a:r>
              <a:endParaRPr lang="en-US" altLang="ko-KR" sz="1100" b="0" kern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이용횟수별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청구할인 서비스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원금할인 지정 청구할인과 세이브 동시적용 서비스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동일 가맹점 대상 품목별 차등 </a:t>
              </a:r>
              <a:r>
                <a:rPr lang="ko-KR" altLang="en-US" sz="1100" b="0" kern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오퍼</a:t>
              </a:r>
              <a:r>
                <a:rPr lang="ko-KR" altLang="en-US" sz="1100" b="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서비스</a:t>
              </a:r>
              <a:endParaRPr lang="en-US" altLang="ko-KR" sz="1100" b="0" kern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5509291" y="5193296"/>
              <a:ext cx="4139375" cy="90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H </a:t>
              </a: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멤버십 </a:t>
              </a: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r>
                <a:rPr lang="en-US" altLang="ko-KR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도 서비스로 등록하여 통합 관리</a:t>
              </a:r>
              <a:endParaRPr lang="en-US" altLang="ko-KR" sz="1100" b="0" kern="0" noProof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72000" marR="0" lvl="0" indent="-72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1100" b="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멤버십 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는 설계 시 통합 </a:t>
              </a:r>
              <a:r>
                <a:rPr kumimoji="0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기간계</a:t>
              </a:r>
              <a:r>
                <a:rPr kumimoji="0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연계도 고려해서 상세요건 도출해야 함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3080792" y="3171008"/>
              <a:ext cx="2130347" cy="900000"/>
              <a:chOff x="3368824" y="3096048"/>
              <a:chExt cx="2160000" cy="720000"/>
            </a:xfrm>
          </p:grpSpPr>
          <p:sp>
            <p:nvSpPr>
              <p:cNvPr id="41" name="직사각형 40"/>
              <p:cNvSpPr/>
              <p:nvPr/>
            </p:nvSpPr>
            <p:spPr bwMode="auto">
              <a:xfrm>
                <a:off x="3368824" y="3096048"/>
                <a:ext cx="2160000" cy="720000"/>
              </a:xfrm>
              <a:prstGeom prst="rect">
                <a:avLst/>
              </a:prstGeom>
              <a:solidFill>
                <a:srgbClr val="D6EBF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전사 전체 상품 </a:t>
                </a:r>
                <a:r>
                  <a:rPr lang="en-US" altLang="ko-KR" sz="12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PF Rule </a:t>
                </a:r>
                <a:r>
                  <a:rPr lang="ko-KR" altLang="en-US" sz="1200" kern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도입</a:t>
                </a:r>
                <a:endPara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8" name="직사각형 57"/>
              <p:cNvSpPr/>
              <p:nvPr/>
            </p:nvSpPr>
            <p:spPr bwMode="auto">
              <a:xfrm>
                <a:off x="3368824" y="3096048"/>
                <a:ext cx="245912" cy="245912"/>
              </a:xfrm>
              <a:prstGeom prst="rect">
                <a:avLst/>
              </a:prstGeom>
              <a:solidFill>
                <a:srgbClr val="002060"/>
              </a:solidFill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62" eaLnBrk="0" fontAlgn="auto" latinLnBrk="0">
                  <a:spcBef>
                    <a:spcPct val="20000"/>
                  </a:spcBef>
                  <a:spcAft>
                    <a:spcPts val="0"/>
                  </a:spcAft>
                  <a:buClr>
                    <a:srgbClr val="1D1F6F"/>
                  </a:buClr>
                  <a:defRPr/>
                </a:pPr>
                <a:r>
                  <a:rPr lang="en-US" altLang="ko-KR" sz="1400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</a:rPr>
                  <a:t>2</a:t>
                </a:r>
              </a:p>
            </p:txBody>
          </p:sp>
        </p:grpSp>
        <p:grpSp>
          <p:nvGrpSpPr>
            <p:cNvPr id="7" name="그룹 6"/>
            <p:cNvGrpSpPr/>
            <p:nvPr/>
          </p:nvGrpSpPr>
          <p:grpSpPr>
            <a:xfrm>
              <a:off x="3080792" y="2159864"/>
              <a:ext cx="2130347" cy="900000"/>
              <a:chOff x="3363799" y="2159864"/>
              <a:chExt cx="2165265" cy="720000"/>
            </a:xfrm>
          </p:grpSpPr>
          <p:sp>
            <p:nvSpPr>
              <p:cNvPr id="40" name="직사각형 39"/>
              <p:cNvSpPr/>
              <p:nvPr/>
            </p:nvSpPr>
            <p:spPr bwMode="auto">
              <a:xfrm>
                <a:off x="3369064" y="2159864"/>
                <a:ext cx="2160000" cy="720000"/>
              </a:xfrm>
              <a:prstGeom prst="rect">
                <a:avLst/>
              </a:prstGeom>
              <a:solidFill>
                <a:srgbClr val="D6EBF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서비스 패키지 구조 정의</a:t>
                </a:r>
              </a:p>
            </p:txBody>
          </p:sp>
          <p:sp>
            <p:nvSpPr>
              <p:cNvPr id="63" name="직사각형 62"/>
              <p:cNvSpPr/>
              <p:nvPr/>
            </p:nvSpPr>
            <p:spPr bwMode="auto">
              <a:xfrm>
                <a:off x="3363799" y="2159864"/>
                <a:ext cx="245912" cy="245912"/>
              </a:xfrm>
              <a:prstGeom prst="rect">
                <a:avLst/>
              </a:prstGeom>
              <a:solidFill>
                <a:srgbClr val="002060"/>
              </a:solidFill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62" eaLnBrk="0" fontAlgn="auto" latinLnBrk="0">
                  <a:spcBef>
                    <a:spcPct val="20000"/>
                  </a:spcBef>
                  <a:spcAft>
                    <a:spcPts val="0"/>
                  </a:spcAft>
                  <a:buClr>
                    <a:srgbClr val="1D1F6F"/>
                  </a:buClr>
                  <a:defRPr/>
                </a:pPr>
                <a:r>
                  <a:rPr lang="en-US" altLang="ko-KR" sz="1400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</a:rPr>
                  <a:t>1</a:t>
                </a:r>
              </a:p>
            </p:txBody>
          </p:sp>
        </p:grpSp>
        <p:grpSp>
          <p:nvGrpSpPr>
            <p:cNvPr id="5" name="그룹 4"/>
            <p:cNvGrpSpPr/>
            <p:nvPr/>
          </p:nvGrpSpPr>
          <p:grpSpPr>
            <a:xfrm>
              <a:off x="3080792" y="4182152"/>
              <a:ext cx="2130347" cy="900000"/>
              <a:chOff x="3368824" y="4032040"/>
              <a:chExt cx="2160000" cy="720000"/>
            </a:xfrm>
          </p:grpSpPr>
          <p:sp>
            <p:nvSpPr>
              <p:cNvPr id="42" name="직사각형 41"/>
              <p:cNvSpPr/>
              <p:nvPr/>
            </p:nvSpPr>
            <p:spPr bwMode="auto">
              <a:xfrm>
                <a:off x="3368824" y="4032040"/>
                <a:ext cx="2160000" cy="720000"/>
              </a:xfrm>
              <a:prstGeom prst="rect">
                <a:avLst/>
              </a:prstGeom>
              <a:solidFill>
                <a:srgbClr val="D6EBF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가맹점 마케팅 서비스</a:t>
                </a: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세이브 등</a:t>
                </a: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)</a:t>
                </a:r>
                <a:endPara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4" name="직사각형 63"/>
              <p:cNvSpPr/>
              <p:nvPr/>
            </p:nvSpPr>
            <p:spPr bwMode="auto">
              <a:xfrm>
                <a:off x="3368824" y="4032040"/>
                <a:ext cx="245912" cy="245912"/>
              </a:xfrm>
              <a:prstGeom prst="rect">
                <a:avLst/>
              </a:prstGeom>
              <a:solidFill>
                <a:srgbClr val="002060"/>
              </a:solidFill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62" eaLnBrk="0" fontAlgn="auto" latinLnBrk="0">
                  <a:spcBef>
                    <a:spcPct val="20000"/>
                  </a:spcBef>
                  <a:spcAft>
                    <a:spcPts val="0"/>
                  </a:spcAft>
                  <a:buClr>
                    <a:srgbClr val="1D1F6F"/>
                  </a:buClr>
                  <a:defRPr/>
                </a:pPr>
                <a:r>
                  <a:rPr lang="en-US" altLang="ko-KR" sz="1400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</a:rPr>
                  <a:t>3</a:t>
                </a:r>
              </a:p>
            </p:txBody>
          </p:sp>
        </p:grpSp>
        <p:grpSp>
          <p:nvGrpSpPr>
            <p:cNvPr id="4" name="그룹 3"/>
            <p:cNvGrpSpPr/>
            <p:nvPr/>
          </p:nvGrpSpPr>
          <p:grpSpPr>
            <a:xfrm>
              <a:off x="3080792" y="5193296"/>
              <a:ext cx="2130347" cy="900000"/>
              <a:chOff x="3368824" y="5373296"/>
              <a:chExt cx="2160000" cy="720000"/>
            </a:xfrm>
          </p:grpSpPr>
          <p:sp>
            <p:nvSpPr>
              <p:cNvPr id="43" name="직사각형 42"/>
              <p:cNvSpPr/>
              <p:nvPr/>
            </p:nvSpPr>
            <p:spPr bwMode="auto">
              <a:xfrm>
                <a:off x="3368824" y="5373296"/>
                <a:ext cx="2160000" cy="720000"/>
              </a:xfrm>
              <a:prstGeom prst="rect">
                <a:avLst/>
              </a:prstGeom>
              <a:solidFill>
                <a:srgbClr val="D6EBF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NH </a:t>
                </a: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멤버십 서비스 </a:t>
                </a: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/>
                </a:r>
                <a:b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0" lang="en-US" altLang="ko-KR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PF </a:t>
                </a:r>
                <a:r>
                  <a:rPr kumimoji="0" lang="ko-KR" alt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통합관리</a:t>
                </a:r>
              </a:p>
            </p:txBody>
          </p:sp>
          <p:sp>
            <p:nvSpPr>
              <p:cNvPr id="65" name="직사각형 64"/>
              <p:cNvSpPr/>
              <p:nvPr/>
            </p:nvSpPr>
            <p:spPr bwMode="auto">
              <a:xfrm>
                <a:off x="3368824" y="5373296"/>
                <a:ext cx="245912" cy="245912"/>
              </a:xfrm>
              <a:prstGeom prst="rect">
                <a:avLst/>
              </a:prstGeom>
              <a:solidFill>
                <a:srgbClr val="002060"/>
              </a:solidFill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62" eaLnBrk="0" fontAlgn="auto" latinLnBrk="0">
                  <a:spcBef>
                    <a:spcPct val="20000"/>
                  </a:spcBef>
                  <a:spcAft>
                    <a:spcPts val="0"/>
                  </a:spcAft>
                  <a:buClr>
                    <a:srgbClr val="1D1F6F"/>
                  </a:buClr>
                  <a:defRPr/>
                </a:pPr>
                <a:r>
                  <a:rPr lang="en-US" altLang="ko-KR" sz="1400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</a:rPr>
                  <a:t>4</a:t>
                </a:r>
              </a:p>
            </p:txBody>
          </p:sp>
        </p:grpSp>
        <p:cxnSp>
          <p:nvCxnSpPr>
            <p:cNvPr id="12" name="직선 연결선 11"/>
            <p:cNvCxnSpPr/>
            <p:nvPr/>
          </p:nvCxnSpPr>
          <p:spPr bwMode="auto">
            <a:xfrm>
              <a:off x="3080792" y="3115436"/>
              <a:ext cx="655272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1" name="직선 연결선 90"/>
            <p:cNvCxnSpPr/>
            <p:nvPr/>
          </p:nvCxnSpPr>
          <p:spPr bwMode="auto">
            <a:xfrm>
              <a:off x="3080792" y="4126580"/>
              <a:ext cx="655272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92" name="직선 연결선 91"/>
            <p:cNvCxnSpPr/>
            <p:nvPr/>
          </p:nvCxnSpPr>
          <p:spPr bwMode="auto">
            <a:xfrm>
              <a:off x="3080792" y="5137724"/>
              <a:ext cx="655272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75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76" name="TextBox 7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ule 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반의 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플랫폼 과제 요건 예시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7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그룹 7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8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8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4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5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945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4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634"/>
            <a:ext cx="83233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에서 타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문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를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패키지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형태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만들어 신용카드에 제공함으로써 결합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제공이 가능해질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것임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25536" y="1988840"/>
            <a:ext cx="9054929" cy="4350637"/>
            <a:chOff x="282639" y="1772856"/>
            <a:chExt cx="9054929" cy="4350637"/>
          </a:xfrm>
        </p:grpSpPr>
        <p:sp>
          <p:nvSpPr>
            <p:cNvPr id="21" name="직사각형 20"/>
            <p:cNvSpPr/>
            <p:nvPr/>
          </p:nvSpPr>
          <p:spPr bwMode="auto">
            <a:xfrm>
              <a:off x="282639" y="1772856"/>
              <a:ext cx="8991535" cy="360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타 부문 서비스를 결합하여 서비스 수준 강화된 것으로 고객 인지 → 상품 경쟁력 확보</a:t>
              </a: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3441112" y="2276493"/>
              <a:ext cx="2520000" cy="360000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패키지</a:t>
              </a: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모듈</a:t>
              </a: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화</a:t>
              </a:r>
            </a:p>
          </p:txBody>
        </p:sp>
        <p:sp>
          <p:nvSpPr>
            <p:cNvPr id="23" name="직사각형 22"/>
            <p:cNvSpPr/>
            <p:nvPr/>
          </p:nvSpPr>
          <p:spPr bwMode="auto">
            <a:xfrm>
              <a:off x="3441112" y="2646653"/>
              <a:ext cx="2520000" cy="2900776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 bwMode="auto">
            <a:xfrm>
              <a:off x="344768" y="2646653"/>
              <a:ext cx="2520000" cy="2900776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" name="직사각형 28"/>
            <p:cNvSpPr/>
            <p:nvPr/>
          </p:nvSpPr>
          <p:spPr bwMode="auto">
            <a:xfrm>
              <a:off x="416496" y="2733477"/>
              <a:ext cx="2340000" cy="52768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kern="0" dirty="0" err="1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올원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30" name="직사각형 29"/>
            <p:cNvSpPr/>
            <p:nvPr/>
          </p:nvSpPr>
          <p:spPr bwMode="auto">
            <a:xfrm>
              <a:off x="416496" y="3448228"/>
              <a:ext cx="2340000" cy="52768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AZIC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31" name="직사각형 30"/>
            <p:cNvSpPr/>
            <p:nvPr/>
          </p:nvSpPr>
          <p:spPr bwMode="auto">
            <a:xfrm>
              <a:off x="416496" y="4162980"/>
              <a:ext cx="2340000" cy="52768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ME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416496" y="4877731"/>
              <a:ext cx="2340000" cy="52768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하나로카드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...</a:t>
              </a: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3512840" y="2745317"/>
              <a:ext cx="2340000" cy="50400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+)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플러스 서비스</a:t>
              </a: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3512840" y="3460068"/>
              <a:ext cx="2340000" cy="50400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OHO </a:t>
              </a:r>
              <a:r>
                <a:rPr lang="ko-KR" altLang="en-US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3512840" y="4174820"/>
              <a:ext cx="2340000" cy="50400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멤버십</a:t>
              </a:r>
              <a:r>
                <a:rPr lang="en-US" altLang="ko-KR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 bwMode="auto">
            <a:xfrm>
              <a:off x="3512840" y="4889571"/>
              <a:ext cx="2340000" cy="504000"/>
            </a:xfrm>
            <a:prstGeom prst="rect">
              <a:avLst/>
            </a:prstGeom>
            <a:noFill/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i="1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 이용고객</a:t>
              </a:r>
              <a:endParaRPr kumimoji="0" lang="ko-KR" altLang="en-US" sz="1400" i="1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 bwMode="auto">
            <a:xfrm>
              <a:off x="6937856" y="2745317"/>
              <a:ext cx="2340000" cy="504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+)</a:t>
              </a:r>
              <a:r>
                <a:rPr kumimoji="0" lang="ko-KR" alt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플러스 카드</a:t>
              </a: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6937856" y="3460068"/>
              <a:ext cx="2340000" cy="504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IZ </a:t>
              </a:r>
              <a:r>
                <a:rPr lang="ko-KR" altLang="en-US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6937856" y="4174820"/>
              <a:ext cx="2340000" cy="504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휴멤버십 카드</a:t>
              </a:r>
              <a:endPara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6937856" y="4889571"/>
              <a:ext cx="2340000" cy="504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i="1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고객 서비스 추가</a:t>
              </a:r>
              <a:endParaRPr kumimoji="0" lang="ko-KR" altLang="en-US" sz="1400" i="1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5" name="직선 화살표 연결선 44"/>
            <p:cNvCxnSpPr>
              <a:stCxn id="35" idx="3"/>
              <a:endCxn id="40" idx="1"/>
            </p:cNvCxnSpPr>
            <p:nvPr/>
          </p:nvCxnSpPr>
          <p:spPr bwMode="auto">
            <a:xfrm>
              <a:off x="5852840" y="2997317"/>
              <a:ext cx="108501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46" name="직선 화살표 연결선 45"/>
            <p:cNvCxnSpPr>
              <a:stCxn id="37" idx="3"/>
              <a:endCxn id="42" idx="1"/>
            </p:cNvCxnSpPr>
            <p:nvPr/>
          </p:nvCxnSpPr>
          <p:spPr bwMode="auto">
            <a:xfrm>
              <a:off x="5852840" y="3712068"/>
              <a:ext cx="108501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47" name="직선 화살표 연결선 46"/>
            <p:cNvCxnSpPr>
              <a:stCxn id="38" idx="3"/>
              <a:endCxn id="43" idx="1"/>
            </p:cNvCxnSpPr>
            <p:nvPr/>
          </p:nvCxnSpPr>
          <p:spPr bwMode="auto">
            <a:xfrm>
              <a:off x="5852840" y="4426820"/>
              <a:ext cx="108501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49" name="직선 화살표 연결선 48"/>
            <p:cNvCxnSpPr>
              <a:stCxn id="39" idx="3"/>
              <a:endCxn id="44" idx="1"/>
            </p:cNvCxnSpPr>
            <p:nvPr/>
          </p:nvCxnSpPr>
          <p:spPr bwMode="auto">
            <a:xfrm>
              <a:off x="5852840" y="5141571"/>
              <a:ext cx="1085016" cy="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51" name="직사각형 50"/>
            <p:cNvSpPr/>
            <p:nvPr/>
          </p:nvSpPr>
          <p:spPr bwMode="auto">
            <a:xfrm>
              <a:off x="344768" y="5619493"/>
              <a:ext cx="8992800" cy="504000"/>
            </a:xfrm>
            <a:prstGeom prst="rect">
              <a:avLst/>
            </a:prstGeom>
            <a:solidFill>
              <a:srgbClr val="D6EBF6"/>
            </a:solidFill>
            <a:ln w="9525" cap="flat" cmpd="sng" algn="ctr">
              <a:solidFill>
                <a:schemeClr val="accent5">
                  <a:lumMod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kern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NH </a:t>
              </a:r>
              <a:r>
                <a:rPr lang="ko-KR" altLang="en-US" sz="1400" kern="0" noProof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공통서비스</a:t>
              </a:r>
              <a:endParaRPr kumimoji="0" lang="ko-KR" altLang="en-US" sz="1400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TextBox 51"/>
            <p:cNvSpPr txBox="1"/>
            <p:nvPr/>
          </p:nvSpPr>
          <p:spPr bwMode="auto">
            <a:xfrm>
              <a:off x="2869594" y="3572637"/>
              <a:ext cx="571238" cy="9037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5400" dirty="0" smtClean="0">
                  <a:solidFill>
                    <a:schemeClr val="accent5">
                      <a:lumMod val="25000"/>
                    </a:schemeClr>
                  </a:solidFill>
                  <a:latin typeface="맑은 고딕"/>
                  <a:ea typeface="맑은 고딕"/>
                </a:rPr>
                <a:t>+</a:t>
              </a:r>
              <a:endParaRPr lang="ko-KR" altLang="en-US" sz="5400" dirty="0" smtClean="0">
                <a:solidFill>
                  <a:schemeClr val="accent5">
                    <a:lumMod val="25000"/>
                  </a:schemeClr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62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63" name="TextBox 62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 부문 서비스 패키지 결합 제공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4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69" name="TextBox 68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0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5" name="그룹 6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3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5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6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7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9" name="그룹 78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0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1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666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5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634"/>
            <a:ext cx="8323315" cy="605126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F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경험을 보유한 우수 인력들이 본 프로젝트에 참여할 것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8" name="그룹 47"/>
          <p:cNvGrpSpPr/>
          <p:nvPr/>
        </p:nvGrpSpPr>
        <p:grpSpPr>
          <a:xfrm>
            <a:off x="524119" y="1953220"/>
            <a:ext cx="4140849" cy="336352"/>
            <a:chOff x="1052861" y="1681063"/>
            <a:chExt cx="3180059" cy="336352"/>
          </a:xfrm>
        </p:grpSpPr>
        <p:sp>
          <p:nvSpPr>
            <p:cNvPr id="50" name="Text Box 18"/>
            <p:cNvSpPr txBox="1">
              <a:spLocks noChangeArrowheads="1"/>
            </p:cNvSpPr>
            <p:nvPr/>
          </p:nvSpPr>
          <p:spPr bwMode="auto">
            <a:xfrm>
              <a:off x="1064568" y="1681063"/>
              <a:ext cx="316835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 배경 </a:t>
              </a:r>
              <a:r>
                <a:rPr kumimoji="1" lang="en-US" altLang="ko-KR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As-Is </a:t>
              </a:r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슈</a:t>
              </a:r>
              <a:r>
                <a:rPr kumimoji="1" lang="en-US" altLang="ko-KR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kumimoji="1"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3" name="직선 연결선 52"/>
            <p:cNvCxnSpPr/>
            <p:nvPr/>
          </p:nvCxnSpPr>
          <p:spPr bwMode="auto">
            <a:xfrm>
              <a:off x="1052861" y="2017415"/>
              <a:ext cx="318005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92" name="그룹 91"/>
          <p:cNvGrpSpPr/>
          <p:nvPr/>
        </p:nvGrpSpPr>
        <p:grpSpPr>
          <a:xfrm>
            <a:off x="5385047" y="1953220"/>
            <a:ext cx="3836274" cy="336352"/>
            <a:chOff x="1052861" y="1681063"/>
            <a:chExt cx="3180059" cy="336352"/>
          </a:xfrm>
        </p:grpSpPr>
        <p:sp>
          <p:nvSpPr>
            <p:cNvPr id="93" name="Text Box 18"/>
            <p:cNvSpPr txBox="1">
              <a:spLocks noChangeArrowheads="1"/>
            </p:cNvSpPr>
            <p:nvPr/>
          </p:nvSpPr>
          <p:spPr bwMode="auto">
            <a:xfrm>
              <a:off x="1064568" y="1681063"/>
              <a:ext cx="316835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슈 해결 방안</a:t>
              </a:r>
              <a:endParaRPr kumimoji="1"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4" name="직선 연결선 93"/>
            <p:cNvCxnSpPr/>
            <p:nvPr/>
          </p:nvCxnSpPr>
          <p:spPr bwMode="auto">
            <a:xfrm>
              <a:off x="1052861" y="2017415"/>
              <a:ext cx="318005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14" name="그룹 13"/>
          <p:cNvGrpSpPr/>
          <p:nvPr/>
        </p:nvGrpSpPr>
        <p:grpSpPr>
          <a:xfrm>
            <a:off x="433274" y="2301677"/>
            <a:ext cx="8905978" cy="4033043"/>
            <a:chOff x="433274" y="1917437"/>
            <a:chExt cx="8905978" cy="4417283"/>
          </a:xfrm>
        </p:grpSpPr>
        <p:sp>
          <p:nvSpPr>
            <p:cNvPr id="54" name="직사각형 53"/>
            <p:cNvSpPr/>
            <p:nvPr/>
          </p:nvSpPr>
          <p:spPr>
            <a:xfrm>
              <a:off x="793314" y="4606543"/>
              <a:ext cx="3888432" cy="504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변경 시 예외 처리 등으로 인한 시스템 간 정보 분산 및 중복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오류 발생</a:t>
              </a:r>
            </a:p>
          </p:txBody>
        </p:sp>
        <p:sp>
          <p:nvSpPr>
            <p:cNvPr id="55" name="Rectangle 38"/>
            <p:cNvSpPr>
              <a:spLocks noChangeArrowheads="1"/>
            </p:cNvSpPr>
            <p:nvPr/>
          </p:nvSpPr>
          <p:spPr bwMode="gray">
            <a:xfrm>
              <a:off x="433274" y="4714563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1</a:t>
              </a: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793314" y="5182607"/>
              <a:ext cx="3888432" cy="504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F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운영 관점의 관리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통제 기능 미흡으로 이력 관리 및 속성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Rule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처리 이해도 저하</a:t>
              </a: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7" name="Rectangle 38"/>
            <p:cNvSpPr>
              <a:spLocks noChangeArrowheads="1"/>
            </p:cNvSpPr>
            <p:nvPr/>
          </p:nvSpPr>
          <p:spPr bwMode="gray">
            <a:xfrm>
              <a:off x="433274" y="5290627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 b="0" kern="0" dirty="0">
                  <a:solidFill>
                    <a:srgbClr val="FFFFFF"/>
                  </a:solidFill>
                  <a:latin typeface="맑은 고딕"/>
                  <a:ea typeface="맑은 고딕"/>
                </a:rPr>
                <a:t>2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793314" y="5758672"/>
              <a:ext cx="3888432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상품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/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 제반 업무 통합 모니터링 및 단일 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View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체계 부재로 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Human Error / </a:t>
              </a:r>
              <a:r>
                <a:rPr kumimoji="1" lang="en-US" altLang="ko-KR" sz="1100" b="0" kern="0" dirty="0" err="1" smtClean="0">
                  <a:solidFill>
                    <a:srgbClr val="000000"/>
                  </a:solidFill>
                  <a:latin typeface="맑은 고딕"/>
                  <a:ea typeface="맑은 고딕"/>
                </a:rPr>
                <a:t>VoC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지속 발생</a:t>
              </a:r>
              <a:endPara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9" name="Rectangle 38"/>
            <p:cNvSpPr>
              <a:spLocks noChangeArrowheads="1"/>
            </p:cNvSpPr>
            <p:nvPr/>
          </p:nvSpPr>
          <p:spPr bwMode="gray">
            <a:xfrm>
              <a:off x="433274" y="5866691"/>
              <a:ext cx="288000" cy="288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 b="0" kern="0" noProof="0" dirty="0" smtClean="0">
                  <a:solidFill>
                    <a:srgbClr val="FFFFFF"/>
                  </a:solidFill>
                  <a:latin typeface="맑은 고딕"/>
                  <a:ea typeface="맑은 고딕"/>
                </a:rPr>
                <a:t>3</a:t>
              </a:r>
              <a:endPara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87" name="사다리꼴 86"/>
            <p:cNvSpPr/>
            <p:nvPr/>
          </p:nvSpPr>
          <p:spPr bwMode="auto">
            <a:xfrm rot="16200000">
              <a:off x="3215336" y="4020992"/>
              <a:ext cx="3996436" cy="631020"/>
            </a:xfrm>
            <a:prstGeom prst="trapezoid">
              <a:avLst>
                <a:gd name="adj" fmla="val 13478"/>
              </a:avLst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50000">
                  <a:schemeClr val="bg1">
                    <a:lumMod val="9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5403730" y="2590304"/>
              <a:ext cx="3797742" cy="642688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유효 기능상품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2,790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와 서비스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3,066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에 대해 서비스 등록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~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제공까지의 운영 프로세스 정의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Biz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점</a:t>
              </a: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&amp; IT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관점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5403730" y="3363476"/>
              <a:ext cx="3797742" cy="642688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전체 서비스 속성 및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분석하여 서비스 처리 유형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127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종 분류 정의 </a:t>
              </a:r>
              <a:endPara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5403730" y="4098333"/>
              <a:ext cx="3797742" cy="642688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서비스 처리 방식이 더 이상 추가</a:t>
              </a:r>
              <a:r>
                <a:rPr kumimoji="1" lang="en-US" altLang="ko-KR" sz="11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또는 중복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오류 적용되지 않도록 통제 방안 수립</a:t>
              </a:r>
              <a:endPara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5403730" y="4856512"/>
              <a:ext cx="3797742" cy="642688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상품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 담당자의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Human Error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최소화를 위한 주요 운영 업무 프로세스 표준화 </a:t>
              </a:r>
              <a:endParaRPr kumimoji="1"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5403730" y="5620024"/>
              <a:ext cx="3796158" cy="642688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PF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능 고도화 및 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PMS(Process Management System) 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도입을 통한 상품</a:t>
              </a:r>
              <a:r>
                <a: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 운영 업무 효율화 및 모니터링 체계 강화</a:t>
              </a:r>
            </a:p>
          </p:txBody>
        </p:sp>
        <p:sp>
          <p:nvSpPr>
            <p:cNvPr id="96" name="오른쪽 대괄호 95"/>
            <p:cNvSpPr/>
            <p:nvPr/>
          </p:nvSpPr>
          <p:spPr bwMode="auto">
            <a:xfrm>
              <a:off x="4757162" y="1990552"/>
              <a:ext cx="130674" cy="4344168"/>
            </a:xfrm>
            <a:prstGeom prst="rightBracket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endParaRPr kumimoji="0" lang="ko-KR" altLang="en-US" sz="1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Optima" pitchFamily="2" charset="2"/>
                <a:ea typeface="맑은 고딕" panose="020B0503020000020004" pitchFamily="50" charset="-127"/>
              </a:endParaRPr>
            </a:p>
          </p:txBody>
        </p:sp>
        <p:grpSp>
          <p:nvGrpSpPr>
            <p:cNvPr id="4" name="그룹 3"/>
            <p:cNvGrpSpPr/>
            <p:nvPr/>
          </p:nvGrpSpPr>
          <p:grpSpPr>
            <a:xfrm>
              <a:off x="464852" y="2578943"/>
              <a:ext cx="4272124" cy="1955577"/>
              <a:chOff x="464852" y="1988839"/>
              <a:chExt cx="4272124" cy="2340251"/>
            </a:xfrm>
          </p:grpSpPr>
          <p:sp>
            <p:nvSpPr>
              <p:cNvPr id="41" name="직사각형 40"/>
              <p:cNvSpPr/>
              <p:nvPr/>
            </p:nvSpPr>
            <p:spPr bwMode="auto">
              <a:xfrm>
                <a:off x="464852" y="1988839"/>
                <a:ext cx="4272124" cy="23402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" name="직사각형 4"/>
              <p:cNvSpPr/>
              <p:nvPr/>
            </p:nvSpPr>
            <p:spPr bwMode="auto">
              <a:xfrm>
                <a:off x="663720" y="2060848"/>
                <a:ext cx="3929240" cy="64807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" name="순서도: 자기 디스크 5"/>
              <p:cNvSpPr/>
              <p:nvPr/>
            </p:nvSpPr>
            <p:spPr bwMode="auto">
              <a:xfrm>
                <a:off x="848544" y="2126075"/>
                <a:ext cx="1300980" cy="510837"/>
              </a:xfrm>
              <a:prstGeom prst="flowChartMagneticDisk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110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Product Factory</a:t>
                </a:r>
                <a:endParaRPr kumimoji="1" lang="ko-KR" altLang="en-US" sz="110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" name="모서리가 둥근 직사각형 6"/>
              <p:cNvSpPr/>
              <p:nvPr/>
            </p:nvSpPr>
            <p:spPr bwMode="auto">
              <a:xfrm>
                <a:off x="2432720" y="2126075"/>
                <a:ext cx="972000" cy="510837"/>
              </a:xfrm>
              <a:prstGeom prst="round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상품</a:t>
                </a:r>
                <a:r>
                  <a:rPr kumimoji="1" lang="en-US" altLang="ko-KR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서비스 속성 정보</a:t>
                </a:r>
              </a:p>
            </p:txBody>
          </p:sp>
          <p:sp>
            <p:nvSpPr>
              <p:cNvPr id="60" name="모서리가 둥근 직사각형 59"/>
              <p:cNvSpPr/>
              <p:nvPr/>
            </p:nvSpPr>
            <p:spPr bwMode="auto">
              <a:xfrm>
                <a:off x="3528158" y="2126075"/>
                <a:ext cx="972000" cy="510837"/>
              </a:xfrm>
              <a:prstGeom prst="round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서비스제공 </a:t>
                </a:r>
                <a:r>
                  <a:rPr kumimoji="1" lang="en-US" altLang="ko-KR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ule </a:t>
                </a: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관리</a:t>
                </a:r>
              </a:p>
            </p:txBody>
          </p:sp>
          <p:sp>
            <p:nvSpPr>
              <p:cNvPr id="9" name="이등변 삼각형 8"/>
              <p:cNvSpPr/>
              <p:nvPr/>
            </p:nvSpPr>
            <p:spPr bwMode="auto">
              <a:xfrm rot="16200000">
                <a:off x="2216696" y="2276872"/>
                <a:ext cx="216024" cy="216024"/>
              </a:xfrm>
              <a:prstGeom prst="triangle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1" name="이등변 삼각형 60"/>
              <p:cNvSpPr/>
              <p:nvPr/>
            </p:nvSpPr>
            <p:spPr bwMode="auto">
              <a:xfrm rot="16200000">
                <a:off x="3309516" y="2273481"/>
                <a:ext cx="216024" cy="216024"/>
              </a:xfrm>
              <a:prstGeom prst="triangle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ko-KR" altLang="en-US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" name="직사각형 9"/>
              <p:cNvSpPr/>
              <p:nvPr/>
            </p:nvSpPr>
            <p:spPr bwMode="auto">
              <a:xfrm>
                <a:off x="663720" y="3212976"/>
                <a:ext cx="1176194" cy="86409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b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endPara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산</a:t>
                </a:r>
                <a:endPara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할인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,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포인트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,</a:t>
                </a:r>
                <a:r>
                  <a:rPr kumimoji="1" lang="ko-KR" altLang="en-US" sz="8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캐시백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,...)</a:t>
                </a:r>
                <a:endParaRPr kumimoji="1" lang="ko-KR" altLang="en-US" sz="7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2" name="직사각형 61"/>
              <p:cNvSpPr/>
              <p:nvPr/>
            </p:nvSpPr>
            <p:spPr bwMode="auto">
              <a:xfrm>
                <a:off x="2044890" y="3212976"/>
                <a:ext cx="1176194" cy="86409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승인</a:t>
                </a:r>
                <a:endPara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현장할인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-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실시간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)</a:t>
                </a:r>
              </a:p>
            </p:txBody>
          </p:sp>
          <p:sp>
            <p:nvSpPr>
              <p:cNvPr id="63" name="직사각형 62"/>
              <p:cNvSpPr/>
              <p:nvPr/>
            </p:nvSpPr>
            <p:spPr bwMode="auto">
              <a:xfrm>
                <a:off x="3426061" y="3212976"/>
                <a:ext cx="1176194" cy="86409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11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채널</a:t>
                </a:r>
                <a:endParaRPr kumimoji="1" lang="en-US" altLang="ko-KR" sz="11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웹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, </a:t>
                </a:r>
                <a:r>
                  <a:rPr kumimoji="1" lang="ko-KR" altLang="en-US" sz="800" b="0" dirty="0" err="1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모바일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, SMS,...)</a:t>
                </a:r>
                <a:endParaRPr kumimoji="1" lang="ko-KR" altLang="en-US" sz="8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" name="직사각형 10"/>
              <p:cNvSpPr/>
              <p:nvPr/>
            </p:nvSpPr>
            <p:spPr bwMode="auto">
              <a:xfrm>
                <a:off x="710764" y="3254921"/>
                <a:ext cx="497820" cy="31510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ule</a:t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처리</a:t>
                </a:r>
              </a:p>
            </p:txBody>
          </p:sp>
          <p:sp>
            <p:nvSpPr>
              <p:cNvPr id="64" name="직사각형 63"/>
              <p:cNvSpPr/>
              <p:nvPr/>
            </p:nvSpPr>
            <p:spPr bwMode="auto">
              <a:xfrm>
                <a:off x="1275339" y="3254921"/>
                <a:ext cx="497820" cy="31510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예외 처리</a:t>
                </a:r>
              </a:p>
            </p:txBody>
          </p:sp>
          <p:sp>
            <p:nvSpPr>
              <p:cNvPr id="65" name="직사각형 64"/>
              <p:cNvSpPr/>
              <p:nvPr/>
            </p:nvSpPr>
            <p:spPr bwMode="auto">
              <a:xfrm>
                <a:off x="3492902" y="3258186"/>
                <a:ext cx="497820" cy="315105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ule</a:t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처리</a:t>
                </a:r>
              </a:p>
            </p:txBody>
          </p:sp>
          <p:sp>
            <p:nvSpPr>
              <p:cNvPr id="66" name="직사각형 65"/>
              <p:cNvSpPr/>
              <p:nvPr/>
            </p:nvSpPr>
            <p:spPr bwMode="auto">
              <a:xfrm>
                <a:off x="4057477" y="3258186"/>
                <a:ext cx="497820" cy="31510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예외 처리</a:t>
                </a:r>
              </a:p>
            </p:txBody>
          </p:sp>
          <p:sp>
            <p:nvSpPr>
              <p:cNvPr id="67" name="직사각형 66"/>
              <p:cNvSpPr/>
              <p:nvPr/>
            </p:nvSpPr>
            <p:spPr bwMode="auto">
              <a:xfrm>
                <a:off x="2104344" y="3257911"/>
                <a:ext cx="1048455" cy="31510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별도</a:t>
                </a:r>
                <a: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Rule/</a:t>
                </a:r>
                <a:br>
                  <a:rPr kumimoji="1" lang="en-US" altLang="ko-KR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</a:br>
                <a:r>
                  <a:rPr kumimoji="1" lang="ko-KR" altLang="en-US" sz="800" b="0" dirty="0" smtClean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예외 처리</a:t>
                </a:r>
              </a:p>
            </p:txBody>
          </p:sp>
          <p:cxnSp>
            <p:nvCxnSpPr>
              <p:cNvPr id="15" name="직선 화살표 연결선 14"/>
              <p:cNvCxnSpPr>
                <a:stCxn id="11" idx="0"/>
                <a:endCxn id="5" idx="2"/>
              </p:cNvCxnSpPr>
              <p:nvPr/>
            </p:nvCxnSpPr>
            <p:spPr bwMode="auto">
              <a:xfrm flipV="1">
                <a:off x="959674" y="2708920"/>
                <a:ext cx="1668666" cy="546001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  <p:cxnSp>
            <p:nvCxnSpPr>
              <p:cNvPr id="17" name="직선 화살표 연결선 16"/>
              <p:cNvCxnSpPr>
                <a:stCxn id="64" idx="0"/>
                <a:endCxn id="5" idx="2"/>
              </p:cNvCxnSpPr>
              <p:nvPr/>
            </p:nvCxnSpPr>
            <p:spPr bwMode="auto">
              <a:xfrm flipV="1">
                <a:off x="1524249" y="2708920"/>
                <a:ext cx="1104091" cy="546001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rgbClr val="FF0000"/>
                </a:solidFill>
                <a:prstDash val="sysDash"/>
                <a:round/>
                <a:headEnd type="triangle"/>
                <a:tailEnd type="triangle"/>
              </a:ln>
              <a:effectLst/>
            </p:spPr>
          </p:cxnSp>
          <p:cxnSp>
            <p:nvCxnSpPr>
              <p:cNvPr id="19" name="직선 화살표 연결선 18"/>
              <p:cNvCxnSpPr>
                <a:stCxn id="67" idx="0"/>
                <a:endCxn id="5" idx="2"/>
              </p:cNvCxnSpPr>
              <p:nvPr/>
            </p:nvCxnSpPr>
            <p:spPr bwMode="auto">
              <a:xfrm flipH="1" flipV="1">
                <a:off x="2628340" y="2708920"/>
                <a:ext cx="232" cy="548991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rgbClr val="FF0000"/>
                </a:solidFill>
                <a:prstDash val="sysDash"/>
                <a:round/>
                <a:headEnd type="triangle"/>
                <a:tailEnd type="triangle"/>
              </a:ln>
              <a:effectLst/>
            </p:spPr>
          </p:cxnSp>
          <p:cxnSp>
            <p:nvCxnSpPr>
              <p:cNvPr id="33" name="직선 화살표 연결선 32"/>
              <p:cNvCxnSpPr>
                <a:stCxn id="5" idx="2"/>
                <a:endCxn id="65" idx="0"/>
              </p:cNvCxnSpPr>
              <p:nvPr/>
            </p:nvCxnSpPr>
            <p:spPr bwMode="auto">
              <a:xfrm>
                <a:off x="2628340" y="2708920"/>
                <a:ext cx="1113472" cy="549266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  <p:cxnSp>
            <p:nvCxnSpPr>
              <p:cNvPr id="36" name="직선 화살표 연결선 35"/>
              <p:cNvCxnSpPr>
                <a:stCxn id="5" idx="2"/>
                <a:endCxn id="66" idx="0"/>
              </p:cNvCxnSpPr>
              <p:nvPr/>
            </p:nvCxnSpPr>
            <p:spPr bwMode="auto">
              <a:xfrm>
                <a:off x="2628340" y="2708920"/>
                <a:ext cx="1678047" cy="549266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rgbClr val="FF0000"/>
                </a:solidFill>
                <a:prstDash val="sysDash"/>
                <a:round/>
                <a:headEnd type="triangle"/>
                <a:tailEnd type="triangle"/>
              </a:ln>
              <a:effectLst/>
            </p:spPr>
          </p:cxnSp>
          <p:sp>
            <p:nvSpPr>
              <p:cNvPr id="84" name="Rectangle 38"/>
              <p:cNvSpPr>
                <a:spLocks noChangeArrowheads="1"/>
              </p:cNvSpPr>
              <p:nvPr/>
            </p:nvSpPr>
            <p:spPr bwMode="gray">
              <a:xfrm>
                <a:off x="613620" y="2793600"/>
                <a:ext cx="217800" cy="217799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</a:rPr>
                  <a:t>1</a:t>
                </a:r>
              </a:p>
            </p:txBody>
          </p:sp>
          <p:sp>
            <p:nvSpPr>
              <p:cNvPr id="85" name="Rectangle 38"/>
              <p:cNvSpPr>
                <a:spLocks noChangeArrowheads="1"/>
              </p:cNvSpPr>
              <p:nvPr/>
            </p:nvSpPr>
            <p:spPr bwMode="gray">
              <a:xfrm>
                <a:off x="4332461" y="2484308"/>
                <a:ext cx="217800" cy="217799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100" b="0" kern="0" dirty="0">
                    <a:solidFill>
                      <a:srgbClr val="FFFFFF"/>
                    </a:solidFill>
                    <a:latin typeface="맑은 고딕"/>
                    <a:ea typeface="맑은 고딕"/>
                  </a:rPr>
                  <a:t>2</a:t>
                </a: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86" name="Rectangle 38"/>
              <p:cNvSpPr>
                <a:spLocks noChangeArrowheads="1"/>
              </p:cNvSpPr>
              <p:nvPr/>
            </p:nvSpPr>
            <p:spPr bwMode="gray">
              <a:xfrm>
                <a:off x="4510441" y="4107482"/>
                <a:ext cx="217800" cy="217799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100" b="0" kern="0" noProof="0" dirty="0" smtClean="0">
                    <a:solidFill>
                      <a:srgbClr val="FFFFFF"/>
                    </a:solidFill>
                    <a:latin typeface="맑은 고딕"/>
                    <a:ea typeface="맑은 고딕"/>
                  </a:rPr>
                  <a:t>3</a:t>
                </a:r>
                <a:endParaRPr kumimoji="0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 bwMode="auto">
              <a:xfrm>
                <a:off x="823621" y="2780928"/>
                <a:ext cx="1092990" cy="25274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ko-KR" altLang="en-US" sz="9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서비스 </a:t>
                </a:r>
                <a:r>
                  <a:rPr lang="ko-KR" altLang="en-US" sz="900" b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변경</a:t>
                </a:r>
                <a:r>
                  <a:rPr lang="en-US" altLang="ko-KR" sz="9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r>
                  <a:rPr lang="ko-KR" altLang="en-US" sz="9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운영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 bwMode="auto">
              <a:xfrm>
                <a:off x="1998619" y="2853003"/>
                <a:ext cx="173693" cy="3079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1200" dirty="0" smtClean="0">
                    <a:solidFill>
                      <a:srgbClr val="FF0000"/>
                    </a:solidFill>
                    <a:latin typeface="맑은 고딕"/>
                    <a:ea typeface="맑은 고딕"/>
                  </a:rPr>
                  <a:t>X</a:t>
                </a:r>
                <a:endParaRPr lang="ko-KR" altLang="en-US" sz="1200" dirty="0" smtClean="0">
                  <a:solidFill>
                    <a:srgbClr val="FF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98" name="TextBox 97"/>
              <p:cNvSpPr txBox="1"/>
              <p:nvPr/>
            </p:nvSpPr>
            <p:spPr bwMode="auto">
              <a:xfrm>
                <a:off x="2529895" y="2853003"/>
                <a:ext cx="173693" cy="3079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1200" dirty="0" smtClean="0">
                    <a:solidFill>
                      <a:srgbClr val="FF0000"/>
                    </a:solidFill>
                    <a:latin typeface="맑은 고딕"/>
                    <a:ea typeface="맑은 고딕"/>
                  </a:rPr>
                  <a:t>X</a:t>
                </a:r>
                <a:endParaRPr lang="ko-KR" altLang="en-US" sz="1200" dirty="0" smtClean="0">
                  <a:solidFill>
                    <a:srgbClr val="FF0000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01" name="TextBox 100"/>
              <p:cNvSpPr txBox="1"/>
              <p:nvPr/>
            </p:nvSpPr>
            <p:spPr bwMode="auto">
              <a:xfrm>
                <a:off x="3525540" y="2853003"/>
                <a:ext cx="173693" cy="3079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rtlCol="0">
                <a:spAutoFit/>
              </a:bodyPr>
              <a:lstStyle/>
              <a:p>
                <a:pPr latinLnBrk="0">
                  <a:spcBef>
                    <a:spcPct val="30000"/>
                  </a:spcBef>
                </a:pPr>
                <a:r>
                  <a:rPr lang="en-US" altLang="ko-KR" sz="1200" dirty="0" smtClean="0">
                    <a:solidFill>
                      <a:srgbClr val="FF0000"/>
                    </a:solidFill>
                    <a:latin typeface="맑은 고딕"/>
                    <a:ea typeface="맑은 고딕"/>
                  </a:rPr>
                  <a:t>X</a:t>
                </a:r>
                <a:endParaRPr lang="ko-KR" altLang="en-US" sz="1200" dirty="0" smtClean="0">
                  <a:solidFill>
                    <a:srgbClr val="FF0000"/>
                  </a:solidFill>
                  <a:latin typeface="맑은 고딕"/>
                  <a:ea typeface="맑은 고딕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 bwMode="auto">
            <a:xfrm>
              <a:off x="524600" y="1917437"/>
              <a:ext cx="4098220" cy="6267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latinLnBrk="0">
                <a:spcBef>
                  <a:spcPct val="30000"/>
                </a:spcBef>
              </a:pP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“S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카드는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F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를 보유하고 있었으나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,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차세대 오픈 후 서비스 이력 정보 파악 한계로 </a:t>
              </a:r>
              <a:r>
                <a:rPr lang="ko-KR" altLang="en-US" sz="1200" dirty="0" err="1" smtClean="0">
                  <a:solidFill>
                    <a:srgbClr val="000000"/>
                  </a:solidFill>
                  <a:latin typeface="맑은 고딕"/>
                  <a:ea typeface="맑은 고딕"/>
                </a:rPr>
                <a:t>대고객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 상품 서비스 운영에 어려움을 겪고 있었음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”</a:t>
              </a:r>
              <a:endPara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69" name="TextBox 68"/>
            <p:cNvSpPr txBox="1"/>
            <p:nvPr/>
          </p:nvSpPr>
          <p:spPr bwMode="auto">
            <a:xfrm>
              <a:off x="5241032" y="1918168"/>
              <a:ext cx="4098220" cy="6267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“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예외 처리로 운영되던 서비스를 유형화하여 정비하고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  <a:t/>
              </a:r>
              <a:br>
                <a:rPr lang="en-US" altLang="ko-KR" sz="1200" dirty="0">
                  <a:solidFill>
                    <a:srgbClr val="000000"/>
                  </a:solidFill>
                  <a:latin typeface="맑은 고딕"/>
                  <a:ea typeface="맑은 고딕"/>
                </a:rPr>
              </a:b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F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기능 고도화 및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PMS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도입을 통해 업무 이력 관리 절차와 모니터링 체계 강화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＂</a:t>
              </a:r>
            </a:p>
          </p:txBody>
        </p:sp>
      </p:grpSp>
      <p:grpSp>
        <p:nvGrpSpPr>
          <p:cNvPr id="75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76" name="TextBox 75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 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관리시스템 개선 프로젝트 개요</a:t>
              </a:r>
            </a:p>
          </p:txBody>
        </p:sp>
        <p:cxnSp>
          <p:nvCxnSpPr>
            <p:cNvPr id="77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그룹 77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9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0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1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2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83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08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09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11" name="그룹 110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12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13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8104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6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 체계의 기본 바탕이 되는 기준 정보의 체계적 관리를 위해 전사 통합된 분류 체계를 정립하고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반을 마련할 것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113" name="모서리가 둥근 직사각형 112"/>
          <p:cNvSpPr/>
          <p:nvPr/>
        </p:nvSpPr>
        <p:spPr>
          <a:xfrm>
            <a:off x="235206" y="1988840"/>
            <a:ext cx="4505819" cy="33964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현행 상품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기준정보 체계의 이슈</a:t>
            </a: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4987734" y="1988840"/>
            <a:ext cx="4571816" cy="339648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kumimoji="1" lang="en-US" altLang="ko-K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기준정보 체계 방향성</a:t>
            </a: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234189" y="5371455"/>
            <a:ext cx="1153145" cy="865857"/>
          </a:xfrm>
          <a:prstGeom prst="roundRect">
            <a:avLst>
              <a:gd name="adj" fmla="val 0"/>
            </a:avLst>
          </a:prstGeom>
          <a:solidFill>
            <a:schemeClr val="accent5">
              <a:lumMod val="25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latin typeface="맑은 고딕" pitchFamily="50" charset="-127"/>
                <a:ea typeface="맑은 고딕" pitchFamily="50" charset="-127"/>
              </a:rPr>
              <a:t>주요 이슈</a:t>
            </a:r>
            <a:endParaRPr lang="en-US" altLang="ko-KR" sz="12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1388351" y="5371455"/>
            <a:ext cx="3352674" cy="86585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통합된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Hierarchy </a:t>
            </a: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류 체계가 미흡</a:t>
            </a:r>
          </a:p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코드 체계 자체 한계 </a:t>
            </a:r>
            <a:endParaRPr kumimoji="1" lang="en-US" altLang="ko-KR" sz="105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업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SOHO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등 전사 상품 체계적 관리 미흡</a:t>
            </a:r>
            <a:endParaRPr kumimoji="1" lang="en-US" altLang="ko-KR" sz="105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움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BC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 관리 체계 부재</a:t>
            </a:r>
            <a:endParaRPr kumimoji="1" lang="ko-KR" altLang="en-US" sz="105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4987734" y="5371455"/>
            <a:ext cx="1153145" cy="865857"/>
          </a:xfrm>
          <a:prstGeom prst="roundRect">
            <a:avLst>
              <a:gd name="adj" fmla="val 0"/>
            </a:avLst>
          </a:prstGeom>
          <a:solidFill>
            <a:schemeClr val="accent5">
              <a:lumMod val="25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kern="0" dirty="0">
                <a:latin typeface="맑은 고딕" pitchFamily="50" charset="-127"/>
                <a:ea typeface="맑은 고딕" pitchFamily="50" charset="-127"/>
              </a:rPr>
              <a:t>기대효과</a:t>
            </a:r>
          </a:p>
        </p:txBody>
      </p:sp>
      <p:sp>
        <p:nvSpPr>
          <p:cNvPr id="121" name="모서리가 둥근 직사각형 120"/>
          <p:cNvSpPr/>
          <p:nvPr/>
        </p:nvSpPr>
        <p:spPr>
          <a:xfrm>
            <a:off x="6141896" y="5371455"/>
            <a:ext cx="3428862" cy="86585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사 통일된 </a:t>
            </a:r>
            <a:r>
              <a:rPr kumimoji="1" lang="en-US" altLang="ko-KR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View</a:t>
            </a: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로 상품별 계획</a:t>
            </a:r>
            <a:r>
              <a:rPr kumimoji="1" lang="en-US" altLang="ko-KR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과 관리 체계 마련</a:t>
            </a:r>
          </a:p>
          <a:p>
            <a:pPr marL="90488" marR="0" lvl="0" indent="-90488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맞춤형 서비스 제공을 위한 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ule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반 </a:t>
            </a:r>
            <a:r>
              <a:rPr kumimoji="1" lang="ko-KR" altLang="en-US" sz="105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련</a:t>
            </a:r>
          </a:p>
        </p:txBody>
      </p:sp>
      <p:sp>
        <p:nvSpPr>
          <p:cNvPr id="187" name="직사각형 186"/>
          <p:cNvSpPr/>
          <p:nvPr/>
        </p:nvSpPr>
        <p:spPr bwMode="auto">
          <a:xfrm>
            <a:off x="883221" y="2589249"/>
            <a:ext cx="1908000" cy="27509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카드</a:t>
            </a:r>
          </a:p>
        </p:txBody>
      </p:sp>
      <p:sp>
        <p:nvSpPr>
          <p:cNvPr id="188" name="직사각형 187"/>
          <p:cNvSpPr/>
          <p:nvPr/>
        </p:nvSpPr>
        <p:spPr bwMode="auto">
          <a:xfrm>
            <a:off x="2833025" y="2589249"/>
            <a:ext cx="1908000" cy="27509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금융</a:t>
            </a:r>
          </a:p>
        </p:txBody>
      </p:sp>
      <p:sp>
        <p:nvSpPr>
          <p:cNvPr id="189" name="직사각형 188"/>
          <p:cNvSpPr/>
          <p:nvPr/>
        </p:nvSpPr>
        <p:spPr bwMode="auto">
          <a:xfrm>
            <a:off x="883220" y="2912180"/>
            <a:ext cx="1908000" cy="1089150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상품분류체계 통합성 미흡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기업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/SOHO</a:t>
            </a:r>
            <a:r>
              <a:rPr kumimoji="1" lang="en-US" altLang="ko-KR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</a:t>
            </a:r>
            <a:r>
              <a:rPr kumimoji="1" lang="ko-KR" alt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등 일부 </a:t>
            </a:r>
            <a:r>
              <a:rPr kumimoji="1" lang="ko-KR" alt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미포괄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채움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/BC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통합 관리체계 부재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2833168" y="2910464"/>
            <a:ext cx="1907857" cy="1091008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론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단일 </a:t>
            </a: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 운영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2833025" y="4031542"/>
            <a:ext cx="1908000" cy="1180132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현금서비스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카드론 서비스 플랫폼 부재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878950" y="4031542"/>
            <a:ext cx="1908000" cy="1180132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 코드 체계 자체 한계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종류코드</a:t>
            </a:r>
            <a:r>
              <a:rPr kumimoji="1" lang="ko-KR" alt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및 제휴코드 기반 서비스체계 미흡</a:t>
            </a:r>
            <a:endParaRPr kumimoji="1" lang="en-US" altLang="ko-KR" sz="105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85725" marR="0" lvl="0" indent="-85725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관상품 제휴 서비스 한정</a:t>
            </a:r>
            <a:endParaRPr kumimoji="1" lang="en-US" altLang="ko-KR" sz="105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295969" y="2910464"/>
            <a:ext cx="547399" cy="109100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상품</a:t>
            </a:r>
          </a:p>
        </p:txBody>
      </p:sp>
      <p:sp>
        <p:nvSpPr>
          <p:cNvPr id="194" name="직사각형 193"/>
          <p:cNvSpPr/>
          <p:nvPr/>
        </p:nvSpPr>
        <p:spPr bwMode="auto">
          <a:xfrm>
            <a:off x="295969" y="4031542"/>
            <a:ext cx="547399" cy="11801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</a:rPr>
              <a:t>서비스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95" name="직사각형 194"/>
          <p:cNvSpPr/>
          <p:nvPr/>
        </p:nvSpPr>
        <p:spPr>
          <a:xfrm>
            <a:off x="5313040" y="2674779"/>
            <a:ext cx="795102" cy="14705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To-Be </a:t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전사 상품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kern="0" dirty="0" smtClean="0">
                <a:solidFill>
                  <a:srgbClr val="000000"/>
                </a:solidFill>
                <a:latin typeface="맑은 고딕"/>
                <a:ea typeface="맑은 고딕"/>
              </a:rPr>
              <a:t>기준정보</a:t>
            </a: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체계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립</a:t>
            </a:r>
          </a:p>
        </p:txBody>
      </p:sp>
      <p:sp>
        <p:nvSpPr>
          <p:cNvPr id="196" name="직사각형 195"/>
          <p:cNvSpPr/>
          <p:nvPr/>
        </p:nvSpPr>
        <p:spPr>
          <a:xfrm>
            <a:off x="5313040" y="4277233"/>
            <a:ext cx="795102" cy="10535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To-Be</a:t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서비스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분류 체계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정립</a:t>
            </a:r>
          </a:p>
        </p:txBody>
      </p:sp>
      <p:sp>
        <p:nvSpPr>
          <p:cNvPr id="197" name="AutoShape 6"/>
          <p:cNvSpPr>
            <a:spLocks noChangeArrowheads="1"/>
          </p:cNvSpPr>
          <p:nvPr/>
        </p:nvSpPr>
        <p:spPr bwMode="auto">
          <a:xfrm>
            <a:off x="4842540" y="2766321"/>
            <a:ext cx="355024" cy="2370608"/>
          </a:xfrm>
          <a:prstGeom prst="rightArrow">
            <a:avLst>
              <a:gd name="adj1" fmla="val 60093"/>
              <a:gd name="adj2" fmla="val 69326"/>
            </a:avLst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직사각형 197"/>
          <p:cNvSpPr/>
          <p:nvPr/>
        </p:nvSpPr>
        <p:spPr>
          <a:xfrm>
            <a:off x="6216406" y="2705494"/>
            <a:ext cx="1560354" cy="347678"/>
          </a:xfrm>
          <a:prstGeom prst="rect">
            <a:avLst/>
          </a:prstGeom>
          <a:solidFill>
            <a:srgbClr val="2045A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</a:pPr>
            <a:r>
              <a:rPr kumimoji="1" lang="ko-KR" altLang="en-US" sz="1000" b="0" kern="0" dirty="0">
                <a:solidFill>
                  <a:srgbClr val="FFFFFF"/>
                </a:solidFill>
                <a:latin typeface="맑은 고딕"/>
                <a:ea typeface="맑은 고딕"/>
              </a:rPr>
              <a:t>카드</a:t>
            </a:r>
          </a:p>
        </p:txBody>
      </p:sp>
      <p:sp>
        <p:nvSpPr>
          <p:cNvPr id="199" name="직사각형 198"/>
          <p:cNvSpPr/>
          <p:nvPr/>
        </p:nvSpPr>
        <p:spPr>
          <a:xfrm>
            <a:off x="7847647" y="2705494"/>
            <a:ext cx="1560354" cy="347678"/>
          </a:xfrm>
          <a:prstGeom prst="rect">
            <a:avLst/>
          </a:prstGeom>
          <a:solidFill>
            <a:srgbClr val="2045A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</a:pPr>
            <a:r>
              <a:rPr kumimoji="1" lang="ko-KR" altLang="en-US" sz="1000" b="0" kern="0" dirty="0">
                <a:solidFill>
                  <a:srgbClr val="FFFFFF"/>
                </a:solidFill>
                <a:latin typeface="맑은 고딕"/>
                <a:ea typeface="맑은 고딕"/>
              </a:rPr>
              <a:t>금융</a:t>
            </a:r>
          </a:p>
        </p:txBody>
      </p:sp>
      <p:sp>
        <p:nvSpPr>
          <p:cNvPr id="200" name="AutoShape 6"/>
          <p:cNvSpPr>
            <a:spLocks noChangeArrowheads="1"/>
          </p:cNvSpPr>
          <p:nvPr/>
        </p:nvSpPr>
        <p:spPr bwMode="auto">
          <a:xfrm rot="10800000">
            <a:off x="6710846" y="3099298"/>
            <a:ext cx="2149510" cy="139467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kumimoji="1" lang="ko-KR" altLang="en-US" sz="1500" b="0">
              <a:solidFill>
                <a:srgbClr val="000000"/>
              </a:solidFill>
              <a:ea typeface="-윤명조220" pitchFamily="18" charset="-127"/>
            </a:endParaRPr>
          </a:p>
        </p:txBody>
      </p:sp>
      <p:sp>
        <p:nvSpPr>
          <p:cNvPr id="201" name="직사각형 200"/>
          <p:cNvSpPr/>
          <p:nvPr/>
        </p:nvSpPr>
        <p:spPr>
          <a:xfrm>
            <a:off x="6229178" y="3293414"/>
            <a:ext cx="3178823" cy="278935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사업영역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대분류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소분류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2" name="직사각형 201"/>
          <p:cNvSpPr/>
          <p:nvPr/>
        </p:nvSpPr>
        <p:spPr>
          <a:xfrm>
            <a:off x="6229178" y="3642082"/>
            <a:ext cx="3178823" cy="488135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 영역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그룹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군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코드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카드상품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 (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바탕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바탕제휴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상품종류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6288414" y="4289999"/>
            <a:ext cx="1440160" cy="393305"/>
          </a:xfrm>
          <a:prstGeom prst="rect">
            <a:avLst/>
          </a:prstGeom>
          <a:solidFill>
            <a:schemeClr val="accent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서비스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번들</a:t>
            </a:r>
          </a:p>
        </p:txBody>
      </p:sp>
      <p:sp>
        <p:nvSpPr>
          <p:cNvPr id="204" name="직사각형 203"/>
          <p:cNvSpPr/>
          <p:nvPr/>
        </p:nvSpPr>
        <p:spPr>
          <a:xfrm>
            <a:off x="8189050" y="4294484"/>
            <a:ext cx="1180446" cy="940896"/>
          </a:xfrm>
          <a:prstGeom prst="rect">
            <a:avLst/>
          </a:prstGeom>
          <a:solidFill>
            <a:schemeClr val="accent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서비스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Pool</a:t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서비스 유형세분화</a:t>
            </a: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고객 </a:t>
            </a: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Life Style </a:t>
            </a:r>
            <a:r>
              <a: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추가</a:t>
            </a: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05" name="직사각형 204"/>
          <p:cNvSpPr/>
          <p:nvPr/>
        </p:nvSpPr>
        <p:spPr>
          <a:xfrm>
            <a:off x="6288414" y="4864450"/>
            <a:ext cx="1440160" cy="409382"/>
          </a:xfrm>
          <a:prstGeom prst="rect">
            <a:avLst/>
          </a:prstGeom>
          <a:solidFill>
            <a:schemeClr val="accent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단위서비스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/>
            </a:r>
            <a:b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</a:b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(</a:t>
            </a:r>
            <a:r>
              <a: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상품</a:t>
            </a: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회원서비스 구분</a:t>
            </a:r>
            <a:r>
              <a:rPr kumimoji="1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/>
                <a:ea typeface="맑은 고딕"/>
              </a:rPr>
              <a:t>)</a:t>
            </a:r>
            <a:endParaRPr kumimoji="1" lang="ko-KR" altLang="en-US" sz="9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cxnSp>
        <p:nvCxnSpPr>
          <p:cNvPr id="206" name="직선 화살표 연결선 205"/>
          <p:cNvCxnSpPr>
            <a:stCxn id="205" idx="0"/>
            <a:endCxn id="203" idx="2"/>
          </p:cNvCxnSpPr>
          <p:nvPr/>
        </p:nvCxnSpPr>
        <p:spPr bwMode="auto">
          <a:xfrm flipV="1">
            <a:off x="7008494" y="4683304"/>
            <a:ext cx="0" cy="181146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  <a:headEnd type="none" w="med" len="med"/>
            <a:tailEnd type="triangle"/>
          </a:ln>
          <a:effectLst/>
        </p:spPr>
      </p:cxnSp>
      <p:cxnSp>
        <p:nvCxnSpPr>
          <p:cNvPr id="207" name="직선 화살표 연결선 206"/>
          <p:cNvCxnSpPr>
            <a:stCxn id="204" idx="1"/>
            <a:endCxn id="205" idx="3"/>
          </p:cNvCxnSpPr>
          <p:nvPr/>
        </p:nvCxnSpPr>
        <p:spPr bwMode="auto">
          <a:xfrm flipH="1">
            <a:off x="7728574" y="4764933"/>
            <a:ext cx="460476" cy="304208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08" name="직선 화살표 연결선 207"/>
          <p:cNvCxnSpPr>
            <a:stCxn id="204" idx="1"/>
            <a:endCxn id="203" idx="3"/>
          </p:cNvCxnSpPr>
          <p:nvPr/>
        </p:nvCxnSpPr>
        <p:spPr bwMode="auto">
          <a:xfrm flipH="1" flipV="1">
            <a:off x="7728574" y="4486652"/>
            <a:ext cx="460476" cy="278281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grpSp>
        <p:nvGrpSpPr>
          <p:cNvPr id="63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64" name="TextBox 63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기준정보 체계 개선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cxnSp>
          <p:nvCxnSpPr>
            <p:cNvPr id="65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67" name="TextBox 66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9" name="그룹 58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60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61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62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1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2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3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6" name="그룹 7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50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7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기준정보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계는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사적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관성을 고려해야 하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향후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환경 변화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응 및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니즈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반의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맞춤형 서비스 설계를 위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연성을 확보해야 함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623853" y="2443939"/>
            <a:ext cx="8780000" cy="3859633"/>
            <a:chOff x="623853" y="2021495"/>
            <a:chExt cx="8780000" cy="4245596"/>
          </a:xfrm>
        </p:grpSpPr>
        <p:sp>
          <p:nvSpPr>
            <p:cNvPr id="53" name="모서리가 둥근 직사각형 52"/>
            <p:cNvSpPr/>
            <p:nvPr/>
          </p:nvSpPr>
          <p:spPr>
            <a:xfrm>
              <a:off x="623853" y="2021495"/>
              <a:ext cx="3595424" cy="72008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전사적으로 일관된 의미로 해석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사용되어야 함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전사 동일한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View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로 볼 수 있는 상품 체계 부재함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54" name="모서리가 둥근 직사각형 53"/>
            <p:cNvSpPr/>
            <p:nvPr/>
          </p:nvSpPr>
          <p:spPr>
            <a:xfrm>
              <a:off x="623853" y="2902873"/>
              <a:ext cx="3595424" cy="72008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중복 없이 전사적으로 공유되어야 함</a:t>
              </a:r>
            </a:p>
          </p:txBody>
        </p:sp>
        <p:sp>
          <p:nvSpPr>
            <p:cNvPr id="55" name="모서리가 둥근 직사각형 54"/>
            <p:cNvSpPr/>
            <p:nvPr/>
          </p:nvSpPr>
          <p:spPr>
            <a:xfrm>
              <a:off x="623853" y="3784251"/>
              <a:ext cx="3595424" cy="72008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Ownership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에 따른 권한과 책임 명확해야 함</a:t>
              </a:r>
            </a:p>
          </p:txBody>
        </p:sp>
        <p:sp>
          <p:nvSpPr>
            <p:cNvPr id="56" name="모서리가 둥근 직사각형 55"/>
            <p:cNvSpPr/>
            <p:nvPr/>
          </p:nvSpPr>
          <p:spPr>
            <a:xfrm>
              <a:off x="623853" y="4665629"/>
              <a:ext cx="3595424" cy="72008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설계 확장성과 시장 환경변화에 대처 가능한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유연성을 확보해야 함</a:t>
              </a:r>
            </a:p>
          </p:txBody>
        </p:sp>
        <p:sp>
          <p:nvSpPr>
            <p:cNvPr id="57" name="모서리가 둥근 직사각형 56"/>
            <p:cNvSpPr/>
            <p:nvPr/>
          </p:nvSpPr>
          <p:spPr>
            <a:xfrm>
              <a:off x="623853" y="5547009"/>
              <a:ext cx="3595424" cy="72008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맞춤형 서비스가 유연하게 지원되는 기반 마련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유형 단순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할인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무이자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포인트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기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)</a:t>
              </a:r>
            </a:p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Life Style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등의 속성 관리 부재</a:t>
              </a: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5808429" y="2021496"/>
              <a:ext cx="3595424" cy="720081"/>
            </a:xfrm>
            <a:prstGeom prst="rect">
              <a:avLst/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36000" tIns="45720" rIns="3600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전사에서 관리하고 있는 사업을 </a:t>
              </a:r>
              <a:r>
                <a:rPr kumimoji="1" lang="ko-KR" altLang="en-US" sz="1200" b="0" kern="0" noProof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일관된</a:t>
              </a:r>
              <a:endParaRPr kumimoji="1" lang="en-US" altLang="ko-KR" sz="1200" b="0" kern="0" noProof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kern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기준으로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분류</a:t>
              </a: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5808429" y="2902874"/>
              <a:ext cx="3595424" cy="720081"/>
            </a:xfrm>
            <a:prstGeom prst="rect">
              <a:avLst/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36000" tIns="45720" rIns="3600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사업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영역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: </a:t>
              </a:r>
              <a:r>
                <a:rPr kumimoji="1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대분류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소분류로 구분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 영역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: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그룹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군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코드로 구분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(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손익 평가 단위 기준으로 구성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)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5808429" y="3784252"/>
              <a:ext cx="3595424" cy="720081"/>
            </a:xfrm>
            <a:prstGeom prst="rect">
              <a:avLst/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36000" tIns="45720" rIns="3600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카드상품은 향후 </a:t>
              </a:r>
              <a:r>
                <a:rPr kumimoji="1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확장성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및 유연한 관리를 위하여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바탕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바탕제휴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종류로 체계화</a:t>
              </a: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5808429" y="4665630"/>
              <a:ext cx="3595424" cy="720081"/>
            </a:xfrm>
            <a:prstGeom prst="rect">
              <a:avLst/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36000" tIns="45720" rIns="3600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맞춤형 서비스 제공을 위한 서비스 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번들화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체계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수립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를 상품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/</a:t>
              </a: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 서비스로 분리 적용</a:t>
              </a:r>
              <a:endPara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5808429" y="5547010"/>
              <a:ext cx="3595424" cy="720081"/>
            </a:xfrm>
            <a:prstGeom prst="rect">
              <a:avLst/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36000" tIns="45720" rIns="36000" bIns="45720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분류 체계 상세화</a:t>
              </a: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/>
              </a:r>
              <a:b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서비스 유형 세분화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캐시백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세이브 등 추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)</a:t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상품군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속성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: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고객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Life Style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추가 고려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  <p:sp>
          <p:nvSpPr>
            <p:cNvPr id="64" name="AutoShape 6"/>
            <p:cNvSpPr>
              <a:spLocks noChangeArrowheads="1"/>
            </p:cNvSpPr>
            <p:nvPr/>
          </p:nvSpPr>
          <p:spPr bwMode="auto">
            <a:xfrm rot="5400000">
              <a:off x="3412594" y="4078531"/>
              <a:ext cx="2179638" cy="268288"/>
            </a:xfrm>
            <a:prstGeom prst="triangle">
              <a:avLst>
                <a:gd name="adj" fmla="val 50000"/>
              </a:avLst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4728309" y="2021497"/>
              <a:ext cx="1008112" cy="247846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사 상품 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준정보 체계 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립</a:t>
              </a: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4728309" y="4665631"/>
              <a:ext cx="1008112" cy="160146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2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류 체계</a:t>
              </a:r>
              <a: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kern="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립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623853" y="2041103"/>
            <a:ext cx="3595424" cy="307777"/>
            <a:chOff x="623853" y="1609055"/>
            <a:chExt cx="3595424" cy="307777"/>
          </a:xfrm>
        </p:grpSpPr>
        <p:sp>
          <p:nvSpPr>
            <p:cNvPr id="34" name="Text Box 18"/>
            <p:cNvSpPr txBox="1">
              <a:spLocks noChangeArrowheads="1"/>
            </p:cNvSpPr>
            <p:nvPr/>
          </p:nvSpPr>
          <p:spPr bwMode="auto">
            <a:xfrm>
              <a:off x="834491" y="1609055"/>
              <a:ext cx="316835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설계 원칙</a:t>
              </a:r>
              <a:endParaRPr kumimoji="1" lang="ko-KR" altLang="en-US" sz="13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5" name="직선 연결선 34"/>
            <p:cNvCxnSpPr/>
            <p:nvPr/>
          </p:nvCxnSpPr>
          <p:spPr bwMode="auto">
            <a:xfrm>
              <a:off x="623853" y="1916832"/>
              <a:ext cx="359542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6" name="그룹 5"/>
          <p:cNvGrpSpPr/>
          <p:nvPr/>
        </p:nvGrpSpPr>
        <p:grpSpPr>
          <a:xfrm>
            <a:off x="4728309" y="2041103"/>
            <a:ext cx="4675544" cy="307777"/>
            <a:chOff x="4728309" y="1609055"/>
            <a:chExt cx="4675544" cy="307777"/>
          </a:xfrm>
        </p:grpSpPr>
        <p:sp>
          <p:nvSpPr>
            <p:cNvPr id="38" name="Text Box 18"/>
            <p:cNvSpPr txBox="1">
              <a:spLocks noChangeArrowheads="1"/>
            </p:cNvSpPr>
            <p:nvPr/>
          </p:nvSpPr>
          <p:spPr bwMode="auto">
            <a:xfrm>
              <a:off x="4938947" y="1609055"/>
              <a:ext cx="415998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en-US" altLang="ko-KR" sz="13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To-Be </a:t>
              </a:r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방향성</a:t>
              </a:r>
              <a:endParaRPr kumimoji="1" lang="ko-KR" altLang="en-US" sz="1300" dirty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9" name="직선 연결선 38"/>
            <p:cNvCxnSpPr/>
            <p:nvPr/>
          </p:nvCxnSpPr>
          <p:spPr bwMode="auto">
            <a:xfrm>
              <a:off x="4728309" y="1916832"/>
              <a:ext cx="467554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0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51" name="TextBox 5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기준정보 체계 설계 원칙 및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o-Be 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향성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cxnSp>
          <p:nvCxnSpPr>
            <p:cNvPr id="52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65" name="TextBox 6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8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0" name="그룹 69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71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72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73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75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76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77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78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81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82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2836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8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사 상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 체계 수립을 위하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ierarchy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류 기준 및 관리 항목 등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하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일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View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커뮤니케이션 되도록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것임</a:t>
            </a:r>
            <a:endParaRPr lang="ko-KR" altLang="en-US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62499" y="2132856"/>
            <a:ext cx="8781002" cy="4040727"/>
            <a:chOff x="498663" y="1680270"/>
            <a:chExt cx="7982729" cy="4444800"/>
          </a:xfrm>
        </p:grpSpPr>
        <p:sp>
          <p:nvSpPr>
            <p:cNvPr id="122" name="TextBox 40"/>
            <p:cNvSpPr txBox="1">
              <a:spLocks noChangeArrowheads="1"/>
            </p:cNvSpPr>
            <p:nvPr/>
          </p:nvSpPr>
          <p:spPr bwMode="auto">
            <a:xfrm>
              <a:off x="1570372" y="1680270"/>
              <a:ext cx="3382021" cy="524594"/>
            </a:xfrm>
            <a:prstGeom prst="homePlate">
              <a:avLst>
                <a:gd name="adj" fmla="val 16742"/>
              </a:avLst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20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en-US" altLang="ko-KR" dirty="0" smtClean="0">
                  <a:solidFill>
                    <a:schemeClr val="bg1"/>
                  </a:solidFill>
                </a:rPr>
                <a:t>To-Be </a:t>
              </a:r>
              <a:r>
                <a:rPr lang="ko-KR" altLang="en-US" dirty="0">
                  <a:solidFill>
                    <a:schemeClr val="bg1"/>
                  </a:solidFill>
                </a:rPr>
                <a:t>전사 상품 기준정보 체계 수립</a:t>
              </a:r>
            </a:p>
          </p:txBody>
        </p:sp>
        <p:sp>
          <p:nvSpPr>
            <p:cNvPr id="123" name="TextBox 40"/>
            <p:cNvSpPr txBox="1">
              <a:spLocks noChangeArrowheads="1"/>
            </p:cNvSpPr>
            <p:nvPr/>
          </p:nvSpPr>
          <p:spPr bwMode="auto">
            <a:xfrm>
              <a:off x="5104990" y="1680270"/>
              <a:ext cx="3372924" cy="524594"/>
            </a:xfrm>
            <a:prstGeom prst="homePlate">
              <a:avLst>
                <a:gd name="adj" fmla="val 16742"/>
              </a:avLst>
            </a:prstGeom>
            <a:solidFill>
              <a:schemeClr val="accent1">
                <a:lumMod val="50000"/>
              </a:schemeClr>
            </a:solidFill>
            <a:ln w="9525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20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en-US" altLang="ko-KR" dirty="0" smtClean="0">
                  <a:solidFill>
                    <a:schemeClr val="bg1"/>
                  </a:solidFill>
                </a:rPr>
                <a:t>To-Be </a:t>
              </a:r>
              <a:r>
                <a:rPr lang="ko-KR" altLang="en-US" dirty="0">
                  <a:solidFill>
                    <a:schemeClr val="bg1"/>
                  </a:solidFill>
                </a:rPr>
                <a:t>서비스 기준정보 체계 수립</a:t>
              </a: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502382" y="2276872"/>
              <a:ext cx="921620" cy="187220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 업무</a:t>
              </a: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1570372" y="2276872"/>
              <a:ext cx="3373813" cy="1872000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사 상품 체계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Hierarchy)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및 기준 확정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그룹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군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종류 등의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Hierarchy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확정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각 상품 별 해당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Hierarchy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의 분류 기준 확정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손익기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고객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ommunication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단위 등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</a:p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aster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관리 항목 확정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코드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중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소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명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등급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용제공형태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제휴계약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등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498663" y="4293096"/>
              <a:ext cx="921620" cy="18319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종</a:t>
              </a:r>
              <a: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/>
              </a:r>
              <a:br>
                <a:rPr kumimoji="1" lang="en-US" altLang="ko-KR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kumimoji="1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산출물</a:t>
              </a: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5104990" y="2276872"/>
              <a:ext cx="3373813" cy="1872000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기준정보 체계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확정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원 서비스 분류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비스 체계도 확정 작업 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개인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법인 카드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금융상품 등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사 상품 서비스 유형 및 필요 데이터 확정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무이자할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청구할인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캐시백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포인트적립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연회비 면제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세이브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이자율 할인 등 추가</a:t>
              </a: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- </a:t>
              </a: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신규 서비스 유형에 대한 필요 데이터 정의</a:t>
              </a:r>
              <a:endPara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31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104990" y="4293096"/>
              <a:ext cx="3376402" cy="183197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28" name="그림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70371" y="4293096"/>
              <a:ext cx="3373813" cy="183197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</p:grpSp>
      <p:grpSp>
        <p:nvGrpSpPr>
          <p:cNvPr id="40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41" name="TextBox 40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기준정보 체계 개선 과제 요건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2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44" name="TextBox 43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5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7" name="그룹 46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8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9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50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51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3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4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5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56" name="그룹 55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57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58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51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9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BC)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금융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문 등의 분류 기준 하에 전사 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기준정보 체계를 수립하여 모든 상품이 누락 없이 통합 관리되도록 할 것임</a:t>
            </a:r>
            <a:endParaRPr lang="ko-KR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452111" y="2039032"/>
            <a:ext cx="4140849" cy="336352"/>
            <a:chOff x="1052861" y="1681063"/>
            <a:chExt cx="3180059" cy="336352"/>
          </a:xfrm>
        </p:grpSpPr>
        <p:sp>
          <p:nvSpPr>
            <p:cNvPr id="50" name="Text Box 18"/>
            <p:cNvSpPr txBox="1">
              <a:spLocks noChangeArrowheads="1"/>
            </p:cNvSpPr>
            <p:nvPr/>
          </p:nvSpPr>
          <p:spPr bwMode="auto">
            <a:xfrm>
              <a:off x="1064568" y="1681063"/>
              <a:ext cx="316835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kumimoji="1" lang="en-US" altLang="ko-KR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분류 기준</a:t>
              </a:r>
              <a:endParaRPr kumimoji="1"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" name="직선 연결선 12"/>
            <p:cNvCxnSpPr/>
            <p:nvPr/>
          </p:nvCxnSpPr>
          <p:spPr bwMode="auto">
            <a:xfrm>
              <a:off x="1052861" y="2017415"/>
              <a:ext cx="318005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9" name="그룹 58"/>
          <p:cNvGrpSpPr/>
          <p:nvPr/>
        </p:nvGrpSpPr>
        <p:grpSpPr>
          <a:xfrm>
            <a:off x="5385047" y="2038834"/>
            <a:ext cx="3836274" cy="336352"/>
            <a:chOff x="1052861" y="1681063"/>
            <a:chExt cx="3180059" cy="336352"/>
          </a:xfrm>
        </p:grpSpPr>
        <p:sp>
          <p:nvSpPr>
            <p:cNvPr id="60" name="Text Box 18"/>
            <p:cNvSpPr txBox="1">
              <a:spLocks noChangeArrowheads="1"/>
            </p:cNvSpPr>
            <p:nvPr/>
          </p:nvSpPr>
          <p:spPr bwMode="auto">
            <a:xfrm>
              <a:off x="1064568" y="1681063"/>
              <a:ext cx="3168352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ko-KR" altLang="en-US" sz="13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고려 사항</a:t>
              </a:r>
              <a:endParaRPr kumimoji="1" lang="ko-KR" altLang="en-US" sz="13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61" name="직선 연결선 60"/>
            <p:cNvCxnSpPr/>
            <p:nvPr/>
          </p:nvCxnSpPr>
          <p:spPr bwMode="auto">
            <a:xfrm>
              <a:off x="1052861" y="2017415"/>
              <a:ext cx="318005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</p:grpSp>
      <p:grpSp>
        <p:nvGrpSpPr>
          <p:cNvPr id="5" name="그룹 4"/>
          <p:cNvGrpSpPr/>
          <p:nvPr/>
        </p:nvGrpSpPr>
        <p:grpSpPr>
          <a:xfrm>
            <a:off x="286043" y="2520586"/>
            <a:ext cx="8896746" cy="3790397"/>
            <a:chOff x="286043" y="2204864"/>
            <a:chExt cx="8896746" cy="4104456"/>
          </a:xfrm>
        </p:grpSpPr>
        <p:sp>
          <p:nvSpPr>
            <p:cNvPr id="18" name="사다리꼴 17"/>
            <p:cNvSpPr/>
            <p:nvPr/>
          </p:nvSpPr>
          <p:spPr bwMode="auto">
            <a:xfrm rot="16200000">
              <a:off x="3223247" y="3879662"/>
              <a:ext cx="3980614" cy="631020"/>
            </a:xfrm>
            <a:prstGeom prst="trapezoid">
              <a:avLst>
                <a:gd name="adj" fmla="val 54690"/>
              </a:avLst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" name="직사각형 3"/>
            <p:cNvSpPr/>
            <p:nvPr/>
          </p:nvSpPr>
          <p:spPr bwMode="auto">
            <a:xfrm>
              <a:off x="1064568" y="3088792"/>
              <a:ext cx="180020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2921224" y="3088792"/>
              <a:ext cx="1177398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</a:t>
              </a:r>
            </a:p>
          </p:txBody>
        </p:sp>
        <p:cxnSp>
          <p:nvCxnSpPr>
            <p:cNvPr id="6" name="직선 연결선 5"/>
            <p:cNvCxnSpPr/>
            <p:nvPr/>
          </p:nvCxnSpPr>
          <p:spPr bwMode="auto">
            <a:xfrm>
              <a:off x="450884" y="2944826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ys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1" name="TextBox 10"/>
            <p:cNvSpPr txBox="1"/>
            <p:nvPr/>
          </p:nvSpPr>
          <p:spPr bwMode="auto">
            <a:xfrm>
              <a:off x="297750" y="2406812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계열</a:t>
              </a:r>
              <a:endPara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297750" y="3164481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사업</a:t>
              </a:r>
              <a:endPara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 bwMode="auto">
            <a:xfrm>
              <a:off x="450884" y="3727339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ys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34" name="직사각형 33"/>
            <p:cNvSpPr/>
            <p:nvPr/>
          </p:nvSpPr>
          <p:spPr bwMode="auto">
            <a:xfrm>
              <a:off x="1064568" y="3848660"/>
              <a:ext cx="854378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</a:t>
              </a:r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286043" y="3946993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부문</a:t>
              </a:r>
              <a:endPara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2010390" y="3848660"/>
              <a:ext cx="854378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체크</a:t>
              </a: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2921224" y="3848660"/>
              <a:ext cx="854378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금서비스</a:t>
              </a: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3867046" y="3848660"/>
              <a:ext cx="854378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론</a:t>
              </a:r>
            </a:p>
          </p:txBody>
        </p:sp>
        <p:cxnSp>
          <p:nvCxnSpPr>
            <p:cNvPr id="39" name="직선 연결선 38"/>
            <p:cNvCxnSpPr/>
            <p:nvPr/>
          </p:nvCxnSpPr>
          <p:spPr bwMode="auto">
            <a:xfrm>
              <a:off x="450884" y="4485519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ys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40" name="TextBox 39"/>
            <p:cNvSpPr txBox="1"/>
            <p:nvPr/>
          </p:nvSpPr>
          <p:spPr bwMode="auto">
            <a:xfrm>
              <a:off x="297750" y="4705172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구분</a:t>
              </a:r>
              <a:endPara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1064568" y="4616388"/>
              <a:ext cx="116768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2307851" y="4616388"/>
              <a:ext cx="116768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업</a:t>
              </a: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1064568" y="2315619"/>
              <a:ext cx="180020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2921224" y="2315619"/>
              <a:ext cx="180020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5" name="직사각형 44"/>
            <p:cNvSpPr/>
            <p:nvPr/>
          </p:nvSpPr>
          <p:spPr bwMode="auto">
            <a:xfrm>
              <a:off x="3551133" y="4616388"/>
              <a:ext cx="1167680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SOHO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6" name="직선 연결선 45"/>
            <p:cNvCxnSpPr/>
            <p:nvPr/>
          </p:nvCxnSpPr>
          <p:spPr bwMode="auto">
            <a:xfrm>
              <a:off x="450884" y="5249032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ysDash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47" name="TextBox 46"/>
            <p:cNvSpPr txBox="1"/>
            <p:nvPr/>
          </p:nvSpPr>
          <p:spPr bwMode="auto">
            <a:xfrm>
              <a:off x="308094" y="5468684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ko-KR" altLang="en-US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서비스</a:t>
              </a:r>
              <a:endParaRPr lang="en-US" altLang="ko-KR" sz="12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1064568" y="5373216"/>
              <a:ext cx="1800200" cy="504056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9" name="직사각형 48"/>
            <p:cNvSpPr/>
            <p:nvPr/>
          </p:nvSpPr>
          <p:spPr bwMode="auto">
            <a:xfrm>
              <a:off x="2921224" y="5373216"/>
              <a:ext cx="1800200" cy="504056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회원</a:t>
              </a:r>
            </a:p>
          </p:txBody>
        </p:sp>
        <p:sp>
          <p:nvSpPr>
            <p:cNvPr id="15" name="직사각형 14"/>
            <p:cNvSpPr/>
            <p:nvPr/>
          </p:nvSpPr>
          <p:spPr bwMode="auto">
            <a:xfrm>
              <a:off x="5385047" y="2420888"/>
              <a:ext cx="3797742" cy="5040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채움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BC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열 기준정보 통합 관리 체계 수립</a:t>
              </a: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5385047" y="3194060"/>
              <a:ext cx="3797742" cy="5040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카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 외 기타 </a:t>
              </a:r>
              <a:r>
                <a:rPr kumimoji="1" lang="ko-KR" altLang="en-US" sz="12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사업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출시 가능성 고려 </a:t>
              </a: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4155078" y="3088792"/>
              <a:ext cx="563735" cy="5040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타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...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직사각형 56"/>
            <p:cNvSpPr/>
            <p:nvPr/>
          </p:nvSpPr>
          <p:spPr bwMode="auto">
            <a:xfrm>
              <a:off x="5385047" y="3928917"/>
              <a:ext cx="3797742" cy="5040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카드론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구판매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선불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1" lang="ko-KR" altLang="en-US" sz="12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프트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 등 모든 부문 포함</a:t>
              </a:r>
            </a:p>
          </p:txBody>
        </p:sp>
        <p:sp>
          <p:nvSpPr>
            <p:cNvPr id="58" name="직사각형 57"/>
            <p:cNvSpPr/>
            <p:nvPr/>
          </p:nvSpPr>
          <p:spPr bwMode="auto">
            <a:xfrm>
              <a:off x="5385047" y="4687096"/>
              <a:ext cx="3797742" cy="5040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b="0" dirty="0" err="1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리테일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업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SOHO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등 상품 유형 전체 포괄 </a:t>
              </a: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5385047" y="5450608"/>
              <a:ext cx="3796158" cy="5040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marL="95250" indent="-952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상품분류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Hierarchy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체계와 손익산출 기준 고려</a:t>
              </a:r>
            </a:p>
          </p:txBody>
        </p:sp>
        <p:sp>
          <p:nvSpPr>
            <p:cNvPr id="17" name="오른쪽 대괄호 16"/>
            <p:cNvSpPr/>
            <p:nvPr/>
          </p:nvSpPr>
          <p:spPr bwMode="auto">
            <a:xfrm>
              <a:off x="4765551" y="2204864"/>
              <a:ext cx="125352" cy="4104456"/>
            </a:xfrm>
            <a:prstGeom prst="rightBracket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Tx/>
                <a:buFont typeface="Wingdings" pitchFamily="2" charset="2"/>
                <a:buNone/>
                <a:tabLst/>
              </a:pPr>
              <a:endParaRPr kumimoji="0" lang="ko-KR" altLang="en-US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Optima" pitchFamily="2" charset="2"/>
                <a:ea typeface="맑은 고딕" panose="020B0503020000020004" pitchFamily="50" charset="-127"/>
              </a:endParaRPr>
            </a:p>
          </p:txBody>
        </p:sp>
        <p:sp>
          <p:nvSpPr>
            <p:cNvPr id="70" name="TextBox 69"/>
            <p:cNvSpPr txBox="1"/>
            <p:nvPr/>
          </p:nvSpPr>
          <p:spPr bwMode="auto">
            <a:xfrm>
              <a:off x="2259481" y="5964525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...</a:t>
              </a:r>
            </a:p>
          </p:txBody>
        </p:sp>
        <p:sp>
          <p:nvSpPr>
            <p:cNvPr id="71" name="TextBox 70"/>
            <p:cNvSpPr txBox="1"/>
            <p:nvPr/>
          </p:nvSpPr>
          <p:spPr bwMode="auto">
            <a:xfrm>
              <a:off x="308094" y="5928110"/>
              <a:ext cx="766818" cy="257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12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...</a:t>
              </a: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83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8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8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8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9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9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9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94" name="그룹 93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95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96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  <p:grpSp>
        <p:nvGrpSpPr>
          <p:cNvPr id="64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65" name="TextBox 64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6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9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00" name="TextBox 99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 기준정보 체계 개선 과제 요건 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시</a:t>
              </a:r>
              <a:r>
                <a:rPr lang="en-US" altLang="ko-KR" sz="14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1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823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반 상품 서비스 플랫폼 고도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제 요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0/10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30115" cy="605126"/>
          </a:xfrm>
        </p:spPr>
        <p:txBody>
          <a:bodyPr/>
          <a:lstStyle/>
          <a:p>
            <a:pPr lvl="0" latinLnBrk="1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기준정보 체계에서 계열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BC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상품 유형을 구분하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ul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정립하고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각 계열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한 상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속성을 동일하게 등록 및 유지관리 할 것임</a:t>
            </a:r>
            <a:endParaRPr lang="ko-KR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60512" y="1926575"/>
            <a:ext cx="8581236" cy="4387313"/>
            <a:chOff x="560512" y="1605526"/>
            <a:chExt cx="8581236" cy="4703794"/>
          </a:xfrm>
        </p:grpSpPr>
        <p:sp>
          <p:nvSpPr>
            <p:cNvPr id="61" name="모서리가 둥근 직사각형 60"/>
            <p:cNvSpPr/>
            <p:nvPr/>
          </p:nvSpPr>
          <p:spPr bwMode="auto">
            <a:xfrm>
              <a:off x="704527" y="3068959"/>
              <a:ext cx="2826279" cy="1655281"/>
            </a:xfrm>
            <a:prstGeom prst="roundRect">
              <a:avLst>
                <a:gd name="adj" fmla="val 878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8345023" y="1892852"/>
              <a:ext cx="424401" cy="1585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1715518" y="1717591"/>
              <a:ext cx="424401" cy="3338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99" name="그룹 98"/>
            <p:cNvGrpSpPr/>
            <p:nvPr/>
          </p:nvGrpSpPr>
          <p:grpSpPr>
            <a:xfrm>
              <a:off x="1564148" y="4779425"/>
              <a:ext cx="2092708" cy="1529895"/>
              <a:chOff x="1983546" y="4435048"/>
              <a:chExt cx="2021217" cy="1586239"/>
            </a:xfrm>
          </p:grpSpPr>
          <p:grpSp>
            <p:nvGrpSpPr>
              <p:cNvPr id="98" name="그룹 97"/>
              <p:cNvGrpSpPr/>
              <p:nvPr/>
            </p:nvGrpSpPr>
            <p:grpSpPr>
              <a:xfrm>
                <a:off x="1983546" y="4435048"/>
                <a:ext cx="1961342" cy="1586239"/>
                <a:chOff x="1928664" y="4435047"/>
                <a:chExt cx="1961342" cy="1586239"/>
              </a:xfrm>
            </p:grpSpPr>
            <p:sp>
              <p:nvSpPr>
                <p:cNvPr id="39" name="Freeform 4"/>
                <p:cNvSpPr>
                  <a:spLocks/>
                </p:cNvSpPr>
                <p:nvPr/>
              </p:nvSpPr>
              <p:spPr bwMode="auto">
                <a:xfrm flipV="1">
                  <a:off x="1928664" y="5411277"/>
                  <a:ext cx="1301826" cy="610009"/>
                </a:xfrm>
                <a:custGeom>
                  <a:avLst/>
                  <a:gdLst>
                    <a:gd name="T0" fmla="*/ 118912 w 1296"/>
                    <a:gd name="T1" fmla="*/ 72704 h 568"/>
                    <a:gd name="T2" fmla="*/ 144768 w 1296"/>
                    <a:gd name="T3" fmla="*/ 58240 h 568"/>
                    <a:gd name="T4" fmla="*/ 144768 w 1296"/>
                    <a:gd name="T5" fmla="*/ 58624 h 568"/>
                    <a:gd name="T6" fmla="*/ 144768 w 1296"/>
                    <a:gd name="T7" fmla="*/ 70528 h 568"/>
                    <a:gd name="T8" fmla="*/ 165888 w 1296"/>
                    <a:gd name="T9" fmla="*/ 35456 h 568"/>
                    <a:gd name="T10" fmla="*/ 144768 w 1296"/>
                    <a:gd name="T11" fmla="*/ 0 h 568"/>
                    <a:gd name="T12" fmla="*/ 144768 w 1296"/>
                    <a:gd name="T13" fmla="*/ 12416 h 568"/>
                    <a:gd name="T14" fmla="*/ 0 w 1296"/>
                    <a:gd name="T15" fmla="*/ 12416 h 568"/>
                    <a:gd name="T16" fmla="*/ 128 w 1296"/>
                    <a:gd name="T17" fmla="*/ 58112 h 568"/>
                    <a:gd name="T18" fmla="*/ 73344 w 1296"/>
                    <a:gd name="T19" fmla="*/ 58112 h 56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296"/>
                    <a:gd name="T31" fmla="*/ 0 h 568"/>
                    <a:gd name="T32" fmla="*/ 1296 w 1296"/>
                    <a:gd name="T33" fmla="*/ 568 h 56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296" h="568">
                      <a:moveTo>
                        <a:pt x="929" y="568"/>
                      </a:moveTo>
                      <a:cubicBezTo>
                        <a:pt x="980" y="509"/>
                        <a:pt x="1051" y="468"/>
                        <a:pt x="1131" y="455"/>
                      </a:cubicBezTo>
                      <a:cubicBezTo>
                        <a:pt x="1131" y="458"/>
                        <a:pt x="1131" y="458"/>
                        <a:pt x="1131" y="458"/>
                      </a:cubicBezTo>
                      <a:cubicBezTo>
                        <a:pt x="1131" y="551"/>
                        <a:pt x="1131" y="551"/>
                        <a:pt x="1131" y="551"/>
                      </a:cubicBezTo>
                      <a:cubicBezTo>
                        <a:pt x="1296" y="277"/>
                        <a:pt x="1296" y="277"/>
                        <a:pt x="1296" y="277"/>
                      </a:cubicBezTo>
                      <a:cubicBezTo>
                        <a:pt x="1131" y="0"/>
                        <a:pt x="1131" y="0"/>
                        <a:pt x="1131" y="0"/>
                      </a:cubicBezTo>
                      <a:cubicBezTo>
                        <a:pt x="1131" y="97"/>
                        <a:pt x="1131" y="97"/>
                        <a:pt x="1131" y="97"/>
                      </a:cubicBezTo>
                      <a:cubicBezTo>
                        <a:pt x="0" y="97"/>
                        <a:pt x="0" y="97"/>
                        <a:pt x="0" y="97"/>
                      </a:cubicBezTo>
                      <a:cubicBezTo>
                        <a:pt x="1" y="454"/>
                        <a:pt x="1" y="454"/>
                        <a:pt x="1" y="454"/>
                      </a:cubicBezTo>
                      <a:cubicBezTo>
                        <a:pt x="573" y="454"/>
                        <a:pt x="573" y="454"/>
                        <a:pt x="573" y="454"/>
                      </a:cubicBezTo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 w="63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100" b="0" dirty="0">
                    <a:latin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40" name="Freeform 5"/>
                <p:cNvSpPr>
                  <a:spLocks/>
                </p:cNvSpPr>
                <p:nvPr/>
              </p:nvSpPr>
              <p:spPr bwMode="auto">
                <a:xfrm flipV="1">
                  <a:off x="2415752" y="4435047"/>
                  <a:ext cx="1474254" cy="1484212"/>
                </a:xfrm>
                <a:custGeom>
                  <a:avLst/>
                  <a:gdLst>
                    <a:gd name="T0" fmla="*/ 91648 w 1384"/>
                    <a:gd name="T1" fmla="*/ 46720 h 1382"/>
                    <a:gd name="T2" fmla="*/ 132480 w 1384"/>
                    <a:gd name="T3" fmla="*/ 90112 h 1382"/>
                    <a:gd name="T4" fmla="*/ 88960 w 1384"/>
                    <a:gd name="T5" fmla="*/ 133632 h 1382"/>
                    <a:gd name="T6" fmla="*/ 45568 w 1384"/>
                    <a:gd name="T7" fmla="*/ 90112 h 1382"/>
                    <a:gd name="T8" fmla="*/ 52352 w 1384"/>
                    <a:gd name="T9" fmla="*/ 66688 h 1382"/>
                    <a:gd name="T10" fmla="*/ 52352 w 1384"/>
                    <a:gd name="T11" fmla="*/ 66688 h 1382"/>
                    <a:gd name="T12" fmla="*/ 63872 w 1384"/>
                    <a:gd name="T13" fmla="*/ 72320 h 1382"/>
                    <a:gd name="T14" fmla="*/ 41472 w 1384"/>
                    <a:gd name="T15" fmla="*/ 37632 h 1382"/>
                    <a:gd name="T16" fmla="*/ 0 w 1384"/>
                    <a:gd name="T17" fmla="*/ 40576 h 1382"/>
                    <a:gd name="T18" fmla="*/ 11264 w 1384"/>
                    <a:gd name="T19" fmla="*/ 46080 h 1382"/>
                    <a:gd name="T20" fmla="*/ 11136 w 1384"/>
                    <a:gd name="T21" fmla="*/ 46336 h 1382"/>
                    <a:gd name="T22" fmla="*/ 128 w 1384"/>
                    <a:gd name="T23" fmla="*/ 88448 h 1382"/>
                    <a:gd name="T24" fmla="*/ 88576 w 1384"/>
                    <a:gd name="T25" fmla="*/ 176896 h 1382"/>
                    <a:gd name="T26" fmla="*/ 177152 w 1384"/>
                    <a:gd name="T27" fmla="*/ 88448 h 1382"/>
                    <a:gd name="T28" fmla="*/ 91904 w 1384"/>
                    <a:gd name="T29" fmla="*/ 0 h 1382"/>
                    <a:gd name="T30" fmla="*/ 105984 w 1384"/>
                    <a:gd name="T31" fmla="*/ 23424 h 1382"/>
                    <a:gd name="T32" fmla="*/ 91648 w 1384"/>
                    <a:gd name="T33" fmla="*/ 46720 h 138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384"/>
                    <a:gd name="T52" fmla="*/ 0 h 1382"/>
                    <a:gd name="T53" fmla="*/ 1384 w 1384"/>
                    <a:gd name="T54" fmla="*/ 1382 h 138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384" h="1382">
                      <a:moveTo>
                        <a:pt x="716" y="365"/>
                      </a:moveTo>
                      <a:cubicBezTo>
                        <a:pt x="893" y="378"/>
                        <a:pt x="1035" y="524"/>
                        <a:pt x="1035" y="704"/>
                      </a:cubicBezTo>
                      <a:cubicBezTo>
                        <a:pt x="1035" y="892"/>
                        <a:pt x="883" y="1044"/>
                        <a:pt x="695" y="1044"/>
                      </a:cubicBezTo>
                      <a:cubicBezTo>
                        <a:pt x="508" y="1044"/>
                        <a:pt x="356" y="892"/>
                        <a:pt x="356" y="704"/>
                      </a:cubicBezTo>
                      <a:cubicBezTo>
                        <a:pt x="356" y="637"/>
                        <a:pt x="375" y="574"/>
                        <a:pt x="409" y="521"/>
                      </a:cubicBezTo>
                      <a:cubicBezTo>
                        <a:pt x="409" y="521"/>
                        <a:pt x="409" y="521"/>
                        <a:pt x="409" y="521"/>
                      </a:cubicBezTo>
                      <a:cubicBezTo>
                        <a:pt x="499" y="565"/>
                        <a:pt x="499" y="565"/>
                        <a:pt x="499" y="565"/>
                      </a:cubicBezTo>
                      <a:cubicBezTo>
                        <a:pt x="324" y="294"/>
                        <a:pt x="324" y="294"/>
                        <a:pt x="324" y="294"/>
                      </a:cubicBezTo>
                      <a:cubicBezTo>
                        <a:pt x="0" y="317"/>
                        <a:pt x="0" y="317"/>
                        <a:pt x="0" y="317"/>
                      </a:cubicBezTo>
                      <a:cubicBezTo>
                        <a:pt x="88" y="360"/>
                        <a:pt x="88" y="360"/>
                        <a:pt x="88" y="360"/>
                      </a:cubicBezTo>
                      <a:cubicBezTo>
                        <a:pt x="87" y="362"/>
                        <a:pt x="87" y="362"/>
                        <a:pt x="87" y="362"/>
                      </a:cubicBezTo>
                      <a:cubicBezTo>
                        <a:pt x="30" y="462"/>
                        <a:pt x="1" y="568"/>
                        <a:pt x="1" y="691"/>
                      </a:cubicBezTo>
                      <a:cubicBezTo>
                        <a:pt x="1" y="1073"/>
                        <a:pt x="311" y="1382"/>
                        <a:pt x="692" y="1382"/>
                      </a:cubicBezTo>
                      <a:cubicBezTo>
                        <a:pt x="1074" y="1382"/>
                        <a:pt x="1384" y="1073"/>
                        <a:pt x="1384" y="691"/>
                      </a:cubicBezTo>
                      <a:cubicBezTo>
                        <a:pt x="1384" y="315"/>
                        <a:pt x="1091" y="10"/>
                        <a:pt x="718" y="0"/>
                      </a:cubicBezTo>
                      <a:cubicBezTo>
                        <a:pt x="828" y="183"/>
                        <a:pt x="828" y="183"/>
                        <a:pt x="828" y="183"/>
                      </a:cubicBezTo>
                      <a:lnTo>
                        <a:pt x="716" y="365"/>
                      </a:ln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 w="63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1100" b="0" dirty="0">
                    <a:latin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41" name="Rectangle 6"/>
                <p:cNvSpPr>
                  <a:spLocks noChangeArrowheads="1"/>
                </p:cNvSpPr>
                <p:nvPr/>
              </p:nvSpPr>
              <p:spPr bwMode="auto">
                <a:xfrm>
                  <a:off x="2051364" y="5657405"/>
                  <a:ext cx="1055901" cy="188172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t" anchorCtr="0">
                  <a:spAutoFit/>
                </a:bodyPr>
                <a:lstStyle/>
                <a:p>
                  <a:pPr marL="280988" indent="-280988" algn="ctr">
                    <a:buClr>
                      <a:schemeClr val="tx1"/>
                    </a:buClr>
                  </a:pPr>
                  <a:r>
                    <a:rPr lang="ko-KR" altLang="en-US" sz="1100" b="0" dirty="0" smtClean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itchFamily="34" charset="0"/>
                    </a:rPr>
                    <a:t>상품</a:t>
                  </a:r>
                  <a:r>
                    <a:rPr lang="en-US" altLang="ko-KR" sz="1100" b="0" dirty="0" smtClean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itchFamily="34" charset="0"/>
                    </a:rPr>
                    <a:t>/</a:t>
                  </a:r>
                  <a:r>
                    <a:rPr lang="ko-KR" altLang="en-US" sz="1100" b="0" dirty="0" smtClean="0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itchFamily="34" charset="0"/>
                    </a:rPr>
                    <a:t>서비스 등록</a:t>
                  </a:r>
                  <a:endParaRPr lang="en-US" sz="1100" b="0" dirty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</p:grpSp>
          <p:sp>
            <p:nvSpPr>
              <p:cNvPr id="92" name="TextBox 91"/>
              <p:cNvSpPr txBox="1"/>
              <p:nvPr/>
            </p:nvSpPr>
            <p:spPr bwMode="auto">
              <a:xfrm>
                <a:off x="3402273" y="5214768"/>
                <a:ext cx="602490" cy="47674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latinLnBrk="0">
                  <a:spcBef>
                    <a:spcPct val="30000"/>
                  </a:spcBef>
                </a:pPr>
                <a:r>
                  <a:rPr lang="ko-KR" altLang="en-US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유지</a:t>
                </a:r>
                <a:r>
                  <a:rPr lang="en-US" altLang="ko-KR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/</a:t>
                </a:r>
                <a:br>
                  <a:rPr lang="en-US" altLang="ko-KR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</a:br>
                <a:r>
                  <a:rPr lang="ko-KR" altLang="en-US" sz="1100" b="0" dirty="0" smtClean="0">
                    <a:solidFill>
                      <a:srgbClr val="000000"/>
                    </a:solidFill>
                    <a:latin typeface="맑은 고딕"/>
                    <a:ea typeface="맑은 고딕"/>
                  </a:rPr>
                  <a:t>관리</a:t>
                </a:r>
              </a:p>
            </p:txBody>
          </p:sp>
        </p:grpSp>
        <p:sp>
          <p:nvSpPr>
            <p:cNvPr id="5" name="순서도: 자기 디스크 4"/>
            <p:cNvSpPr/>
            <p:nvPr/>
          </p:nvSpPr>
          <p:spPr bwMode="auto">
            <a:xfrm>
              <a:off x="1208584" y="4818188"/>
              <a:ext cx="1837092" cy="729195"/>
            </a:xfrm>
            <a:prstGeom prst="flowChartMagneticDisk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준정보 체계</a:t>
              </a:r>
            </a:p>
          </p:txBody>
        </p:sp>
        <p:sp>
          <p:nvSpPr>
            <p:cNvPr id="6" name="직사각형 5"/>
            <p:cNvSpPr/>
            <p:nvPr/>
          </p:nvSpPr>
          <p:spPr bwMode="auto">
            <a:xfrm>
              <a:off x="933252" y="3137770"/>
              <a:ext cx="1080120" cy="352715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300" dirty="0" smtClean="0">
                  <a:latin typeface="맑은 고딕" pitchFamily="50" charset="-127"/>
                  <a:ea typeface="맑은 고딕" pitchFamily="50" charset="-127"/>
                </a:rPr>
                <a:t>채움</a:t>
              </a: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2216696" y="3134651"/>
              <a:ext cx="1080120" cy="352715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 w="19050" cap="flat" cmpd="sng" algn="ctr">
              <a:solidFill>
                <a:srgbClr val="FF0000"/>
              </a:solidFill>
              <a:prstDash val="sysDash"/>
              <a:round/>
              <a:headEnd type="triangle" w="lg" len="med"/>
              <a:tailEnd type="none" w="med" len="med"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300" dirty="0" smtClean="0">
                  <a:latin typeface="맑은 고딕" pitchFamily="50" charset="-127"/>
                  <a:ea typeface="맑은 고딕" pitchFamily="50" charset="-127"/>
                </a:rPr>
                <a:t>BC</a:t>
              </a:r>
              <a:endParaRPr kumimoji="1" lang="ko-KR" altLang="en-US" sz="130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" name="갈매기형 수장 13"/>
            <p:cNvSpPr/>
            <p:nvPr/>
          </p:nvSpPr>
          <p:spPr bwMode="auto">
            <a:xfrm>
              <a:off x="3915643" y="1605526"/>
              <a:ext cx="1872000" cy="455442"/>
            </a:xfrm>
            <a:prstGeom prst="chevron">
              <a:avLst/>
            </a:prstGeom>
            <a:solidFill>
              <a:srgbClr val="C0C0C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</a:p>
          </p:txBody>
        </p:sp>
        <p:sp>
          <p:nvSpPr>
            <p:cNvPr id="30" name="갈매기형 수장 29"/>
            <p:cNvSpPr/>
            <p:nvPr/>
          </p:nvSpPr>
          <p:spPr bwMode="auto">
            <a:xfrm>
              <a:off x="5590918" y="1605526"/>
              <a:ext cx="1872000" cy="455442"/>
            </a:xfrm>
            <a:prstGeom prst="chevron">
              <a:avLst/>
            </a:prstGeom>
            <a:solidFill>
              <a:srgbClr val="C0C0C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</a:t>
              </a:r>
            </a:p>
          </p:txBody>
        </p:sp>
        <p:sp>
          <p:nvSpPr>
            <p:cNvPr id="31" name="갈매기형 수장 30"/>
            <p:cNvSpPr/>
            <p:nvPr/>
          </p:nvSpPr>
          <p:spPr bwMode="auto">
            <a:xfrm>
              <a:off x="7266192" y="1605526"/>
              <a:ext cx="1872000" cy="455442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......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" name="갈매기형 수장 31"/>
            <p:cNvSpPr/>
            <p:nvPr/>
          </p:nvSpPr>
          <p:spPr bwMode="auto">
            <a:xfrm>
              <a:off x="2240368" y="1605526"/>
              <a:ext cx="1872000" cy="455442"/>
            </a:xfrm>
            <a:prstGeom prst="chevron">
              <a:avLst/>
            </a:prstGeom>
            <a:solidFill>
              <a:srgbClr val="C0C0C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승인</a:t>
              </a:r>
            </a:p>
          </p:txBody>
        </p:sp>
        <p:cxnSp>
          <p:nvCxnSpPr>
            <p:cNvPr id="35" name="꺾인 연결선 34"/>
            <p:cNvCxnSpPr>
              <a:stCxn id="6" idx="0"/>
              <a:endCxn id="31" idx="2"/>
            </p:cNvCxnSpPr>
            <p:nvPr/>
          </p:nvCxnSpPr>
          <p:spPr bwMode="auto">
            <a:xfrm rot="5400000" flipH="1" flipV="1">
              <a:off x="4242421" y="-708141"/>
              <a:ext cx="1076802" cy="6615020"/>
            </a:xfrm>
            <a:prstGeom prst="bentConnector3">
              <a:avLst>
                <a:gd name="adj1" fmla="val 81163"/>
              </a:avLst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</p:cxnSp>
        <p:sp>
          <p:nvSpPr>
            <p:cNvPr id="105" name="직사각형 104"/>
            <p:cNvSpPr/>
            <p:nvPr/>
          </p:nvSpPr>
          <p:spPr bwMode="auto">
            <a:xfrm>
              <a:off x="3318605" y="1892852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6" name="직사각형 105"/>
            <p:cNvSpPr/>
            <p:nvPr/>
          </p:nvSpPr>
          <p:spPr bwMode="auto">
            <a:xfrm>
              <a:off x="4965264" y="1892852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6698364" y="1892852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7" name="꺾인 연결선 116"/>
            <p:cNvCxnSpPr>
              <a:stCxn id="22" idx="0"/>
              <a:endCxn id="108" idx="2"/>
            </p:cNvCxnSpPr>
            <p:nvPr/>
          </p:nvCxnSpPr>
          <p:spPr bwMode="auto">
            <a:xfrm rot="5400000" flipH="1" flipV="1">
              <a:off x="5115386" y="-307187"/>
              <a:ext cx="1083209" cy="5800468"/>
            </a:xfrm>
            <a:prstGeom prst="bentConnector3">
              <a:avLst>
                <a:gd name="adj1" fmla="val 67038"/>
              </a:avLst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ysDash"/>
              <a:round/>
              <a:headEnd type="none" w="lg" len="med"/>
              <a:tailEnd type="triangle" w="med" len="med"/>
            </a:ln>
            <a:effectLst/>
          </p:spPr>
        </p:cxnSp>
        <p:sp>
          <p:nvSpPr>
            <p:cNvPr id="121" name="직사각형 120"/>
            <p:cNvSpPr/>
            <p:nvPr/>
          </p:nvSpPr>
          <p:spPr bwMode="auto">
            <a:xfrm>
              <a:off x="4458192" y="2925064"/>
              <a:ext cx="4680000" cy="1080000"/>
            </a:xfrm>
            <a:prstGeom prst="rect">
              <a:avLst/>
            </a:prstGeom>
            <a:noFill/>
            <a:ln w="19050" cap="flat" cmpd="sng" algn="ctr">
              <a:solidFill>
                <a:schemeClr val="tx2"/>
              </a:solidFill>
              <a:prstDash val="sysDot"/>
              <a:round/>
              <a:headEnd type="none" w="sm" len="sm"/>
              <a:tailEnd type="none" w="med" len="med"/>
            </a:ln>
            <a:effectLst/>
          </p:spPr>
          <p:txBody>
            <a:bodyPr lIns="36000" tIns="36000" rIns="36000" bIns="36000" rtlCol="0" anchor="ctr"/>
            <a:lstStyle/>
            <a:p>
              <a:pPr marL="266700" indent="-1714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BC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열별로 상품 유형을 다르게 구분</a:t>
              </a:r>
              <a:endParaRPr kumimoji="1" lang="en-US" altLang="ko-KR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14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구분된 유형에 따라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을 다르게 적용하여 승인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청구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정산 등의 프로세스에서 다른 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Rule</a:t>
              </a:r>
              <a:r>
                <a:rPr kumimoji="1" lang="ko-KR" altLang="en-US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을 타도록 설계</a:t>
              </a: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`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3" name="직선 연결선 122"/>
            <p:cNvCxnSpPr>
              <a:stCxn id="132" idx="3"/>
              <a:endCxn id="121" idx="1"/>
            </p:cNvCxnSpPr>
            <p:nvPr/>
          </p:nvCxnSpPr>
          <p:spPr bwMode="auto">
            <a:xfrm>
              <a:off x="3584848" y="3465064"/>
              <a:ext cx="87334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sysDot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32" name="직사각형 131"/>
            <p:cNvSpPr/>
            <p:nvPr/>
          </p:nvSpPr>
          <p:spPr bwMode="auto">
            <a:xfrm>
              <a:off x="3277726" y="3325228"/>
              <a:ext cx="307122" cy="2796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4" name="직사각형 133"/>
            <p:cNvSpPr/>
            <p:nvPr/>
          </p:nvSpPr>
          <p:spPr bwMode="auto">
            <a:xfrm>
              <a:off x="4461748" y="4587845"/>
              <a:ext cx="4680000" cy="1080000"/>
            </a:xfrm>
            <a:prstGeom prst="rect">
              <a:avLst/>
            </a:prstGeom>
            <a:noFill/>
            <a:ln w="19050" cap="flat" cmpd="sng" algn="ctr">
              <a:solidFill>
                <a:schemeClr val="tx2"/>
              </a:solidFill>
              <a:prstDash val="sysDot"/>
              <a:round/>
              <a:headEnd type="none" w="sm" len="sm"/>
              <a:tailEnd type="none" w="med" len="med"/>
            </a:ln>
            <a:effectLst/>
          </p:spPr>
          <p:txBody>
            <a:bodyPr lIns="36000" tIns="36000" rIns="36000" bIns="36000" rtlCol="0" anchor="ctr"/>
            <a:lstStyle/>
            <a:p>
              <a:pPr marL="266700" indent="-1714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움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BC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열을 전체 통합 관리하도록 기준정보 체계 수립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266700" indent="-171450" latinLnBrk="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각 계열별 상품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및 서비스 속성 등록 시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 동일한 기준정보 체계 내에서 모든 상품</a:t>
              </a:r>
              <a:r>
                <a:rPr kumimoji="1" lang="en-US" altLang="ko-KR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2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를 관리</a:t>
              </a:r>
              <a:endParaRPr kumimoji="1" lang="en-US" altLang="ko-KR" sz="12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35" name="직선 연결선 134"/>
            <p:cNvCxnSpPr>
              <a:stCxn id="136" idx="3"/>
              <a:endCxn id="134" idx="1"/>
            </p:cNvCxnSpPr>
            <p:nvPr/>
          </p:nvCxnSpPr>
          <p:spPr bwMode="auto">
            <a:xfrm>
              <a:off x="3603938" y="5127845"/>
              <a:ext cx="85781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sysDot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136" name="직사각형 135"/>
            <p:cNvSpPr/>
            <p:nvPr/>
          </p:nvSpPr>
          <p:spPr bwMode="auto">
            <a:xfrm>
              <a:off x="3296816" y="4988009"/>
              <a:ext cx="307122" cy="2796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갈매기형 수장 139"/>
            <p:cNvSpPr/>
            <p:nvPr/>
          </p:nvSpPr>
          <p:spPr bwMode="auto">
            <a:xfrm>
              <a:off x="560512" y="1605526"/>
              <a:ext cx="1872000" cy="455442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en-US" altLang="ko-KR" sz="12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......</a:t>
              </a: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6" name="직사각형 175"/>
            <p:cNvSpPr/>
            <p:nvPr/>
          </p:nvSpPr>
          <p:spPr bwMode="auto">
            <a:xfrm>
              <a:off x="3318605" y="2389064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7" name="직사각형 176"/>
            <p:cNvSpPr/>
            <p:nvPr/>
          </p:nvSpPr>
          <p:spPr bwMode="auto">
            <a:xfrm>
              <a:off x="4965264" y="2389064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6698364" y="2389064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80" name="직선 화살표 연결선 179"/>
            <p:cNvCxnSpPr>
              <a:stCxn id="176" idx="0"/>
              <a:endCxn id="105" idx="2"/>
            </p:cNvCxnSpPr>
            <p:nvPr/>
          </p:nvCxnSpPr>
          <p:spPr bwMode="auto">
            <a:xfrm flipV="1">
              <a:off x="3530806" y="2052024"/>
              <a:ext cx="0" cy="33704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ysDash"/>
              <a:round/>
              <a:headEnd type="none" w="lg" len="med"/>
              <a:tailEnd type="triangle" w="med" len="med"/>
            </a:ln>
            <a:effectLst/>
          </p:spPr>
        </p:cxnSp>
        <p:cxnSp>
          <p:nvCxnSpPr>
            <p:cNvPr id="185" name="직선 화살표 연결선 184"/>
            <p:cNvCxnSpPr>
              <a:stCxn id="177" idx="0"/>
              <a:endCxn id="106" idx="2"/>
            </p:cNvCxnSpPr>
            <p:nvPr/>
          </p:nvCxnSpPr>
          <p:spPr bwMode="auto">
            <a:xfrm flipV="1">
              <a:off x="5177465" y="2052024"/>
              <a:ext cx="0" cy="33704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ysDash"/>
              <a:round/>
              <a:headEnd type="none" w="lg" len="med"/>
              <a:tailEnd type="triangle" w="med" len="med"/>
            </a:ln>
            <a:effectLst/>
          </p:spPr>
        </p:cxnSp>
        <p:cxnSp>
          <p:nvCxnSpPr>
            <p:cNvPr id="188" name="직선 화살표 연결선 187"/>
            <p:cNvCxnSpPr>
              <a:stCxn id="178" idx="0"/>
              <a:endCxn id="107" idx="2"/>
            </p:cNvCxnSpPr>
            <p:nvPr/>
          </p:nvCxnSpPr>
          <p:spPr bwMode="auto">
            <a:xfrm flipV="1">
              <a:off x="6910565" y="2052024"/>
              <a:ext cx="0" cy="33704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ysDash"/>
              <a:round/>
              <a:headEnd type="none" w="lg" len="med"/>
              <a:tailEnd type="triangle" w="med" len="med"/>
            </a:ln>
            <a:effectLst/>
          </p:spPr>
        </p:cxnSp>
        <p:sp>
          <p:nvSpPr>
            <p:cNvPr id="198" name="순서도: 다중 문서 197"/>
            <p:cNvSpPr/>
            <p:nvPr/>
          </p:nvSpPr>
          <p:spPr bwMode="auto">
            <a:xfrm>
              <a:off x="1012407" y="2559535"/>
              <a:ext cx="921741" cy="437417"/>
            </a:xfrm>
            <a:prstGeom prst="flowChartMultidocumen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en-US" altLang="ko-KR" sz="1200" b="0">
                  <a:solidFill>
                    <a:schemeClr val="tx1"/>
                  </a:solidFill>
                  <a:latin typeface="맑은 고딕"/>
                  <a:ea typeface="맑은 고딕"/>
                </a:rPr>
                <a:t>Rule (</a:t>
              </a:r>
              <a:r>
                <a:rPr lang="ko-KR" altLang="en-US" sz="1200" b="0" dirty="0">
                  <a:solidFill>
                    <a:schemeClr val="tx1"/>
                  </a:solidFill>
                  <a:latin typeface="맑은 고딕"/>
                  <a:ea typeface="맑은 고딕"/>
                </a:rPr>
                <a:t>채움</a:t>
              </a:r>
              <a:r>
                <a:rPr lang="en-US" altLang="ko-KR" sz="1200" b="0" dirty="0">
                  <a:solidFill>
                    <a:schemeClr val="tx1"/>
                  </a:solidFill>
                  <a:latin typeface="맑은 고딕"/>
                  <a:ea typeface="맑은 고딕"/>
                </a:rPr>
                <a:t>)</a:t>
              </a:r>
              <a:endParaRPr lang="ko-KR" altLang="en-US" sz="1200" b="0" dirty="0">
                <a:solidFill>
                  <a:schemeClr val="tx1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97" name="순서도: 다중 문서 196"/>
            <p:cNvSpPr/>
            <p:nvPr/>
          </p:nvSpPr>
          <p:spPr bwMode="auto">
            <a:xfrm>
              <a:off x="2306001" y="2559535"/>
              <a:ext cx="921741" cy="437417"/>
            </a:xfrm>
            <a:prstGeom prst="flowChartMultidocumen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en-US" altLang="ko-KR" sz="1200" b="0" dirty="0">
                  <a:solidFill>
                    <a:schemeClr val="tx1"/>
                  </a:solidFill>
                  <a:latin typeface="맑은 고딕"/>
                  <a:ea typeface="맑은 고딕"/>
                </a:rPr>
                <a:t>Rule (BC</a:t>
              </a:r>
              <a:r>
                <a:rPr lang="en-US" altLang="ko-KR" sz="1200" b="0" dirty="0" smtClean="0">
                  <a:solidFill>
                    <a:schemeClr val="tx1"/>
                  </a:solidFill>
                  <a:latin typeface="맑은 고딕"/>
                  <a:ea typeface="맑은 고딕"/>
                </a:rPr>
                <a:t>)</a:t>
              </a:r>
              <a:endParaRPr lang="ko-KR" altLang="en-US" sz="1200" b="0" dirty="0">
                <a:solidFill>
                  <a:schemeClr val="tx1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1518077" y="3821025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endParaRPr kumimoji="1" lang="ko-KR" altLang="en-US" sz="9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2363916" y="3821025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금융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1064568" y="4437112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개인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1497107" y="4437112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기업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1279726" y="4128431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</a:t>
              </a: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1720274" y="4128431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9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체크</a:t>
              </a:r>
            </a:p>
          </p:txBody>
        </p:sp>
        <p:sp>
          <p:nvSpPr>
            <p:cNvPr id="73" name="직사각형 72"/>
            <p:cNvSpPr/>
            <p:nvPr/>
          </p:nvSpPr>
          <p:spPr bwMode="auto">
            <a:xfrm>
              <a:off x="2152549" y="4128431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현금</a:t>
              </a:r>
              <a: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</a:p>
          </p:txBody>
        </p:sp>
        <p:sp>
          <p:nvSpPr>
            <p:cNvPr id="84" name="직사각형 83"/>
            <p:cNvSpPr/>
            <p:nvPr/>
          </p:nvSpPr>
          <p:spPr bwMode="auto">
            <a:xfrm>
              <a:off x="2584370" y="4128431"/>
              <a:ext cx="382379" cy="2160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8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론</a:t>
              </a:r>
            </a:p>
          </p:txBody>
        </p:sp>
        <p:cxnSp>
          <p:nvCxnSpPr>
            <p:cNvPr id="20" name="꺾인 연결선 19"/>
            <p:cNvCxnSpPr>
              <a:stCxn id="71" idx="0"/>
              <a:endCxn id="18" idx="2"/>
            </p:cNvCxnSpPr>
            <p:nvPr/>
          </p:nvCxnSpPr>
          <p:spPr bwMode="auto">
            <a:xfrm rot="5400000" flipH="1" flipV="1">
              <a:off x="1544400" y="3963565"/>
              <a:ext cx="91382" cy="238351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29" name="꺾인 연결선 28"/>
            <p:cNvCxnSpPr>
              <a:stCxn id="72" idx="0"/>
              <a:endCxn id="18" idx="2"/>
            </p:cNvCxnSpPr>
            <p:nvPr/>
          </p:nvCxnSpPr>
          <p:spPr bwMode="auto">
            <a:xfrm rot="16200000" flipV="1">
              <a:off x="1764675" y="3981641"/>
              <a:ext cx="91382" cy="202197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5" name="꺾인 연결선 84"/>
            <p:cNvCxnSpPr>
              <a:stCxn id="84" idx="0"/>
              <a:endCxn id="68" idx="2"/>
            </p:cNvCxnSpPr>
            <p:nvPr/>
          </p:nvCxnSpPr>
          <p:spPr bwMode="auto">
            <a:xfrm rot="16200000" flipV="1">
              <a:off x="2619642" y="3972513"/>
              <a:ext cx="91382" cy="220454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6" name="꺾인 연결선 85"/>
            <p:cNvCxnSpPr>
              <a:stCxn id="73" idx="0"/>
              <a:endCxn id="68" idx="2"/>
            </p:cNvCxnSpPr>
            <p:nvPr/>
          </p:nvCxnSpPr>
          <p:spPr bwMode="auto">
            <a:xfrm rot="5400000" flipH="1" flipV="1">
              <a:off x="2403731" y="3977057"/>
              <a:ext cx="91382" cy="21136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7" name="꺾인 연결선 86"/>
            <p:cNvCxnSpPr>
              <a:stCxn id="69" idx="0"/>
              <a:endCxn id="71" idx="2"/>
            </p:cNvCxnSpPr>
            <p:nvPr/>
          </p:nvCxnSpPr>
          <p:spPr bwMode="auto">
            <a:xfrm rot="5400000" flipH="1" flipV="1">
              <a:off x="1317009" y="4283205"/>
              <a:ext cx="92657" cy="215158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cxnSp>
          <p:nvCxnSpPr>
            <p:cNvPr id="88" name="꺾인 연결선 87"/>
            <p:cNvCxnSpPr>
              <a:stCxn id="70" idx="0"/>
              <a:endCxn id="71" idx="2"/>
            </p:cNvCxnSpPr>
            <p:nvPr/>
          </p:nvCxnSpPr>
          <p:spPr bwMode="auto">
            <a:xfrm rot="16200000" flipV="1">
              <a:off x="1533279" y="4282093"/>
              <a:ext cx="92657" cy="21738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med" len="med"/>
            </a:ln>
            <a:effectLst/>
          </p:spPr>
        </p:cxnSp>
        <p:sp>
          <p:nvSpPr>
            <p:cNvPr id="46" name="TextBox 45"/>
            <p:cNvSpPr txBox="1"/>
            <p:nvPr/>
          </p:nvSpPr>
          <p:spPr bwMode="auto">
            <a:xfrm>
              <a:off x="1958533" y="4437112"/>
              <a:ext cx="525588" cy="2112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>
              <a:spAutoFit/>
            </a:bodyPr>
            <a:lstStyle/>
            <a:p>
              <a:pPr algn="ctr" latinLnBrk="0">
                <a:spcBef>
                  <a:spcPct val="30000"/>
                </a:spcBef>
              </a:pPr>
              <a:r>
                <a:rPr lang="en-US" altLang="ko-KR" sz="900" b="0" dirty="0" smtClean="0">
                  <a:solidFill>
                    <a:srgbClr val="000000"/>
                  </a:solidFill>
                  <a:latin typeface="맑은 고딕"/>
                  <a:ea typeface="맑은 고딕"/>
                </a:rPr>
                <a:t>...</a:t>
              </a:r>
              <a:endParaRPr lang="ko-KR" altLang="en-US" sz="900" b="0" dirty="0" smtClean="0">
                <a:solidFill>
                  <a:srgbClr val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2853136" y="2256335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4527686" y="2256335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6202236" y="2256335"/>
              <a:ext cx="424401" cy="1591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4" name="직선 화살표 연결선 143"/>
            <p:cNvCxnSpPr>
              <a:stCxn id="139" idx="0"/>
              <a:endCxn id="32" idx="2"/>
            </p:cNvCxnSpPr>
            <p:nvPr/>
          </p:nvCxnSpPr>
          <p:spPr bwMode="auto">
            <a:xfrm flipH="1" flipV="1">
              <a:off x="3062508" y="2060968"/>
              <a:ext cx="2829" cy="195367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</p:cxnSp>
        <p:cxnSp>
          <p:nvCxnSpPr>
            <p:cNvPr id="145" name="직선 화살표 연결선 144"/>
            <p:cNvCxnSpPr>
              <a:stCxn id="141" idx="0"/>
              <a:endCxn id="14" idx="2"/>
            </p:cNvCxnSpPr>
            <p:nvPr/>
          </p:nvCxnSpPr>
          <p:spPr bwMode="auto">
            <a:xfrm flipH="1" flipV="1">
              <a:off x="4737783" y="2060968"/>
              <a:ext cx="2104" cy="195367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</p:cxnSp>
        <p:cxnSp>
          <p:nvCxnSpPr>
            <p:cNvPr id="148" name="직선 화살표 연결선 147"/>
            <p:cNvCxnSpPr>
              <a:stCxn id="143" idx="0"/>
              <a:endCxn id="30" idx="2"/>
            </p:cNvCxnSpPr>
            <p:nvPr/>
          </p:nvCxnSpPr>
          <p:spPr bwMode="auto">
            <a:xfrm flipH="1" flipV="1">
              <a:off x="6413058" y="2060968"/>
              <a:ext cx="1379" cy="195367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</p:cxnSp>
        <p:grpSp>
          <p:nvGrpSpPr>
            <p:cNvPr id="173" name="그룹 172"/>
            <p:cNvGrpSpPr/>
            <p:nvPr/>
          </p:nvGrpSpPr>
          <p:grpSpPr>
            <a:xfrm>
              <a:off x="1473313" y="3487365"/>
              <a:ext cx="1283444" cy="340011"/>
              <a:chOff x="1473313" y="3487365"/>
              <a:chExt cx="1283444" cy="340011"/>
            </a:xfrm>
          </p:grpSpPr>
          <p:cxnSp>
            <p:nvCxnSpPr>
              <p:cNvPr id="48" name="꺾인 연결선 47"/>
              <p:cNvCxnSpPr>
                <a:stCxn id="18" idx="0"/>
                <a:endCxn id="68" idx="0"/>
              </p:cNvCxnSpPr>
              <p:nvPr/>
            </p:nvCxnSpPr>
            <p:spPr bwMode="auto">
              <a:xfrm rot="5400000" flipH="1" flipV="1">
                <a:off x="2132186" y="3398106"/>
                <a:ext cx="12700" cy="845839"/>
              </a:xfrm>
              <a:prstGeom prst="bentConnector3">
                <a:avLst>
                  <a:gd name="adj1" fmla="val 875213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50" name="꺾인 연결선 49"/>
              <p:cNvCxnSpPr>
                <a:stCxn id="22" idx="2"/>
                <a:endCxn id="6" idx="2"/>
              </p:cNvCxnSpPr>
              <p:nvPr/>
            </p:nvCxnSpPr>
            <p:spPr bwMode="auto">
              <a:xfrm rot="5400000">
                <a:off x="2113475" y="2847203"/>
                <a:ext cx="3119" cy="1283444"/>
              </a:xfrm>
              <a:prstGeom prst="bentConnector3">
                <a:avLst>
                  <a:gd name="adj1" fmla="val 3394806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  <p:cxnSp>
            <p:nvCxnSpPr>
              <p:cNvPr id="170" name="직선 연결선 169"/>
              <p:cNvCxnSpPr/>
              <p:nvPr/>
            </p:nvCxnSpPr>
            <p:spPr bwMode="auto">
              <a:xfrm>
                <a:off x="2139919" y="3589683"/>
                <a:ext cx="0" cy="12600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med" len="med"/>
              </a:ln>
              <a:effectLst/>
            </p:spPr>
          </p:cxnSp>
        </p:grpSp>
        <p:sp>
          <p:nvSpPr>
            <p:cNvPr id="62" name="이등변 삼각형 61"/>
            <p:cNvSpPr/>
            <p:nvPr/>
          </p:nvSpPr>
          <p:spPr bwMode="auto">
            <a:xfrm rot="10800000">
              <a:off x="1889448" y="4685083"/>
              <a:ext cx="504056" cy="256085"/>
            </a:xfrm>
            <a:prstGeom prst="triangle">
              <a:avLst>
                <a:gd name="adj" fmla="val 51664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endParaRPr kumimoji="1" lang="ko-KR" altLang="en-US" sz="12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4" name="Group 32"/>
          <p:cNvGrpSpPr/>
          <p:nvPr/>
        </p:nvGrpSpPr>
        <p:grpSpPr>
          <a:xfrm>
            <a:off x="291000" y="1412776"/>
            <a:ext cx="9342521" cy="380877"/>
            <a:chOff x="380492" y="1590700"/>
            <a:chExt cx="2200362" cy="380877"/>
          </a:xfrm>
        </p:grpSpPr>
        <p:sp>
          <p:nvSpPr>
            <p:cNvPr id="109" name="TextBox 108"/>
            <p:cNvSpPr txBox="1"/>
            <p:nvPr/>
          </p:nvSpPr>
          <p:spPr>
            <a:xfrm>
              <a:off x="380492" y="1590700"/>
              <a:ext cx="2196000" cy="360000"/>
            </a:xfrm>
            <a:prstGeom prst="rect">
              <a:avLst/>
            </a:prstGeom>
            <a:noFill/>
          </p:spPr>
          <p:txBody>
            <a:bodyPr vert="horz" wrap="square" lIns="72000" tIns="36000" rIns="0" bIns="36000" rtlCol="0" anchor="ctr" anchorCtr="0">
              <a:noAutofit/>
            </a:bodyPr>
            <a:lstStyle/>
            <a:p>
              <a:pPr defTabSz="957796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채움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BC 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열 상품 유형 구분 관리 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案</a:t>
              </a:r>
              <a:r>
                <a:rPr lang="en-US" altLang="ko-KR" sz="14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cxnSp>
          <p:nvCxnSpPr>
            <p:cNvPr id="110" name="Straight Connector 55"/>
            <p:cNvCxnSpPr/>
            <p:nvPr/>
          </p:nvCxnSpPr>
          <p:spPr>
            <a:xfrm>
              <a:off x="384854" y="1971577"/>
              <a:ext cx="2196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54"/>
          <p:cNvGrpSpPr/>
          <p:nvPr/>
        </p:nvGrpSpPr>
        <p:grpSpPr>
          <a:xfrm>
            <a:off x="8409384" y="1454587"/>
            <a:ext cx="1109768" cy="246221"/>
            <a:chOff x="8019945" y="1816742"/>
            <a:chExt cx="1109768" cy="246221"/>
          </a:xfrm>
        </p:grpSpPr>
        <p:sp>
          <p:nvSpPr>
            <p:cNvPr id="112" name="TextBox 111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3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15" name="그룹 11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11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118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119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120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122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124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125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6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127" name="그룹 126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128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129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565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30"/>
          <p:cNvSpPr/>
          <p:nvPr/>
        </p:nvSpPr>
        <p:spPr bwMode="gray">
          <a:xfrm>
            <a:off x="326408" y="3229910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Rectangle 30"/>
          <p:cNvSpPr/>
          <p:nvPr/>
        </p:nvSpPr>
        <p:spPr bwMode="gray">
          <a:xfrm>
            <a:off x="5197540" y="3249103"/>
            <a:ext cx="4410000" cy="30794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endParaRPr lang="ko-KR" altLang="en-US" sz="1400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    상품 </a:t>
            </a:r>
            <a:r>
              <a:rPr lang="ko-KR" altLang="en-US" dirty="0"/>
              <a:t>개발 운영 관리 </a:t>
            </a:r>
            <a:r>
              <a:rPr lang="ko-KR" altLang="en-US" dirty="0" smtClean="0"/>
              <a:t>고도화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과제 개요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86043" y="663574"/>
            <a:ext cx="8352995" cy="605126"/>
          </a:xfrm>
        </p:spPr>
        <p:txBody>
          <a:bodyPr/>
          <a:lstStyle/>
          <a:p>
            <a:r>
              <a:rPr lang="ko-KR" altLang="en-US" dirty="0" smtClean="0"/>
              <a:t>상품 개발 이후의 운영 관리 체계를 고도화 하기 위해 상품 정보</a:t>
            </a:r>
            <a:r>
              <a:rPr lang="en-US" altLang="ko-KR" dirty="0" smtClean="0"/>
              <a:t>/</a:t>
            </a:r>
            <a:r>
              <a:rPr lang="ko-KR" altLang="en-US" dirty="0" smtClean="0"/>
              <a:t>채널</a:t>
            </a:r>
            <a:r>
              <a:rPr lang="en-US" altLang="ko-KR" dirty="0" smtClean="0"/>
              <a:t> </a:t>
            </a:r>
            <a:r>
              <a:rPr lang="ko-KR" altLang="en-US" dirty="0" smtClean="0"/>
              <a:t>연계성을 강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상품</a:t>
            </a:r>
            <a:r>
              <a:rPr lang="en-US" altLang="ko-KR" dirty="0" smtClean="0"/>
              <a:t> </a:t>
            </a:r>
            <a:r>
              <a:rPr lang="ko-KR" altLang="en-US" dirty="0" smtClean="0"/>
              <a:t>성과관리 체계와</a:t>
            </a:r>
            <a:r>
              <a:rPr lang="en-US" altLang="ko-KR" dirty="0" smtClean="0"/>
              <a:t> </a:t>
            </a:r>
            <a:r>
              <a:rPr lang="ko-KR" altLang="en-US" dirty="0" smtClean="0"/>
              <a:t>사후 모니터링 및 의사결정체계를 확립해야 함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 bwMode="auto">
          <a:xfrm>
            <a:off x="392844" y="163571"/>
            <a:ext cx="245912" cy="245912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362" eaLnBrk="0" fontAlgn="auto" latinLnBrk="0">
              <a:spcBef>
                <a:spcPct val="20000"/>
              </a:spcBef>
              <a:spcAft>
                <a:spcPts val="0"/>
              </a:spcAft>
              <a:buClr>
                <a:srgbClr val="1D1F6F"/>
              </a:buClr>
              <a:defRPr/>
            </a:pPr>
            <a:r>
              <a:rPr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" name="Group 154"/>
          <p:cNvGrpSpPr/>
          <p:nvPr/>
        </p:nvGrpSpPr>
        <p:grpSpPr>
          <a:xfrm>
            <a:off x="8409384" y="1412776"/>
            <a:ext cx="1109768" cy="246221"/>
            <a:chOff x="8019945" y="1816742"/>
            <a:chExt cx="1109768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8019945" y="1816742"/>
              <a:ext cx="110976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88900" marR="0" lvl="0" indent="-88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kumimoji="0" lang="ko-KR" altLang="en-US" sz="100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" name="직선 연결선 215"/>
            <p:cNvCxnSpPr/>
            <p:nvPr/>
          </p:nvCxnSpPr>
          <p:spPr bwMode="auto">
            <a:xfrm>
              <a:off x="8061831" y="1835512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직선 연결선 213"/>
            <p:cNvCxnSpPr/>
            <p:nvPr/>
          </p:nvCxnSpPr>
          <p:spPr bwMode="auto">
            <a:xfrm>
              <a:off x="8061831" y="2043020"/>
              <a:ext cx="1032513" cy="1173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6408" y="1679883"/>
            <a:ext cx="918100" cy="1044251"/>
          </a:xfrm>
          <a:prstGeom prst="rect">
            <a:avLst/>
          </a:prstGeom>
          <a:solidFill>
            <a:schemeClr val="accent5">
              <a:lumMod val="2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프로세스 개선 포인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244508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 서비스 정보 채널간 연계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</a:t>
            </a:r>
            <a:endParaRPr kumimoji="0" lang="en-US" altLang="ko-KR" sz="1300" b="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 성과관리 체계 정비 </a:t>
            </a: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후 수시 모니터링 프로세스 및 의사결정체계 확립 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5109992" y="1679883"/>
            <a:ext cx="918100" cy="1044251"/>
          </a:xfrm>
          <a:prstGeom prst="rect">
            <a:avLst/>
          </a:prstGeom>
          <a:solidFill>
            <a:srgbClr val="002060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0800" tIns="72000" rIns="10800" bIns="7200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lvl="0" algn="ctr" latinLnBrk="0">
              <a:defRPr/>
            </a:pPr>
            <a:r>
              <a:rPr kumimoji="0" lang="ko-KR" altLang="en-US" sz="13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주요 고려사항</a:t>
            </a:r>
          </a:p>
        </p:txBody>
      </p:sp>
      <p:sp>
        <p:nvSpPr>
          <p:cNvPr id="17" name="Rectangle 30"/>
          <p:cNvSpPr>
            <a:spLocks noChangeArrowheads="1"/>
          </p:cNvSpPr>
          <p:nvPr/>
        </p:nvSpPr>
        <p:spPr bwMode="gray">
          <a:xfrm>
            <a:off x="6028091" y="1679883"/>
            <a:ext cx="3600818" cy="1044251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rIns="0" anchor="ctr"/>
          <a:lstStyle>
            <a:lvl1pPr marL="92075" indent="-92075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1pPr>
            <a:lvl2pPr marL="742950" indent="-28575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2pPr>
            <a:lvl3pPr marL="11430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3pPr>
            <a:lvl4pPr marL="16002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4pPr>
            <a:lvl5pPr marL="2057400" indent="-228600" defTabSz="196850" eaLnBrk="0" hangingPunct="0"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5pPr>
            <a:lvl6pPr marL="25146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6pPr>
            <a:lvl7pPr marL="29718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7pPr>
            <a:lvl8pPr marL="34290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8pPr>
            <a:lvl9pPr marL="3886200" indent="-228600" algn="ctr" defTabSz="196850" eaLnBrk="0" fontAlgn="base" latinLnBrk="1" hangingPunct="0">
              <a:spcBef>
                <a:spcPct val="50000"/>
              </a:spcBef>
              <a:spcAft>
                <a:spcPct val="30000"/>
              </a:spcAft>
              <a:defRPr kumimoji="1" sz="1400" b="1">
                <a:solidFill>
                  <a:schemeClr val="tx1"/>
                </a:solidFill>
                <a:latin typeface="Optima" pitchFamily="2" charset="2"/>
                <a:ea typeface="가는각진제목체" pitchFamily="18" charset="-127"/>
              </a:defRPr>
            </a:lvl9pPr>
          </a:lstStyle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채널 접점에서의 상품정보 일관성 확보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LC 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관점의 상품 운영관리 체계 고도화 필요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marL="182563" lvl="0" indent="-182563" eaLnBrk="1" fontAlgn="auto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지속적인 상품 경쟁력 확보</a:t>
            </a:r>
            <a:r>
              <a:rPr kumimoji="0" lang="en-US" altLang="ko-KR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1300" b="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모니터링</a:t>
            </a:r>
            <a:endParaRPr kumimoji="0" lang="en-US" altLang="ko-KR" sz="1300" b="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8" name="Straight Connector 31"/>
          <p:cNvCxnSpPr/>
          <p:nvPr/>
        </p:nvCxnSpPr>
        <p:spPr>
          <a:xfrm>
            <a:off x="326408" y="2833941"/>
            <a:ext cx="9302501" cy="1051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제목 1"/>
          <p:cNvSpPr txBox="1">
            <a:spLocks/>
          </p:cNvSpPr>
          <p:nvPr/>
        </p:nvSpPr>
        <p:spPr bwMode="auto">
          <a:xfrm>
            <a:off x="6465169" y="20043"/>
            <a:ext cx="3168352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III. </a:t>
            </a:r>
            <a:r>
              <a:rPr lang="ko-KR" altLang="en-US" sz="1200" kern="0" dirty="0">
                <a:solidFill>
                  <a:srgbClr val="FFFFFF"/>
                </a:solidFill>
              </a:rPr>
              <a:t>프로젝트 수행 방법론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2. </a:t>
            </a:r>
            <a:r>
              <a:rPr lang="ko-KR" altLang="en-US" sz="1200" kern="0" dirty="0">
                <a:solidFill>
                  <a:srgbClr val="FFFFFF"/>
                </a:solidFill>
              </a:rPr>
              <a:t>예상 과제 및 설계 방안</a:t>
            </a:r>
            <a:endParaRPr lang="en-US" altLang="ko-KR" sz="1200" kern="0" dirty="0">
              <a:solidFill>
                <a:srgbClr val="FFFFFF"/>
              </a:solidFill>
            </a:endParaRPr>
          </a:p>
          <a:p>
            <a:pPr algn="r" latinLnBrk="0"/>
            <a:r>
              <a:rPr lang="en-US" altLang="ko-KR" sz="1200" kern="0" dirty="0">
                <a:solidFill>
                  <a:srgbClr val="FFFFFF"/>
                </a:solidFill>
              </a:rPr>
              <a:t>1. </a:t>
            </a:r>
            <a:r>
              <a:rPr lang="ko-KR" altLang="en-US" sz="1200" kern="0" dirty="0">
                <a:solidFill>
                  <a:srgbClr val="FFFFFF"/>
                </a:solidFill>
              </a:rPr>
              <a:t>상품</a:t>
            </a:r>
            <a:endParaRPr lang="en-US" altLang="ko-KR" sz="1200" kern="0" dirty="0">
              <a:solidFill>
                <a:srgbClr val="FFFFFF"/>
              </a:solidFill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59897" y="3448050"/>
            <a:ext cx="921768" cy="8413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서비스 정보 채널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1352600" y="3448050"/>
            <a:ext cx="3312368" cy="84132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정보 관리가 일원화되어 있지 않음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 특화 공공 카드 </a:t>
            </a:r>
            <a:r>
              <a:rPr kumimoji="1" lang="ko-KR" altLang="en-US" sz="105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업물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관리 미흡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신상품 출시 후 프로모션 활동 미흡</a:t>
            </a:r>
            <a:endParaRPr kumimoji="1" lang="en-US" altLang="ko-KR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가치 </a:t>
            </a:r>
            <a:r>
              <a:rPr kumimoji="1" lang="ko-KR" altLang="en-US" sz="105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달력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낮음</a:t>
            </a: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359897" y="4437112"/>
            <a:ext cx="921768" cy="8542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상품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성과관리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체계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1352600" y="4437112"/>
            <a:ext cx="3312368" cy="85421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성과분석이 어렵고 분석결과 신뢰도 낮음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업금융상품 손익산출 기능 미흡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무조건에 맞는 유연한 데이터 산출 어려움 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상품 조기경보체계 미흡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313040" y="3448050"/>
            <a:ext cx="4158129" cy="2841013"/>
            <a:chOff x="5143481" y="3448050"/>
            <a:chExt cx="4158129" cy="2841013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6067028" y="3448050"/>
              <a:ext cx="3234582" cy="841325"/>
            </a:xfrm>
            <a:prstGeom prst="roundRect">
              <a:avLst>
                <a:gd name="adj" fmla="val 0"/>
              </a:avLst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정보 </a:t>
              </a:r>
              <a:r>
                <a:rPr kumimoji="1" lang="ko-KR" altLang="en-US" sz="1100" b="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컨텐츠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관리로 커뮤니케이션 일관성 제고</a:t>
              </a:r>
              <a:endParaRPr kumimoji="1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정보의 생성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공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활용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모니터링 및 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Feed Back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의 </a:t>
              </a:r>
              <a:r>
                <a:rPr kumimoji="1" lang="ko-KR" altLang="en-US" sz="1100" b="0" kern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순환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체계 구축</a:t>
              </a:r>
            </a:p>
          </p:txBody>
        </p:sp>
        <p:sp>
          <p:nvSpPr>
            <p:cNvPr id="32" name="모서리가 둥근 직사각형 31"/>
            <p:cNvSpPr/>
            <p:nvPr/>
          </p:nvSpPr>
          <p:spPr>
            <a:xfrm>
              <a:off x="6067028" y="4437113"/>
              <a:ext cx="3234582" cy="854214"/>
            </a:xfrm>
            <a:prstGeom prst="roundRect">
              <a:avLst>
                <a:gd name="adj" fmla="val 0"/>
              </a:avLst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LC (Product Life Cycle)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점의 유연한 관리 체계</a:t>
              </a:r>
              <a:endParaRPr kumimoji="1"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상품 조기경보체계 구축 및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존상품 유지</a:t>
              </a:r>
              <a:r>
                <a:rPr kumimoji="1" lang="en-US" altLang="ko-KR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운영 방안 구체화</a:t>
              </a:r>
              <a:endParaRPr kumimoji="1"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5153424" y="3448050"/>
              <a:ext cx="851121" cy="841325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정보채널 연계 강화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5143481" y="4437113"/>
              <a:ext cx="851121" cy="854215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상품 성과관리 체계 정비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1" name="모서리가 둥근 직사각형 40"/>
            <p:cNvSpPr/>
            <p:nvPr/>
          </p:nvSpPr>
          <p:spPr>
            <a:xfrm>
              <a:off x="6067028" y="5434848"/>
              <a:ext cx="3234582" cy="854214"/>
            </a:xfrm>
            <a:prstGeom prst="roundRect">
              <a:avLst>
                <a:gd name="adj" fmla="val 0"/>
              </a:avLst>
            </a:prstGeom>
            <a:noFill/>
            <a:ln w="9525">
              <a:solidFill>
                <a:srgbClr val="000000"/>
              </a:solidFill>
            </a:ln>
          </p:spPr>
          <p:txBody>
            <a:bodyPr vert="horz" wrap="square" lIns="72000" tIns="36000" rIns="36000" bIns="36000" rtlCol="0" anchor="ctr">
              <a:noAutofit/>
            </a:bodyPr>
            <a:lstStyle/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사 서비스 관리기준 및 모니터링 체계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수립</a:t>
              </a:r>
              <a:endParaRPr kumimoji="1" lang="en-US" altLang="ko-KR" sz="110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endParaRPr kumimoji="1"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90488" indent="-90488" eaLnBrk="0" fontAlgn="auto" latinLnBrk="0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품</a:t>
              </a:r>
              <a:r>
                <a:rPr kumimoji="1" lang="en-US" altLang="ko-KR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1" lang="ko-KR" altLang="en-US" sz="1100" b="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비스 모니터링 </a:t>
              </a:r>
              <a:r>
                <a:rPr kumimoji="1" lang="ko-KR" altLang="en-US" sz="1100" b="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역 확대</a:t>
              </a:r>
              <a:endParaRPr kumimoji="1" lang="en-US" altLang="ko-KR" sz="1100" b="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 bwMode="auto">
            <a:xfrm>
              <a:off x="5143481" y="5434848"/>
              <a:ext cx="851121" cy="854215"/>
            </a:xfrm>
            <a:prstGeom prst="rect">
              <a:avLst/>
            </a:prstGeom>
            <a:solidFill>
              <a:srgbClr val="D6EBF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lang="ko-KR" altLang="en-US" sz="12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모니터링 및 의사결정 체계 확립</a:t>
              </a:r>
              <a:endPara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43" name="직사각형 42"/>
          <p:cNvSpPr/>
          <p:nvPr/>
        </p:nvSpPr>
        <p:spPr bwMode="auto">
          <a:xfrm>
            <a:off x="359897" y="5434847"/>
            <a:ext cx="921768" cy="8542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후 모니터링 프로세스 및 의사결정체계</a:t>
            </a:r>
            <a:endParaRPr lang="ko-KR" altLang="en-US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1352600" y="5434847"/>
            <a:ext cx="3312368" cy="85421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</a:ln>
        </p:spPr>
        <p:txBody>
          <a:bodyPr vert="horz" wrap="square" lIns="72000" tIns="36000" rIns="36000" bIns="36000" rtlCol="0" anchor="ctr">
            <a:noAutofit/>
          </a:bodyPr>
          <a:lstStyle/>
          <a:p>
            <a:pPr marL="90488" indent="-90488" eaLnBrk="0" fontAlgn="auto" latinLnBrk="0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1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상품 위주의 모니터링 및 의사결정체계 </a:t>
            </a:r>
            <a:r>
              <a:rPr kumimoji="1" lang="ko-KR" altLang="en-US" sz="11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확립</a:t>
            </a:r>
            <a:endParaRPr kumimoji="1" lang="en-US" altLang="ko-KR" sz="11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출시 사후 모니터링 프로세스 미비</a:t>
            </a:r>
            <a:endParaRPr kumimoji="1" lang="en-US" altLang="ko-KR" sz="1050" b="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0975" lvl="1" indent="-92075" eaLnBrk="0" fontAlgn="auto" latinLnBrk="0" hangingPunct="0">
              <a:spcBef>
                <a:spcPts val="0"/>
              </a:spcBef>
              <a:spcAft>
                <a:spcPts val="0"/>
              </a:spcAft>
              <a:buFont typeface="맑은 고딕" panose="020B0503020000020004" pitchFamily="50" charset="-127"/>
              <a:buChar char="-"/>
              <a:defRPr/>
            </a:pPr>
            <a:r>
              <a:rPr kumimoji="1" lang="en-US" altLang="ko-KR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enewal/Drop </a:t>
            </a:r>
            <a:r>
              <a:rPr kumimoji="1" lang="ko-KR" altLang="en-US" sz="1050" b="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사결정 체계 </a:t>
            </a:r>
            <a:r>
              <a:rPr kumimoji="1" lang="ko-KR" altLang="en-US" sz="1050" b="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확립</a:t>
            </a:r>
            <a:endParaRPr kumimoji="1" lang="en-US" altLang="ko-KR" sz="1050" b="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Rectangle 30"/>
          <p:cNvSpPr/>
          <p:nvPr/>
        </p:nvSpPr>
        <p:spPr bwMode="gray">
          <a:xfrm>
            <a:off x="5197540" y="2928152"/>
            <a:ext cx="4410000" cy="32512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개선 방향</a:t>
            </a:r>
          </a:p>
        </p:txBody>
      </p:sp>
      <p:sp>
        <p:nvSpPr>
          <p:cNvPr id="59" name="Rectangle 30"/>
          <p:cNvSpPr/>
          <p:nvPr/>
        </p:nvSpPr>
        <p:spPr bwMode="gray">
          <a:xfrm>
            <a:off x="326408" y="2928153"/>
            <a:ext cx="4410000" cy="30175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lIns="18000" rIns="18000" anchor="ctr"/>
          <a:lstStyle/>
          <a:p>
            <a:pPr algn="ctr" eaLnBrk="0" hangingPunct="0"/>
            <a:r>
              <a:rPr lang="ko-KR" altLang="en-US" sz="14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현행 문제점</a:t>
            </a:r>
          </a:p>
        </p:txBody>
      </p:sp>
      <p:sp>
        <p:nvSpPr>
          <p:cNvPr id="60" name="이등변 삼각형 59"/>
          <p:cNvSpPr/>
          <p:nvPr/>
        </p:nvSpPr>
        <p:spPr bwMode="auto">
          <a:xfrm rot="5400000">
            <a:off x="4197468" y="4443257"/>
            <a:ext cx="1665434" cy="212984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  <a:buClr>
                <a:schemeClr val="bg2"/>
              </a:buClr>
            </a:pPr>
            <a:endParaRPr kumimoji="1" lang="ko-KR" altLang="en-US" sz="12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5" name="그룹 44"/>
          <p:cNvGrpSpPr/>
          <p:nvPr/>
        </p:nvGrpSpPr>
        <p:grpSpPr>
          <a:xfrm>
            <a:off x="8639038" y="683315"/>
            <a:ext cx="972341" cy="578631"/>
            <a:chOff x="8639038" y="683315"/>
            <a:chExt cx="972341" cy="578631"/>
          </a:xfrm>
        </p:grpSpPr>
        <p:sp>
          <p:nvSpPr>
            <p:cNvPr id="46" name="직사각형 6"/>
            <p:cNvSpPr/>
            <p:nvPr/>
          </p:nvSpPr>
          <p:spPr bwMode="auto">
            <a:xfrm>
              <a:off x="8639038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rgbClr val="002060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dirty="0">
                  <a:latin typeface="맑은 고딕" pitchFamily="50" charset="-127"/>
                  <a:ea typeface="맑은 고딕" pitchFamily="50" charset="-127"/>
                </a:rPr>
                <a:t>상품</a:t>
              </a:r>
            </a:p>
          </p:txBody>
        </p:sp>
        <p:sp>
          <p:nvSpPr>
            <p:cNvPr id="47" name="직사각형 7"/>
            <p:cNvSpPr/>
            <p:nvPr/>
          </p:nvSpPr>
          <p:spPr bwMode="auto">
            <a:xfrm>
              <a:off x="8761431" y="683315"/>
              <a:ext cx="115593" cy="468000"/>
            </a:xfrm>
            <a:prstGeom prst="homePlate">
              <a:avLst>
                <a:gd name="adj" fmla="val 1200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</a:p>
          </p:txBody>
        </p:sp>
        <p:sp>
          <p:nvSpPr>
            <p:cNvPr id="48" name="직사각형 8"/>
            <p:cNvSpPr/>
            <p:nvPr/>
          </p:nvSpPr>
          <p:spPr bwMode="auto">
            <a:xfrm>
              <a:off x="8883823" y="683315"/>
              <a:ext cx="115593" cy="468000"/>
            </a:xfrm>
            <a:prstGeom prst="homePlate">
              <a:avLst>
                <a:gd name="adj" fmla="val 12699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마케팅</a:t>
              </a:r>
            </a:p>
          </p:txBody>
        </p:sp>
        <p:sp>
          <p:nvSpPr>
            <p:cNvPr id="49" name="직사각형 9"/>
            <p:cNvSpPr/>
            <p:nvPr/>
          </p:nvSpPr>
          <p:spPr bwMode="auto">
            <a:xfrm>
              <a:off x="9006216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1" lang="en-US" altLang="ko-KR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프로세싱</a:t>
              </a:r>
            </a:p>
          </p:txBody>
        </p:sp>
        <p:sp>
          <p:nvSpPr>
            <p:cNvPr id="50" name="직사각형 10"/>
            <p:cNvSpPr/>
            <p:nvPr/>
          </p:nvSpPr>
          <p:spPr bwMode="auto">
            <a:xfrm>
              <a:off x="9128608" y="683315"/>
              <a:ext cx="115593" cy="468000"/>
            </a:xfrm>
            <a:prstGeom prst="homePlate">
              <a:avLst>
                <a:gd name="adj" fmla="val 14772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신용관리</a:t>
              </a:r>
            </a:p>
          </p:txBody>
        </p:sp>
        <p:sp>
          <p:nvSpPr>
            <p:cNvPr id="51" name="직사각형 11"/>
            <p:cNvSpPr/>
            <p:nvPr/>
          </p:nvSpPr>
          <p:spPr bwMode="auto">
            <a:xfrm>
              <a:off x="9251001" y="683315"/>
              <a:ext cx="115593" cy="468000"/>
            </a:xfrm>
            <a:prstGeom prst="homePlate">
              <a:avLst>
                <a:gd name="adj" fmla="val 15463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채권관리</a:t>
              </a:r>
            </a:p>
          </p:txBody>
        </p:sp>
        <p:sp>
          <p:nvSpPr>
            <p:cNvPr id="52" name="직사각형 12"/>
            <p:cNvSpPr/>
            <p:nvPr/>
          </p:nvSpPr>
          <p:spPr bwMode="auto">
            <a:xfrm>
              <a:off x="9373393" y="683315"/>
              <a:ext cx="115593" cy="468000"/>
            </a:xfrm>
            <a:prstGeom prst="homePlate">
              <a:avLst>
                <a:gd name="adj" fmla="val 17535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400" b="0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객서비스관리</a:t>
              </a:r>
              <a:endParaRPr kumimoji="1" lang="ko-KR" altLang="en-US" sz="4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직사각형 13"/>
            <p:cNvSpPr/>
            <p:nvPr/>
          </p:nvSpPr>
          <p:spPr bwMode="auto">
            <a:xfrm>
              <a:off x="9495786" y="683315"/>
              <a:ext cx="115593" cy="468000"/>
            </a:xfrm>
            <a:prstGeom prst="homePlate">
              <a:avLst>
                <a:gd name="adj" fmla="val 20988"/>
              </a:avLst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 rtlCol="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sz="1600" b="1" kern="1200">
                  <a:solidFill>
                    <a:schemeClr val="bg1"/>
                  </a:solidFill>
                  <a:latin typeface="Optima" pitchFamily="2" charset="2"/>
                  <a:ea typeface="굴림" charset="-127"/>
                  <a:cs typeface="+mn-cs"/>
                </a:defRPr>
              </a:lvl9pPr>
            </a:lstStyle>
            <a:p>
              <a:pPr algn="ctr" latinLnBrk="0">
                <a:spcBef>
                  <a:spcPct val="50000"/>
                </a:spcBef>
                <a:buClr>
                  <a:schemeClr val="bg2"/>
                </a:buClr>
              </a:pPr>
              <a:r>
                <a:rPr kumimoji="1" lang="ko-KR" altLang="en-US" sz="500" b="0" dirty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경영관리</a:t>
              </a:r>
            </a:p>
          </p:txBody>
        </p:sp>
        <p:grpSp>
          <p:nvGrpSpPr>
            <p:cNvPr id="72" name="그룹 71"/>
            <p:cNvGrpSpPr/>
            <p:nvPr/>
          </p:nvGrpSpPr>
          <p:grpSpPr>
            <a:xfrm>
              <a:off x="8639038" y="1169918"/>
              <a:ext cx="972341" cy="92028"/>
              <a:chOff x="8639038" y="1169918"/>
              <a:chExt cx="1181163" cy="92028"/>
            </a:xfrm>
          </p:grpSpPr>
          <p:sp>
            <p:nvSpPr>
              <p:cNvPr id="73" name="직사각형 6"/>
              <p:cNvSpPr/>
              <p:nvPr/>
            </p:nvSpPr>
            <p:spPr bwMode="auto">
              <a:xfrm>
                <a:off x="8639038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정보계</a:t>
                </a:r>
              </a:p>
            </p:txBody>
          </p:sp>
          <p:sp>
            <p:nvSpPr>
              <p:cNvPr id="74" name="직사각형 6"/>
              <p:cNvSpPr/>
              <p:nvPr/>
            </p:nvSpPr>
            <p:spPr bwMode="auto">
              <a:xfrm>
                <a:off x="9244201" y="1169918"/>
                <a:ext cx="576000" cy="92028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36000" tIns="36000" rIns="36000" bIns="36000" rtlCol="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sz="1600" b="1" kern="1200">
                    <a:solidFill>
                      <a:schemeClr val="bg1"/>
                    </a:solidFill>
                    <a:latin typeface="Optima" pitchFamily="2" charset="2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spcBef>
                    <a:spcPct val="50000"/>
                  </a:spcBef>
                  <a:buClr>
                    <a:schemeClr val="bg2"/>
                  </a:buClr>
                </a:pPr>
                <a:r>
                  <a:rPr kumimoji="1" lang="en-US" altLang="ko-KR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IT</a:t>
                </a:r>
                <a:r>
                  <a:rPr kumimoji="1" lang="ko-KR" altLang="en-US" sz="500" b="0" dirty="0"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rPr>
                  <a:t>아키텍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140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9p2MFQnku1NZ.63Lnc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8zdyv5P0KtgB30QfIU.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6E.CPWPk.0.9MtAUdq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EaBUcxJEKLe_P8tu1P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gHGrBPmU.QfZXqSI.W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LaUL9.WUi1o7jRgPqRe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kTn1lgUusi1RMPJai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kTn1lgUusi1RMPJai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Wc3uDzFEiepmtahCfrC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Wc3uDzFEiepmtahCfr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PnFja9ECfQXOyo1hmo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1HQpYHUC7I1RxiWOAI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JIhezh0ueI00H_Bu4q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iOvcZow0.nD2eYOSlOL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elf2CdEmvM4AWW4c6Y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9mDTB.4kS4BC6IgvaP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g1U4JiE0Gx2UNzr.z7u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tipxfRv0WwQK9addYem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HVf.jhREyS9sxsArMaW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6RMos.N0uQ6sohCBKoJ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XeES3TmkWxOw.gNHOaB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Dzr024W0OjdKT1mBj9v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d.0w42n0S6BIUXXVcwM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c7Px9q0W2bHyi9WoEP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OsvJ95vEu3_5VaNpsh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nDPo4rUWu05_Ou5tTf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NkXtKSIki1UDFZMTh2e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rsBgKSEC_.qQcmd9qX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57d2fqL0qrzZIHGrf_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4XmVIYb0W8SCtyDz71_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AQF7QsU0ORqwm9IHmC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rj1lATHEqv44J_Vwpk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jmEu4wiUmYvlHm35V5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c6skNCs0a85Npam0Ov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u4UMo7ke77h8s1tr.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LvCn.uk.75tYhKSw9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7xEBiuUmacnEMCVuI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k4RIzKoEKBiumZT94L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v3SfsccES_pCJ7vz30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ju5N_EXkO0kUYr2A44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PYy67zl0KZujusIZ68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sXeCQqzUyOsbYd.4iK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eMJHwOvk.AfGn3vhbc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o0ZKYst0WGAVzZ47Fp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77EaNYqEqZu4Dp6tp6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Uh4oEnUK2J5AgEFIb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y0XmoltE6deoyw9x2m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XeES3TmkWxOw.gNHOa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Dzr024W0OjdKT1mBj9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d.0w42n0S6BIUXXVcw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c7Px9q0W2bHyi9WoE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vy27RQFE60.u.y6Uya.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MuC7CuCUuYYt98OKEj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xxjD1UUuyonBfsgXq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LEFT" val="194.25"/>
  <p:tag name="FASTOP" val="99.375"/>
  <p:tag name="FASHEIGHT" val="135"/>
  <p:tag name="FASWIDTH" val="13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LEFT" val="224.5"/>
  <p:tag name="FASTOP" val="192.125"/>
  <p:tag name="FASHEIGHT" val="135"/>
  <p:tag name="FASWIDTH" val="13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LEFT" val="164.125"/>
  <p:tag name="FASTOP" val="192.25"/>
  <p:tag name="FASHEIGHT" val="135"/>
  <p:tag name="FASWIDTH" val="13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XeES3TmkWxOw.gNHOa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pXdaU.IE6_othirBD2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Dzr024W0OjdKT1mBj9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d.0w42n0S6BIUXXVcw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c7Px9q0W2bHyi9WoEP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Cq1C70U.jBbitI1bK0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g2SusoUGnLgtVqcbto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yTOVk7EOwoa8P9Nd6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cxr4bebEmYUwTum5vlsw"/>
</p:tagLst>
</file>

<file path=ppt/theme/theme1.xml><?xml version="1.0" encoding="utf-8"?>
<a:theme xmlns:a="http://schemas.openxmlformats.org/drawingml/2006/main" name="NH카드_MP제안_기본">
  <a:themeElements>
    <a:clrScheme name="cdb2004192l 3">
      <a:dk1>
        <a:srgbClr val="000000"/>
      </a:dk1>
      <a:lt1>
        <a:srgbClr val="FFFFFF"/>
      </a:lt1>
      <a:dk2>
        <a:srgbClr val="1D1F6F"/>
      </a:dk2>
      <a:lt2>
        <a:srgbClr val="C0C0C0"/>
      </a:lt2>
      <a:accent1>
        <a:srgbClr val="4987E3"/>
      </a:accent1>
      <a:accent2>
        <a:srgbClr val="D9520F"/>
      </a:accent2>
      <a:accent3>
        <a:srgbClr val="FFFFFF"/>
      </a:accent3>
      <a:accent4>
        <a:srgbClr val="000000"/>
      </a:accent4>
      <a:accent5>
        <a:srgbClr val="B1C3EF"/>
      </a:accent5>
      <a:accent6>
        <a:srgbClr val="C4490C"/>
      </a:accent6>
      <a:hlink>
        <a:srgbClr val="36A1B6"/>
      </a:hlink>
      <a:folHlink>
        <a:srgbClr val="9CC769"/>
      </a:folHlink>
    </a:clrScheme>
    <a:fontScheme name="cdb2004192l">
      <a:majorFont>
        <a:latin typeface="Optima"/>
        <a:ea typeface="가는각진제목체"/>
        <a:cs typeface=""/>
      </a:majorFont>
      <a:minorFont>
        <a:latin typeface="Optima"/>
        <a:ea typeface="가는각진제목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lIns="36000" tIns="36000" rIns="36000" bIns="36000" rtlCol="0" anchor="ctr"/>
      <a:lstStyle>
        <a:defPPr algn="ctr" latinLnBrk="0">
          <a:spcBef>
            <a:spcPct val="50000"/>
          </a:spcBef>
          <a:buClr>
            <a:schemeClr val="bg2"/>
          </a:buClr>
          <a:defRPr kumimoji="1" sz="1200" b="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Optima" pitchFamily="2" charset="2"/>
            <a:ea typeface="가는각진제목체" pitchFamily="18" charset="-127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36000" tIns="36000" rIns="36000" bIns="36000" rtlCol="0">
        <a:spAutoFit/>
      </a:bodyPr>
      <a:lstStyle>
        <a:defPPr marL="90488" indent="-90488" latinLnBrk="0">
          <a:spcBef>
            <a:spcPct val="30000"/>
          </a:spcBef>
          <a:buFont typeface="Wingdings" pitchFamily="2" charset="2"/>
          <a:buChar char="§"/>
          <a:defRPr sz="1200" b="0" dirty="0" smtClean="0">
            <a:solidFill>
              <a:srgbClr val="000000"/>
            </a:solidFill>
            <a:latin typeface="맑은 고딕"/>
            <a:ea typeface="맑은 고딕"/>
          </a:defRPr>
        </a:defPPr>
      </a:lstStyle>
    </a:txDef>
  </a:objectDefaults>
  <a:extraClrSchemeLst>
    <a:extraClrScheme>
      <a:clrScheme name="cdb2004192l 1">
        <a:dk1>
          <a:srgbClr val="000000"/>
        </a:dk1>
        <a:lt1>
          <a:srgbClr val="FFFFFF"/>
        </a:lt1>
        <a:dk2>
          <a:srgbClr val="135377"/>
        </a:dk2>
        <a:lt2>
          <a:srgbClr val="969696"/>
        </a:lt2>
        <a:accent1>
          <a:srgbClr val="2AA08A"/>
        </a:accent1>
        <a:accent2>
          <a:srgbClr val="9C88E6"/>
        </a:accent2>
        <a:accent3>
          <a:srgbClr val="FFFFFF"/>
        </a:accent3>
        <a:accent4>
          <a:srgbClr val="000000"/>
        </a:accent4>
        <a:accent5>
          <a:srgbClr val="ACCDC4"/>
        </a:accent5>
        <a:accent6>
          <a:srgbClr val="8D7BD0"/>
        </a:accent6>
        <a:hlink>
          <a:srgbClr val="7D96D3"/>
        </a:hlink>
        <a:folHlink>
          <a:srgbClr val="DEDB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2">
        <a:dk1>
          <a:srgbClr val="000000"/>
        </a:dk1>
        <a:lt1>
          <a:srgbClr val="FFFFFF"/>
        </a:lt1>
        <a:dk2>
          <a:srgbClr val="351155"/>
        </a:dk2>
        <a:lt2>
          <a:srgbClr val="969696"/>
        </a:lt2>
        <a:accent1>
          <a:srgbClr val="117AC1"/>
        </a:accent1>
        <a:accent2>
          <a:srgbClr val="38B890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32A682"/>
        </a:accent6>
        <a:hlink>
          <a:srgbClr val="D17FB6"/>
        </a:hlink>
        <a:folHlink>
          <a:srgbClr val="E3981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3">
        <a:dk1>
          <a:srgbClr val="000000"/>
        </a:dk1>
        <a:lt1>
          <a:srgbClr val="FFFFFF"/>
        </a:lt1>
        <a:dk2>
          <a:srgbClr val="1D1F6F"/>
        </a:dk2>
        <a:lt2>
          <a:srgbClr val="C0C0C0"/>
        </a:lt2>
        <a:accent1>
          <a:srgbClr val="4987E3"/>
        </a:accent1>
        <a:accent2>
          <a:srgbClr val="D9520F"/>
        </a:accent2>
        <a:accent3>
          <a:srgbClr val="FFFFFF"/>
        </a:accent3>
        <a:accent4>
          <a:srgbClr val="000000"/>
        </a:accent4>
        <a:accent5>
          <a:srgbClr val="B1C3EF"/>
        </a:accent5>
        <a:accent6>
          <a:srgbClr val="C4490C"/>
        </a:accent6>
        <a:hlink>
          <a:srgbClr val="36A1B6"/>
        </a:hlink>
        <a:folHlink>
          <a:srgbClr val="9CC7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NH카드_MP제안_기본">
  <a:themeElements>
    <a:clrScheme name="cdb2004192l 3">
      <a:dk1>
        <a:srgbClr val="000000"/>
      </a:dk1>
      <a:lt1>
        <a:srgbClr val="FFFFFF"/>
      </a:lt1>
      <a:dk2>
        <a:srgbClr val="1D1F6F"/>
      </a:dk2>
      <a:lt2>
        <a:srgbClr val="C0C0C0"/>
      </a:lt2>
      <a:accent1>
        <a:srgbClr val="4987E3"/>
      </a:accent1>
      <a:accent2>
        <a:srgbClr val="D9520F"/>
      </a:accent2>
      <a:accent3>
        <a:srgbClr val="FFFFFF"/>
      </a:accent3>
      <a:accent4>
        <a:srgbClr val="000000"/>
      </a:accent4>
      <a:accent5>
        <a:srgbClr val="B1C3EF"/>
      </a:accent5>
      <a:accent6>
        <a:srgbClr val="C4490C"/>
      </a:accent6>
      <a:hlink>
        <a:srgbClr val="36A1B6"/>
      </a:hlink>
      <a:folHlink>
        <a:srgbClr val="9CC769"/>
      </a:folHlink>
    </a:clrScheme>
    <a:fontScheme name="cdb2004192l">
      <a:majorFont>
        <a:latin typeface="Optima"/>
        <a:ea typeface="가는각진제목체"/>
        <a:cs typeface=""/>
      </a:majorFont>
      <a:minorFont>
        <a:latin typeface="Optima"/>
        <a:ea typeface="가는각진제목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lIns="36000" tIns="36000" rIns="36000" bIns="36000" rtlCol="0" anchor="ctr"/>
      <a:lstStyle>
        <a:defPPr algn="ctr" latinLnBrk="0">
          <a:spcBef>
            <a:spcPct val="50000"/>
          </a:spcBef>
          <a:buClr>
            <a:schemeClr val="bg2"/>
          </a:buClr>
          <a:defRPr kumimoji="1" sz="1200" b="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Optima" pitchFamily="2" charset="2"/>
            <a:ea typeface="가는각진제목체" pitchFamily="18" charset="-127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36000" tIns="36000" rIns="36000" bIns="36000" rtlCol="0">
        <a:spAutoFit/>
      </a:bodyPr>
      <a:lstStyle>
        <a:defPPr marL="90488" indent="-90488" latinLnBrk="0">
          <a:spcBef>
            <a:spcPct val="30000"/>
          </a:spcBef>
          <a:buFont typeface="Wingdings" pitchFamily="2" charset="2"/>
          <a:buChar char="§"/>
          <a:defRPr sz="1200" b="0" dirty="0" smtClean="0">
            <a:solidFill>
              <a:srgbClr val="000000"/>
            </a:solidFill>
            <a:latin typeface="맑은 고딕"/>
            <a:ea typeface="맑은 고딕"/>
          </a:defRPr>
        </a:defPPr>
      </a:lstStyle>
    </a:txDef>
  </a:objectDefaults>
  <a:extraClrSchemeLst>
    <a:extraClrScheme>
      <a:clrScheme name="cdb2004192l 1">
        <a:dk1>
          <a:srgbClr val="000000"/>
        </a:dk1>
        <a:lt1>
          <a:srgbClr val="FFFFFF"/>
        </a:lt1>
        <a:dk2>
          <a:srgbClr val="135377"/>
        </a:dk2>
        <a:lt2>
          <a:srgbClr val="969696"/>
        </a:lt2>
        <a:accent1>
          <a:srgbClr val="2AA08A"/>
        </a:accent1>
        <a:accent2>
          <a:srgbClr val="9C88E6"/>
        </a:accent2>
        <a:accent3>
          <a:srgbClr val="FFFFFF"/>
        </a:accent3>
        <a:accent4>
          <a:srgbClr val="000000"/>
        </a:accent4>
        <a:accent5>
          <a:srgbClr val="ACCDC4"/>
        </a:accent5>
        <a:accent6>
          <a:srgbClr val="8D7BD0"/>
        </a:accent6>
        <a:hlink>
          <a:srgbClr val="7D96D3"/>
        </a:hlink>
        <a:folHlink>
          <a:srgbClr val="DEDB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2">
        <a:dk1>
          <a:srgbClr val="000000"/>
        </a:dk1>
        <a:lt1>
          <a:srgbClr val="FFFFFF"/>
        </a:lt1>
        <a:dk2>
          <a:srgbClr val="351155"/>
        </a:dk2>
        <a:lt2>
          <a:srgbClr val="969696"/>
        </a:lt2>
        <a:accent1>
          <a:srgbClr val="117AC1"/>
        </a:accent1>
        <a:accent2>
          <a:srgbClr val="38B890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32A682"/>
        </a:accent6>
        <a:hlink>
          <a:srgbClr val="D17FB6"/>
        </a:hlink>
        <a:folHlink>
          <a:srgbClr val="E3981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3">
        <a:dk1>
          <a:srgbClr val="000000"/>
        </a:dk1>
        <a:lt1>
          <a:srgbClr val="FFFFFF"/>
        </a:lt1>
        <a:dk2>
          <a:srgbClr val="1D1F6F"/>
        </a:dk2>
        <a:lt2>
          <a:srgbClr val="C0C0C0"/>
        </a:lt2>
        <a:accent1>
          <a:srgbClr val="4987E3"/>
        </a:accent1>
        <a:accent2>
          <a:srgbClr val="D9520F"/>
        </a:accent2>
        <a:accent3>
          <a:srgbClr val="FFFFFF"/>
        </a:accent3>
        <a:accent4>
          <a:srgbClr val="000000"/>
        </a:accent4>
        <a:accent5>
          <a:srgbClr val="B1C3EF"/>
        </a:accent5>
        <a:accent6>
          <a:srgbClr val="C4490C"/>
        </a:accent6>
        <a:hlink>
          <a:srgbClr val="36A1B6"/>
        </a:hlink>
        <a:folHlink>
          <a:srgbClr val="9CC7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H카드_MP제안_표지">
  <a:themeElements>
    <a:clrScheme name="KPMG Thank You_image 4">
      <a:dk1>
        <a:srgbClr val="000000"/>
      </a:dk1>
      <a:lt1>
        <a:srgbClr val="FFFFFF"/>
      </a:lt1>
      <a:dk2>
        <a:srgbClr val="000000"/>
      </a:dk2>
      <a:lt2>
        <a:srgbClr val="747678"/>
      </a:lt2>
      <a:accent1>
        <a:srgbClr val="00338D"/>
      </a:accent1>
      <a:accent2>
        <a:srgbClr val="6A7F10"/>
      </a:accent2>
      <a:accent3>
        <a:srgbClr val="FFFFFF"/>
      </a:accent3>
      <a:accent4>
        <a:srgbClr val="000000"/>
      </a:accent4>
      <a:accent5>
        <a:srgbClr val="AAADC5"/>
      </a:accent5>
      <a:accent6>
        <a:srgbClr val="5F720D"/>
      </a:accent6>
      <a:hlink>
        <a:srgbClr val="8E258D"/>
      </a:hlink>
      <a:folHlink>
        <a:srgbClr val="007C92"/>
      </a:folHlink>
    </a:clrScheme>
    <a:fontScheme name="사용자 지정 1">
      <a:majorFont>
        <a:latin typeface="Arial"/>
        <a:ea typeface="맑은 고딕"/>
        <a:cs typeface="Arial"/>
      </a:majorFont>
      <a:minorFont>
        <a:latin typeface="Arial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KPMG Thank You_image 1">
        <a:dk1>
          <a:srgbClr val="00338D"/>
        </a:dk1>
        <a:lt1>
          <a:srgbClr val="FFFFFF"/>
        </a:lt1>
        <a:dk2>
          <a:srgbClr val="000000"/>
        </a:dk2>
        <a:lt2>
          <a:srgbClr val="BABBBC"/>
        </a:lt2>
        <a:accent1>
          <a:srgbClr val="007C92"/>
        </a:accent1>
        <a:accent2>
          <a:srgbClr val="409DAD"/>
        </a:accent2>
        <a:accent3>
          <a:srgbClr val="FFFFFF"/>
        </a:accent3>
        <a:accent4>
          <a:srgbClr val="002A78"/>
        </a:accent4>
        <a:accent5>
          <a:srgbClr val="AABFC7"/>
        </a:accent5>
        <a:accent6>
          <a:srgbClr val="398E9C"/>
        </a:accent6>
        <a:hlink>
          <a:srgbClr val="80BEC9"/>
        </a:hlink>
        <a:folHlink>
          <a:srgbClr val="BFDE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2">
        <a:dk1>
          <a:srgbClr val="00338D"/>
        </a:dk1>
        <a:lt1>
          <a:srgbClr val="FFFFFF"/>
        </a:lt1>
        <a:dk2>
          <a:srgbClr val="000000"/>
        </a:dk2>
        <a:lt2>
          <a:srgbClr val="BABBBC"/>
        </a:lt2>
        <a:accent1>
          <a:srgbClr val="8E258D"/>
        </a:accent1>
        <a:accent2>
          <a:srgbClr val="AA5CAA"/>
        </a:accent2>
        <a:accent3>
          <a:srgbClr val="FFFFFF"/>
        </a:accent3>
        <a:accent4>
          <a:srgbClr val="002A78"/>
        </a:accent4>
        <a:accent5>
          <a:srgbClr val="C6ACC5"/>
        </a:accent5>
        <a:accent6>
          <a:srgbClr val="9A539A"/>
        </a:accent6>
        <a:hlink>
          <a:srgbClr val="C792C6"/>
        </a:hlink>
        <a:folHlink>
          <a:srgbClr val="E3C9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3">
        <a:dk1>
          <a:srgbClr val="8E258D"/>
        </a:dk1>
        <a:lt1>
          <a:srgbClr val="FFFFFF"/>
        </a:lt1>
        <a:dk2>
          <a:srgbClr val="000000"/>
        </a:dk2>
        <a:lt2>
          <a:srgbClr val="BABBBC"/>
        </a:lt2>
        <a:accent1>
          <a:srgbClr val="00338D"/>
        </a:accent1>
        <a:accent2>
          <a:srgbClr val="AA5CAA"/>
        </a:accent2>
        <a:accent3>
          <a:srgbClr val="FFFFFF"/>
        </a:accent3>
        <a:accent4>
          <a:srgbClr val="781E78"/>
        </a:accent4>
        <a:accent5>
          <a:srgbClr val="AAADC5"/>
        </a:accent5>
        <a:accent6>
          <a:srgbClr val="9A539A"/>
        </a:accent6>
        <a:hlink>
          <a:srgbClr val="C792C6"/>
        </a:hlink>
        <a:folHlink>
          <a:srgbClr val="E3C9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4">
        <a:dk1>
          <a:srgbClr val="000000"/>
        </a:dk1>
        <a:lt1>
          <a:srgbClr val="FFFFFF"/>
        </a:lt1>
        <a:dk2>
          <a:srgbClr val="000000"/>
        </a:dk2>
        <a:lt2>
          <a:srgbClr val="747678"/>
        </a:lt2>
        <a:accent1>
          <a:srgbClr val="00338D"/>
        </a:accent1>
        <a:accent2>
          <a:srgbClr val="6A7F10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5F720D"/>
        </a:accent6>
        <a:hlink>
          <a:srgbClr val="8E258D"/>
        </a:hlink>
        <a:folHlink>
          <a:srgbClr val="007C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NH카드_MP제안_TY">
  <a:themeElements>
    <a:clrScheme name="KPMG Thank You_image 4">
      <a:dk1>
        <a:srgbClr val="000000"/>
      </a:dk1>
      <a:lt1>
        <a:srgbClr val="FFFFFF"/>
      </a:lt1>
      <a:dk2>
        <a:srgbClr val="000000"/>
      </a:dk2>
      <a:lt2>
        <a:srgbClr val="747678"/>
      </a:lt2>
      <a:accent1>
        <a:srgbClr val="00338D"/>
      </a:accent1>
      <a:accent2>
        <a:srgbClr val="6A7F10"/>
      </a:accent2>
      <a:accent3>
        <a:srgbClr val="FFFFFF"/>
      </a:accent3>
      <a:accent4>
        <a:srgbClr val="000000"/>
      </a:accent4>
      <a:accent5>
        <a:srgbClr val="AAADC5"/>
      </a:accent5>
      <a:accent6>
        <a:srgbClr val="5F720D"/>
      </a:accent6>
      <a:hlink>
        <a:srgbClr val="8E258D"/>
      </a:hlink>
      <a:folHlink>
        <a:srgbClr val="007C92"/>
      </a:folHlink>
    </a:clrScheme>
    <a:fontScheme name="사용자 지정 1">
      <a:majorFont>
        <a:latin typeface="Arial"/>
        <a:ea typeface="맑은 고딕"/>
        <a:cs typeface="Arial"/>
      </a:majorFont>
      <a:minorFont>
        <a:latin typeface="Arial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KPMG Thank You_image 1">
        <a:dk1>
          <a:srgbClr val="00338D"/>
        </a:dk1>
        <a:lt1>
          <a:srgbClr val="FFFFFF"/>
        </a:lt1>
        <a:dk2>
          <a:srgbClr val="000000"/>
        </a:dk2>
        <a:lt2>
          <a:srgbClr val="BABBBC"/>
        </a:lt2>
        <a:accent1>
          <a:srgbClr val="007C92"/>
        </a:accent1>
        <a:accent2>
          <a:srgbClr val="409DAD"/>
        </a:accent2>
        <a:accent3>
          <a:srgbClr val="FFFFFF"/>
        </a:accent3>
        <a:accent4>
          <a:srgbClr val="002A78"/>
        </a:accent4>
        <a:accent5>
          <a:srgbClr val="AABFC7"/>
        </a:accent5>
        <a:accent6>
          <a:srgbClr val="398E9C"/>
        </a:accent6>
        <a:hlink>
          <a:srgbClr val="80BEC9"/>
        </a:hlink>
        <a:folHlink>
          <a:srgbClr val="BFDE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2">
        <a:dk1>
          <a:srgbClr val="00338D"/>
        </a:dk1>
        <a:lt1>
          <a:srgbClr val="FFFFFF"/>
        </a:lt1>
        <a:dk2>
          <a:srgbClr val="000000"/>
        </a:dk2>
        <a:lt2>
          <a:srgbClr val="BABBBC"/>
        </a:lt2>
        <a:accent1>
          <a:srgbClr val="8E258D"/>
        </a:accent1>
        <a:accent2>
          <a:srgbClr val="AA5CAA"/>
        </a:accent2>
        <a:accent3>
          <a:srgbClr val="FFFFFF"/>
        </a:accent3>
        <a:accent4>
          <a:srgbClr val="002A78"/>
        </a:accent4>
        <a:accent5>
          <a:srgbClr val="C6ACC5"/>
        </a:accent5>
        <a:accent6>
          <a:srgbClr val="9A539A"/>
        </a:accent6>
        <a:hlink>
          <a:srgbClr val="C792C6"/>
        </a:hlink>
        <a:folHlink>
          <a:srgbClr val="E3C9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3">
        <a:dk1>
          <a:srgbClr val="8E258D"/>
        </a:dk1>
        <a:lt1>
          <a:srgbClr val="FFFFFF"/>
        </a:lt1>
        <a:dk2>
          <a:srgbClr val="000000"/>
        </a:dk2>
        <a:lt2>
          <a:srgbClr val="BABBBC"/>
        </a:lt2>
        <a:accent1>
          <a:srgbClr val="00338D"/>
        </a:accent1>
        <a:accent2>
          <a:srgbClr val="AA5CAA"/>
        </a:accent2>
        <a:accent3>
          <a:srgbClr val="FFFFFF"/>
        </a:accent3>
        <a:accent4>
          <a:srgbClr val="781E78"/>
        </a:accent4>
        <a:accent5>
          <a:srgbClr val="AAADC5"/>
        </a:accent5>
        <a:accent6>
          <a:srgbClr val="9A539A"/>
        </a:accent6>
        <a:hlink>
          <a:srgbClr val="C792C6"/>
        </a:hlink>
        <a:folHlink>
          <a:srgbClr val="E3C9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PMG Thank You_image 4">
        <a:dk1>
          <a:srgbClr val="000000"/>
        </a:dk1>
        <a:lt1>
          <a:srgbClr val="FFFFFF"/>
        </a:lt1>
        <a:dk2>
          <a:srgbClr val="000000"/>
        </a:dk2>
        <a:lt2>
          <a:srgbClr val="747678"/>
        </a:lt2>
        <a:accent1>
          <a:srgbClr val="00338D"/>
        </a:accent1>
        <a:accent2>
          <a:srgbClr val="6A7F10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5F720D"/>
        </a:accent6>
        <a:hlink>
          <a:srgbClr val="8E258D"/>
        </a:hlink>
        <a:folHlink>
          <a:srgbClr val="007C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NH카드_MP제안_목차">
  <a:themeElements>
    <a:clrScheme name="cdb2004192l 3">
      <a:dk1>
        <a:srgbClr val="000000"/>
      </a:dk1>
      <a:lt1>
        <a:srgbClr val="FFFFFF"/>
      </a:lt1>
      <a:dk2>
        <a:srgbClr val="1D1F6F"/>
      </a:dk2>
      <a:lt2>
        <a:srgbClr val="C0C0C0"/>
      </a:lt2>
      <a:accent1>
        <a:srgbClr val="4987E3"/>
      </a:accent1>
      <a:accent2>
        <a:srgbClr val="D9520F"/>
      </a:accent2>
      <a:accent3>
        <a:srgbClr val="FFFFFF"/>
      </a:accent3>
      <a:accent4>
        <a:srgbClr val="000000"/>
      </a:accent4>
      <a:accent5>
        <a:srgbClr val="B1C3EF"/>
      </a:accent5>
      <a:accent6>
        <a:srgbClr val="C4490C"/>
      </a:accent6>
      <a:hlink>
        <a:srgbClr val="36A1B6"/>
      </a:hlink>
      <a:folHlink>
        <a:srgbClr val="9CC769"/>
      </a:folHlink>
    </a:clrScheme>
    <a:fontScheme name="cdb2004192l">
      <a:majorFont>
        <a:latin typeface="Optima"/>
        <a:ea typeface="가는각진제목체"/>
        <a:cs typeface=""/>
      </a:majorFont>
      <a:minorFont>
        <a:latin typeface="Optima"/>
        <a:ea typeface="가는각진제목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defTabSz="914400" rtl="0" eaLnBrk="0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Tx/>
          <a:buFont typeface="Wingdings" pitchFamily="2" charset="2"/>
          <a:buNone/>
          <a:tabLst/>
          <a:defRPr kumimoji="0" sz="1400" b="1" i="0" u="none" strike="noStrike" cap="none" normalizeH="0" baseline="0" dirty="0" err="1" smtClean="0">
            <a:ln>
              <a:noFill/>
            </a:ln>
            <a:solidFill>
              <a:srgbClr val="000000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Optima" pitchFamily="2" charset="2"/>
            <a:ea typeface="가는각진제목체" pitchFamily="18" charset="-127"/>
          </a:defRPr>
        </a:defPPr>
      </a:lstStyle>
    </a:lnDef>
    <a:txDef>
      <a:spPr>
        <a:noFill/>
      </a:spPr>
      <a:bodyPr wrap="none" rtlCol="0" anchor="ctr">
        <a:spAutoFit/>
      </a:bodyPr>
      <a:lstStyle>
        <a:defPPr>
          <a:defRPr sz="14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cdb2004192l 1">
        <a:dk1>
          <a:srgbClr val="000000"/>
        </a:dk1>
        <a:lt1>
          <a:srgbClr val="FFFFFF"/>
        </a:lt1>
        <a:dk2>
          <a:srgbClr val="135377"/>
        </a:dk2>
        <a:lt2>
          <a:srgbClr val="969696"/>
        </a:lt2>
        <a:accent1>
          <a:srgbClr val="2AA08A"/>
        </a:accent1>
        <a:accent2>
          <a:srgbClr val="9C88E6"/>
        </a:accent2>
        <a:accent3>
          <a:srgbClr val="FFFFFF"/>
        </a:accent3>
        <a:accent4>
          <a:srgbClr val="000000"/>
        </a:accent4>
        <a:accent5>
          <a:srgbClr val="ACCDC4"/>
        </a:accent5>
        <a:accent6>
          <a:srgbClr val="8D7BD0"/>
        </a:accent6>
        <a:hlink>
          <a:srgbClr val="7D96D3"/>
        </a:hlink>
        <a:folHlink>
          <a:srgbClr val="DEDB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2">
        <a:dk1>
          <a:srgbClr val="000000"/>
        </a:dk1>
        <a:lt1>
          <a:srgbClr val="FFFFFF"/>
        </a:lt1>
        <a:dk2>
          <a:srgbClr val="351155"/>
        </a:dk2>
        <a:lt2>
          <a:srgbClr val="969696"/>
        </a:lt2>
        <a:accent1>
          <a:srgbClr val="117AC1"/>
        </a:accent1>
        <a:accent2>
          <a:srgbClr val="38B890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32A682"/>
        </a:accent6>
        <a:hlink>
          <a:srgbClr val="D17FB6"/>
        </a:hlink>
        <a:folHlink>
          <a:srgbClr val="E3981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192l 3">
        <a:dk1>
          <a:srgbClr val="000000"/>
        </a:dk1>
        <a:lt1>
          <a:srgbClr val="FFFFFF"/>
        </a:lt1>
        <a:dk2>
          <a:srgbClr val="1D1F6F"/>
        </a:dk2>
        <a:lt2>
          <a:srgbClr val="C0C0C0"/>
        </a:lt2>
        <a:accent1>
          <a:srgbClr val="4987E3"/>
        </a:accent1>
        <a:accent2>
          <a:srgbClr val="D9520F"/>
        </a:accent2>
        <a:accent3>
          <a:srgbClr val="FFFFFF"/>
        </a:accent3>
        <a:accent4>
          <a:srgbClr val="000000"/>
        </a:accent4>
        <a:accent5>
          <a:srgbClr val="B1C3EF"/>
        </a:accent5>
        <a:accent6>
          <a:srgbClr val="C4490C"/>
        </a:accent6>
        <a:hlink>
          <a:srgbClr val="36A1B6"/>
        </a:hlink>
        <a:folHlink>
          <a:srgbClr val="9CC7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db2004192l 3">
    <a:dk1>
      <a:srgbClr val="000000"/>
    </a:dk1>
    <a:lt1>
      <a:srgbClr val="FFFFFF"/>
    </a:lt1>
    <a:dk2>
      <a:srgbClr val="1D1F6F"/>
    </a:dk2>
    <a:lt2>
      <a:srgbClr val="C0C0C0"/>
    </a:lt2>
    <a:accent1>
      <a:srgbClr val="4987E3"/>
    </a:accent1>
    <a:accent2>
      <a:srgbClr val="D9520F"/>
    </a:accent2>
    <a:accent3>
      <a:srgbClr val="FFFFFF"/>
    </a:accent3>
    <a:accent4>
      <a:srgbClr val="000000"/>
    </a:accent4>
    <a:accent5>
      <a:srgbClr val="B1C3EF"/>
    </a:accent5>
    <a:accent6>
      <a:srgbClr val="C4490C"/>
    </a:accent6>
    <a:hlink>
      <a:srgbClr val="36A1B6"/>
    </a:hlink>
    <a:folHlink>
      <a:srgbClr val="9CC76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FB8F4AC52B259641BE62E3A32AC663D5" ma:contentTypeVersion="0" ma:contentTypeDescription="새 문서를 만듭니다." ma:contentTypeScope="" ma:versionID="2b20d8835c4c23da34b40c39c69aa2d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d8f6c9257034a6ffde9c3b3e5e5b89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663372-086A-437E-95A4-83B857F4179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07E930-D617-4C5D-854F-7FD9183351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9030FAF-7DC6-466B-AA85-07B086337269}">
  <ds:schemaRefs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993</TotalTime>
  <Words>71158</Words>
  <Application>Microsoft Office PowerPoint</Application>
  <PresentationFormat>A4 용지(210x297mm)</PresentationFormat>
  <Paragraphs>19786</Paragraphs>
  <Slides>453</Slides>
  <Notes>65</Notes>
  <HiddenSlides>0</HiddenSlides>
  <MMClips>0</MMClips>
  <ScaleCrop>false</ScaleCrop>
  <HeadingPairs>
    <vt:vector size="8" baseType="variant">
      <vt:variant>
        <vt:lpstr>사용한 글꼴</vt:lpstr>
      </vt:variant>
      <vt:variant>
        <vt:i4>23</vt:i4>
      </vt:variant>
      <vt:variant>
        <vt:lpstr>테마</vt:lpstr>
      </vt:variant>
      <vt:variant>
        <vt:i4>5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453</vt:i4>
      </vt:variant>
    </vt:vector>
  </HeadingPairs>
  <TitlesOfParts>
    <vt:vector size="483" baseType="lpstr">
      <vt:lpstr>Wingdings 2</vt:lpstr>
      <vt:lpstr>Monotype Sorts</vt:lpstr>
      <vt:lpstr>Symbol</vt:lpstr>
      <vt:lpstr>돋움</vt:lpstr>
      <vt:lpstr>Verdana</vt:lpstr>
      <vt:lpstr>-윤명조220</vt:lpstr>
      <vt:lpstr>맑은 고딕</vt:lpstr>
      <vt:lpstr>Optima</vt:lpstr>
      <vt:lpstr>HY견고딕</vt:lpstr>
      <vt:lpstr>Times</vt:lpstr>
      <vt:lpstr>굴림</vt:lpstr>
      <vt:lpstr>Arial Narrow</vt:lpstr>
      <vt:lpstr>바탕</vt:lpstr>
      <vt:lpstr>Univers 45 Light</vt:lpstr>
      <vt:lpstr>Arial</vt:lpstr>
      <vt:lpstr>Webdings</vt:lpstr>
      <vt:lpstr>하나 L</vt:lpstr>
      <vt:lpstr>Wingdings</vt:lpstr>
      <vt:lpstr>Wingdings 3</vt:lpstr>
      <vt:lpstr>Times New Roman</vt:lpstr>
      <vt:lpstr>HY태명조</vt:lpstr>
      <vt:lpstr>윤디자인고딕</vt:lpstr>
      <vt:lpstr>가는각진제목체</vt:lpstr>
      <vt:lpstr>NH카드_MP제안_기본</vt:lpstr>
      <vt:lpstr>1_NH카드_MP제안_기본</vt:lpstr>
      <vt:lpstr>NH카드_MP제안_표지</vt:lpstr>
      <vt:lpstr>NH카드_MP제안_TY</vt:lpstr>
      <vt:lpstr>NH카드_MP제안_목차</vt:lpstr>
      <vt:lpstr>Chart</vt:lpstr>
      <vt:lpstr>Visio</vt:lpstr>
      <vt:lpstr>NH농협은행 카드차세대시스템 개발을 위한 PI (Process Innovation) 컨설팅 제안서 </vt:lpstr>
      <vt:lpstr>PowerPoint 프레젠테이션</vt:lpstr>
      <vt:lpstr>PowerPoint 프레젠테이션</vt:lpstr>
      <vt:lpstr>제안 배경</vt:lpstr>
      <vt:lpstr>    시장 및 규제 환경 – 금융 컨버전스 격화 예상</vt:lpstr>
      <vt:lpstr>    시장 및 규제 환경 – 수익성 정체</vt:lpstr>
      <vt:lpstr>    시장 및 규제 환경 – 국내 카드사 IT투자 확대</vt:lpstr>
      <vt:lpstr>    시장 및 규제 환경– 규제환경 변화 (1/2)</vt:lpstr>
      <vt:lpstr>    시장 및 규제 환경– 규제환경 변화 (2/2)</vt:lpstr>
      <vt:lpstr>    고객 환경 – 고객 커뮤니케이션 채널 디지털化</vt:lpstr>
      <vt:lpstr>    내부 환경 - 차세대 시스템 구축 필요성 제기</vt:lpstr>
      <vt:lpstr>[Back-up] 급격한 사업규모 성장에 따른 IT지원의 한계 발생</vt:lpstr>
      <vt:lpstr>    내부 환경 – 계통/계열별 사업의 특수성 고려</vt:lpstr>
      <vt:lpstr>[Back-up] 농축협 카드 수익∙비용의 정산 특수성 </vt:lpstr>
      <vt:lpstr>본 프로젝트의 추진 목적</vt:lpstr>
      <vt:lpstr>PowerPoint 프레젠테이션</vt:lpstr>
      <vt:lpstr>프로젝트 추진 범위</vt:lpstr>
      <vt:lpstr>프로젝트 추진 전략 </vt:lpstr>
      <vt:lpstr>    NH농협카드의 특수성 고려</vt:lpstr>
      <vt:lpstr>    마스터플랜 및 차세대 구축 간 Barrier 제거</vt:lpstr>
      <vt:lpstr>Barrier 1. 프로세스 혁신 및 요건상세화 달성</vt:lpstr>
      <vt:lpstr>Barrier 2. 차세대 구축 관련 리스크 제거</vt:lpstr>
      <vt:lpstr>    Biz 및 IT 간 Alignment</vt:lpstr>
      <vt:lpstr>    End-to-End(E2E) 관점의 전사 업무 프로세스 통합화</vt:lpstr>
      <vt:lpstr>[Back-up] End-to-End 관점 전사 업무 프로세스의 통합 이미지</vt:lpstr>
      <vt:lpstr>PowerPoint 프레젠테이션</vt:lpstr>
      <vt:lpstr>차세대 시스템 구축 Journey</vt:lpstr>
      <vt:lpstr>PI 단계 진행 로드맵</vt:lpstr>
      <vt:lpstr>PowerPoint 프레젠테이션</vt:lpstr>
      <vt:lpstr>KPMG 제안의 특장점</vt:lpstr>
      <vt:lpstr>    NH농협카드에 대한 이해</vt:lpstr>
      <vt:lpstr>[Back-up] 수수료체계 전면 전환을 위한 기반 마련</vt:lpstr>
      <vt:lpstr>[Back-up] BC 비용 적정성 점검 및 적정성 점검 프로세스 도입 </vt:lpstr>
      <vt:lpstr>[Back-up] 독립회계 인프라 구축</vt:lpstr>
      <vt:lpstr>    NH농협카드 MP 경험을 토대로 효과적인 현황 분석</vt:lpstr>
      <vt:lpstr>    선도 카드사 차세대 경험을 보유한 정예 인력 투입 (1/3)</vt:lpstr>
      <vt:lpstr>[Back-up] 선도 카드사 차세대 프로젝트 수행사례</vt:lpstr>
      <vt:lpstr>    선도 카드사 차세대 경험을 보유한 정예 인력 투입 (2/3)</vt:lpstr>
      <vt:lpstr>    선도 카드사 차세대 경험을 보유한 정예 인력 투입 (3/3)</vt:lpstr>
      <vt:lpstr>    프로세스 기반 차세대시스템 개발 노하우 활용</vt:lpstr>
      <vt:lpstr>    최신의 카드사 PI/ISP 수행 경험</vt:lpstr>
      <vt:lpstr>PowerPoint 프레젠테이션</vt:lpstr>
      <vt:lpstr>PowerPoint 프레젠테이션</vt:lpstr>
      <vt:lpstr>KPMG – International 현황 (1/2)</vt:lpstr>
      <vt:lpstr>KPMG – International 현황 (2/2)</vt:lpstr>
      <vt:lpstr>KPMG – 개요 및 연혁</vt:lpstr>
      <vt:lpstr>KPMG – 개요 및 연혁</vt:lpstr>
      <vt:lpstr>KPMG – 조직 및 인원구성</vt:lpstr>
      <vt:lpstr>PwC – 개요</vt:lpstr>
      <vt:lpstr>PwC – 서비스 영역 (1/2)</vt:lpstr>
      <vt:lpstr>PwC – 서비스 영역 (2/2)</vt:lpstr>
      <vt:lpstr>PwC – 전문가 보유 현황 </vt:lpstr>
      <vt:lpstr>PowerPoint 프레젠테이션</vt:lpstr>
      <vt:lpstr>KPMG – 주요 재무 현황</vt:lpstr>
      <vt:lpstr>PwC – 주요 재무 현황</vt:lpstr>
      <vt:lpstr>PwC – 주요 재무 현황</vt:lpstr>
      <vt:lpstr>PowerPoint 프레젠테이션</vt:lpstr>
      <vt:lpstr>KPMG – 프로젝트 수행 실적</vt:lpstr>
      <vt:lpstr>KPMG – 최근 금융권 프로젝트 수행 실적 (1/8)</vt:lpstr>
      <vt:lpstr>KPMG – 최근 금융권 프로젝트 수행 실적 (2/8)</vt:lpstr>
      <vt:lpstr>KPMG – 최근 금융권 프로젝트 수행 실적 (3/8)</vt:lpstr>
      <vt:lpstr>KPMG – 최근 금융권 프로젝트 수행 실적 (4/8)</vt:lpstr>
      <vt:lpstr>KPMG – 최근 금융권 프로젝트 수행 실적 (5/8)</vt:lpstr>
      <vt:lpstr>KPMG – 최근 금융권 프로젝트 수행 실적 (6/8)</vt:lpstr>
      <vt:lpstr>KPMG – 최근 금융권 프로젝트 수행 실적 (7/8)</vt:lpstr>
      <vt:lpstr>KPMG – 최근 금융권 프로젝트 수행 실적 (8/8)</vt:lpstr>
      <vt:lpstr>PwC – 최근 금융권 프로젝트 수행 실적 (1/8)</vt:lpstr>
      <vt:lpstr>PwC – 최근 금융권 프로젝트 수행 실적 (2/8)</vt:lpstr>
      <vt:lpstr>PwC – 최근 금융권 프로젝트 수행 실적 (3/8)</vt:lpstr>
      <vt:lpstr>PwC – 최근 금융권 프로젝트 수행 실적 (4/8)</vt:lpstr>
      <vt:lpstr>PwC – 최근 금융권 프로젝트 수행 실적 (5/8)</vt:lpstr>
      <vt:lpstr>PwC – 최근 금융권 프로젝트 수행 실적 (6/8)</vt:lpstr>
      <vt:lpstr>PwC – 최근 금융권 프로젝트 수행 실적 (7/8)</vt:lpstr>
      <vt:lpstr>PwC – 최근 금융권 프로젝트 수행 실적 (8/8)</vt:lpstr>
      <vt:lpstr>PowerPoint 프레젠테이션</vt:lpstr>
      <vt:lpstr>PowerPoint 프레젠테이션</vt:lpstr>
      <vt:lpstr>프로젝트 방법론</vt:lpstr>
      <vt:lpstr>프로젝트 방법론 차별화 요소</vt:lpstr>
      <vt:lpstr>프로젝트 방법론 차별화 요소 (1/4)</vt:lpstr>
      <vt:lpstr>프로젝트 방법론 차별화 요소 (2/4)</vt:lpstr>
      <vt:lpstr>프로젝트 방법론 차별화 요소 (3/4)</vt:lpstr>
      <vt:lpstr>[Back-up] 비즈니스/IT 아키텍처 연계성 확보</vt:lpstr>
      <vt:lpstr>프로젝트 방법론 차별화 요소 (4/4)</vt:lpstr>
      <vt:lpstr>PowerPoint 프레젠테이션</vt:lpstr>
      <vt:lpstr>차세대 개선과제 개요</vt:lpstr>
      <vt:lpstr>상품 프로세스</vt:lpstr>
      <vt:lpstr>상품 프로세스</vt:lpstr>
      <vt:lpstr>    Rule 기반 상품 서비스 플랫폼 고도화 – 과제 개요</vt:lpstr>
      <vt:lpstr>    Rule 기반 상품 서비스 플랫폼 고도화 – 과제 요건 (1/10) </vt:lpstr>
      <vt:lpstr>    Rule 기반 상품 서비스 플랫폼 고도화 – 과제 요건 (2/10) </vt:lpstr>
      <vt:lpstr>    Rule 기반 상품 서비스 플랫폼 고도화 – 과제 요건 (3/10) </vt:lpstr>
      <vt:lpstr>    Rule 기반 상품 서비스 플랫폼 고도화 – 과제 요건 (4/10) </vt:lpstr>
      <vt:lpstr>    Rule 기반 상품 서비스 플랫폼 고도화 – 과제 요건 (5/10) </vt:lpstr>
      <vt:lpstr>    Rule 기반 상품 서비스 플랫폼 고도화 – 과제 요건 (6/10) </vt:lpstr>
      <vt:lpstr>    Rule 기반 상품 서비스 플랫폼 고도화 – 과제 요건 (7/10) </vt:lpstr>
      <vt:lpstr>    Rule 기반 상품 서비스 플랫폼 고도화 – 과제 요건 (8/10) </vt:lpstr>
      <vt:lpstr>    Rule 기반 상품 서비스 플랫폼 고도화 – 과제 요건 (9/10) </vt:lpstr>
      <vt:lpstr>    Rule 기반 상품 서비스 플랫폼 고도화 – 과제 요건 (10/10) </vt:lpstr>
      <vt:lpstr>    상품 개발 운영 관리 고도화 – 과제 개요</vt:lpstr>
      <vt:lpstr>    상품 개발 운영 관리 고도화 – 과제 요건 (1/10)</vt:lpstr>
      <vt:lpstr>    상품 개발 운영 관리 고도화 – 과제 요건 (2/10)</vt:lpstr>
      <vt:lpstr>    상품 개발 운영 관리 고도화 – 과제 요건 (3/10)</vt:lpstr>
      <vt:lpstr>    상품 개발 운영 관리 고도화 – 과제 요건 (4/10)</vt:lpstr>
      <vt:lpstr>    상품 개발 운영 관리 고도화 – 과제 요건 (5/10)</vt:lpstr>
      <vt:lpstr>    상품 개발 운영 관리 고도화 – 과제 요건 (6/10)</vt:lpstr>
      <vt:lpstr>    상품 개발 운영 관리 고도화 – 과제 요건 (7/10)</vt:lpstr>
      <vt:lpstr>    상품 개발 운영 관리 고도화 – 과제 요건 (8/10)</vt:lpstr>
      <vt:lpstr>    상품 개발 운영 관리 고도화 – 과제 요건 (9/10)</vt:lpstr>
      <vt:lpstr>    상품 개발 운영 관리 고도화 – 과제 요건 (10/10)</vt:lpstr>
      <vt:lpstr>영업 프로세스</vt:lpstr>
      <vt:lpstr>    영업지원 인프라 개선 – 과제 개요</vt:lpstr>
      <vt:lpstr>    영업지원 인프라 개선 – 과제 요건 (1/4)</vt:lpstr>
      <vt:lpstr>    영업지원 인프라 개선 – 과제 요건 (2/4)</vt:lpstr>
      <vt:lpstr>    영업지원 인프라 개선 – 과제 요건 (3/4)</vt:lpstr>
      <vt:lpstr>    영업지원 인프라 개선 – 과제 요건 (4/4)</vt:lpstr>
      <vt:lpstr>    영업 실적관리 체계 개선 – 과제 개요</vt:lpstr>
      <vt:lpstr>    영업 실적관리 체계 개선 – 과제 요건 (1/2)</vt:lpstr>
      <vt:lpstr>    영업 실적관리 체계 개선 – 과제 요건 (2/2)</vt:lpstr>
      <vt:lpstr>마케팅 프로세스</vt:lpstr>
      <vt:lpstr>    Real-Time 마케팅 체계 구축 – 과제 개요</vt:lpstr>
      <vt:lpstr>    Real-Time 마케팅 체계 구축 – 프로세스 설계 방안 (1/2)</vt:lpstr>
      <vt:lpstr>    Real-Time 마케팅 체계 구축 – 프로세스 설계 방안 (2/2)</vt:lpstr>
      <vt:lpstr>    Real-Time 마케팅 체계 구축 – 과제 요건 (1/3)</vt:lpstr>
      <vt:lpstr>    Real-Time 마케팅 체계 구축 – 과제 요건 (2/3)</vt:lpstr>
      <vt:lpstr>    Real-Time 마케팅 체계 구축 – 과제 요건 (3/3)</vt:lpstr>
      <vt:lpstr>    Real-Time 마케팅 체계 구축 – 타사 구축 사례 (1/2)</vt:lpstr>
      <vt:lpstr>    Real-Time 마케팅 체계 구축 – 타사 구축 사례 (2/2)</vt:lpstr>
      <vt:lpstr>    마케팅 성과분석 및 CMS 개선 – 과제 개요</vt:lpstr>
      <vt:lpstr>    마케팅 성과분석 및 CMS 개선 – 과제 요건 (1/8)</vt:lpstr>
      <vt:lpstr>    마케팅 성과분석 및 CMS 개선 – 과제 요건 (2/8)</vt:lpstr>
      <vt:lpstr>    마케팅 성과분석 및 CMS 개선 – 과제 요건 (3/8)</vt:lpstr>
      <vt:lpstr>    마케팅 성과분석 및 CMS 개선 – 과제 요건 (4/8)</vt:lpstr>
      <vt:lpstr>    마케팅 성과분석 및 CMS 개선 – 과제 요건 (5/8)</vt:lpstr>
      <vt:lpstr>    마케팅 성과분석 및 CMS 개선 – 과제 요건 (6/8)</vt:lpstr>
      <vt:lpstr>    마케팅 성과분석 및 CMS 개선 – 과제 요건 (7/8)</vt:lpstr>
      <vt:lpstr>    마케팅 성과분석 및 CMS 개선 – 과제 요건 (8/8)</vt:lpstr>
      <vt:lpstr>    고객/상품별 혜택 오퍼 제공 체계 도입 – 과제 개요</vt:lpstr>
      <vt:lpstr>    고객/상품별 혜택 오퍼 제공 체계 도입 – 과제 요건 (1/3)</vt:lpstr>
      <vt:lpstr>    고객/상품별 혜택 오퍼 제공 체계 도입 – 과제 요건 (2/3)</vt:lpstr>
      <vt:lpstr>    고객/상품별 혜택 오퍼 제공 체계 도입 – 과제 요건 (3/3)</vt:lpstr>
      <vt:lpstr>카드프로세싱</vt:lpstr>
      <vt:lpstr>카드프로세싱 – 승인/매출</vt:lpstr>
      <vt:lpstr>    승인시점 실시간 서비스 강화 – 과제 개요</vt:lpstr>
      <vt:lpstr>    승인시점 실시간 서비스 강화 – 과제 요건 (1/3)</vt:lpstr>
      <vt:lpstr>    승인시점 실시간 서비스 강화 – 과제 요건 (2/3)</vt:lpstr>
      <vt:lpstr>    승인시점 실시간 서비스 강화 – 과제 요건 (3/3)</vt:lpstr>
      <vt:lpstr>    실시간 매출전표 매입체계 구축 – 과제 개요</vt:lpstr>
      <vt:lpstr>    실시간 매출전표 매입체계 구축 – 과제 요건 (1/2)</vt:lpstr>
      <vt:lpstr>    실시간 매출전표 매입체계 구축 – 과제 요건 (2/2)</vt:lpstr>
      <vt:lpstr>카드프로세싱 – 매입/청구/결제</vt:lpstr>
      <vt:lpstr>    실시간 정산 기반 미수원장 구축 – 과제 개요</vt:lpstr>
      <vt:lpstr>    실시간 정산 기반 미수원장 구축 – 과제 요건 (1/2)</vt:lpstr>
      <vt:lpstr>    실시간 정산 기반 미수원장 구축 – 과제 요건 (2/2)</vt:lpstr>
      <vt:lpstr>    고객 편의 중심의 청구/입금 체계 구축 – 과제 개요</vt:lpstr>
      <vt:lpstr>    고객 편의 중심의 청구/입금 체계 구축 – 과제요건(1/2)</vt:lpstr>
      <vt:lpstr>    고객 편의 중심의 청구/입금 체계 구축 – 과제요건(2/2)</vt:lpstr>
      <vt:lpstr>카드프로세싱 – 정산/포인트</vt:lpstr>
      <vt:lpstr>    정산업무 표준화 및 자동화 – 과제 개요</vt:lpstr>
      <vt:lpstr>    정산업무 표준화 및 자동화 – 과제 요건 (1/2)</vt:lpstr>
      <vt:lpstr>    정산업무 표준화 및 자동화 – 과제 요건 (2/2)</vt:lpstr>
      <vt:lpstr>    포인트 적립/사용 고객 편의성 제고 – 과제 개요</vt:lpstr>
      <vt:lpstr>    포인트 적립/사용 고객 편의성 제고 – 과제 요건(1/2)</vt:lpstr>
      <vt:lpstr>    포인트 적립/사용 고객 편의성 제고 – 과제 요건(2/2)</vt:lpstr>
      <vt:lpstr>신용관리 프로세스</vt:lpstr>
      <vt:lpstr>    한도관리 프로세스 재정립 – 과제 개요</vt:lpstr>
      <vt:lpstr>    한도관리 프로세스 재정립 – 과제 요건 (1/5)</vt:lpstr>
      <vt:lpstr>    한도관리 프로세스 재정립 – 과제 요건 (2/5)</vt:lpstr>
      <vt:lpstr>    한도관리 프로세스 재정립 – 과제 요건 (3/5)</vt:lpstr>
      <vt:lpstr>    한도관리 프로세스 재정립 – 과제 요건 (4/5)</vt:lpstr>
      <vt:lpstr>    한도관리 프로세스 재정립 – 과제 요건 (5/5)</vt:lpstr>
      <vt:lpstr>    심사 및 신용정보 활용 자동화 – 과제 개요</vt:lpstr>
      <vt:lpstr>    심사 및 신용정보 활용 자동화 – 과제 요건 (1/2)</vt:lpstr>
      <vt:lpstr>    심사 및 신용정보 활용 자동화 – 과제 요건 (2/2)</vt:lpstr>
      <vt:lpstr>    사고조사 프로세스 개선 – 과제 개요</vt:lpstr>
      <vt:lpstr>    사고조사 프로세스 개선 – 과제 요건 (1/2)</vt:lpstr>
      <vt:lpstr>    사고조사 프로세스 개선 – 과제 요건 (2/2)</vt:lpstr>
      <vt:lpstr>채권관리 프로세스</vt:lpstr>
      <vt:lpstr>    카드 채권관리 시스템 구축 – 과제 개요</vt:lpstr>
      <vt:lpstr>    카드 채권관리 시스템 구축 – 과제 요건 (1/6)</vt:lpstr>
      <vt:lpstr>    카드 채권관리 시스템 구축 – 과제 요건 (2/6)</vt:lpstr>
      <vt:lpstr>    카드 채권관리 시스템 구축 – 과제 요건 (3/6)</vt:lpstr>
      <vt:lpstr>    카드 채권관리 시스템 구축 – 과제 요건 (4/6)</vt:lpstr>
      <vt:lpstr>    카드 채권관리 시스템 구축 – 과제 요건 (5/6)</vt:lpstr>
      <vt:lpstr>    카드 채권관리 시스템 구축 – 과제 요건 (6/6)</vt:lpstr>
      <vt:lpstr>고객서비스 관리 프로세스</vt:lpstr>
      <vt:lpstr>    전사 고객정보 통합 – 과제 개요</vt:lpstr>
      <vt:lpstr>    전사 고객정보 통합 – 과제 상세화 Approach</vt:lpstr>
      <vt:lpstr>    전사 고객정보 통합 – 과제 상세화 방안 (1/8)</vt:lpstr>
      <vt:lpstr>    전사 고객정보 통합 – 과제 상세화 방안 (2/8)</vt:lpstr>
      <vt:lpstr>    전사 고객정보 통합 – 과제 상세화 방안 (3/8)</vt:lpstr>
      <vt:lpstr>    전사 고객정보 통합 – 과제 상세화 방안 (4/8)</vt:lpstr>
      <vt:lpstr>    전사 고객정보 통합 – 과제 상세화 방안 (5/8)</vt:lpstr>
      <vt:lpstr>    전사 고객정보 통합 – 과제 상세화 방안 (6/8)</vt:lpstr>
      <vt:lpstr>    전사 고객정보 통합 – 과제 상세화 방안 (7/8)</vt:lpstr>
      <vt:lpstr>    전사 고객정보 통합 – 과제 상세화 방안 (8/8)</vt:lpstr>
      <vt:lpstr>경영관리 프로세스</vt:lpstr>
      <vt:lpstr>    회계 정합성 제고를 위한 영업회계 도입 – 과제 개요</vt:lpstr>
      <vt:lpstr>    회계 정합성 제고를 위한 영업회계 도입 – 과제 요건 (1/5)</vt:lpstr>
      <vt:lpstr>    회계 정합성 제고를 위한 영업회계 도입 – 과제 요건 (2/5)</vt:lpstr>
      <vt:lpstr>    회계 정합성 제고를 위한 영업회계 도입 – 과제 요건 (3/5)</vt:lpstr>
      <vt:lpstr>    회계 정합성 제고를 위한 영업회계 도입 – 과제 요건 (4/5)</vt:lpstr>
      <vt:lpstr>    회계 정합성 제고를 위한 영업회계 도입 – 과제 요건 (5/5)</vt:lpstr>
      <vt:lpstr>    카드분사 독립 회계체계 수립 – 과제 개요</vt:lpstr>
      <vt:lpstr>    카드분사 독립 회계체계 수립 – 과제 요건 (1/4)</vt:lpstr>
      <vt:lpstr>    카드분사 독립 회계체계 수립 – 과제 요건 (2/4)</vt:lpstr>
      <vt:lpstr>    카드분사 독립 회계체계 수립 – 과제 요건 (3/4)</vt:lpstr>
      <vt:lpstr>    카드분사 독립 회계체계 수립 – 과제 요건 (4/4)</vt:lpstr>
      <vt:lpstr>    상품 손익관리체계 고도화 – 과제 개요</vt:lpstr>
      <vt:lpstr>    상품 손익관리체계 고도화 – 과제 요건 (1/5)</vt:lpstr>
      <vt:lpstr>    상품 손익관리체계 고도화 – 과제 요건 (2/5)</vt:lpstr>
      <vt:lpstr>    상품 손익관리체계 고도화 – 과제 요건 (3/5)</vt:lpstr>
      <vt:lpstr>    상품 손익관리체계 고도화 – 과제 요건 (4/5)</vt:lpstr>
      <vt:lpstr>    상품 손익관리체계 고도화 – 과제 요건 (5/5)</vt:lpstr>
      <vt:lpstr>    경영계획/성과관리 체계 구현 – 과제 개요</vt:lpstr>
      <vt:lpstr>    경영계획/성과관리 체계 구현 – 과제 요건 (1/6)</vt:lpstr>
      <vt:lpstr>    경영계획/성과관리 체계 구현 – 과제 요건 (2/6)</vt:lpstr>
      <vt:lpstr>    경영계획/성과관리 체계 구현 – 과제 요건 (3/6)</vt:lpstr>
      <vt:lpstr>PowerPoint 프레젠테이션</vt:lpstr>
      <vt:lpstr>    경영계획/성과관리 체계 구현 – 과제 요건 (5/6)</vt:lpstr>
      <vt:lpstr>PowerPoint 프레젠테이션</vt:lpstr>
      <vt:lpstr>정보계</vt:lpstr>
      <vt:lpstr>    성능중심 정보계 Architecture 재정비 – 과제 개요</vt:lpstr>
      <vt:lpstr>    성능중심 정보계 Architecture 재정비 – 영역별 분리 구성</vt:lpstr>
      <vt:lpstr>    성능중심 정보계 Architecture 재정비 – 영역별 분리 구성</vt:lpstr>
      <vt:lpstr>    성능중심 정보계 Architecture 재정비 – 영역별 분리 구성</vt:lpstr>
      <vt:lpstr>    성능중심 정보계 Architecture 재정비 – 영역별 분리 구성</vt:lpstr>
      <vt:lpstr>    성능중심 정보계 Architecture 재정비 – 영역별 분리 구성</vt:lpstr>
      <vt:lpstr>    성능중심 정보계 Architecture 재정비 – 정보계 아키텍처 재설계</vt:lpstr>
      <vt:lpstr>    정보계 적재/가공 데이터 최적화 – 과제 개요</vt:lpstr>
      <vt:lpstr>    정보계 적재/가공 데이터 최적화 – 방안</vt:lpstr>
      <vt:lpstr>    정보계 적재/가공 데이터 최적화 – 최적화 절차</vt:lpstr>
      <vt:lpstr>    다차원 분석기능 개선 – 과제 개요</vt:lpstr>
      <vt:lpstr>    다차원 분석기능 개선 – 분석 포탈 구현</vt:lpstr>
      <vt:lpstr>    다차원 분석기능 개선 – 보고서 관리 체계 수립</vt:lpstr>
      <vt:lpstr>    다차원 분석기능 개선 – 분석 Data Mart 확대 방안</vt:lpstr>
      <vt:lpstr>IT 아키텍처</vt:lpstr>
      <vt:lpstr>    통합 고객정보 관리 체계 구축 – 과제 개요</vt:lpstr>
      <vt:lpstr>    통합 고객정보 관리 체계 구축 – 상세 (1/8)</vt:lpstr>
      <vt:lpstr>    통합 고객정보 관리 체계 구축 – 상세 (2/8)</vt:lpstr>
      <vt:lpstr>    통합 고객정보 관리 체계 구축 – 상세 (3/8)</vt:lpstr>
      <vt:lpstr>    통합 고객정보 관리 체계 구축 – 상세 (4/8)</vt:lpstr>
      <vt:lpstr>    통합 고객정보 관리 체계 구축 – 상세 (5/8)</vt:lpstr>
      <vt:lpstr>    통합 고객정보 관리 체계 구축 – 상세 (6/8)</vt:lpstr>
      <vt:lpstr>    통합 고객정보 관리 체계 구축 – 상세 (7/8)</vt:lpstr>
      <vt:lpstr>    통합 고객정보 관리 체계 구축 – 상세 (8/8)</vt:lpstr>
      <vt:lpstr>    빅데이터 기반 실시간 정보분석 환경 구현 – 과제 개요  </vt:lpstr>
      <vt:lpstr>    빅데이터 기반 실시간 정보분석 환경 구현 – 상세 (1/2)</vt:lpstr>
      <vt:lpstr>    빅데이터 기반 실시간 정보분석 환경 구현 – 상세 (2/2)</vt:lpstr>
      <vt:lpstr>    데이터 아키텍처 개선 및 데이터 보유/활용 효율화 – 과제 개요</vt:lpstr>
      <vt:lpstr>    데이터 아키텍처 개선 및 데이터 보유/활용 효율화 – 상세 (1/3)</vt:lpstr>
      <vt:lpstr>    데이터 아키텍처 개선 및 데이터 보유/활용 효율화 – 상세 (2/3)</vt:lpstr>
      <vt:lpstr>    데이터 아키텍처 개선 및 데이터 보유/활용 효율화 – 상세 (3/3)</vt:lpstr>
      <vt:lpstr>    표준 프레임워크 도입 – 과제 개요</vt:lpstr>
      <vt:lpstr>    표준 프레임워크 도입 – 상세 (1/4)</vt:lpstr>
      <vt:lpstr>    표준 프레임워크 도입 – 상세 (2/4)</vt:lpstr>
      <vt:lpstr>[   표준 프레임워크 도입 – 상세 (3/4)</vt:lpstr>
      <vt:lpstr>    표준 프레임워크 도입 – 상세 (4/4)</vt:lpstr>
      <vt:lpstr>    카드/승인시스템 아키텍처 구성 방안 수립 – 과제 개요</vt:lpstr>
      <vt:lpstr>    카드/승인시스템 아키텍처 구성 방안 수립 – 상세 (1/2)</vt:lpstr>
      <vt:lpstr>    카드/승인시스템 아키텍처 구성 방안 수립 – 상세 (2/2)</vt:lpstr>
      <vt:lpstr>    고객정보 보호 강화 및 통합 정보보호 체계 적용 – 과제 개요</vt:lpstr>
      <vt:lpstr>    고객정보 보호 강화 및 통합 정보보호 체계 적용 – 상세 (1/5)</vt:lpstr>
      <vt:lpstr>    고객정보 보호 강화 및 통합 정보보호 체계 적용 – 상세 (2/5)</vt:lpstr>
      <vt:lpstr>    고객정보 보호 강화 및 통합 정보보호 체계 적용 – 상세 (3/5)</vt:lpstr>
      <vt:lpstr>    고객정보 보호 강화 및 통합 정보보호 체계 적용 – 상세 (4/5)</vt:lpstr>
      <vt:lpstr>    고객정보 보호 강화 및 통합 정보보호 체계 적용 – 상세 (5/5) </vt:lpstr>
      <vt:lpstr>PowerPoint 프레젠테이션</vt:lpstr>
      <vt:lpstr>예상 리스크 및 대응방안</vt:lpstr>
      <vt:lpstr>PowerPoint 프레젠테이션</vt:lpstr>
      <vt:lpstr>프로젝트 수행 방안 개요 (1/5)</vt:lpstr>
      <vt:lpstr>프로젝트 수행 방안 개요 (2/5)</vt:lpstr>
      <vt:lpstr>프로젝트 수행 방안 개요 (3/5)</vt:lpstr>
      <vt:lpstr>프로젝트 수행 방안 개요 (4/5)</vt:lpstr>
      <vt:lpstr>프로젝트 수행 방안 개요 (5/5)</vt:lpstr>
      <vt:lpstr>PowerPoint 프레젠테이션</vt:lpstr>
      <vt:lpstr>As-Is 분석 &gt; As-Is 프로세스 분류 (1/3)</vt:lpstr>
      <vt:lpstr>As-Is 분석 &gt; As-Is 프로세스 분류 (2/3)</vt:lpstr>
      <vt:lpstr>As-Is 분석 &gt; As-Is 프로세스 분류 (3/3)</vt:lpstr>
      <vt:lpstr>As-Is 분석 &gt; As-Is 프로세스 작성 (1/2)</vt:lpstr>
      <vt:lpstr>As-Is 분석 &gt; As-Is 프로세스 작성 (2/2)</vt:lpstr>
      <vt:lpstr>As-Is 분석 &gt; 타사 사례 검토 (1/2)</vt:lpstr>
      <vt:lpstr>As-Is 분석 &gt; 타사 사례 검토 (2/2)</vt:lpstr>
      <vt:lpstr>As-Is 분석 &gt; 이슈 및 개선기회 분석 (1/4)</vt:lpstr>
      <vt:lpstr>As-Is 분석 &gt; 이슈 및 개선기회 분석 (2/4)</vt:lpstr>
      <vt:lpstr>As-Is 분석 &gt; 이슈 및 개선기회 분석 (3/4)</vt:lpstr>
      <vt:lpstr>As-Is 분석 &gt; 이슈 및 개선기회 분석 (4/4)</vt:lpstr>
      <vt:lpstr>As-Is 분석 &gt; As-Is 아키텍처 분석 (1/10)</vt:lpstr>
      <vt:lpstr>As-Is 분석 &gt; As-Is 아키텍처 분석 (2/10)</vt:lpstr>
      <vt:lpstr>As-Is 분석 &gt; As-Is 아키텍처 분석 (3/10)</vt:lpstr>
      <vt:lpstr>As-Is 분석 &gt; As-Is 아키텍처 분석 (4/10)</vt:lpstr>
      <vt:lpstr>As-Is 분석 &gt; As-Is 아키텍처 분석 (5/10)</vt:lpstr>
      <vt:lpstr>As-Is 분석 &gt; As-Is 아키텍처 분석 (6/10)</vt:lpstr>
      <vt:lpstr>As-Is 분석 &gt; As-Is 아키텍처 분석 (7/10)</vt:lpstr>
      <vt:lpstr>As-Is 분석 &gt; As-Is 아키텍처 분석 (8/10)</vt:lpstr>
      <vt:lpstr>As-Is 분석 &gt; As-Is 아키텍처 분석 (9/10)</vt:lpstr>
      <vt:lpstr>As-Is 분석 &gt; As-Is 아키텍처 분석 (10/10)</vt:lpstr>
      <vt:lpstr>PowerPoint 프레젠테이션</vt:lpstr>
      <vt:lpstr>과제 상세화 &gt; 개선과제(Biz) 도출 (1/4)</vt:lpstr>
      <vt:lpstr>과제 상세화 &gt; 개선과제(Biz) 도출 (2/4)</vt:lpstr>
      <vt:lpstr>과제 상세화 &gt; 개선과제(Biz) 도출 (3/4)</vt:lpstr>
      <vt:lpstr>과제 상세화 &gt; 개선과제(Biz) 도출 (4/4)</vt:lpstr>
      <vt:lpstr>과제 상세화 &gt; 개선과제(Biz) 보완 (1/2)</vt:lpstr>
      <vt:lpstr>과제 상세화 &gt; 개선과제(Biz) 보완 (2/2)</vt:lpstr>
      <vt:lpstr>과제 상세화 &gt; 개선과제(IT) 확정 및 상세화 (1/5)</vt:lpstr>
      <vt:lpstr>과제 상세화 &gt; 개선과제(IT) 확정 및 상세화 (2/5)</vt:lpstr>
      <vt:lpstr>과제 상세화 &gt; 개선과제(IT) 확정 및 상세화 (3/5)</vt:lpstr>
      <vt:lpstr>과제 상세화 &gt; 개선과제(IT) 확정 및 상세화 (4/5)</vt:lpstr>
      <vt:lpstr>과제 상세화 &gt; 개선과제(IT) 확정 및 상세화 (5/5)</vt:lpstr>
      <vt:lpstr>PowerPoint 프레젠테이션</vt:lpstr>
      <vt:lpstr>To-Be 설계 &gt; To-Be 프로세스 체계 정의 (1/4)</vt:lpstr>
      <vt:lpstr>To-Be 설계 &gt; To-Be 프로세스 체계 정의 (2/4)</vt:lpstr>
      <vt:lpstr>To-Be 설계 &gt; To-Be 프로세스 체계 정의 (3/4)</vt:lpstr>
      <vt:lpstr>To-Be 설계 &gt; To-Be 프로세스 체계 정의 (4/4)</vt:lpstr>
      <vt:lpstr>To-Be 설계 &gt; To-Be 프로세스 작성 (1/4)</vt:lpstr>
      <vt:lpstr>To-Be 설계 &gt; To-Be 프로세스 작성 (2/4)</vt:lpstr>
      <vt:lpstr>To-Be 설계 &gt; To-Be 프로세스 작성 (3/4)</vt:lpstr>
      <vt:lpstr>To-Be 설계 &gt; To-Be 프로세스 작성 (4/4)</vt:lpstr>
      <vt:lpstr>To-Be 설계 &gt; To-Be 요건 정의 (1/3)</vt:lpstr>
      <vt:lpstr>To-Be 설계 &gt; To-Be 요건 정의 (2/3)</vt:lpstr>
      <vt:lpstr>To-Be 설계 &gt; To-Be 요건 정의 (3/3)</vt:lpstr>
      <vt:lpstr>To-Be 설계 &gt; To-Be 아키텍처 설계</vt:lpstr>
      <vt:lpstr>To-Be 설계 &gt; To-Be 아키텍처 설계 &gt; AA 설계 (1/5)</vt:lpstr>
      <vt:lpstr>To-Be 설계 &gt; To-Be 아키텍처 설계 &gt; AA 설계 (2/5)</vt:lpstr>
      <vt:lpstr>To-Be 설계 &gt; To-Be 아키텍처 설계 &gt; AA 설계 (3/5)</vt:lpstr>
      <vt:lpstr>To-Be 설계 &gt; To-Be 아키텍처 설계 &gt; AA 설계 (4/5)</vt:lpstr>
      <vt:lpstr>To-Be 설계 &gt; To-Be 아키텍처 설계 &gt; AA 설계 (5/5)</vt:lpstr>
      <vt:lpstr>To-Be 설계 &gt; To-Be 아키텍처 설계 &gt; DA 설계 (1/3)</vt:lpstr>
      <vt:lpstr>To-Be 설계 &gt; To-Be 아키텍처 설계 &gt; DA 설계 (2/3)</vt:lpstr>
      <vt:lpstr>To-Be 설계 &gt; To-Be 아키텍처 설계 &gt; DA 설계 (3/3)</vt:lpstr>
      <vt:lpstr>To-Be 설계 &gt; To-Be 아키텍처 설계 &gt; TA 설계 (1/3)</vt:lpstr>
      <vt:lpstr>To-Be 설계 &gt; To-Be 아키텍처 설계 &gt; TA 설계 (2/3)</vt:lpstr>
      <vt:lpstr>To-Be 설계 &gt; To-Be 아키텍처 설계 &gt; TA 설계 (3/3)</vt:lpstr>
      <vt:lpstr>[Back-up] TA 아키텍처 적용 기술 Trend</vt:lpstr>
      <vt:lpstr>To-Be 설계 &gt; To-Be 아키텍처 설계 &gt; SA 설계 (1/4)</vt:lpstr>
      <vt:lpstr>To-Be 설계 &gt; To-Be 아키텍처 설계 &gt; SA 설계 (2/4)</vt:lpstr>
      <vt:lpstr>To-Be 설계 &gt; To-Be 아키텍처 설계 &gt; SA 설계 (3/4)</vt:lpstr>
      <vt:lpstr>To-Be 설계 &gt; To-Be 아키텍처 설계 &gt; SA 설계 (4/4)</vt:lpstr>
      <vt:lpstr>To-Be 설계 &gt; To-Be 기술요소 검토 (1/5)</vt:lpstr>
      <vt:lpstr>To-Be 설계 &gt; To-Be 기술요소 검토 (2/5)</vt:lpstr>
      <vt:lpstr>To-Be 설계 &gt; To-Be 기술요소 검토 (3/5)</vt:lpstr>
      <vt:lpstr>To-Be 설계 &gt; To-Be 기술요소 검토 (4/5)</vt:lpstr>
      <vt:lpstr>To-Be 설계 &gt; To-Be 기술요소 검토 (5/5)</vt:lpstr>
      <vt:lpstr>[Back-up] Language Set 고려 사항</vt:lpstr>
      <vt:lpstr>[Back-up] Language Set 결정 방법 (1/2)</vt:lpstr>
      <vt:lpstr>[Back-up] Language Set 결정 방법 (2/2)</vt:lpstr>
      <vt:lpstr>개발계획수립 &gt; 개발범위 정의 (1/3)</vt:lpstr>
      <vt:lpstr>개발계획수립 &gt; 개발범위 정의 (2/3)</vt:lpstr>
      <vt:lpstr>개발계획수립 &gt; 개발범위 정의 (3/3)</vt:lpstr>
      <vt:lpstr>개발계획수립 &gt; 개발일정 수립 (1/2)</vt:lpstr>
      <vt:lpstr>개발계획수립 &gt; 개발일정 수립 (2/2)</vt:lpstr>
      <vt:lpstr>개발계획수립 &gt; 인프라 용량산정 (1/3)</vt:lpstr>
      <vt:lpstr>개발계획수립 &gt; 인프라 용량산정 (2/3)</vt:lpstr>
      <vt:lpstr>개발계획수립 &gt; 인프라 용량산정 (3/3)</vt:lpstr>
      <vt:lpstr>개발계획수립 &gt; 개발비용 산정 (1/3)</vt:lpstr>
      <vt:lpstr>개발계획수립 &gt; 개발비용 산정 (2/3)</vt:lpstr>
      <vt:lpstr>개발계획수립 &gt; 개발비용 산정 (3/3)</vt:lpstr>
      <vt:lpstr>PowerPoint 프레젠테이션</vt:lpstr>
      <vt:lpstr>프로젝트 추진 일정</vt:lpstr>
      <vt:lpstr>프로젝트 추진 조직 구성</vt:lpstr>
      <vt:lpstr>프로젝트 추진 조직 구성 – 역할 </vt:lpstr>
      <vt:lpstr>프로젝트 투입 인력 계획</vt:lpstr>
      <vt:lpstr>PowerPoint 프레젠테이션</vt:lpstr>
      <vt:lpstr>프로젝트 관리 방안</vt:lpstr>
      <vt:lpstr>진척 관리 방안</vt:lpstr>
      <vt:lpstr>이슈/위험 관리 방안</vt:lpstr>
      <vt:lpstr>이슈/위험 관리 방안 &gt; 절차</vt:lpstr>
      <vt:lpstr>투입인력 관리 방안</vt:lpstr>
      <vt:lpstr>의사소통 방안 &gt; 개요</vt:lpstr>
      <vt:lpstr>의사소통 방안 &gt; 관리 대상자 정의</vt:lpstr>
      <vt:lpstr>품질 보증 방안 &gt; 활동 및 전략</vt:lpstr>
      <vt:lpstr>품질 보증 방안 &gt; 수행 조직 및 R&amp;R</vt:lpstr>
      <vt:lpstr>산출물 관리 방안</vt:lpstr>
      <vt:lpstr>보안 관리 방안</vt:lpstr>
      <vt:lpstr>PowerPoint 프레젠테이션</vt:lpstr>
      <vt:lpstr>제안 가격</vt:lpstr>
      <vt:lpstr>PowerPoint 프레젠테이션</vt:lpstr>
      <vt:lpstr>Project Executive</vt:lpstr>
      <vt:lpstr>Project Executive</vt:lpstr>
      <vt:lpstr>Project Executive</vt:lpstr>
      <vt:lpstr>Project Executive</vt:lpstr>
      <vt:lpstr>Project Manager</vt:lpstr>
      <vt:lpstr>Project Manager</vt:lpstr>
      <vt:lpstr>Project Manage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roject Advisor</vt:lpstr>
      <vt:lpstr>PMO</vt:lpstr>
      <vt:lpstr>PMO</vt:lpstr>
      <vt:lpstr>Biz – 상품</vt:lpstr>
      <vt:lpstr>Biz – 상품</vt:lpstr>
      <vt:lpstr>Biz – 상품</vt:lpstr>
      <vt:lpstr>Biz – 상품</vt:lpstr>
      <vt:lpstr>Biz – 상품</vt:lpstr>
      <vt:lpstr>Biz – 고객/마케팅/영업</vt:lpstr>
      <vt:lpstr>Biz – 고객/마케팅/영업</vt:lpstr>
      <vt:lpstr>Biz – 고객/마케팅/영업</vt:lpstr>
      <vt:lpstr>Biz – 고객/마케팅/영업</vt:lpstr>
      <vt:lpstr>Biz – 고객/마케팅/영업</vt:lpstr>
      <vt:lpstr>Biz – 고객/마케팅/영업</vt:lpstr>
      <vt:lpstr>Biz – 고객/마케팅/영업</vt:lpstr>
      <vt:lpstr>Biz – 고객/마케팅/영업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카드프로세싱</vt:lpstr>
      <vt:lpstr>Biz – 신용/채권</vt:lpstr>
      <vt:lpstr>Biz – 신용/채권</vt:lpstr>
      <vt:lpstr>Biz – 신용/채권</vt:lpstr>
      <vt:lpstr>Biz – 회계/경영관리</vt:lpstr>
      <vt:lpstr>Biz – 회계/경영관리</vt:lpstr>
      <vt:lpstr>Biz – 회계/경영관리</vt:lpstr>
      <vt:lpstr>Biz – 회계/경영관리</vt:lpstr>
      <vt:lpstr>Biz – 회계/경영관리</vt:lpstr>
      <vt:lpstr>Biz – 회계/경영관리</vt:lpstr>
      <vt:lpstr>Biz – 회계/경영관리</vt:lpstr>
      <vt:lpstr>Biz – 회계/경영관리</vt:lpstr>
      <vt:lpstr>Biz – 정보계</vt:lpstr>
      <vt:lpstr>Biz – 정보계</vt:lpstr>
      <vt:lpstr>Biz – 정보계</vt:lpstr>
      <vt:lpstr>Biz – 정보계</vt:lpstr>
      <vt:lpstr>Biz – 정보계</vt:lpstr>
      <vt:lpstr>Biz – 정보계</vt:lpstr>
      <vt:lpstr>IT</vt:lpstr>
      <vt:lpstr>IT</vt:lpstr>
      <vt:lpstr>IT</vt:lpstr>
      <vt:lpstr>IT</vt:lpstr>
      <vt:lpstr>IT</vt:lpstr>
      <vt:lpstr>IT</vt:lpstr>
      <vt:lpstr>IT</vt:lpstr>
      <vt:lpstr>IT</vt:lpstr>
      <vt:lpstr>IT</vt:lpstr>
      <vt:lpstr>IT</vt:lpstr>
      <vt:lpstr>IT</vt:lpstr>
      <vt:lpstr>IT</vt:lpstr>
      <vt:lpstr>IT</vt:lpstr>
      <vt:lpstr>Thank You </vt:lpstr>
      <vt:lpstr>Disclaimer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삼정 KPMG 컨설팅</dc:title>
  <dc:creator>KPMG</dc:creator>
  <cp:lastModifiedBy>Jung, Ho Yoon [KR]</cp:lastModifiedBy>
  <cp:revision>2499</cp:revision>
  <cp:lastPrinted>2016-10-13T07:41:45Z</cp:lastPrinted>
  <dcterms:created xsi:type="dcterms:W3CDTF">2008-04-01T02:37:23Z</dcterms:created>
  <dcterms:modified xsi:type="dcterms:W3CDTF">2016-10-13T08:1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8F4AC52B259641BE62E3A32AC663D5</vt:lpwstr>
  </property>
</Properties>
</file>